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7.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8.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0.xml" ContentType="application/vnd.openxmlformats-officedocument.presentationml.notesSlide+xml"/>
  <Override PartName="/ppt/charts/chart3.xml" ContentType="application/vnd.openxmlformats-officedocument.drawingml.chart+xml"/>
  <Override PartName="/ppt/tags/tag106.xml" ContentType="application/vnd.openxmlformats-officedocument.presentationml.tags+xml"/>
  <Override PartName="/ppt/notesSlides/notesSlide11.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12.xml" ContentType="application/vnd.openxmlformats-officedocument.presentationml.notesSlide+xml"/>
  <Override PartName="/ppt/tags/tag109.xml" ContentType="application/vnd.openxmlformats-officedocument.presentationml.tags+xml"/>
  <Override PartName="/ppt/notesSlides/notesSlide13.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14.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15.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16.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notesSlides/notesSlide17.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notesSlides/notesSlide18.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21.xml" ContentType="application/vnd.openxmlformats-officedocument.presentationml.notesSlide+xml"/>
  <Override PartName="/ppt/tags/tag128.xml" ContentType="application/vnd.openxmlformats-officedocument.presentationml.tags+xml"/>
  <Override PartName="/ppt/notesSlides/notesSlide22.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notesSlides/notesSlide23.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notesSlides/notesSlide24.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25.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notesSlides/notesSlide26.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27.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28.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29.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notesSlides/notesSlide30.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40"/>
  </p:notesMasterIdLst>
  <p:handoutMasterIdLst>
    <p:handoutMasterId r:id="rId41"/>
  </p:handoutMasterIdLst>
  <p:sldIdLst>
    <p:sldId id="256" r:id="rId2"/>
    <p:sldId id="261" r:id="rId3"/>
    <p:sldId id="258" r:id="rId4"/>
    <p:sldId id="257" r:id="rId5"/>
    <p:sldId id="259" r:id="rId6"/>
    <p:sldId id="260" r:id="rId7"/>
    <p:sldId id="263" r:id="rId8"/>
    <p:sldId id="298" r:id="rId9"/>
    <p:sldId id="297" r:id="rId10"/>
    <p:sldId id="296" r:id="rId11"/>
    <p:sldId id="262" r:id="rId12"/>
    <p:sldId id="264" r:id="rId13"/>
    <p:sldId id="265" r:id="rId14"/>
    <p:sldId id="331" r:id="rId15"/>
    <p:sldId id="334" r:id="rId16"/>
    <p:sldId id="313" r:id="rId17"/>
    <p:sldId id="332" r:id="rId18"/>
    <p:sldId id="333" r:id="rId19"/>
    <p:sldId id="316" r:id="rId20"/>
    <p:sldId id="320" r:id="rId21"/>
    <p:sldId id="335" r:id="rId22"/>
    <p:sldId id="318" r:id="rId23"/>
    <p:sldId id="269" r:id="rId24"/>
    <p:sldId id="270" r:id="rId25"/>
    <p:sldId id="327" r:id="rId26"/>
    <p:sldId id="271" r:id="rId27"/>
    <p:sldId id="323" r:id="rId28"/>
    <p:sldId id="272" r:id="rId29"/>
    <p:sldId id="273" r:id="rId30"/>
    <p:sldId id="322" r:id="rId31"/>
    <p:sldId id="295" r:id="rId32"/>
    <p:sldId id="321" r:id="rId33"/>
    <p:sldId id="276" r:id="rId34"/>
    <p:sldId id="328" r:id="rId35"/>
    <p:sldId id="337" r:id="rId36"/>
    <p:sldId id="330" r:id="rId37"/>
    <p:sldId id="339" r:id="rId38"/>
    <p:sldId id="338" r:id="rId39"/>
  </p:sldIdLst>
  <p:sldSz cx="12192000" cy="6858000"/>
  <p:notesSz cx="6950075" cy="9236075"/>
  <p:custShowLst>
    <p:custShow name="Format Guide Workshop" id="0">
      <p:sldLst/>
    </p:custShow>
  </p:custShowLst>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2C2C"/>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677" autoAdjust="0"/>
    <p:restoredTop sz="96323" autoAdjust="0"/>
  </p:normalViewPr>
  <p:slideViewPr>
    <p:cSldViewPr snapToGrid="0">
      <p:cViewPr varScale="1">
        <p:scale>
          <a:sx n="67" d="100"/>
          <a:sy n="67" d="100"/>
        </p:scale>
        <p:origin x="576" y="53"/>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3504"/>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l-S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208835341365459E-2"/>
          <c:y val="3.3078880407124686E-2"/>
          <c:w val="0.895582329317269"/>
          <c:h val="0.93384223918575071"/>
        </c:manualLayout>
      </c:layout>
      <c:barChart>
        <c:barDir val="col"/>
        <c:grouping val="stacked"/>
        <c:varyColors val="0"/>
        <c:ser>
          <c:idx val="0"/>
          <c:order val="0"/>
          <c:spPr>
            <a:solidFill>
              <a:srgbClr val="D9D9D9"/>
            </a:solidFill>
            <a:ln w="19050">
              <a:solidFill>
                <a:srgbClr val="FFFFFF"/>
              </a:solidFill>
              <a:prstDash val="solid"/>
            </a:ln>
          </c:spPr>
          <c:invertIfNegative val="0"/>
          <c:val>
            <c:numRef>
              <c:f>Sheet1!$A$1</c:f>
              <c:numCache>
                <c:formatCode>General</c:formatCode>
                <c:ptCount val="1"/>
                <c:pt idx="0">
                  <c:v>33</c:v>
                </c:pt>
              </c:numCache>
            </c:numRef>
          </c:val>
          <c:extLst>
            <c:ext xmlns:c16="http://schemas.microsoft.com/office/drawing/2014/chart" uri="{C3380CC4-5D6E-409C-BE32-E72D297353CC}">
              <c16:uniqueId val="{00000000-4781-4CEC-BB63-869E7939C03C}"/>
            </c:ext>
          </c:extLst>
        </c:ser>
        <c:dLbls>
          <c:showLegendKey val="0"/>
          <c:showVal val="0"/>
          <c:showCatName val="0"/>
          <c:showSerName val="0"/>
          <c:showPercent val="0"/>
          <c:showBubbleSize val="0"/>
        </c:dLbls>
        <c:gapWidth val="60"/>
        <c:overlap val="100"/>
        <c:axId val="683994160"/>
        <c:axId val="683985536"/>
      </c:barChart>
      <c:catAx>
        <c:axId val="683994160"/>
        <c:scaling>
          <c:orientation val="minMax"/>
        </c:scaling>
        <c:delete val="0"/>
        <c:axPos val="b"/>
        <c:majorGridlines>
          <c:spPr>
            <a:ln>
              <a:noFill/>
            </a:ln>
          </c:spPr>
        </c:majorGridlines>
        <c:majorTickMark val="out"/>
        <c:minorTickMark val="none"/>
        <c:tickLblPos val="none"/>
        <c:spPr>
          <a:ln w="9525">
            <a:solidFill>
              <a:srgbClr val="6E6F73"/>
            </a:solidFill>
            <a:prstDash val="solid"/>
          </a:ln>
        </c:spPr>
        <c:txPr>
          <a:bodyPr wrap="none"/>
          <a:lstStyle/>
          <a:p>
            <a:pPr>
              <a:defRPr sz="1800">
                <a:solidFill>
                  <a:schemeClr val="tx1"/>
                </a:solidFill>
                <a:latin typeface="Corpid C1 Regular"/>
                <a:ea typeface="+mn-ea"/>
                <a:cs typeface="+mn-cs"/>
                <a:sym typeface="Corpid C1 Regular"/>
              </a:defRPr>
            </a:pPr>
            <a:endParaRPr lang="sl-SI"/>
          </a:p>
        </c:txPr>
        <c:crossAx val="683985536"/>
        <c:crosses val="min"/>
        <c:auto val="0"/>
        <c:lblAlgn val="ctr"/>
        <c:lblOffset val="100"/>
        <c:noMultiLvlLbl val="0"/>
      </c:catAx>
      <c:valAx>
        <c:axId val="683985536"/>
        <c:scaling>
          <c:orientation val="minMax"/>
          <c:max val="100"/>
          <c:min val="0"/>
        </c:scaling>
        <c:delete val="0"/>
        <c:axPos val="l"/>
        <c:majorGridlines>
          <c:spPr>
            <a:ln>
              <a:noFill/>
            </a:ln>
          </c:spPr>
        </c:majorGridlines>
        <c:numFmt formatCode="General" sourceLinked="1"/>
        <c:majorTickMark val="out"/>
        <c:minorTickMark val="none"/>
        <c:tickLblPos val="none"/>
        <c:spPr>
          <a:ln w="9525">
            <a:solidFill>
              <a:srgbClr val="837F7F"/>
            </a:solidFill>
            <a:prstDash val="solid"/>
          </a:ln>
        </c:spPr>
        <c:txPr>
          <a:bodyPr wrap="none"/>
          <a:lstStyle/>
          <a:p>
            <a:pPr>
              <a:defRPr sz="1800">
                <a:solidFill>
                  <a:schemeClr val="tx1"/>
                </a:solidFill>
                <a:latin typeface="+mn-lt"/>
                <a:ea typeface="+mj-ea"/>
                <a:cs typeface="+mj-cs"/>
                <a:sym typeface="+mn-lt"/>
              </a:defRPr>
            </a:pPr>
            <a:endParaRPr lang="sl-SI"/>
          </a:p>
        </c:txPr>
        <c:crossAx val="683994160"/>
        <c:crosses val="min"/>
        <c:crossBetween val="between"/>
        <c:majorUnit val="5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l-S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638530287984111E-2"/>
          <c:y val="3.3078880407124686E-2"/>
          <c:w val="0.89672293942403181"/>
          <c:h val="0.93384223918575071"/>
        </c:manualLayout>
      </c:layout>
      <c:barChart>
        <c:barDir val="col"/>
        <c:grouping val="stacked"/>
        <c:varyColors val="0"/>
        <c:ser>
          <c:idx val="0"/>
          <c:order val="0"/>
          <c:spPr>
            <a:solidFill>
              <a:schemeClr val="tx2"/>
            </a:solidFill>
            <a:ln w="19050">
              <a:solidFill>
                <a:schemeClr val="tx2"/>
              </a:solidFill>
              <a:prstDash val="solid"/>
            </a:ln>
          </c:spPr>
          <c:invertIfNegative val="0"/>
          <c:val>
            <c:numRef>
              <c:f>Sheet1!$A$1</c:f>
              <c:numCache>
                <c:formatCode>General</c:formatCode>
                <c:ptCount val="1"/>
                <c:pt idx="0">
                  <c:v>96</c:v>
                </c:pt>
              </c:numCache>
            </c:numRef>
          </c:val>
          <c:extLst>
            <c:ext xmlns:c16="http://schemas.microsoft.com/office/drawing/2014/chart" uri="{C3380CC4-5D6E-409C-BE32-E72D297353CC}">
              <c16:uniqueId val="{00000000-8548-4DBC-9AF9-E3555BF371EE}"/>
            </c:ext>
          </c:extLst>
        </c:ser>
        <c:dLbls>
          <c:showLegendKey val="0"/>
          <c:showVal val="0"/>
          <c:showCatName val="0"/>
          <c:showSerName val="0"/>
          <c:showPercent val="0"/>
          <c:showBubbleSize val="0"/>
        </c:dLbls>
        <c:gapWidth val="60"/>
        <c:overlap val="100"/>
        <c:axId val="683996904"/>
        <c:axId val="683996120"/>
      </c:barChart>
      <c:catAx>
        <c:axId val="683996904"/>
        <c:scaling>
          <c:orientation val="minMax"/>
        </c:scaling>
        <c:delete val="0"/>
        <c:axPos val="b"/>
        <c:majorGridlines>
          <c:spPr>
            <a:ln>
              <a:noFill/>
            </a:ln>
          </c:spPr>
        </c:majorGridlines>
        <c:majorTickMark val="out"/>
        <c:minorTickMark val="none"/>
        <c:tickLblPos val="none"/>
        <c:spPr>
          <a:ln w="9525">
            <a:solidFill>
              <a:srgbClr val="7F7F7F"/>
            </a:solidFill>
            <a:prstDash val="solid"/>
          </a:ln>
        </c:spPr>
        <c:txPr>
          <a:bodyPr wrap="none"/>
          <a:lstStyle/>
          <a:p>
            <a:pPr>
              <a:defRPr sz="1800">
                <a:solidFill>
                  <a:schemeClr val="tx1"/>
                </a:solidFill>
                <a:latin typeface="Corpid C1 Regular"/>
                <a:ea typeface="+mn-ea"/>
                <a:cs typeface="+mn-cs"/>
                <a:sym typeface="Corpid C1 Regular"/>
              </a:defRPr>
            </a:pPr>
            <a:endParaRPr lang="sl-SI"/>
          </a:p>
        </c:txPr>
        <c:crossAx val="683996120"/>
        <c:crosses val="min"/>
        <c:auto val="0"/>
        <c:lblAlgn val="ctr"/>
        <c:lblOffset val="100"/>
        <c:noMultiLvlLbl val="0"/>
      </c:catAx>
      <c:valAx>
        <c:axId val="683996120"/>
        <c:scaling>
          <c:orientation val="minMax"/>
          <c:max val="100"/>
          <c:min val="0"/>
        </c:scaling>
        <c:delete val="0"/>
        <c:axPos val="l"/>
        <c:majorGridlines>
          <c:spPr>
            <a:ln>
              <a:noFill/>
            </a:ln>
          </c:spPr>
        </c:majorGridlines>
        <c:numFmt formatCode="General" sourceLinked="1"/>
        <c:majorTickMark val="out"/>
        <c:minorTickMark val="none"/>
        <c:tickLblPos val="none"/>
        <c:spPr>
          <a:ln w="9525">
            <a:solidFill>
              <a:srgbClr val="7F7F7F"/>
            </a:solidFill>
            <a:prstDash val="solid"/>
          </a:ln>
        </c:spPr>
        <c:txPr>
          <a:bodyPr wrap="none"/>
          <a:lstStyle/>
          <a:p>
            <a:pPr>
              <a:defRPr sz="1800">
                <a:solidFill>
                  <a:schemeClr val="tx1"/>
                </a:solidFill>
                <a:latin typeface="+mn-lt"/>
                <a:ea typeface="+mj-ea"/>
                <a:cs typeface="+mj-cs"/>
                <a:sym typeface="+mn-lt"/>
              </a:defRPr>
            </a:pPr>
            <a:endParaRPr lang="sl-SI"/>
          </a:p>
        </c:txPr>
        <c:crossAx val="683996904"/>
        <c:crosses val="min"/>
        <c:crossBetween val="between"/>
        <c:majorUnit val="5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l-S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127659574468085E-2"/>
          <c:y val="1.8479033404406538E-2"/>
          <c:w val="0.95574468085106379"/>
          <c:h val="0.96304193319118692"/>
        </c:manualLayout>
      </c:layout>
      <c:barChart>
        <c:barDir val="bar"/>
        <c:grouping val="stacked"/>
        <c:varyColors val="0"/>
        <c:ser>
          <c:idx val="0"/>
          <c:order val="0"/>
          <c:spPr>
            <a:solidFill>
              <a:srgbClr val="E71C57"/>
            </a:solidFill>
            <a:ln w="9525">
              <a:solidFill>
                <a:srgbClr val="295E7E"/>
              </a:solidFill>
              <a:prstDash val="solid"/>
            </a:ln>
          </c:spPr>
          <c:invertIfNegative val="0"/>
          <c:dPt>
            <c:idx val="0"/>
            <c:invertIfNegative val="0"/>
            <c:bubble3D val="0"/>
            <c:spPr>
              <a:solidFill>
                <a:schemeClr val="tx2"/>
              </a:solidFill>
              <a:ln w="9525">
                <a:solidFill>
                  <a:schemeClr val="tx2"/>
                </a:solidFill>
                <a:prstDash val="solid"/>
              </a:ln>
            </c:spPr>
            <c:extLst>
              <c:ext xmlns:c16="http://schemas.microsoft.com/office/drawing/2014/chart" uri="{C3380CC4-5D6E-409C-BE32-E72D297353CC}">
                <c16:uniqueId val="{00000001-11C9-435D-AE46-F1C6AE310A54}"/>
              </c:ext>
            </c:extLst>
          </c:dPt>
          <c:dPt>
            <c:idx val="2"/>
            <c:invertIfNegative val="0"/>
            <c:bubble3D val="0"/>
            <c:spPr>
              <a:solidFill>
                <a:schemeClr val="accent3"/>
              </a:solidFill>
              <a:ln w="9525">
                <a:solidFill>
                  <a:srgbClr val="919698"/>
                </a:solidFill>
                <a:prstDash val="solid"/>
              </a:ln>
            </c:spPr>
            <c:extLst>
              <c:ext xmlns:c16="http://schemas.microsoft.com/office/drawing/2014/chart" uri="{C3380CC4-5D6E-409C-BE32-E72D297353CC}">
                <c16:uniqueId val="{00000003-11C9-435D-AE46-F1C6AE310A54}"/>
              </c:ext>
            </c:extLst>
          </c:dPt>
          <c:dLbls>
            <c:dLbl>
              <c:idx val="1"/>
              <c:layout>
                <c:manualLayout>
                  <c:x val="0.20765957446808511"/>
                  <c:y val="0"/>
                </c:manualLayout>
              </c:layout>
              <c:numFmt formatCode="#,##0;&quot;-&quot;#,##0" sourceLinked="0"/>
              <c:spPr>
                <a:noFill/>
                <a:ln>
                  <a:noFill/>
                </a:ln>
              </c:spPr>
              <c:txPr>
                <a:bodyPr wrap="none"/>
                <a:lstStyle/>
                <a:p>
                  <a:pPr>
                    <a:defRPr sz="1200">
                      <a:solidFill>
                        <a:schemeClr val="tx1"/>
                      </a:solidFill>
                      <a:latin typeface="Corpid C1 Regular"/>
                      <a:ea typeface="Corpid C1 Regular"/>
                      <a:cs typeface="Corpid C1 Regular"/>
                      <a:sym typeface="Corpid C1 Regular"/>
                    </a:defRPr>
                  </a:pPr>
                  <a:endParaRPr lang="sl-S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1C9-435D-AE46-F1C6AE310A54}"/>
                </c:ext>
              </c:extLst>
            </c:dLbl>
            <c:dLbl>
              <c:idx val="2"/>
              <c:layout>
                <c:manualLayout>
                  <c:x val="0.33914893617021274"/>
                  <c:y val="0"/>
                </c:manualLayout>
              </c:layout>
              <c:numFmt formatCode="#,##0;&quot;-&quot;#,##0" sourceLinked="0"/>
              <c:spPr>
                <a:noFill/>
                <a:ln>
                  <a:noFill/>
                </a:ln>
              </c:spPr>
              <c:txPr>
                <a:bodyPr wrap="none"/>
                <a:lstStyle/>
                <a:p>
                  <a:pPr>
                    <a:defRPr sz="1200">
                      <a:solidFill>
                        <a:schemeClr val="tx1"/>
                      </a:solidFill>
                      <a:latin typeface="Corpid C1 Regular"/>
                      <a:ea typeface="Corpid C1 Regular"/>
                      <a:cs typeface="Corpid C1 Regular"/>
                      <a:sym typeface="Corpid C1 Regular"/>
                    </a:defRPr>
                  </a:pPr>
                  <a:endParaRPr lang="sl-S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1C9-435D-AE46-F1C6AE310A5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68.988764044943821</c:v>
                </c:pt>
                <c:pt idx="1">
                  <c:v>25</c:v>
                </c:pt>
                <c:pt idx="2">
                  <c:v>44</c:v>
                </c:pt>
              </c:numCache>
            </c:numRef>
          </c:val>
          <c:extLst>
            <c:ext xmlns:c16="http://schemas.microsoft.com/office/drawing/2014/chart" uri="{C3380CC4-5D6E-409C-BE32-E72D297353CC}">
              <c16:uniqueId val="{00000005-11C9-435D-AE46-F1C6AE310A54}"/>
            </c:ext>
          </c:extLst>
        </c:ser>
        <c:dLbls>
          <c:showLegendKey val="0"/>
          <c:showVal val="0"/>
          <c:showCatName val="0"/>
          <c:showSerName val="0"/>
          <c:showPercent val="0"/>
          <c:showBubbleSize val="0"/>
        </c:dLbls>
        <c:gapWidth val="60"/>
        <c:overlap val="100"/>
        <c:axId val="683997296"/>
        <c:axId val="683997688"/>
      </c:barChart>
      <c:catAx>
        <c:axId val="683997296"/>
        <c:scaling>
          <c:orientation val="maxMin"/>
        </c:scaling>
        <c:delete val="0"/>
        <c:axPos val="l"/>
        <c:majorGridlines>
          <c:spPr>
            <a:ln>
              <a:noFill/>
            </a:ln>
          </c:spPr>
        </c:majorGridlines>
        <c:majorTickMark val="none"/>
        <c:minorTickMark val="none"/>
        <c:tickLblPos val="none"/>
        <c:spPr>
          <a:ln w="9525">
            <a:solidFill>
              <a:srgbClr val="7F7F7F"/>
            </a:solidFill>
            <a:prstDash val="solid"/>
          </a:ln>
        </c:spPr>
        <c:crossAx val="683997688"/>
        <c:crosses val="min"/>
        <c:auto val="0"/>
        <c:lblAlgn val="ctr"/>
        <c:lblOffset val="100"/>
        <c:noMultiLvlLbl val="0"/>
      </c:catAx>
      <c:valAx>
        <c:axId val="683997688"/>
        <c:scaling>
          <c:orientation val="minMax"/>
          <c:max val="68.988764044943821"/>
          <c:min val="0"/>
        </c:scaling>
        <c:delete val="1"/>
        <c:axPos val="b"/>
        <c:numFmt formatCode="General" sourceLinked="1"/>
        <c:majorTickMark val="out"/>
        <c:minorTickMark val="none"/>
        <c:tickLblPos val="nextTo"/>
        <c:crossAx val="683997296"/>
        <c:crosses val="max"/>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25/2019</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9/25/2019</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vanityfair.com/news/business/2014/11/satya-nadella-bill-gates-steve-ballmer-microsoft"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microsoft.com/en-us/airband"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2851818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As I close my presentation and open up for questions, I'll leave you with a few questions for Reflection...</a:t>
            </a: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38646862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Fast forward 5 years into their transformation, Microsoft has fundamentally transformed...</a:t>
            </a:r>
          </a:p>
          <a:p>
            <a:endParaRPr lang="en-US" dirty="0"/>
          </a:p>
          <a:p>
            <a:pPr>
              <a:buNone/>
            </a:pPr>
            <a:r>
              <a:rPr lang="en-US" dirty="0"/>
              <a:t>The WHAT of every transformation program is by definition going to be different.  Of more interest is HOW – HOW have they approached their transformation to achieve these results?</a:t>
            </a:r>
          </a:p>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7405789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lvl="0"/>
            <a:r>
              <a:rPr lang="en-US" dirty="0"/>
              <a:t>The Head of transformation is envision the future and focus on the big rocks to get there... starting with creating an aspirational vision of a digitally enabled, growth-oriented future...  </a:t>
            </a:r>
          </a:p>
          <a:p>
            <a:pPr lvl="0"/>
            <a:r>
              <a:rPr lang="en-US" dirty="0"/>
              <a:t> </a:t>
            </a:r>
          </a:p>
          <a:p>
            <a:pPr lvl="0"/>
            <a:r>
              <a:rPr lang="en-US" dirty="0"/>
              <a:t>Bill Gates had coined the vision for Microsoft 'a PC on every desk top and in every home' which had stood the test of time for 25 years.    Satya knew the world had changed dramatically.  To set the new direction of travel, he articulated a new vision.  The first vision he articulated was 'mobile-first, cloud-first'... signaling a fundamental departure from their PC-centric past to their future in mobile and cloud.  He then focused the 'big rocks' of the transformation, aligned the leadership team, and communicated the case for change internally and externally leaving no doubt where Microsoft was heading.  More than just words, Microsoft massively shifted resources and investment toward the cloud.  </a:t>
            </a:r>
          </a:p>
          <a:p>
            <a:pPr lvl="0"/>
            <a:r>
              <a:rPr lang="en-US" dirty="0"/>
              <a:t> </a:t>
            </a:r>
          </a:p>
          <a:p>
            <a:pPr lvl="0"/>
            <a:r>
              <a:rPr lang="en-US" dirty="0"/>
              <a:t>A few years into the transformation, in the spirit of 'Always-On' Transformation, Satya could see the world was shifting even more dramatically driven by a set of factors. First, computing is more powerful and ubiquitous from the cloud to the edge. Second, physical and virtual worlds are coming together.   Third, Artificial Intelligence capabilities are rapidly advancing across perception and cognition.   As such he evolved the vision to place even more emphasis on cloud and on Artificial Intelligent using the phrase: "Intelligent cloud, Intelligent edge'…  </a:t>
            </a:r>
          </a:p>
          <a:p>
            <a:r>
              <a:rPr lang="en-US" dirty="0"/>
              <a:t> </a:t>
            </a:r>
          </a:p>
          <a:p>
            <a:r>
              <a:rPr lang="en-US" dirty="0"/>
              <a:t> Stepping back from Microsoft, it clear that the leadership of companies undergoing transformation, need to have an aspirational vision of a digitally-enabled future, one that clearly incorporated the transformative power of AI. </a:t>
            </a:r>
          </a:p>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24290375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lvl="0"/>
            <a:r>
              <a:rPr lang="en-US" dirty="0"/>
              <a:t>The Satya and the leadership team launched a holistic transformation program  I won't go into all the details, nor would it be appropriate for me to do so...    Clearly a holistic program covering all major aspects of the business:</a:t>
            </a:r>
          </a:p>
          <a:p>
            <a:pPr lvl="0"/>
            <a:r>
              <a:rPr lang="en-US" dirty="0"/>
              <a:t>Culture:  While not using exactly these words, it is clear that Satya believed the Transformation of Microsoft would not deliver and sustain breakthrough performance without a transformation of the culture...  I mentioned the MEME with people shooting at each other.. inward, competitive, and also one of hubris – we know best....  Satya took this on.   Together with Kathleen Hogan the </a:t>
            </a:r>
            <a:r>
              <a:rPr lang="en-US" dirty="0" err="1"/>
              <a:t>CHRO</a:t>
            </a:r>
            <a:r>
              <a:rPr lang="en-US" dirty="0"/>
              <a:t>...   4 attributes and later added a 5th:  Growth Mindset – not growth as in revenues but growth as in an orientation to learning, the term coined by Stanford's Carol </a:t>
            </a:r>
            <a:r>
              <a:rPr lang="en-US" dirty="0" err="1"/>
              <a:t>Dweck</a:t>
            </a:r>
            <a:endParaRPr lang="en-US" dirty="0"/>
          </a:p>
          <a:p>
            <a:pPr lvl="0"/>
            <a:r>
              <a:rPr lang="en-US" dirty="0"/>
              <a:t>Strategy:  Defined the biggest strategy issues, assigned C-suite leaders against each – but made the entire leadership team accountable for solving these.   what to do with </a:t>
            </a:r>
            <a:r>
              <a:rPr lang="en-US" dirty="0" err="1"/>
              <a:t>nokia</a:t>
            </a:r>
            <a:r>
              <a:rPr lang="en-US" dirty="0"/>
              <a:t>?, what to do with X-box, transition from Windows-centric to cloud-centric view, etc.</a:t>
            </a:r>
          </a:p>
          <a:p>
            <a:pPr lvl="0"/>
            <a:r>
              <a:rPr lang="en-US" dirty="0"/>
              <a:t>Engineering:  many organization changes plus a major push to move away from waterfall Triad model – dev, test, program manage -  to Agile</a:t>
            </a:r>
          </a:p>
          <a:p>
            <a:pPr lvl="0"/>
            <a:r>
              <a:rPr lang="en-US" dirty="0"/>
              <a:t>Go to market: Massive transformation – ongoing today -  Digitally enabled B2B selling focused on integrated solutions</a:t>
            </a:r>
          </a:p>
          <a:p>
            <a:pPr lvl="0"/>
            <a:r>
              <a:rPr lang="en-US" dirty="0"/>
              <a:t>Corporate Excellence:  Really a cost-reduction effort.  Initially resisted cost reduction but came to see significant opportunity</a:t>
            </a:r>
          </a:p>
          <a:p>
            <a:pPr lvl="0"/>
            <a:r>
              <a:rPr lang="en-US" dirty="0"/>
              <a:t>People: Under new </a:t>
            </a:r>
            <a:r>
              <a:rPr lang="en-US" dirty="0" err="1"/>
              <a:t>CHRO</a:t>
            </a:r>
            <a:r>
              <a:rPr lang="en-US" dirty="0"/>
              <a:t> launched a People strategy and HR transformation program </a:t>
            </a:r>
          </a:p>
          <a:p>
            <a:pPr lvl="0"/>
            <a:r>
              <a:rPr lang="en-US" dirty="0"/>
              <a:t>…. All supported by change management to enable leaders, engage the organization, and track progress</a:t>
            </a:r>
          </a:p>
          <a:p>
            <a:endParaRPr lang="en-US" dirty="0"/>
          </a:p>
        </p:txBody>
      </p:sp>
      <p:sp>
        <p:nvSpPr>
          <p:cNvPr id="4" name="Footer Placeholder 3"/>
          <p:cNvSpPr>
            <a:spLocks noGrp="1"/>
          </p:cNvSpPr>
          <p:nvPr>
            <p:ph type="ftr" sz="quarter" idx="10"/>
          </p:nvPr>
        </p:nvSpPr>
        <p:spPr/>
        <p:txBody>
          <a:bodyPr/>
          <a:lstStyle/>
          <a:p>
            <a:pPr defTabSz="92086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pPr/>
              <a:t>9/25/2019</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024522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35837923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lvl="0"/>
            <a:r>
              <a:rPr lang="en-US" dirty="0"/>
              <a:t>The 'Hands' of transformation is metaphor for how the work is conducted.  </a:t>
            </a:r>
          </a:p>
          <a:p>
            <a:pPr lvl="0"/>
            <a:r>
              <a:rPr lang="en-US" dirty="0"/>
              <a:t> </a:t>
            </a:r>
          </a:p>
          <a:p>
            <a:pPr lvl="0"/>
            <a:r>
              <a:rPr lang="en-US" dirty="0"/>
              <a:t>In the era of one-off transformation with a focus on short-term, one-off improvements, transformation programs were typically executed in what one could call a 'waterfall' approach which included a diagnostic identifying a set of pre-determined actions that were then executed using rigorous program management.  </a:t>
            </a:r>
          </a:p>
          <a:p>
            <a:r>
              <a:rPr lang="en-US" dirty="0"/>
              <a:t> </a:t>
            </a:r>
          </a:p>
          <a:p>
            <a:pPr lvl="0"/>
            <a:r>
              <a:rPr lang="en-US" dirty="0"/>
              <a:t>In this era of 'Always-On' transformation, where the environment is constantly changing and what needs to change cannot possibly be fully determined in advance, the Hands in this reimagined approach are very different... here we not only execute and but we execute and innovate with agility...  </a:t>
            </a:r>
          </a:p>
          <a:p>
            <a:pPr lvl="0"/>
            <a:r>
              <a:rPr lang="en-US" dirty="0"/>
              <a:t> </a:t>
            </a:r>
          </a:p>
          <a:p>
            <a:pPr lvl="0"/>
            <a:r>
              <a:rPr lang="en-US" dirty="0"/>
              <a:t>Still need executional discipline... and teams… but what really changes in this reimagined human-centric approach is how those teams are set up for success and the innovative methods and digital tools they use. </a:t>
            </a:r>
          </a:p>
          <a:p>
            <a:r>
              <a:rPr lang="en-US" dirty="0"/>
              <a:t> </a:t>
            </a:r>
          </a:p>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6088672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6</a:t>
            </a:fld>
            <a:endParaRPr lang="en-US" dirty="0"/>
          </a:p>
        </p:txBody>
      </p:sp>
    </p:spTree>
    <p:extLst>
      <p:ext uri="{BB962C8B-B14F-4D97-AF65-F5344CB8AC3E}">
        <p14:creationId xmlns:p14="http://schemas.microsoft.com/office/powerpoint/2010/main" val="25582145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8275" y="617538"/>
            <a:ext cx="7116763" cy="4003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7</a:t>
            </a:fld>
            <a:endParaRPr lang="en-US" dirty="0"/>
          </a:p>
        </p:txBody>
      </p:sp>
    </p:spTree>
    <p:extLst>
      <p:ext uri="{BB962C8B-B14F-4D97-AF65-F5344CB8AC3E}">
        <p14:creationId xmlns:p14="http://schemas.microsoft.com/office/powerpoint/2010/main" val="16502288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Walk through the elements...</a:t>
            </a:r>
          </a:p>
          <a:p>
            <a:endParaRPr lang="en-US" dirty="0"/>
          </a:p>
          <a:p>
            <a:pPr>
              <a:buNone/>
            </a:pPr>
            <a:r>
              <a:rPr lang="en-US" dirty="0"/>
              <a:t>For all of these reasons AGILE in various forms is rapidly gaining traction as the go-to method not just for running companies but also transforming them...</a:t>
            </a: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31469164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32444341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In February 2014...</a:t>
            </a:r>
            <a:r>
              <a:rPr lang="en-US" sz="1200" kern="1200" dirty="0">
                <a:solidFill>
                  <a:schemeClr val="tx1"/>
                </a:solidFill>
                <a:effectLst/>
                <a:latin typeface="+mn-lt"/>
                <a:ea typeface="+mn-ea"/>
                <a:cs typeface="+mn-cs"/>
              </a:rPr>
              <a:t>Satya Nadella, a career Microsoft engineer, was chosen to become the 3rd CEO in Microsoft's history…</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While a huge opportunity... he was immediately confronted by a set of challeng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the ink not even dry on the Nokia handset acquisition and already it was viewed as a disaster</a:t>
            </a:r>
          </a:p>
          <a:p>
            <a:r>
              <a:rPr lang="en-US" sz="1200" kern="1200" dirty="0">
                <a:solidFill>
                  <a:schemeClr val="tx1"/>
                </a:solidFill>
                <a:effectLst/>
                <a:latin typeface="+mn-lt"/>
                <a:ea typeface="+mn-ea"/>
                <a:cs typeface="+mn-cs"/>
              </a:rPr>
              <a:t>- Activist Investor – Mason </a:t>
            </a:r>
            <a:r>
              <a:rPr lang="en-US" sz="1200" kern="1200" dirty="0" err="1">
                <a:solidFill>
                  <a:schemeClr val="tx1"/>
                </a:solidFill>
                <a:effectLst/>
                <a:latin typeface="+mn-lt"/>
                <a:ea typeface="+mn-ea"/>
                <a:cs typeface="+mn-cs"/>
              </a:rPr>
              <a:t>Morfit</a:t>
            </a:r>
            <a:r>
              <a:rPr lang="en-US" sz="1200" kern="1200" dirty="0">
                <a:solidFill>
                  <a:schemeClr val="tx1"/>
                </a:solidFill>
                <a:effectLst/>
                <a:latin typeface="+mn-lt"/>
                <a:ea typeface="+mn-ea"/>
                <a:cs typeface="+mn-cs"/>
              </a:rPr>
              <a:t> from Value Act has just won a seat on the board</a:t>
            </a:r>
          </a:p>
          <a:p>
            <a:r>
              <a:rPr lang="en-US" sz="1200" kern="1200" dirty="0">
                <a:solidFill>
                  <a:schemeClr val="tx1"/>
                </a:solidFill>
                <a:effectLst/>
                <a:latin typeface="+mn-lt"/>
                <a:ea typeface="+mn-ea"/>
                <a:cs typeface="+mn-cs"/>
              </a:rPr>
              <a:t>- the battle for the cloud was being won by that other Seattle based upstart AWS</a:t>
            </a:r>
          </a:p>
          <a:p>
            <a:r>
              <a:rPr lang="en-US" sz="1200" kern="1200" dirty="0">
                <a:solidFill>
                  <a:schemeClr val="tx1"/>
                </a:solidFill>
                <a:effectLst/>
                <a:latin typeface="+mn-lt"/>
                <a:ea typeface="+mn-ea"/>
                <a:cs typeface="+mn-cs"/>
              </a:rPr>
              <a:t>- Culture:  a famous meme depicted </a:t>
            </a:r>
            <a:r>
              <a:rPr lang="en-US" sz="1200" kern="1200" dirty="0" err="1">
                <a:solidFill>
                  <a:schemeClr val="tx1"/>
                </a:solidFill>
                <a:effectLst/>
                <a:latin typeface="+mn-lt"/>
                <a:ea typeface="+mn-ea"/>
                <a:cs typeface="+mn-cs"/>
              </a:rPr>
              <a:t>Micorosft's</a:t>
            </a:r>
            <a:r>
              <a:rPr lang="en-US" sz="1200" kern="1200" dirty="0">
                <a:solidFill>
                  <a:schemeClr val="tx1"/>
                </a:solidFill>
                <a:effectLst/>
                <a:latin typeface="+mn-lt"/>
                <a:ea typeface="+mn-ea"/>
                <a:cs typeface="+mn-cs"/>
              </a:rPr>
              <a:t> culture as a set of people facing inward with hand guns shooting at each other...</a:t>
            </a:r>
          </a:p>
          <a:p>
            <a:r>
              <a:rPr lang="en-US" dirty="0"/>
              <a:t>Bethany McLean, writing in </a:t>
            </a:r>
            <a:r>
              <a:rPr lang="en-US" u="sng" dirty="0">
                <a:hlinkClick r:id="rId3"/>
              </a:rPr>
              <a:t>Vanity Fair</a:t>
            </a:r>
            <a:r>
              <a:rPr lang="en-US" dirty="0"/>
              <a:t> just months after Nadella became the tech giant’s CEO, wrote this: “There’s a sense in the world outside Redmond, Washington, that Microsoft’s best days are behind it, that the sprawling colossus, which employs more than 100,000 people, doesn’t know what it is, or even what it wants to b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s a new CEO, facing all of those challenges... What would you do?   Where would you begin? </a:t>
            </a:r>
          </a:p>
          <a:p>
            <a:endParaRPr lang="en-US" b="1"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31417683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1</a:t>
            </a:fld>
            <a:endParaRPr lang="en-US"/>
          </a:p>
        </p:txBody>
      </p:sp>
    </p:spTree>
    <p:extLst>
      <p:ext uri="{BB962C8B-B14F-4D97-AF65-F5344CB8AC3E}">
        <p14:creationId xmlns:p14="http://schemas.microsoft.com/office/powerpoint/2010/main" val="3488060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The third and final element of this reimagined approach to transformation is the Heart.   INSPIRE AND EMPOWER YOUR PEOPLE.  When companies are transforming, our research shows that it is the heart that is most neglected.   And yet it has never been more important...  </a:t>
            </a:r>
            <a:r>
              <a:rPr lang="en-GB" dirty="0"/>
              <a:t>Coping with constant change can take an enormous toll on people, who are constantly being asked to step up, reach further, move faster, and adapt to change with no end in sight...  People are the life blood of an organization..  The Heart is central...  The heart of transformation consists of four chambers of the heart – Purpose, Culture, Demonstrating care, and Leadership.  </a:t>
            </a:r>
          </a:p>
          <a:p>
            <a:endParaRPr lang="en-GB" dirty="0"/>
          </a:p>
          <a:p>
            <a:pPr>
              <a:buNone/>
            </a:pPr>
            <a:r>
              <a:rPr lang="en-US" dirty="0"/>
              <a:t>Purpose matters for many reasons. In a world of constant change and transformation, it provides an enduring North Star and a means of building resilience. It’s essential for an engaged workforce: a powerful intrinsic and emotional motivator for those (especially millennials) who seek more than a paycheck. It can improve hiring prospects, and it can mitigate attrition by creating a durable bond with employees—which is particularly important for the technology sector, where the war for talent is fierce.</a:t>
            </a:r>
          </a:p>
          <a:p>
            <a:pPr>
              <a:buNone/>
            </a:pPr>
            <a:endParaRPr lang="en-GB" dirty="0"/>
          </a:p>
          <a:p>
            <a:r>
              <a:rPr lang="en-GB" dirty="0"/>
              <a:t>When Satya kicked of the transformation of Microsoft, even though he was faced with enormous pressures, he actually stepped back and asked the existential question, WHY DOES MICROSOFT EXIST?  The answer to that was then articulated in a new MISSION...</a:t>
            </a:r>
          </a:p>
          <a:p>
            <a:pPr>
              <a:buNone/>
            </a:pPr>
            <a:endParaRPr lang="en-US" dirty="0"/>
          </a:p>
          <a:p>
            <a:r>
              <a:rPr lang="en-GB" dirty="0"/>
              <a:t> </a:t>
            </a:r>
            <a:endParaRPr lang="en-US" dirty="0"/>
          </a:p>
          <a:p>
            <a:endParaRPr lang="en-US" dirty="0"/>
          </a:p>
        </p:txBody>
      </p:sp>
      <p:sp>
        <p:nvSpPr>
          <p:cNvPr id="4" name="Slide Number Placeholder 3"/>
          <p:cNvSpPr>
            <a:spLocks noGrp="1"/>
          </p:cNvSpPr>
          <p:nvPr>
            <p:ph type="sldNum" sz="quarter" idx="10"/>
          </p:nvPr>
        </p:nvSpPr>
        <p:spPr/>
        <p:txBody>
          <a:bodyPr/>
          <a:lstStyle/>
          <a:p>
            <a:r>
              <a:rPr lang="en-US" dirty="0"/>
              <a:t> </a:t>
            </a:r>
          </a:p>
          <a:p>
            <a:endParaRPr lang="en-US" dirty="0"/>
          </a:p>
          <a:p>
            <a:r>
              <a:rPr lang="en-US" dirty="0"/>
              <a:t>Notes view: </a:t>
            </a:r>
            <a:fld id="{128CEAFE-FA94-43E5-B0FF-D47E1CCDD1B4}" type="slidenum">
              <a:rPr lang="en-US" smtClean="0"/>
              <a:pPr/>
              <a:t>22</a:t>
            </a:fld>
            <a:endParaRPr lang="en-US" dirty="0"/>
          </a:p>
        </p:txBody>
      </p:sp>
    </p:spTree>
    <p:extLst>
      <p:ext uri="{BB962C8B-B14F-4D97-AF65-F5344CB8AC3E}">
        <p14:creationId xmlns:p14="http://schemas.microsoft.com/office/powerpoint/2010/main" val="19623601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r>
              <a:rPr lang="en-US" dirty="0"/>
              <a:t>To empower every person and every organization on the planet to achieve more. </a:t>
            </a:r>
          </a:p>
          <a:p>
            <a:pPr>
              <a:buNone/>
            </a:pPr>
            <a:endParaRPr lang="en-US" dirty="0"/>
          </a:p>
          <a:p>
            <a:pPr>
              <a:buNone/>
            </a:pPr>
            <a:r>
              <a:rPr lang="en-US" dirty="0"/>
              <a:t>In his memo to employees  "</a:t>
            </a:r>
            <a:r>
              <a:rPr lang="en-AU" dirty="0"/>
              <a:t>Every great company has an enduring mission. Our mission is to empower every person and every organization on the planet to achieve more. I’m proud to share that this is our new official mission statement. This mission is ambitious and at the core of what our customers deeply care about. We have unique capability in harmonizing the needs of both individuals and organizations. This is in our DNA. We also deeply care about taking things global and making a difference in lives and organizations in all corners of the planet.</a:t>
            </a:r>
            <a:r>
              <a:rPr lang="en-US" dirty="0"/>
              <a:t> " </a:t>
            </a:r>
          </a:p>
          <a:p>
            <a:pPr>
              <a:buNone/>
            </a:pPr>
            <a:endParaRPr lang="en-US" dirty="0"/>
          </a:p>
          <a:p>
            <a:pPr>
              <a:buNone/>
            </a:pPr>
            <a:r>
              <a:rPr lang="en-US" dirty="0"/>
              <a:t>“…Everything that we do, every product that we build, every technology that we incubate … all has to be driven by a deep sense of … this mission.” </a:t>
            </a:r>
          </a:p>
          <a:p>
            <a:pPr>
              <a:buNone/>
            </a:pPr>
            <a:endParaRPr lang="en-US" dirty="0"/>
          </a:p>
          <a:p>
            <a:pPr>
              <a:buNone/>
            </a:pPr>
            <a:r>
              <a:rPr lang="en-US" dirty="0"/>
              <a:t>Among the tech companies that are taking this expansive view is Microsoft. In the past few years, the company has launched and extended a wide range of efforts to live up to its purpose “to empower every person and every organization on the planet to achieve more.” For instance, hackathons, once devoted to improving existing products, now also channel employees’ energy to finding solutions to global problems. The company’s </a:t>
            </a:r>
            <a:r>
              <a:rPr lang="en-US" u="sng" dirty="0">
                <a:hlinkClick r:id="rId3"/>
              </a:rPr>
              <a:t>Rural </a:t>
            </a:r>
            <a:r>
              <a:rPr lang="en-US" u="sng" dirty="0" err="1">
                <a:hlinkClick r:id="rId3"/>
              </a:rPr>
              <a:t>Airband</a:t>
            </a:r>
            <a:r>
              <a:rPr lang="en-US" u="sng" dirty="0">
                <a:hlinkClick r:id="rId3"/>
              </a:rPr>
              <a:t> Initiative</a:t>
            </a:r>
            <a:r>
              <a:rPr lang="en-US" dirty="0"/>
              <a:t> is helping catalyze an ecosystem of service providers to bring connectivity to the internet deserts that span large swaths of rural America. Beyond just serving paying customers with useful products, these efforts go further to fulfill the societal commitment ingrained within the company’s purpose. </a:t>
            </a:r>
          </a:p>
          <a:p>
            <a:pPr>
              <a:buNone/>
            </a:pPr>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3</a:t>
            </a:fld>
            <a:endParaRPr lang="en-US"/>
          </a:p>
        </p:txBody>
      </p:sp>
    </p:spTree>
    <p:extLst>
      <p:ext uri="{BB962C8B-B14F-4D97-AF65-F5344CB8AC3E}">
        <p14:creationId xmlns:p14="http://schemas.microsoft.com/office/powerpoint/2010/main" val="16059494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4</a:t>
            </a:fld>
            <a:endParaRPr lang="en-US"/>
          </a:p>
        </p:txBody>
      </p:sp>
    </p:spTree>
    <p:extLst>
      <p:ext uri="{BB962C8B-B14F-4D97-AF65-F5344CB8AC3E}">
        <p14:creationId xmlns:p14="http://schemas.microsoft.com/office/powerpoint/2010/main" val="1460125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5</a:t>
            </a:fld>
            <a:endParaRPr lang="en-US" dirty="0"/>
          </a:p>
        </p:txBody>
      </p:sp>
    </p:spTree>
    <p:extLst>
      <p:ext uri="{BB962C8B-B14F-4D97-AF65-F5344CB8AC3E}">
        <p14:creationId xmlns:p14="http://schemas.microsoft.com/office/powerpoint/2010/main" val="38585309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7</a:t>
            </a:fld>
            <a:endParaRPr lang="en-US" dirty="0"/>
          </a:p>
        </p:txBody>
      </p:sp>
    </p:spTree>
    <p:extLst>
      <p:ext uri="{BB962C8B-B14F-4D97-AF65-F5344CB8AC3E}">
        <p14:creationId xmlns:p14="http://schemas.microsoft.com/office/powerpoint/2010/main" val="6456333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But the Heart does not end with an inspiring Purpose...   Satya has put enormous emphasis on transforming Microsoft's culture.  Much has been written about this... Culture-focused:  huge focus here… and tons written about this.  What I find most striking, and most relevant for our discussion today, is what Satya and the leadership team have placed at the center of the new culture:  Growth Mindset.   Not growth as in grow revenues.  But growth as in Carol </a:t>
            </a:r>
            <a:r>
              <a:rPr lang="en-US" dirty="0" err="1"/>
              <a:t>Dweck's</a:t>
            </a:r>
            <a:r>
              <a:rPr lang="en-US" dirty="0"/>
              <a:t> brilliant work on 'Fixed vs. Growth Mindset'   At the very center of his cultural transformation is an emphasis on shifting from, as he puts it, a "Know it all to a learn it all" culture... A humble approach to learning is at the very heart of the new culture.  Yes it is a journey... of course... but the goal is clear.  In this age of AI ... where computers ... Satya has placed the importance of human intelligence, human learning.  Enabled and transformed by technology – yes – but not supplanted by it.  I for one, find that very encouraging.  I might even say that my heart is lifted by that...</a:t>
            </a:r>
          </a:p>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8</a:t>
            </a:fld>
            <a:endParaRPr lang="en-US" dirty="0"/>
          </a:p>
        </p:txBody>
      </p:sp>
    </p:spTree>
    <p:extLst>
      <p:ext uri="{BB962C8B-B14F-4D97-AF65-F5344CB8AC3E}">
        <p14:creationId xmlns:p14="http://schemas.microsoft.com/office/powerpoint/2010/main" val="11548795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30</a:t>
            </a:fld>
            <a:endParaRPr lang="en-US" dirty="0"/>
          </a:p>
        </p:txBody>
      </p:sp>
    </p:spTree>
    <p:extLst>
      <p:ext uri="{BB962C8B-B14F-4D97-AF65-F5344CB8AC3E}">
        <p14:creationId xmlns:p14="http://schemas.microsoft.com/office/powerpoint/2010/main" val="29690756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2</a:t>
            </a:fld>
            <a:endParaRPr lang="en-US" dirty="0"/>
          </a:p>
        </p:txBody>
      </p:sp>
    </p:spTree>
    <p:extLst>
      <p:ext uri="{BB962C8B-B14F-4D97-AF65-F5344CB8AC3E}">
        <p14:creationId xmlns:p14="http://schemas.microsoft.com/office/powerpoint/2010/main" val="2380880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3</a:t>
            </a:fld>
            <a:endParaRPr lang="en-US" dirty="0"/>
          </a:p>
        </p:txBody>
      </p:sp>
    </p:spTree>
    <p:extLst>
      <p:ext uri="{BB962C8B-B14F-4D97-AF65-F5344CB8AC3E}">
        <p14:creationId xmlns:p14="http://schemas.microsoft.com/office/powerpoint/2010/main" val="954198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93% said they were transforming...</a:t>
            </a:r>
          </a:p>
          <a:p>
            <a:r>
              <a:rPr lang="en-US" dirty="0"/>
              <a:t>How can that be?  How can 93% of companies be transforming?</a:t>
            </a:r>
          </a:p>
          <a:p>
            <a:r>
              <a:rPr lang="en-US" dirty="0"/>
              <a:t>Transformation used to be a 'one-off' event for a few companies, much like a marathon.  Set it up, execute, and then return to this wonderful state we called business as usual...    Those days are gone... </a:t>
            </a:r>
          </a:p>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a:t>
            </a:fld>
            <a:endParaRPr lang="en-US"/>
          </a:p>
        </p:txBody>
      </p:sp>
    </p:spTree>
    <p:extLst>
      <p:ext uri="{BB962C8B-B14F-4D97-AF65-F5344CB8AC3E}">
        <p14:creationId xmlns:p14="http://schemas.microsoft.com/office/powerpoint/2010/main" val="15467555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As I close my presentation and open up for questions, I'll leave you with a few questions for Reflection...</a:t>
            </a: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5</a:t>
            </a:fld>
            <a:endParaRPr lang="en-US" dirty="0"/>
          </a:p>
        </p:txBody>
      </p:sp>
    </p:spTree>
    <p:extLst>
      <p:ext uri="{BB962C8B-B14F-4D97-AF65-F5344CB8AC3E}">
        <p14:creationId xmlns:p14="http://schemas.microsoft.com/office/powerpoint/2010/main" val="2551608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2113" y="766763"/>
            <a:ext cx="6811962" cy="3832225"/>
          </a:xfrm>
        </p:spPr>
      </p:sp>
      <p:sp>
        <p:nvSpPr>
          <p:cNvPr id="3" name="Notes Placeholder 2"/>
          <p:cNvSpPr>
            <a:spLocks noGrp="1"/>
          </p:cNvSpPr>
          <p:nvPr>
            <p:ph type="body" idx="1"/>
          </p:nvPr>
        </p:nvSpPr>
        <p:spPr/>
        <p:txBody>
          <a:bodyPr>
            <a:noAutofit/>
          </a:bodyPr>
          <a:lstStyle/>
          <a:p>
            <a:r>
              <a:rPr lang="en-US" sz="1600" dirty="0"/>
              <a:t>Transformation</a:t>
            </a:r>
            <a:r>
              <a:rPr lang="en-US" sz="1600" baseline="0" dirty="0"/>
              <a:t> is hard.   </a:t>
            </a:r>
            <a:endParaRPr lang="en-US" sz="1600" dirty="0"/>
          </a:p>
          <a:p>
            <a:pPr>
              <a:buNone/>
            </a:pPr>
            <a:endParaRPr lang="en-US" sz="1600" dirty="0"/>
          </a:p>
          <a:p>
            <a:r>
              <a:rPr lang="en-US" sz="1600" dirty="0"/>
              <a:t>Why am I talking about triathlons?... </a:t>
            </a:r>
          </a:p>
          <a:p>
            <a:endParaRPr lang="en-US" sz="1600" dirty="0"/>
          </a:p>
          <a:p>
            <a:r>
              <a:rPr lang="en-US" sz="1600" dirty="0"/>
              <a:t>It is rare these days, as AI-enabled digital transformation sweeps the business landscape, to meet a leader who hasn’t either led or been part of a transformation.  Once a one-off event in response to an urgent need – a dire competitive threat, sagging performance, an overdue system or process overhaul, a post-merger integration. Today, however, companies are transforming from a variety of starting positions.   Some need to move quickly to improve the bottom line.  Many are not in a crisis, rather they are in need of rejuvenation.  All, regardless of industry, are becoming digital. – transformation is now the new normal. </a:t>
            </a:r>
          </a:p>
          <a:p>
            <a:r>
              <a:rPr lang="en-US" sz="1600" dirty="0"/>
              <a:t>Yet from experience we know that transformation continues to be very difficult, and the evidence shows that it often fails or falls short of expectations.  Moreover, it can exact an enormous toll on leaders and employees, who are constantly being asked to step up, reach further, move faster, and adapt to change, with no end in sight.  </a:t>
            </a:r>
          </a:p>
          <a:p>
            <a:endParaRPr lang="en-US" sz="1600" dirty="0"/>
          </a:p>
          <a:p>
            <a:r>
              <a:rPr lang="en-US" sz="1600" dirty="0"/>
              <a:t>Over the years I have competed in a number of Triathlons.  To be honest, I'm not very good.  But I do have one distinct capability.  I am remarkably fast at finding my bike.  By the time I finish the swim, all the other bikes are already gone.</a:t>
            </a:r>
          </a:p>
          <a:p>
            <a:endParaRPr lang="en-US" sz="1600" dirty="0"/>
          </a:p>
          <a:p>
            <a:r>
              <a:rPr lang="en-US" sz="1600" dirty="0"/>
              <a:t>Just how common is transformation?  We recently surveyed companies and asked them whether or not they were undergoing a transformation.  The result?</a:t>
            </a:r>
          </a:p>
        </p:txBody>
      </p:sp>
      <p:sp>
        <p:nvSpPr>
          <p:cNvPr id="4" name="Slide Number Placeholder 3"/>
          <p:cNvSpPr>
            <a:spLocks noGrp="1"/>
          </p:cNvSpPr>
          <p:nvPr>
            <p:ph type="sldNum" sz="quarter" idx="10"/>
          </p:nvPr>
        </p:nvSpPr>
        <p:spPr/>
        <p:txBody>
          <a:bodyPr/>
          <a:lstStyle/>
          <a:p>
            <a:fld id="{928A2613-ABFE-468A-A021-82F251360FB0}" type="slidenum">
              <a:rPr lang="en-US" smtClean="0"/>
              <a:pPr/>
              <a:t>3</a:t>
            </a:fld>
            <a:endParaRPr lang="en-US" dirty="0"/>
          </a:p>
        </p:txBody>
      </p:sp>
    </p:spTree>
    <p:extLst>
      <p:ext uri="{BB962C8B-B14F-4D97-AF65-F5344CB8AC3E}">
        <p14:creationId xmlns:p14="http://schemas.microsoft.com/office/powerpoint/2010/main" val="21894439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463" y="-560388"/>
            <a:ext cx="9490076" cy="5338763"/>
          </a:xfrm>
        </p:spPr>
      </p:sp>
      <p:sp>
        <p:nvSpPr>
          <p:cNvPr id="3" name="Notes Placeholder 2"/>
          <p:cNvSpPr>
            <a:spLocks noGrp="1"/>
          </p:cNvSpPr>
          <p:nvPr>
            <p:ph type="body" idx="1"/>
          </p:nvPr>
        </p:nvSpPr>
        <p:spPr>
          <a:xfrm>
            <a:off x="128957" y="4895850"/>
            <a:ext cx="9343287" cy="1593341"/>
          </a:xfrm>
        </p:spPr>
        <p:txBody>
          <a:bodyPr/>
          <a:lstStyle/>
          <a:p>
            <a:r>
              <a:rPr lang="en-US" dirty="0"/>
              <a:t>We have entered a new era I have dubbed the era of 'Always-On' Transformation.  For leaders and employees alike, it's less a marathon and more a triathlon; no sooner does on leg finish than another is under way, giving participants no chance to catch their breath before giving their all once again.</a:t>
            </a:r>
          </a:p>
          <a:p>
            <a:endParaRPr lang="en-US" dirty="0"/>
          </a:p>
          <a:p>
            <a:r>
              <a:rPr lang="en-US" dirty="0"/>
              <a:t>When transformation was viewed as a one-off, short-term program, companies tended to be very short sighted and people were often treated as a means to an end or, worse, as collateral damage.  But successful transformation today's environment of constant change depends on people who are embracing new tools, new methodologies, new ways of working and who are engaged and motivated to go above and beyond.  </a:t>
            </a:r>
          </a:p>
          <a:p>
            <a:r>
              <a:rPr lang="en-US" dirty="0"/>
              <a:t> </a:t>
            </a:r>
          </a:p>
          <a:p>
            <a:r>
              <a:rPr lang="en-US" dirty="0"/>
              <a:t>But it not just about successful transformations.  The stakes are much bigger.  People spend the majority of their waking hours involved in organizations.  Leaders of organizations, therefore, have an enormous opportunity to have a positive impact on the lives of people.  We owe it to the people who work for us and to society more broadly to find a better approach...</a:t>
            </a:r>
          </a:p>
          <a:p>
            <a:pPr>
              <a:buNone/>
            </a:pPr>
            <a:r>
              <a:rPr lang="en-US" dirty="0"/>
              <a:t> </a:t>
            </a:r>
          </a:p>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25986653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2113" y="766763"/>
            <a:ext cx="6811962" cy="3832225"/>
          </a:xfrm>
        </p:spPr>
      </p:sp>
      <p:sp>
        <p:nvSpPr>
          <p:cNvPr id="3" name="Notes Placeholder 2"/>
          <p:cNvSpPr>
            <a:spLocks noGrp="1"/>
          </p:cNvSpPr>
          <p:nvPr>
            <p:ph type="body" idx="1"/>
          </p:nvPr>
        </p:nvSpPr>
        <p:spPr/>
        <p:txBody>
          <a:bodyPr>
            <a:normAutofit/>
          </a:bodyPr>
          <a:lstStyle/>
          <a:p>
            <a:r>
              <a:rPr lang="en-US" dirty="0"/>
              <a:t>Transformation can be empowering...  There are companies that have embraced this era of Always-On transformation are transforming in a way that is empowering.  </a:t>
            </a:r>
          </a:p>
          <a:p>
            <a:endParaRPr lang="en-US" dirty="0"/>
          </a:p>
          <a:p>
            <a:r>
              <a:rPr lang="en-US" dirty="0"/>
              <a:t>How?  That's what I'm here to talk about.  How are they transforming?</a:t>
            </a:r>
          </a:p>
        </p:txBody>
      </p:sp>
      <p:sp>
        <p:nvSpPr>
          <p:cNvPr id="4" name="Slide Number Placeholder 3"/>
          <p:cNvSpPr>
            <a:spLocks noGrp="1"/>
          </p:cNvSpPr>
          <p:nvPr>
            <p:ph type="sldNum" sz="quarter" idx="10"/>
          </p:nvPr>
        </p:nvSpPr>
        <p:spPr/>
        <p:txBody>
          <a:bodyPr/>
          <a:lstStyle/>
          <a:p>
            <a:fld id="{928A2613-ABFE-468A-A021-82F251360FB0}" type="slidenum">
              <a:rPr lang="en-US" smtClean="0"/>
              <a:pPr/>
              <a:t>5</a:t>
            </a:fld>
            <a:endParaRPr lang="en-US" dirty="0"/>
          </a:p>
        </p:txBody>
      </p:sp>
    </p:spTree>
    <p:extLst>
      <p:ext uri="{BB962C8B-B14F-4D97-AF65-F5344CB8AC3E}">
        <p14:creationId xmlns:p14="http://schemas.microsoft.com/office/powerpoint/2010/main" val="30309935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1675" y="681038"/>
            <a:ext cx="6072188" cy="3414712"/>
          </a:xfrm>
        </p:spPr>
      </p:sp>
      <p:sp>
        <p:nvSpPr>
          <p:cNvPr id="3" name="Notes Placeholder 2"/>
          <p:cNvSpPr>
            <a:spLocks noGrp="1"/>
          </p:cNvSpPr>
          <p:nvPr>
            <p:ph type="body" idx="1"/>
          </p:nvPr>
        </p:nvSpPr>
        <p:spPr/>
        <p:txBody>
          <a:bodyPr/>
          <a:lstStyle/>
          <a:p>
            <a:r>
              <a:rPr lang="en-US" sz="1200" b="1" u="sng" kern="1200" dirty="0">
                <a:solidFill>
                  <a:schemeClr val="tx1"/>
                </a:solidFill>
                <a:effectLst/>
                <a:latin typeface="+mn-lt"/>
                <a:ea typeface="+mn-ea"/>
                <a:cs typeface="+mn-cs"/>
              </a:rPr>
              <a:t>Slide 3: A reimagined approach to transformation</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Before embarking on the journey... Satya and his leadership team stepped back and reimagined HOW they would take the transformation journey.  They developed  an approach that is not only holistic but also human-centric... an approach, that we have further validated by research into over 100 transformation programs, an approach that I call the "Head, Heart, and Hands of Transformation"... </a:t>
            </a:r>
          </a:p>
          <a:p>
            <a:pPr lvl="0"/>
            <a:r>
              <a:rPr lang="en-US" sz="1200" kern="1200" dirty="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6</a:t>
            </a:fld>
            <a:endParaRPr lang="en-US" dirty="0"/>
          </a:p>
        </p:txBody>
      </p:sp>
    </p:spTree>
    <p:extLst>
      <p:ext uri="{BB962C8B-B14F-4D97-AF65-F5344CB8AC3E}">
        <p14:creationId xmlns:p14="http://schemas.microsoft.com/office/powerpoint/2010/main" val="5317532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6921265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151702756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4.xml"/><Relationship Id="rId7" Type="http://schemas.openxmlformats.org/officeDocument/2006/relationships/image" Target="../media/image2.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6.png"/><Relationship Id="rId5" Type="http://schemas.openxmlformats.org/officeDocument/2006/relationships/slideMaster" Target="../slideMasters/slideMaster1.xml"/><Relationship Id="rId10" Type="http://schemas.openxmlformats.org/officeDocument/2006/relationships/image" Target="../media/image5.png"/><Relationship Id="rId4" Type="http://schemas.openxmlformats.org/officeDocument/2006/relationships/tags" Target="../tags/tag5.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0.png"/><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image" Target="../media/image13.png"/><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1.xml"/><Relationship Id="rId7" Type="http://schemas.openxmlformats.org/officeDocument/2006/relationships/image" Target="../media/image3.jpeg"/><Relationship Id="rId2" Type="http://schemas.openxmlformats.org/officeDocument/2006/relationships/tags" Target="../tags/tag3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34.xml"/><Relationship Id="rId7" Type="http://schemas.openxmlformats.org/officeDocument/2006/relationships/image" Target="../media/image2.emf"/><Relationship Id="rId2" Type="http://schemas.openxmlformats.org/officeDocument/2006/relationships/tags" Target="../tags/tag33.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6.png"/><Relationship Id="rId5" Type="http://schemas.openxmlformats.org/officeDocument/2006/relationships/slideMaster" Target="../slideMasters/slideMaster1.xml"/><Relationship Id="rId10" Type="http://schemas.openxmlformats.org/officeDocument/2006/relationships/image" Target="../media/image5.png"/><Relationship Id="rId4" Type="http://schemas.openxmlformats.org/officeDocument/2006/relationships/tags" Target="../tags/tag35.xml"/><Relationship Id="rId9"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7.png"/><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8.vml"/><Relationship Id="rId6" Type="http://schemas.openxmlformats.org/officeDocument/2006/relationships/image" Target="../media/image13.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9.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0.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1.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63.xml"/><Relationship Id="rId7" Type="http://schemas.openxmlformats.org/officeDocument/2006/relationships/image" Target="../media/image3.jpeg"/><Relationship Id="rId2" Type="http://schemas.openxmlformats.org/officeDocument/2006/relationships/tags" Target="../tags/tag62.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6.png"/><Relationship Id="rId2" Type="http://schemas.openxmlformats.org/officeDocument/2006/relationships/tags" Target="../tags/tag6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6.png"/><Relationship Id="rId2" Type="http://schemas.openxmlformats.org/officeDocument/2006/relationships/tags" Target="../tags/tag75.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18.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46071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51"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5" name="Picture 14"/>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Rectangle 1"/>
          <p:cNvSpPr/>
          <p:nvPr userDrawn="1"/>
        </p:nvSpPr>
        <p:spPr>
          <a:xfrm>
            <a:off x="0" y="5279183"/>
            <a:ext cx="12192000" cy="1578817"/>
          </a:xfrm>
          <a:prstGeom prst="rect">
            <a:avLst/>
          </a:prstGeom>
          <a:solidFill>
            <a:srgbClr val="2C2C2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200" dirty="0">
              <a:solidFill>
                <a:srgbClr val="FFFFFF"/>
              </a:solidFill>
            </a:endParaRPr>
          </a:p>
        </p:txBody>
      </p:sp>
      <p:pic>
        <p:nvPicPr>
          <p:cNvPr id="16" name="Picture 15"/>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0" y="-1"/>
            <a:ext cx="12198351" cy="5279184"/>
          </a:xfrm>
          <a:prstGeom prst="rect">
            <a:avLst/>
          </a:prstGeom>
        </p:spPr>
      </p:pic>
      <p:pic>
        <p:nvPicPr>
          <p:cNvPr id="17" name="Picture 16"/>
          <p:cNvPicPr>
            <a:picLocks noChangeAspect="1"/>
          </p:cNvPicPr>
          <p:nvPr userDrawn="1"/>
        </p:nvPicPr>
        <p:blipFill>
          <a:blip r:embed="rId10"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9645548" y="304800"/>
            <a:ext cx="1655098" cy="4774690"/>
          </a:xfrm>
          <a:prstGeom prst="rect">
            <a:avLst/>
          </a:prstGeom>
          <a:noFill/>
          <a:extLst>
            <a:ext uri="{909E8E84-426E-40DD-AFC4-6F175D3DCCD1}">
              <a14:hiddenFill xmlns:a14="http://schemas.microsoft.com/office/drawing/2010/main">
                <a:solidFill>
                  <a:srgbClr val="29BA74"/>
                </a:solidFill>
              </a14:hiddenFill>
            </a:ext>
          </a:extLst>
        </p:spPr>
      </p:pic>
      <p:pic>
        <p:nvPicPr>
          <p:cNvPr id="18" name="Picture 17"/>
          <p:cNvPicPr>
            <a:picLocks noChangeAspect="1"/>
          </p:cNvPicPr>
          <p:nvPr userDrawn="1"/>
        </p:nvPicPr>
        <p:blipFill rotWithShape="1">
          <a:blip r:embed="rId11" cstate="print">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213"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60"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cstate="print">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33"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grpSp>
        <p:nvGrpSpPr>
          <p:cNvPr id="3" name="Group 2"/>
          <p:cNvGrpSpPr/>
          <p:nvPr userDrawn="1"/>
        </p:nvGrpSpPr>
        <p:grpSpPr>
          <a:xfrm>
            <a:off x="2676857" y="2114399"/>
            <a:ext cx="4033358" cy="2553202"/>
            <a:chOff x="2676857" y="2294415"/>
            <a:chExt cx="4033358" cy="2553202"/>
          </a:xfrm>
        </p:grpSpPr>
        <p:sp>
          <p:nvSpPr>
            <p:cNvPr id="7" name="Freeform 6"/>
            <p:cNvSpPr>
              <a:spLocks noChangeAspect="1"/>
            </p:cNvSpPr>
            <p:nvPr userDrawn="1">
              <p:custDataLst>
                <p:tags r:id="rId3"/>
              </p:custDataLst>
            </p:nvPr>
          </p:nvSpPr>
          <p:spPr bwMode="auto">
            <a:xfrm>
              <a:off x="2676858" y="2294415"/>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pic>
          <p:nvPicPr>
            <p:cNvPr id="11" name="Picture Placeholder 3"/>
            <p:cNvPicPr>
              <a:picLocks noChangeAspect="1"/>
            </p:cNvPicPr>
            <p:nvPr userDrawn="1"/>
          </p:nvPicPr>
          <p:blipFill rotWithShape="1">
            <a:blip r:embed="rId8">
              <a:extLst>
                <a:ext uri="{28A0092B-C50C-407E-A947-70E740481C1C}">
                  <a14:useLocalDpi xmlns:a14="http://schemas.microsoft.com/office/drawing/2010/main" val="0"/>
                </a:ext>
              </a:extLst>
            </a:blip>
            <a:srcRect l="10733" t="20278" r="10670" b="20111"/>
            <a:stretch/>
          </p:blipFill>
          <p:spPr>
            <a:xfrm>
              <a:off x="2676857" y="3820080"/>
              <a:ext cx="2719523" cy="1027537"/>
            </a:xfrm>
            <a:prstGeom prst="rect">
              <a:avLst/>
            </a:prstGeom>
            <a:effectLst/>
          </p:spPr>
        </p:pic>
      </p:gr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75416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75"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36" name="Picture 35"/>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37" name="Rectangle 36"/>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38" name="Rectangle 37"/>
          <p:cNvSpPr/>
          <p:nvPr userDrawn="1"/>
        </p:nvSpPr>
        <p:spPr>
          <a:xfrm>
            <a:off x="0" y="5279183"/>
            <a:ext cx="12192000" cy="1578817"/>
          </a:xfrm>
          <a:prstGeom prst="rect">
            <a:avLst/>
          </a:prstGeom>
          <a:solidFill>
            <a:srgbClr val="2C2C2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sz="1200" dirty="0">
              <a:solidFill>
                <a:srgbClr val="FFFFFF"/>
              </a:solidFill>
            </a:endParaRPr>
          </a:p>
        </p:txBody>
      </p:sp>
      <p:pic>
        <p:nvPicPr>
          <p:cNvPr id="39" name="Picture 38"/>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0" y="-1"/>
            <a:ext cx="12198351" cy="5279184"/>
          </a:xfrm>
          <a:prstGeom prst="rect">
            <a:avLst/>
          </a:prstGeom>
        </p:spPr>
      </p:pic>
      <p:pic>
        <p:nvPicPr>
          <p:cNvPr id="40" name="Picture 39"/>
          <p:cNvPicPr>
            <a:picLocks noChangeAspect="1"/>
          </p:cNvPicPr>
          <p:nvPr userDrawn="1"/>
        </p:nvPicPr>
        <p:blipFill>
          <a:blip r:embed="rId10"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9645548" y="304800"/>
            <a:ext cx="1655098" cy="4774690"/>
          </a:xfrm>
          <a:prstGeom prst="rect">
            <a:avLst/>
          </a:prstGeom>
          <a:noFill/>
          <a:extLst>
            <a:ext uri="{909E8E84-426E-40DD-AFC4-6F175D3DCCD1}">
              <a14:hiddenFill xmlns:a14="http://schemas.microsoft.com/office/drawing/2010/main">
                <a:solidFill>
                  <a:srgbClr val="29BA74"/>
                </a:solidFill>
              </a14:hiddenFill>
            </a:ext>
          </a:extLst>
        </p:spPr>
      </p:pic>
      <p:pic>
        <p:nvPicPr>
          <p:cNvPr id="41" name="Picture 40"/>
          <p:cNvPicPr>
            <a:picLocks noChangeAspect="1"/>
          </p:cNvPicPr>
          <p:nvPr userDrawn="1"/>
        </p:nvPicPr>
        <p:blipFill rotWithShape="1">
          <a:blip r:embed="rId11" cstate="print">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42"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43" name="Rectangle 42"/>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44"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45"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46"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47" name="Freeform 46"/>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37"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82"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cstate="print">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99369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255"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11"/>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3" name="Rectangle 12"/>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4" name="TextBox 13"/>
          <p:cNvSpPr txBox="1"/>
          <p:nvPr userDrawn="1"/>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grpSp>
        <p:nvGrpSpPr>
          <p:cNvPr id="16" name="Group 15"/>
          <p:cNvGrpSpPr/>
          <p:nvPr userDrawn="1"/>
        </p:nvGrpSpPr>
        <p:grpSpPr>
          <a:xfrm>
            <a:off x="2676857" y="2114399"/>
            <a:ext cx="4033358" cy="2553202"/>
            <a:chOff x="2676857" y="2294415"/>
            <a:chExt cx="4033358" cy="2553202"/>
          </a:xfrm>
        </p:grpSpPr>
        <p:sp>
          <p:nvSpPr>
            <p:cNvPr id="17" name="Freeform 16"/>
            <p:cNvSpPr>
              <a:spLocks noChangeAspect="1"/>
            </p:cNvSpPr>
            <p:nvPr userDrawn="1">
              <p:custDataLst>
                <p:tags r:id="rId3"/>
              </p:custDataLst>
            </p:nvPr>
          </p:nvSpPr>
          <p:spPr bwMode="auto">
            <a:xfrm>
              <a:off x="2676858" y="2294415"/>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pic>
          <p:nvPicPr>
            <p:cNvPr id="18" name="Picture Placeholder 3"/>
            <p:cNvPicPr>
              <a:picLocks noChangeAspect="1"/>
            </p:cNvPicPr>
            <p:nvPr userDrawn="1"/>
          </p:nvPicPr>
          <p:blipFill rotWithShape="1">
            <a:blip r:embed="rId8">
              <a:extLst>
                <a:ext uri="{28A0092B-C50C-407E-A947-70E740481C1C}">
                  <a14:useLocalDpi xmlns:a14="http://schemas.microsoft.com/office/drawing/2010/main" val="0"/>
                </a:ext>
              </a:extLst>
            </a:blip>
            <a:srcRect l="10733" t="20278" r="10670" b="20111"/>
            <a:stretch/>
          </p:blipFill>
          <p:spPr>
            <a:xfrm>
              <a:off x="2676857" y="3820080"/>
              <a:ext cx="2719523" cy="1027537"/>
            </a:xfrm>
            <a:prstGeom prst="rect">
              <a:avLst/>
            </a:prstGeom>
            <a:effectLst/>
          </p:spPr>
        </p:pic>
      </p:gr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9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1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4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6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8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11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3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6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cstate="print">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9C9163C-3AB2-4B8D-95F1-22BF5898587D}" type="datetimeFigureOut">
              <a:rPr lang="en-US" smtClean="0"/>
              <a:t>9/25/20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A480F84A-6226-4B5F-8775-50904C2397DC}" type="slidenum">
              <a:rPr lang="en-US" smtClean="0"/>
              <a:t>‹#›</a:t>
            </a:fld>
            <a:endParaRPr lang="en-US"/>
          </a:p>
        </p:txBody>
      </p:sp>
    </p:spTree>
    <p:extLst>
      <p:ext uri="{BB962C8B-B14F-4D97-AF65-F5344CB8AC3E}">
        <p14:creationId xmlns:p14="http://schemas.microsoft.com/office/powerpoint/2010/main" val="14314937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The Head Heart and Hands of Transformational Leadership - Portoroz - Jim Hemerling.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The Head Heart and Hands of Transformational Leadership - Portoroz - Jim Hemerling.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35" name="think-cell Slide" r:id="rId72" imgW="270" imgH="270" progId="TCLayout.ActiveDocument.1">
                  <p:embed/>
                </p:oleObj>
              </mc:Choice>
              <mc:Fallback>
                <p:oleObj name="think-cell Slide" r:id="rId72" imgW="270" imgH="270" progId="TCLayout.ActiveDocument.1">
                  <p:embed/>
                  <p:pic>
                    <p:nvPicPr>
                      <p:cNvPr id="0" name=""/>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 id="2147485185"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79.xml"/><Relationship Id="rId7" Type="http://schemas.openxmlformats.org/officeDocument/2006/relationships/image" Target="../media/image2.emf"/><Relationship Id="rId2" Type="http://schemas.openxmlformats.org/officeDocument/2006/relationships/tags" Target="../tags/tag78.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10.xml"/><Relationship Id="rId13" Type="http://schemas.openxmlformats.org/officeDocument/2006/relationships/chart" Target="../charts/chart3.xml"/><Relationship Id="rId3" Type="http://schemas.openxmlformats.org/officeDocument/2006/relationships/tags" Target="../tags/tag102.xml"/><Relationship Id="rId7" Type="http://schemas.openxmlformats.org/officeDocument/2006/relationships/slideLayout" Target="../slideLayouts/slideLayout9.xml"/><Relationship Id="rId12" Type="http://schemas.openxmlformats.org/officeDocument/2006/relationships/image" Target="../media/image23.png"/><Relationship Id="rId2" Type="http://schemas.openxmlformats.org/officeDocument/2006/relationships/tags" Target="../tags/tag101.xml"/><Relationship Id="rId1" Type="http://schemas.openxmlformats.org/officeDocument/2006/relationships/vmlDrawing" Target="../drawings/vmlDrawing25.vml"/><Relationship Id="rId6" Type="http://schemas.openxmlformats.org/officeDocument/2006/relationships/tags" Target="../tags/tag105.xml"/><Relationship Id="rId11" Type="http://schemas.openxmlformats.org/officeDocument/2006/relationships/image" Target="../media/image6.png"/><Relationship Id="rId5" Type="http://schemas.openxmlformats.org/officeDocument/2006/relationships/tags" Target="../tags/tag104.xml"/><Relationship Id="rId10" Type="http://schemas.openxmlformats.org/officeDocument/2006/relationships/image" Target="../media/image22.emf"/><Relationship Id="rId4" Type="http://schemas.openxmlformats.org/officeDocument/2006/relationships/tags" Target="../tags/tag103.xml"/><Relationship Id="rId9" Type="http://schemas.openxmlformats.org/officeDocument/2006/relationships/oleObject" Target="../embeddings/oleObject2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8.xml"/><Relationship Id="rId1" Type="http://schemas.openxmlformats.org/officeDocument/2006/relationships/tags" Target="../tags/tag106.xml"/></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08.xml"/><Relationship Id="rId7" Type="http://schemas.openxmlformats.org/officeDocument/2006/relationships/image" Target="../media/image22.emf"/><Relationship Id="rId2" Type="http://schemas.openxmlformats.org/officeDocument/2006/relationships/tags" Target="../tags/tag107.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12.xml"/><Relationship Id="rId4"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9.xml"/><Relationship Id="rId1" Type="http://schemas.openxmlformats.org/officeDocument/2006/relationships/vmlDrawing" Target="../drawings/vmlDrawing27.vml"/><Relationship Id="rId6" Type="http://schemas.openxmlformats.org/officeDocument/2006/relationships/image" Target="../media/image19.emf"/><Relationship Id="rId5" Type="http://schemas.openxmlformats.org/officeDocument/2006/relationships/oleObject" Target="../embeddings/oleObject27.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111.xml"/><Relationship Id="rId7" Type="http://schemas.openxmlformats.org/officeDocument/2006/relationships/oleObject" Target="../embeddings/oleObject28.bin"/><Relationship Id="rId2" Type="http://schemas.openxmlformats.org/officeDocument/2006/relationships/tags" Target="../tags/tag110.xml"/><Relationship Id="rId1" Type="http://schemas.openxmlformats.org/officeDocument/2006/relationships/vmlDrawing" Target="../drawings/vmlDrawing28.vml"/><Relationship Id="rId6" Type="http://schemas.openxmlformats.org/officeDocument/2006/relationships/notesSlide" Target="../notesSlides/notesSlide14.xml"/><Relationship Id="rId5" Type="http://schemas.openxmlformats.org/officeDocument/2006/relationships/slideLayout" Target="../slideLayouts/slideLayout42.xml"/><Relationship Id="rId4" Type="http://schemas.openxmlformats.org/officeDocument/2006/relationships/tags" Target="../tags/tag112.xml"/></Relationships>
</file>

<file path=ppt/slides/_rels/slide15.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vmlDrawing" Target="../drawings/vmlDrawing29.vml"/><Relationship Id="rId6" Type="http://schemas.openxmlformats.org/officeDocument/2006/relationships/image" Target="../media/image24.emf"/><Relationship Id="rId5" Type="http://schemas.openxmlformats.org/officeDocument/2006/relationships/oleObject" Target="../embeddings/oleObject29.bin"/><Relationship Id="rId4"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16.xml"/><Relationship Id="rId7" Type="http://schemas.openxmlformats.org/officeDocument/2006/relationships/image" Target="../media/image22.emf"/><Relationship Id="rId2" Type="http://schemas.openxmlformats.org/officeDocument/2006/relationships/tags" Target="../tags/tag115.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15.xml"/><Relationship Id="rId4"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image" Target="../media/image28.emf"/><Relationship Id="rId2" Type="http://schemas.openxmlformats.org/officeDocument/2006/relationships/tags" Target="../tags/tag117.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16.xml"/><Relationship Id="rId4" Type="http://schemas.openxmlformats.org/officeDocument/2006/relationships/slideLayout" Target="../slideLayouts/slideLayout68.xml"/></Relationships>
</file>

<file path=ppt/slides/_rels/slide18.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tags" Target="../tags/tag120.xml"/><Relationship Id="rId7" Type="http://schemas.openxmlformats.org/officeDocument/2006/relationships/image" Target="../media/image29.emf"/><Relationship Id="rId2" Type="http://schemas.openxmlformats.org/officeDocument/2006/relationships/tags" Target="../tags/tag119.xml"/><Relationship Id="rId1" Type="http://schemas.openxmlformats.org/officeDocument/2006/relationships/vmlDrawing" Target="../drawings/vmlDrawing32.vml"/><Relationship Id="rId6" Type="http://schemas.openxmlformats.org/officeDocument/2006/relationships/oleObject" Target="../embeddings/oleObject32.bin"/><Relationship Id="rId11" Type="http://schemas.openxmlformats.org/officeDocument/2006/relationships/image" Target="../media/image33.jpeg"/><Relationship Id="rId5" Type="http://schemas.openxmlformats.org/officeDocument/2006/relationships/notesSlide" Target="../notesSlides/notesSlide17.xml"/><Relationship Id="rId10" Type="http://schemas.openxmlformats.org/officeDocument/2006/relationships/image" Target="../media/image32.jpeg"/><Relationship Id="rId4" Type="http://schemas.openxmlformats.org/officeDocument/2006/relationships/slideLayout" Target="../slideLayouts/slideLayout30.xml"/><Relationship Id="rId9" Type="http://schemas.openxmlformats.org/officeDocument/2006/relationships/image" Target="../media/image31.jpeg"/></Relationships>
</file>

<file path=ppt/slides/_rels/slide19.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24.emf"/><Relationship Id="rId2" Type="http://schemas.openxmlformats.org/officeDocument/2006/relationships/tags" Target="../tags/tag121.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18.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16.png"/></Relationships>
</file>

<file path=ppt/slides/_rels/slide20.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124.xml"/><Relationship Id="rId7" Type="http://schemas.openxmlformats.org/officeDocument/2006/relationships/oleObject" Target="../embeddings/oleObject34.bin"/><Relationship Id="rId2" Type="http://schemas.openxmlformats.org/officeDocument/2006/relationships/tags" Target="../tags/tag123.xml"/><Relationship Id="rId1" Type="http://schemas.openxmlformats.org/officeDocument/2006/relationships/vmlDrawing" Target="../drawings/vmlDrawing34.vml"/><Relationship Id="rId6" Type="http://schemas.openxmlformats.org/officeDocument/2006/relationships/notesSlide" Target="../notesSlides/notesSlide19.xml"/><Relationship Id="rId5" Type="http://schemas.openxmlformats.org/officeDocument/2006/relationships/slideLayout" Target="../slideLayouts/slideLayout30.xml"/><Relationship Id="rId4" Type="http://schemas.openxmlformats.org/officeDocument/2006/relationships/tags" Target="../tags/tag12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27.xml"/><Relationship Id="rId7" Type="http://schemas.openxmlformats.org/officeDocument/2006/relationships/image" Target="../media/image22.emf"/><Relationship Id="rId2" Type="http://schemas.openxmlformats.org/officeDocument/2006/relationships/tags" Target="../tags/tag126.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21.xml"/><Relationship Id="rId4"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128.xml"/><Relationship Id="rId1" Type="http://schemas.openxmlformats.org/officeDocument/2006/relationships/vmlDrawing" Target="../drawings/vmlDrawing36.vml"/><Relationship Id="rId6" Type="http://schemas.openxmlformats.org/officeDocument/2006/relationships/image" Target="../media/image19.emf"/><Relationship Id="rId5" Type="http://schemas.openxmlformats.org/officeDocument/2006/relationships/oleObject" Target="../embeddings/oleObject36.bin"/><Relationship Id="rId4" Type="http://schemas.openxmlformats.org/officeDocument/2006/relationships/notesSlide" Target="../notesSlides/notesSlide22.xml"/></Relationships>
</file>

<file path=ppt/slides/_rels/slide25.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24.emf"/><Relationship Id="rId2" Type="http://schemas.openxmlformats.org/officeDocument/2006/relationships/tags" Target="../tags/tag129.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23.xml"/><Relationship Id="rId4"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8" Type="http://schemas.openxmlformats.org/officeDocument/2006/relationships/image" Target="../media/image34.jpg"/><Relationship Id="rId3" Type="http://schemas.openxmlformats.org/officeDocument/2006/relationships/tags" Target="../tags/tag132.xml"/><Relationship Id="rId7" Type="http://schemas.openxmlformats.org/officeDocument/2006/relationships/image" Target="../media/image19.emf"/><Relationship Id="rId2" Type="http://schemas.openxmlformats.org/officeDocument/2006/relationships/tags" Target="../tags/tag131.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24.xml"/><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vmlDrawing" Target="../drawings/vmlDrawing39.vml"/><Relationship Id="rId6" Type="http://schemas.openxmlformats.org/officeDocument/2006/relationships/image" Target="../media/image24.emf"/><Relationship Id="rId5" Type="http://schemas.openxmlformats.org/officeDocument/2006/relationships/oleObject" Target="../embeddings/oleObject39.bin"/><Relationship Id="rId4"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35.emf"/><Relationship Id="rId2" Type="http://schemas.openxmlformats.org/officeDocument/2006/relationships/tags" Target="../tags/tag135.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25.xml"/><Relationship Id="rId4"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17.emf"/><Relationship Id="rId2" Type="http://schemas.openxmlformats.org/officeDocument/2006/relationships/tags" Target="../tags/tag137.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26.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7.emf"/><Relationship Id="rId2" Type="http://schemas.openxmlformats.org/officeDocument/2006/relationships/tags" Target="../tags/tag80.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42.vml"/><Relationship Id="rId6" Type="http://schemas.openxmlformats.org/officeDocument/2006/relationships/image" Target="../media/image17.emf"/><Relationship Id="rId5" Type="http://schemas.openxmlformats.org/officeDocument/2006/relationships/oleObject" Target="../embeddings/oleObject42.bin"/><Relationship Id="rId4"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1.xml"/><Relationship Id="rId1" Type="http://schemas.openxmlformats.org/officeDocument/2006/relationships/vmlDrawing" Target="../drawings/vmlDrawing43.vml"/><Relationship Id="rId6" Type="http://schemas.openxmlformats.org/officeDocument/2006/relationships/image" Target="../media/image36.emf"/><Relationship Id="rId5" Type="http://schemas.openxmlformats.org/officeDocument/2006/relationships/oleObject" Target="../embeddings/oleObject43.bin"/><Relationship Id="rId4" Type="http://schemas.openxmlformats.org/officeDocument/2006/relationships/notesSlide" Target="../notesSlides/notesSlide27.xml"/></Relationships>
</file>

<file path=ppt/slides/_rels/slide32.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143.xml"/><Relationship Id="rId7" Type="http://schemas.openxmlformats.org/officeDocument/2006/relationships/oleObject" Target="../embeddings/oleObject44.bin"/><Relationship Id="rId2" Type="http://schemas.openxmlformats.org/officeDocument/2006/relationships/tags" Target="../tags/tag142.xml"/><Relationship Id="rId1" Type="http://schemas.openxmlformats.org/officeDocument/2006/relationships/vmlDrawing" Target="../drawings/vmlDrawing44.vml"/><Relationship Id="rId6" Type="http://schemas.openxmlformats.org/officeDocument/2006/relationships/slideLayout" Target="../slideLayouts/slideLayout42.xml"/><Relationship Id="rId11" Type="http://schemas.openxmlformats.org/officeDocument/2006/relationships/image" Target="../media/image39.png"/><Relationship Id="rId5" Type="http://schemas.openxmlformats.org/officeDocument/2006/relationships/tags" Target="../tags/tag145.xml"/><Relationship Id="rId10" Type="http://schemas.openxmlformats.org/officeDocument/2006/relationships/image" Target="../media/image38.png"/><Relationship Id="rId4" Type="http://schemas.openxmlformats.org/officeDocument/2006/relationships/tags" Target="../tags/tag144.xml"/><Relationship Id="rId9" Type="http://schemas.openxmlformats.org/officeDocument/2006/relationships/image" Target="../media/image37.png"/></Relationships>
</file>

<file path=ppt/slides/_rels/slide3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147.xml"/><Relationship Id="rId7" Type="http://schemas.openxmlformats.org/officeDocument/2006/relationships/image" Target="../media/image22.emf"/><Relationship Id="rId2" Type="http://schemas.openxmlformats.org/officeDocument/2006/relationships/tags" Target="../tags/tag146.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28.xml"/><Relationship Id="rId4"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tags" Target="../tags/tag149.xml"/><Relationship Id="rId7" Type="http://schemas.openxmlformats.org/officeDocument/2006/relationships/oleObject" Target="../embeddings/oleObject46.bin"/><Relationship Id="rId2" Type="http://schemas.openxmlformats.org/officeDocument/2006/relationships/tags" Target="../tags/tag148.xml"/><Relationship Id="rId1" Type="http://schemas.openxmlformats.org/officeDocument/2006/relationships/vmlDrawing" Target="../drawings/vmlDrawing46.vml"/><Relationship Id="rId6" Type="http://schemas.openxmlformats.org/officeDocument/2006/relationships/notesSlide" Target="../notesSlides/notesSlide29.xml"/><Relationship Id="rId5" Type="http://schemas.openxmlformats.org/officeDocument/2006/relationships/slideLayout" Target="../slideLayouts/slideLayout2.xml"/><Relationship Id="rId10" Type="http://schemas.openxmlformats.org/officeDocument/2006/relationships/hyperlink" Target="https://bcg01.egnyte.com/dl/fo6kVZAMAM/" TargetMode="External"/><Relationship Id="rId4" Type="http://schemas.openxmlformats.org/officeDocument/2006/relationships/tags" Target="../tags/tag150.xml"/><Relationship Id="rId9" Type="http://schemas.openxmlformats.org/officeDocument/2006/relationships/image" Target="../media/image41.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52.xml"/><Relationship Id="rId7" Type="http://schemas.openxmlformats.org/officeDocument/2006/relationships/image" Target="../media/image22.emf"/><Relationship Id="rId2" Type="http://schemas.openxmlformats.org/officeDocument/2006/relationships/tags" Target="../tags/tag151.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30.xml"/><Relationship Id="rId4" Type="http://schemas.openxmlformats.org/officeDocument/2006/relationships/slideLayout" Target="../slideLayouts/slideLayout9.xml"/><Relationship Id="rId9" Type="http://schemas.openxmlformats.org/officeDocument/2006/relationships/image" Target="../media/image23.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tags" Target="../tags/tag153.xml"/><Relationship Id="rId1" Type="http://schemas.openxmlformats.org/officeDocument/2006/relationships/vmlDrawing" Target="../drawings/vmlDrawing48.vml"/><Relationship Id="rId5" Type="http://schemas.openxmlformats.org/officeDocument/2006/relationships/image" Target="../media/image24.emf"/><Relationship Id="rId4" Type="http://schemas.openxmlformats.org/officeDocument/2006/relationships/oleObject" Target="../embeddings/oleObject48.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154.xml"/><Relationship Id="rId1" Type="http://schemas.openxmlformats.org/officeDocument/2006/relationships/vmlDrawing" Target="../drawings/vmlDrawing49.vml"/><Relationship Id="rId5" Type="http://schemas.openxmlformats.org/officeDocument/2006/relationships/image" Target="../media/image24.emf"/><Relationship Id="rId4" Type="http://schemas.openxmlformats.org/officeDocument/2006/relationships/oleObject" Target="../embeddings/oleObject49.bin"/></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9.emf"/><Relationship Id="rId2" Type="http://schemas.openxmlformats.org/officeDocument/2006/relationships/tags" Target="../tags/tag8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85.xml"/><Relationship Id="rId7" Type="http://schemas.openxmlformats.org/officeDocument/2006/relationships/image" Target="../media/image17.emf"/><Relationship Id="rId2" Type="http://schemas.openxmlformats.org/officeDocument/2006/relationships/tags" Target="../tags/tag84.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7.xml"/><Relationship Id="rId4"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87.xml"/><Relationship Id="rId7" Type="http://schemas.openxmlformats.org/officeDocument/2006/relationships/image" Target="../media/image22.emf"/><Relationship Id="rId2" Type="http://schemas.openxmlformats.org/officeDocument/2006/relationships/tags" Target="../tags/tag8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8.xml"/><Relationship Id="rId4" Type="http://schemas.openxmlformats.org/officeDocument/2006/relationships/slideLayout" Target="../slideLayouts/slideLayout9.xml"/><Relationship Id="rId9" Type="http://schemas.openxmlformats.org/officeDocument/2006/relationships/image" Target="../media/image23.png"/></Relationships>
</file>

<file path=ppt/slides/_rels/slide9.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image" Target="../media/image24.emf"/><Relationship Id="rId3" Type="http://schemas.openxmlformats.org/officeDocument/2006/relationships/tags" Target="../tags/tag89.xml"/><Relationship Id="rId21" Type="http://schemas.openxmlformats.org/officeDocument/2006/relationships/chart" Target="../charts/chart2.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oleObject" Target="../embeddings/oleObject24.bin"/><Relationship Id="rId2" Type="http://schemas.openxmlformats.org/officeDocument/2006/relationships/tags" Target="../tags/tag88.xml"/><Relationship Id="rId16" Type="http://schemas.openxmlformats.org/officeDocument/2006/relationships/notesSlide" Target="../notesSlides/notesSlide9.xml"/><Relationship Id="rId20" Type="http://schemas.openxmlformats.org/officeDocument/2006/relationships/chart" Target="../charts/chart1.xml"/><Relationship Id="rId1" Type="http://schemas.openxmlformats.org/officeDocument/2006/relationships/vmlDrawing" Target="../drawings/vmlDrawing24.v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slideLayout" Target="../slideLayouts/slideLayout30.xml"/><Relationship Id="rId23" Type="http://schemas.microsoft.com/office/2007/relationships/hdphoto" Target="../media/hdphoto1.wdp"/><Relationship Id="rId10" Type="http://schemas.openxmlformats.org/officeDocument/2006/relationships/tags" Target="../tags/tag96.xml"/><Relationship Id="rId19" Type="http://schemas.openxmlformats.org/officeDocument/2006/relationships/image" Target="../media/image25.png"/><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 Id="rId22"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934381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94"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400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4" name="Picture Placeholder 3"/>
          <p:cNvPicPr>
            <a:picLocks noGrp="1" noChangeAspect="1"/>
          </p:cNvPicPr>
          <p:nvPr>
            <p:ph type="pic" sz="quarter" idx="13"/>
          </p:nvPr>
        </p:nvPicPr>
        <p:blipFill rotWithShape="1">
          <a:blip r:embed="rId8">
            <a:extLst>
              <a:ext uri="{28A0092B-C50C-407E-A947-70E740481C1C}">
                <a14:useLocalDpi xmlns:a14="http://schemas.microsoft.com/office/drawing/2010/main" val="0"/>
              </a:ext>
            </a:extLst>
          </a:blip>
          <a:srcRect l="2862" t="1399" r="-3098" b="12063"/>
          <a:stretch/>
        </p:blipFill>
        <p:spPr>
          <a:xfrm>
            <a:off x="9137905" y="5570642"/>
            <a:ext cx="2426208" cy="1043518"/>
          </a:xfrm>
          <a:effectLst/>
        </p:spPr>
      </p:pic>
      <p:sp>
        <p:nvSpPr>
          <p:cNvPr id="13" name="Text Placeholder 12"/>
          <p:cNvSpPr>
            <a:spLocks noGrp="1"/>
          </p:cNvSpPr>
          <p:nvPr>
            <p:ph type="body" sz="quarter" idx="12"/>
          </p:nvPr>
        </p:nvSpPr>
        <p:spPr/>
        <p:txBody>
          <a:bodyPr/>
          <a:lstStyle/>
          <a:p>
            <a:r>
              <a:rPr lang="en-US" dirty="0"/>
              <a:t>September, 2019</a:t>
            </a:r>
          </a:p>
        </p:txBody>
      </p:sp>
      <p:sp>
        <p:nvSpPr>
          <p:cNvPr id="12" name="Subtitle 11"/>
          <p:cNvSpPr>
            <a:spLocks noGrp="1"/>
          </p:cNvSpPr>
          <p:nvPr>
            <p:ph type="subTitle" idx="1"/>
          </p:nvPr>
        </p:nvSpPr>
        <p:spPr/>
        <p:txBody>
          <a:bodyPr/>
          <a:lstStyle/>
          <a:p>
            <a:r>
              <a:rPr lang="en-US" sz="2000" dirty="0"/>
              <a:t>Jim Hemerling</a:t>
            </a:r>
          </a:p>
        </p:txBody>
      </p:sp>
      <p:sp>
        <p:nvSpPr>
          <p:cNvPr id="11" name="Title 10"/>
          <p:cNvSpPr>
            <a:spLocks noGrp="1"/>
          </p:cNvSpPr>
          <p:nvPr>
            <p:ph type="ctrTitle"/>
          </p:nvPr>
        </p:nvSpPr>
        <p:spPr/>
        <p:txBody>
          <a:bodyPr>
            <a:normAutofit/>
          </a:bodyPr>
          <a:lstStyle/>
          <a:p>
            <a:r>
              <a:rPr lang="en-US" sz="4000" dirty="0"/>
              <a:t>Leading in an Era of Constant Change - The Head, Heart, and Hands of Transformational Leadership</a:t>
            </a:r>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6215145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9" name="think-cell Slide" r:id="rId9" imgW="411" imgH="409" progId="TCLayout.ActiveDocument.1">
                  <p:embed/>
                </p:oleObj>
              </mc:Choice>
              <mc:Fallback>
                <p:oleObj name="think-cell Slide" r:id="rId9" imgW="411" imgH="409"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600" dirty="0">
              <a:solidFill>
                <a:srgbClr val="FFFFFF"/>
              </a:solidFill>
              <a:latin typeface="Trebuchet MS" panose="020B0603020202020204" pitchFamily="34" charset="0"/>
              <a:ea typeface="+mj-ea"/>
              <a:cs typeface="+mj-cs"/>
              <a:sym typeface="Trebuchet MS" panose="020B0603020202020204" pitchFamily="34" charset="0"/>
            </a:endParaRPr>
          </a:p>
        </p:txBody>
      </p:sp>
      <p:grpSp>
        <p:nvGrpSpPr>
          <p:cNvPr id="3" name="Group 2"/>
          <p:cNvGrpSpPr/>
          <p:nvPr/>
        </p:nvGrpSpPr>
        <p:grpSpPr>
          <a:xfrm>
            <a:off x="2784812" y="-1306"/>
            <a:ext cx="9420320" cy="6859309"/>
            <a:chOff x="2849018" y="-1309"/>
            <a:chExt cx="9324776" cy="6859309"/>
          </a:xfrm>
        </p:grpSpPr>
        <p:pic>
          <p:nvPicPr>
            <p:cNvPr id="24" name="Picture 23"/>
            <p:cNvPicPr>
              <a:picLocks noChangeAspect="1"/>
            </p:cNvPicPr>
            <p:nvPr/>
          </p:nvPicPr>
          <p:blipFill rotWithShape="1">
            <a:blip r:embed="rId11" cstate="print">
              <a:extLst>
                <a:ext uri="{28A0092B-C50C-407E-A947-70E740481C1C}">
                  <a14:useLocalDpi xmlns:a14="http://schemas.microsoft.com/office/drawing/2010/main"/>
                </a:ext>
              </a:extLst>
            </a:blip>
            <a:srcRect l="29398" t="8741" r="101" b="27"/>
            <a:stretch/>
          </p:blipFill>
          <p:spPr bwMode="ltGray">
            <a:xfrm flipH="1">
              <a:off x="2849018" y="0"/>
              <a:ext cx="416951" cy="6858000"/>
            </a:xfrm>
            <a:prstGeom prst="rect">
              <a:avLst/>
            </a:prstGeom>
          </p:spPr>
        </p:pic>
        <p:sp>
          <p:nvSpPr>
            <p:cNvPr id="25" name="Rectangle 24"/>
            <p:cNvSpPr/>
            <p:nvPr/>
          </p:nvSpPr>
          <p:spPr bwMode="white">
            <a:xfrm>
              <a:off x="3258713" y="-1309"/>
              <a:ext cx="8915081"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grpSp>
      <p:pic>
        <p:nvPicPr>
          <p:cNvPr id="23" name="Picture 22"/>
          <p:cNvPicPr>
            <a:picLocks noChangeAspect="1"/>
          </p:cNvPicPr>
          <p:nvPr/>
        </p:nvPicPr>
        <p:blipFill>
          <a:blip r:embed="rId12"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43927" y="598098"/>
            <a:ext cx="1921636" cy="5543608"/>
          </a:xfrm>
          <a:prstGeom prst="rect">
            <a:avLst/>
          </a:prstGeom>
        </p:spPr>
      </p:pic>
      <p:graphicFrame>
        <p:nvGraphicFramePr>
          <p:cNvPr id="15" name="Chart 14"/>
          <p:cNvGraphicFramePr/>
          <p:nvPr>
            <p:custDataLst>
              <p:tags r:id="rId5"/>
            </p:custDataLst>
          </p:nvPr>
        </p:nvGraphicFramePr>
        <p:xfrm>
          <a:off x="7248525" y="1647825"/>
          <a:ext cx="3730625" cy="4467225"/>
        </p:xfrm>
        <a:graphic>
          <a:graphicData uri="http://schemas.openxmlformats.org/drawingml/2006/chart">
            <c:chart xmlns:c="http://schemas.openxmlformats.org/drawingml/2006/chart" xmlns:r="http://schemas.openxmlformats.org/officeDocument/2006/relationships" r:id="rId13"/>
          </a:graphicData>
        </a:graphic>
      </p:graphicFrame>
      <p:sp>
        <p:nvSpPr>
          <p:cNvPr id="18" name="Text Placeholder 3"/>
          <p:cNvSpPr>
            <a:spLocks noGrp="1"/>
          </p:cNvSpPr>
          <p:nvPr>
            <p:custDataLst>
              <p:tags r:id="rId6"/>
            </p:custDataLst>
          </p:nvPr>
        </p:nvSpPr>
        <p:spPr bwMode="gray">
          <a:xfrm>
            <a:off x="10922000" y="2355850"/>
            <a:ext cx="206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7C2F3EE-E274-4609-8B3F-F09CAFBE1FD3}" type="datetime'''''''''''''''''''''''''''''''''''''''''''''6''''''9'''''''">
              <a:rPr lang="en-US" altLang="en-US" smtClean="0">
                <a:latin typeface="Corpid C1 Regular"/>
                <a:sym typeface="Corpid C1 Regular"/>
              </a:rPr>
              <a:pPr>
                <a:lnSpc>
                  <a:spcPct val="100000"/>
                </a:lnSpc>
                <a:spcBef>
                  <a:spcPct val="0"/>
                </a:spcBef>
                <a:spcAft>
                  <a:spcPct val="0"/>
                </a:spcAft>
              </a:pPr>
              <a:t>69</a:t>
            </a:fld>
            <a:endParaRPr lang="en-US" dirty="0">
              <a:latin typeface="Corpid C1 Regular"/>
              <a:sym typeface="Corpid C1 Regular"/>
            </a:endParaRPr>
          </a:p>
        </p:txBody>
      </p:sp>
      <p:sp>
        <p:nvSpPr>
          <p:cNvPr id="33" name="Rectangle 32"/>
          <p:cNvSpPr/>
          <p:nvPr/>
        </p:nvSpPr>
        <p:spPr>
          <a:xfrm>
            <a:off x="4226665" y="1790036"/>
            <a:ext cx="2745334" cy="1107996"/>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fontAlgn="base">
              <a:spcBef>
                <a:spcPct val="0"/>
              </a:spcBef>
              <a:spcAft>
                <a:spcPct val="0"/>
              </a:spcAft>
            </a:pPr>
            <a:r>
              <a:rPr lang="en-AU" sz="2400" b="1" dirty="0">
                <a:solidFill>
                  <a:schemeClr val="tx2"/>
                </a:solidFill>
                <a:latin typeface="Corpid C1 Regular"/>
                <a:cs typeface="Arial"/>
              </a:rPr>
              <a:t>Envision the future and focus on the big rocks</a:t>
            </a:r>
            <a:endParaRPr lang="en-US" sz="2400" b="1" dirty="0">
              <a:solidFill>
                <a:schemeClr val="tx2"/>
              </a:solidFill>
              <a:latin typeface="Corpid C1 Regular"/>
              <a:cs typeface="Arial"/>
            </a:endParaRPr>
          </a:p>
        </p:txBody>
      </p:sp>
      <p:sp>
        <p:nvSpPr>
          <p:cNvPr id="34" name="Rectangle 33"/>
          <p:cNvSpPr/>
          <p:nvPr/>
        </p:nvSpPr>
        <p:spPr>
          <a:xfrm>
            <a:off x="4207407" y="4997702"/>
            <a:ext cx="2741858" cy="1107996"/>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fontAlgn="base">
              <a:spcBef>
                <a:spcPct val="0"/>
              </a:spcBef>
              <a:spcAft>
                <a:spcPct val="0"/>
              </a:spcAft>
            </a:pPr>
            <a:r>
              <a:rPr lang="en-AU" sz="2400" b="1" dirty="0">
                <a:solidFill>
                  <a:schemeClr val="tx2"/>
                </a:solidFill>
                <a:latin typeface="Corpid C1 Regular"/>
                <a:cs typeface="Arial"/>
              </a:rPr>
              <a:t>Execute and innovate with agility</a:t>
            </a:r>
            <a:endParaRPr lang="en-US" sz="2400" b="1" dirty="0">
              <a:solidFill>
                <a:schemeClr val="tx2"/>
              </a:solidFill>
              <a:latin typeface="Corpid C1 Regular"/>
              <a:cs typeface="Arial"/>
            </a:endParaRPr>
          </a:p>
        </p:txBody>
      </p:sp>
      <p:sp>
        <p:nvSpPr>
          <p:cNvPr id="48" name="Rectangle 47"/>
          <p:cNvSpPr/>
          <p:nvPr/>
        </p:nvSpPr>
        <p:spPr>
          <a:xfrm>
            <a:off x="4218447" y="3346495"/>
            <a:ext cx="2821262" cy="1107996"/>
          </a:xfrm>
          <a:prstGeom prst="rect">
            <a:avLst/>
          </a:prstGeom>
        </p:spPr>
        <p:txBody>
          <a:bodyPr wrap="square" lIns="0" tIns="0" rIns="0" bIns="0">
            <a:spAutoFit/>
          </a:bodyPr>
          <a:lstStyle/>
          <a:p>
            <a:pPr defTabSz="1219170" fontAlgn="base">
              <a:spcBef>
                <a:spcPct val="0"/>
              </a:spcBef>
              <a:spcAft>
                <a:spcPct val="0"/>
              </a:spcAft>
            </a:pPr>
            <a:r>
              <a:rPr lang="en-AU" sz="2400" b="1" dirty="0">
                <a:solidFill>
                  <a:schemeClr val="tx2"/>
                </a:solidFill>
                <a:latin typeface="Corpid C1 Regular"/>
                <a:cs typeface="Arial"/>
              </a:rPr>
              <a:t>Inspire and empower your people</a:t>
            </a:r>
            <a:endParaRPr lang="en-US" sz="2400" b="1" dirty="0">
              <a:solidFill>
                <a:schemeClr val="tx2"/>
              </a:solidFill>
              <a:latin typeface="Corpid C1 Regular"/>
              <a:cs typeface="Arial"/>
            </a:endParaRPr>
          </a:p>
        </p:txBody>
      </p:sp>
      <p:sp>
        <p:nvSpPr>
          <p:cNvPr id="55" name="Title 1"/>
          <p:cNvSpPr>
            <a:spLocks noGrp="1"/>
          </p:cNvSpPr>
          <p:nvPr>
            <p:ph type="title"/>
          </p:nvPr>
        </p:nvSpPr>
        <p:spPr>
          <a:xfrm>
            <a:off x="3426594" y="567401"/>
            <a:ext cx="8508732" cy="498598"/>
          </a:xfrm>
        </p:spPr>
        <p:txBody>
          <a:bodyPr wrap="square">
            <a:spAutoFit/>
          </a:bodyPr>
          <a:lstStyle/>
          <a:p>
            <a:pPr>
              <a:buSzPts val="2400"/>
            </a:pPr>
            <a:r>
              <a:rPr lang="en-US" sz="3600" dirty="0">
                <a:solidFill>
                  <a:srgbClr val="29BA74"/>
                </a:solidFill>
              </a:rPr>
              <a:t>The heart and hands are often neglected</a:t>
            </a:r>
            <a:endParaRPr lang="en-AU" sz="3600" dirty="0">
              <a:solidFill>
                <a:srgbClr val="29BA74"/>
              </a:solidFill>
            </a:endParaRPr>
          </a:p>
        </p:txBody>
      </p:sp>
    </p:spTree>
    <p:custDataLst>
      <p:tags r:id="rId2"/>
    </p:custDataLst>
    <p:extLst>
      <p:ext uri="{BB962C8B-B14F-4D97-AF65-F5344CB8AC3E}">
        <p14:creationId xmlns:p14="http://schemas.microsoft.com/office/powerpoint/2010/main" val="1253605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6527476" cy="941796"/>
          </a:xfrm>
        </p:spPr>
        <p:txBody>
          <a:bodyPr/>
          <a:lstStyle/>
          <a:p>
            <a:r>
              <a:rPr lang="en-US" dirty="0"/>
              <a:t>What Microsoft has accomplished thus far</a:t>
            </a:r>
          </a:p>
        </p:txBody>
      </p:sp>
      <p:sp>
        <p:nvSpPr>
          <p:cNvPr id="6" name="Oval 5"/>
          <p:cNvSpPr>
            <a:spLocks noChangeAspect="1"/>
          </p:cNvSpPr>
          <p:nvPr/>
        </p:nvSpPr>
        <p:spPr>
          <a:xfrm>
            <a:off x="8875312" y="1892805"/>
            <a:ext cx="2085696" cy="2085694"/>
          </a:xfrm>
          <a:prstGeom prst="ellipse">
            <a:avLst/>
          </a:prstGeom>
          <a:solidFill>
            <a:srgbClr val="FFFFFF"/>
          </a:solidFill>
          <a:ln w="762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2000" kern="0" dirty="0">
                <a:solidFill>
                  <a:srgbClr val="29BA74"/>
                </a:solidFill>
              </a:rPr>
              <a:t>Market </a:t>
            </a:r>
          </a:p>
          <a:p>
            <a:pPr algn="ctr">
              <a:lnSpc>
                <a:spcPct val="95000"/>
              </a:lnSpc>
            </a:pPr>
            <a:r>
              <a:rPr lang="en-US" sz="2000" kern="0" dirty="0">
                <a:solidFill>
                  <a:srgbClr val="29BA74"/>
                </a:solidFill>
              </a:rPr>
              <a:t>Capitalization</a:t>
            </a:r>
          </a:p>
          <a:p>
            <a:pPr algn="ctr">
              <a:lnSpc>
                <a:spcPct val="95000"/>
              </a:lnSpc>
            </a:pPr>
            <a:r>
              <a:rPr lang="en-US" sz="2000" kern="0" dirty="0">
                <a:solidFill>
                  <a:srgbClr val="29BA74"/>
                </a:solidFill>
              </a:rPr>
              <a:t>increased from</a:t>
            </a:r>
          </a:p>
          <a:p>
            <a:pPr algn="ctr">
              <a:lnSpc>
                <a:spcPct val="95000"/>
              </a:lnSpc>
            </a:pPr>
            <a:r>
              <a:rPr lang="en-US" sz="2000" kern="0" dirty="0">
                <a:solidFill>
                  <a:srgbClr val="29BA74"/>
                </a:solidFill>
              </a:rPr>
              <a:t>$300B to</a:t>
            </a:r>
          </a:p>
          <a:p>
            <a:pPr algn="ctr">
              <a:lnSpc>
                <a:spcPct val="95000"/>
              </a:lnSpc>
            </a:pPr>
            <a:r>
              <a:rPr lang="en-US" sz="2000" kern="0" dirty="0">
                <a:solidFill>
                  <a:srgbClr val="29BA74"/>
                </a:solidFill>
              </a:rPr>
              <a:t>&gt;$1Trillion</a:t>
            </a:r>
          </a:p>
        </p:txBody>
      </p:sp>
      <p:sp>
        <p:nvSpPr>
          <p:cNvPr id="7" name="TextBox 6"/>
          <p:cNvSpPr txBox="1"/>
          <p:nvPr/>
        </p:nvSpPr>
        <p:spPr>
          <a:xfrm>
            <a:off x="8761329" y="4253336"/>
            <a:ext cx="2199679" cy="9077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rgbClr val="D4DF33"/>
                </a:solidFill>
              </a:rPr>
              <a:t>Value creation since February 2014 under Satya Nadella</a:t>
            </a:r>
            <a:endParaRPr lang="en-US" dirty="0">
              <a:solidFill>
                <a:srgbClr val="D4DF33"/>
              </a:solidFill>
            </a:endParaRPr>
          </a:p>
        </p:txBody>
      </p:sp>
      <p:sp>
        <p:nvSpPr>
          <p:cNvPr id="8" name="ee4pContent1"/>
          <p:cNvSpPr txBox="1"/>
          <p:nvPr/>
        </p:nvSpPr>
        <p:spPr>
          <a:xfrm>
            <a:off x="331317" y="2856563"/>
            <a:ext cx="2314405" cy="11079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800" dirty="0">
                <a:solidFill>
                  <a:srgbClr val="29BA74"/>
                </a:solidFill>
              </a:rPr>
              <a:t>Massively accelerated  growth </a:t>
            </a:r>
            <a:r>
              <a:rPr lang="en-US" sz="1800" dirty="0"/>
              <a:t>in cloud platforms and services</a:t>
            </a:r>
          </a:p>
          <a:p>
            <a:pPr algn="ctr"/>
            <a:endParaRPr lang="en-US" sz="1800" dirty="0">
              <a:solidFill>
                <a:srgbClr val="29BA74"/>
              </a:solidFill>
              <a:latin typeface="+mn-lt"/>
            </a:endParaRPr>
          </a:p>
        </p:txBody>
      </p:sp>
      <p:sp>
        <p:nvSpPr>
          <p:cNvPr id="9" name="ee4pContent1"/>
          <p:cNvSpPr txBox="1"/>
          <p:nvPr/>
        </p:nvSpPr>
        <p:spPr>
          <a:xfrm>
            <a:off x="164197" y="5540426"/>
            <a:ext cx="2183451"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800" dirty="0">
                <a:solidFill>
                  <a:srgbClr val="29BA74"/>
                </a:solidFill>
                <a:latin typeface="+mn-lt"/>
              </a:rPr>
              <a:t>New innovation model in engineering</a:t>
            </a:r>
            <a:r>
              <a:rPr lang="en-US" sz="1800" dirty="0">
                <a:latin typeface="+mn-lt"/>
              </a:rPr>
              <a:t> built around agile</a:t>
            </a:r>
          </a:p>
        </p:txBody>
      </p:sp>
      <p:grpSp>
        <p:nvGrpSpPr>
          <p:cNvPr id="10" name="bcgIcons_Cloud">
            <a:extLst>
              <a:ext uri="{FF2B5EF4-FFF2-40B4-BE49-F238E27FC236}">
                <a16:creationId xmlns:a16="http://schemas.microsoft.com/office/drawing/2014/main" id="{8843411F-0CB7-4823-B0D3-C7A128895AC4}"/>
              </a:ext>
            </a:extLst>
          </p:cNvPr>
          <p:cNvGrpSpPr>
            <a:grpSpLocks noChangeAspect="1"/>
          </p:cNvGrpSpPr>
          <p:nvPr/>
        </p:nvGrpSpPr>
        <p:grpSpPr bwMode="auto">
          <a:xfrm>
            <a:off x="863344" y="1677886"/>
            <a:ext cx="1143003" cy="1144063"/>
            <a:chOff x="1682" y="0"/>
            <a:chExt cx="4316" cy="4320"/>
          </a:xfrm>
        </p:grpSpPr>
        <p:sp>
          <p:nvSpPr>
            <p:cNvPr id="11" name="AutoShape 19">
              <a:extLst>
                <a:ext uri="{FF2B5EF4-FFF2-40B4-BE49-F238E27FC236}">
                  <a16:creationId xmlns:a16="http://schemas.microsoft.com/office/drawing/2014/main" id="{5CA2558F-67FF-4AC4-8E30-1EACB8F9D27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p>
          </p:txBody>
        </p:sp>
        <p:sp>
          <p:nvSpPr>
            <p:cNvPr id="12" name="Freeform 21">
              <a:extLst>
                <a:ext uri="{FF2B5EF4-FFF2-40B4-BE49-F238E27FC236}">
                  <a16:creationId xmlns:a16="http://schemas.microsoft.com/office/drawing/2014/main" id="{0D93CD9F-0F07-49CC-80B4-188C6F8BD385}"/>
                </a:ext>
              </a:extLst>
            </p:cNvPr>
            <p:cNvSpPr>
              <a:spLocks noEditPoints="1"/>
            </p:cNvSpPr>
            <p:nvPr/>
          </p:nvSpPr>
          <p:spPr bwMode="auto">
            <a:xfrm>
              <a:off x="2285" y="1153"/>
              <a:ext cx="3095" cy="1894"/>
            </a:xfrm>
            <a:custGeom>
              <a:avLst/>
              <a:gdLst>
                <a:gd name="T0" fmla="*/ 1652 w 1652"/>
                <a:gd name="T1" fmla="*/ 437 h 1010"/>
                <a:gd name="T2" fmla="*/ 1503 w 1652"/>
                <a:gd name="T3" fmla="*/ 584 h 1010"/>
                <a:gd name="T4" fmla="*/ 1499 w 1652"/>
                <a:gd name="T5" fmla="*/ 584 h 1010"/>
                <a:gd name="T6" fmla="*/ 1305 w 1652"/>
                <a:gd name="T7" fmla="*/ 385 h 1010"/>
                <a:gd name="T8" fmla="*/ 1051 w 1652"/>
                <a:gd name="T9" fmla="*/ 262 h 1010"/>
                <a:gd name="T10" fmla="*/ 1049 w 1652"/>
                <a:gd name="T11" fmla="*/ 262 h 1010"/>
                <a:gd name="T12" fmla="*/ 983 w 1652"/>
                <a:gd name="T13" fmla="*/ 199 h 1010"/>
                <a:gd name="T14" fmla="*/ 844 w 1652"/>
                <a:gd name="T15" fmla="*/ 152 h 1010"/>
                <a:gd name="T16" fmla="*/ 818 w 1652"/>
                <a:gd name="T17" fmla="*/ 116 h 1010"/>
                <a:gd name="T18" fmla="*/ 1004 w 1652"/>
                <a:gd name="T19" fmla="*/ 0 h 1010"/>
                <a:gd name="T20" fmla="*/ 1202 w 1652"/>
                <a:gd name="T21" fmla="*/ 146 h 1010"/>
                <a:gd name="T22" fmla="*/ 1246 w 1652"/>
                <a:gd name="T23" fmla="*/ 136 h 1010"/>
                <a:gd name="T24" fmla="*/ 1349 w 1652"/>
                <a:gd name="T25" fmla="*/ 229 h 1010"/>
                <a:gd name="T26" fmla="*/ 1408 w 1652"/>
                <a:gd name="T27" fmla="*/ 216 h 1010"/>
                <a:gd name="T28" fmla="*/ 1531 w 1652"/>
                <a:gd name="T29" fmla="*/ 292 h 1010"/>
                <a:gd name="T30" fmla="*/ 1652 w 1652"/>
                <a:gd name="T31" fmla="*/ 437 h 1010"/>
                <a:gd name="T32" fmla="*/ 1220 w 1652"/>
                <a:gd name="T33" fmla="*/ 498 h 1010"/>
                <a:gd name="T34" fmla="*/ 1051 w 1652"/>
                <a:gd name="T35" fmla="*/ 394 h 1010"/>
                <a:gd name="T36" fmla="*/ 970 w 1652"/>
                <a:gd name="T37" fmla="*/ 412 h 1010"/>
                <a:gd name="T38" fmla="*/ 830 w 1652"/>
                <a:gd name="T39" fmla="*/ 284 h 1010"/>
                <a:gd name="T40" fmla="*/ 769 w 1652"/>
                <a:gd name="T41" fmla="*/ 298 h 1010"/>
                <a:gd name="T42" fmla="*/ 497 w 1652"/>
                <a:gd name="T43" fmla="*/ 98 h 1010"/>
                <a:gd name="T44" fmla="*/ 213 w 1652"/>
                <a:gd name="T45" fmla="*/ 379 h 1010"/>
                <a:gd name="T46" fmla="*/ 214 w 1652"/>
                <a:gd name="T47" fmla="*/ 408 h 1010"/>
                <a:gd name="T48" fmla="*/ 0 w 1652"/>
                <a:gd name="T49" fmla="*/ 652 h 1010"/>
                <a:gd name="T50" fmla="*/ 176 w 1652"/>
                <a:gd name="T51" fmla="*/ 889 h 1010"/>
                <a:gd name="T52" fmla="*/ 403 w 1652"/>
                <a:gd name="T53" fmla="*/ 1010 h 1010"/>
                <a:gd name="T54" fmla="*/ 611 w 1652"/>
                <a:gd name="T55" fmla="*/ 914 h 1010"/>
                <a:gd name="T56" fmla="*/ 761 w 1652"/>
                <a:gd name="T57" fmla="*/ 975 h 1010"/>
                <a:gd name="T58" fmla="*/ 907 w 1652"/>
                <a:gd name="T59" fmla="*/ 918 h 1010"/>
                <a:gd name="T60" fmla="*/ 1014 w 1652"/>
                <a:gd name="T61" fmla="*/ 950 h 1010"/>
                <a:gd name="T62" fmla="*/ 1143 w 1652"/>
                <a:gd name="T63" fmla="*/ 900 h 1010"/>
                <a:gd name="T64" fmla="*/ 1181 w 1652"/>
                <a:gd name="T65" fmla="*/ 900 h 1010"/>
                <a:gd name="T66" fmla="*/ 1386 w 1652"/>
                <a:gd name="T67" fmla="*/ 697 h 1010"/>
                <a:gd name="T68" fmla="*/ 1220 w 1652"/>
                <a:gd name="T69" fmla="*/ 498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52" h="1010">
                  <a:moveTo>
                    <a:pt x="1652" y="437"/>
                  </a:moveTo>
                  <a:cubicBezTo>
                    <a:pt x="1652" y="518"/>
                    <a:pt x="1585" y="584"/>
                    <a:pt x="1503" y="584"/>
                  </a:cubicBezTo>
                  <a:cubicBezTo>
                    <a:pt x="1501" y="584"/>
                    <a:pt x="1500" y="584"/>
                    <a:pt x="1499" y="584"/>
                  </a:cubicBezTo>
                  <a:cubicBezTo>
                    <a:pt x="1467" y="495"/>
                    <a:pt x="1397" y="421"/>
                    <a:pt x="1305" y="385"/>
                  </a:cubicBezTo>
                  <a:cubicBezTo>
                    <a:pt x="1245" y="308"/>
                    <a:pt x="1151" y="262"/>
                    <a:pt x="1051" y="262"/>
                  </a:cubicBezTo>
                  <a:cubicBezTo>
                    <a:pt x="1050" y="262"/>
                    <a:pt x="1049" y="262"/>
                    <a:pt x="1049" y="262"/>
                  </a:cubicBezTo>
                  <a:cubicBezTo>
                    <a:pt x="1030" y="238"/>
                    <a:pt x="1009" y="217"/>
                    <a:pt x="983" y="199"/>
                  </a:cubicBezTo>
                  <a:cubicBezTo>
                    <a:pt x="942" y="171"/>
                    <a:pt x="894" y="155"/>
                    <a:pt x="844" y="152"/>
                  </a:cubicBezTo>
                  <a:cubicBezTo>
                    <a:pt x="836" y="140"/>
                    <a:pt x="827" y="128"/>
                    <a:pt x="818" y="116"/>
                  </a:cubicBezTo>
                  <a:cubicBezTo>
                    <a:pt x="851" y="48"/>
                    <a:pt x="922" y="0"/>
                    <a:pt x="1004" y="0"/>
                  </a:cubicBezTo>
                  <a:cubicBezTo>
                    <a:pt x="1098" y="0"/>
                    <a:pt x="1177" y="62"/>
                    <a:pt x="1202" y="146"/>
                  </a:cubicBezTo>
                  <a:cubicBezTo>
                    <a:pt x="1215" y="139"/>
                    <a:pt x="1230" y="136"/>
                    <a:pt x="1246" y="136"/>
                  </a:cubicBezTo>
                  <a:cubicBezTo>
                    <a:pt x="1300" y="136"/>
                    <a:pt x="1344" y="177"/>
                    <a:pt x="1349" y="229"/>
                  </a:cubicBezTo>
                  <a:cubicBezTo>
                    <a:pt x="1367" y="221"/>
                    <a:pt x="1387" y="216"/>
                    <a:pt x="1408" y="216"/>
                  </a:cubicBezTo>
                  <a:cubicBezTo>
                    <a:pt x="1462" y="216"/>
                    <a:pt x="1509" y="247"/>
                    <a:pt x="1531" y="292"/>
                  </a:cubicBezTo>
                  <a:cubicBezTo>
                    <a:pt x="1600" y="305"/>
                    <a:pt x="1652" y="365"/>
                    <a:pt x="1652" y="437"/>
                  </a:cubicBezTo>
                  <a:close/>
                  <a:moveTo>
                    <a:pt x="1220" y="498"/>
                  </a:moveTo>
                  <a:cubicBezTo>
                    <a:pt x="1190" y="436"/>
                    <a:pt x="1126" y="394"/>
                    <a:pt x="1051" y="394"/>
                  </a:cubicBezTo>
                  <a:cubicBezTo>
                    <a:pt x="1023" y="394"/>
                    <a:pt x="995" y="400"/>
                    <a:pt x="970" y="412"/>
                  </a:cubicBezTo>
                  <a:cubicBezTo>
                    <a:pt x="964" y="340"/>
                    <a:pt x="903" y="284"/>
                    <a:pt x="830" y="284"/>
                  </a:cubicBezTo>
                  <a:cubicBezTo>
                    <a:pt x="808" y="284"/>
                    <a:pt x="787" y="289"/>
                    <a:pt x="769" y="298"/>
                  </a:cubicBezTo>
                  <a:cubicBezTo>
                    <a:pt x="734" y="182"/>
                    <a:pt x="625" y="98"/>
                    <a:pt x="497" y="98"/>
                  </a:cubicBezTo>
                  <a:cubicBezTo>
                    <a:pt x="340" y="98"/>
                    <a:pt x="213" y="224"/>
                    <a:pt x="213" y="379"/>
                  </a:cubicBezTo>
                  <a:cubicBezTo>
                    <a:pt x="213" y="388"/>
                    <a:pt x="213" y="398"/>
                    <a:pt x="214" y="408"/>
                  </a:cubicBezTo>
                  <a:cubicBezTo>
                    <a:pt x="93" y="425"/>
                    <a:pt x="0" y="528"/>
                    <a:pt x="0" y="652"/>
                  </a:cubicBezTo>
                  <a:cubicBezTo>
                    <a:pt x="0" y="763"/>
                    <a:pt x="74" y="857"/>
                    <a:pt x="176" y="889"/>
                  </a:cubicBezTo>
                  <a:cubicBezTo>
                    <a:pt x="225" y="962"/>
                    <a:pt x="308" y="1010"/>
                    <a:pt x="403" y="1010"/>
                  </a:cubicBezTo>
                  <a:cubicBezTo>
                    <a:pt x="486" y="1010"/>
                    <a:pt x="561" y="973"/>
                    <a:pt x="611" y="914"/>
                  </a:cubicBezTo>
                  <a:cubicBezTo>
                    <a:pt x="650" y="952"/>
                    <a:pt x="703" y="975"/>
                    <a:pt x="761" y="975"/>
                  </a:cubicBezTo>
                  <a:cubicBezTo>
                    <a:pt x="817" y="975"/>
                    <a:pt x="869" y="954"/>
                    <a:pt x="907" y="918"/>
                  </a:cubicBezTo>
                  <a:cubicBezTo>
                    <a:pt x="938" y="938"/>
                    <a:pt x="974" y="950"/>
                    <a:pt x="1014" y="950"/>
                  </a:cubicBezTo>
                  <a:cubicBezTo>
                    <a:pt x="1063" y="950"/>
                    <a:pt x="1109" y="931"/>
                    <a:pt x="1143" y="900"/>
                  </a:cubicBezTo>
                  <a:cubicBezTo>
                    <a:pt x="1160" y="900"/>
                    <a:pt x="1173" y="900"/>
                    <a:pt x="1181" y="900"/>
                  </a:cubicBezTo>
                  <a:cubicBezTo>
                    <a:pt x="1294" y="900"/>
                    <a:pt x="1386" y="809"/>
                    <a:pt x="1386" y="697"/>
                  </a:cubicBezTo>
                  <a:cubicBezTo>
                    <a:pt x="1386" y="598"/>
                    <a:pt x="1315" y="516"/>
                    <a:pt x="1220" y="49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dirty="0"/>
            </a:p>
          </p:txBody>
        </p:sp>
        <p:sp>
          <p:nvSpPr>
            <p:cNvPr id="13" name="Freeform 22">
              <a:extLst>
                <a:ext uri="{FF2B5EF4-FFF2-40B4-BE49-F238E27FC236}">
                  <a16:creationId xmlns:a16="http://schemas.microsoft.com/office/drawing/2014/main" id="{CD2FC151-B01B-4EED-BBE3-36C1B7D90CB8}"/>
                </a:ext>
              </a:extLst>
            </p:cNvPr>
            <p:cNvSpPr>
              <a:spLocks noEditPoints="1"/>
            </p:cNvSpPr>
            <p:nvPr/>
          </p:nvSpPr>
          <p:spPr bwMode="auto">
            <a:xfrm>
              <a:off x="2120" y="988"/>
              <a:ext cx="3425" cy="2224"/>
            </a:xfrm>
            <a:custGeom>
              <a:avLst/>
              <a:gdLst>
                <a:gd name="T0" fmla="*/ 585 w 1828"/>
                <a:gd name="T1" fmla="*/ 142 h 1186"/>
                <a:gd name="T2" fmla="*/ 782 w 1828"/>
                <a:gd name="T3" fmla="*/ 207 h 1186"/>
                <a:gd name="T4" fmla="*/ 883 w 1828"/>
                <a:gd name="T5" fmla="*/ 331 h 1186"/>
                <a:gd name="T6" fmla="*/ 918 w 1828"/>
                <a:gd name="T7" fmla="*/ 328 h 1186"/>
                <a:gd name="T8" fmla="*/ 1089 w 1828"/>
                <a:gd name="T9" fmla="*/ 443 h 1186"/>
                <a:gd name="T10" fmla="*/ 1139 w 1828"/>
                <a:gd name="T11" fmla="*/ 438 h 1186"/>
                <a:gd name="T12" fmla="*/ 1337 w 1828"/>
                <a:gd name="T13" fmla="*/ 547 h 1186"/>
                <a:gd name="T14" fmla="*/ 1518 w 1828"/>
                <a:gd name="T15" fmla="*/ 785 h 1186"/>
                <a:gd name="T16" fmla="*/ 1269 w 1828"/>
                <a:gd name="T17" fmla="*/ 1032 h 1186"/>
                <a:gd name="T18" fmla="*/ 1247 w 1828"/>
                <a:gd name="T19" fmla="*/ 1032 h 1186"/>
                <a:gd name="T20" fmla="*/ 1102 w 1828"/>
                <a:gd name="T21" fmla="*/ 1082 h 1186"/>
                <a:gd name="T22" fmla="*/ 1000 w 1828"/>
                <a:gd name="T23" fmla="*/ 1059 h 1186"/>
                <a:gd name="T24" fmla="*/ 849 w 1828"/>
                <a:gd name="T25" fmla="*/ 1107 h 1186"/>
                <a:gd name="T26" fmla="*/ 702 w 1828"/>
                <a:gd name="T27" fmla="*/ 1062 h 1186"/>
                <a:gd name="T28" fmla="*/ 491 w 1828"/>
                <a:gd name="T29" fmla="*/ 1142 h 1186"/>
                <a:gd name="T30" fmla="*/ 236 w 1828"/>
                <a:gd name="T31" fmla="*/ 1014 h 1186"/>
                <a:gd name="T32" fmla="*/ 44 w 1828"/>
                <a:gd name="T33" fmla="*/ 740 h 1186"/>
                <a:gd name="T34" fmla="*/ 117 w 1828"/>
                <a:gd name="T35" fmla="*/ 548 h 1186"/>
                <a:gd name="T36" fmla="*/ 257 w 1828"/>
                <a:gd name="T37" fmla="*/ 460 h 1186"/>
                <a:gd name="T38" fmla="*/ 585 w 1828"/>
                <a:gd name="T39" fmla="*/ 142 h 1186"/>
                <a:gd name="T40" fmla="*/ 585 w 1828"/>
                <a:gd name="T41" fmla="*/ 98 h 1186"/>
                <a:gd name="T42" fmla="*/ 324 w 1828"/>
                <a:gd name="T43" fmla="*/ 204 h 1186"/>
                <a:gd name="T44" fmla="*/ 215 w 1828"/>
                <a:gd name="T45" fmla="*/ 428 h 1186"/>
                <a:gd name="T46" fmla="*/ 84 w 1828"/>
                <a:gd name="T47" fmla="*/ 519 h 1186"/>
                <a:gd name="T48" fmla="*/ 0 w 1828"/>
                <a:gd name="T49" fmla="*/ 740 h 1186"/>
                <a:gd name="T50" fmla="*/ 61 w 1828"/>
                <a:gd name="T51" fmla="*/ 933 h 1186"/>
                <a:gd name="T52" fmla="*/ 209 w 1828"/>
                <a:gd name="T53" fmla="*/ 1050 h 1186"/>
                <a:gd name="T54" fmla="*/ 329 w 1828"/>
                <a:gd name="T55" fmla="*/ 1147 h 1186"/>
                <a:gd name="T56" fmla="*/ 491 w 1828"/>
                <a:gd name="T57" fmla="*/ 1186 h 1186"/>
                <a:gd name="T58" fmla="*/ 706 w 1828"/>
                <a:gd name="T59" fmla="*/ 1116 h 1186"/>
                <a:gd name="T60" fmla="*/ 849 w 1828"/>
                <a:gd name="T61" fmla="*/ 1151 h 1186"/>
                <a:gd name="T62" fmla="*/ 1004 w 1828"/>
                <a:gd name="T63" fmla="*/ 1109 h 1186"/>
                <a:gd name="T64" fmla="*/ 1102 w 1828"/>
                <a:gd name="T65" fmla="*/ 1126 h 1186"/>
                <a:gd name="T66" fmla="*/ 1261 w 1828"/>
                <a:gd name="T67" fmla="*/ 1076 h 1186"/>
                <a:gd name="T68" fmla="*/ 1269 w 1828"/>
                <a:gd name="T69" fmla="*/ 1076 h 1186"/>
                <a:gd name="T70" fmla="*/ 1562 w 1828"/>
                <a:gd name="T71" fmla="*/ 785 h 1186"/>
                <a:gd name="T72" fmla="*/ 1365 w 1828"/>
                <a:gd name="T73" fmla="*/ 510 h 1186"/>
                <a:gd name="T74" fmla="*/ 1139 w 1828"/>
                <a:gd name="T75" fmla="*/ 394 h 1186"/>
                <a:gd name="T76" fmla="*/ 1114 w 1828"/>
                <a:gd name="T77" fmla="*/ 395 h 1186"/>
                <a:gd name="T78" fmla="*/ 1046 w 1828"/>
                <a:gd name="T79" fmla="*/ 324 h 1186"/>
                <a:gd name="T80" fmla="*/ 918 w 1828"/>
                <a:gd name="T81" fmla="*/ 284 h 1186"/>
                <a:gd name="T82" fmla="*/ 908 w 1828"/>
                <a:gd name="T83" fmla="*/ 284 h 1186"/>
                <a:gd name="T84" fmla="*/ 808 w 1828"/>
                <a:gd name="T85" fmla="*/ 172 h 1186"/>
                <a:gd name="T86" fmla="*/ 585 w 1828"/>
                <a:gd name="T87" fmla="*/ 98 h 1186"/>
                <a:gd name="T88" fmla="*/ 1781 w 1828"/>
                <a:gd name="T89" fmla="*/ 384 h 1186"/>
                <a:gd name="T90" fmla="*/ 1676 w 1828"/>
                <a:gd name="T91" fmla="*/ 304 h 1186"/>
                <a:gd name="T92" fmla="*/ 1496 w 1828"/>
                <a:gd name="T93" fmla="*/ 216 h 1186"/>
                <a:gd name="T94" fmla="*/ 1490 w 1828"/>
                <a:gd name="T95" fmla="*/ 216 h 1186"/>
                <a:gd name="T96" fmla="*/ 1341 w 1828"/>
                <a:gd name="T97" fmla="*/ 136 h 1186"/>
                <a:gd name="T98" fmla="*/ 1092 w 1828"/>
                <a:gd name="T99" fmla="*/ 0 h 1186"/>
                <a:gd name="T100" fmla="*/ 840 w 1828"/>
                <a:gd name="T101" fmla="*/ 141 h 1186"/>
                <a:gd name="T102" fmla="*/ 874 w 1828"/>
                <a:gd name="T103" fmla="*/ 170 h 1186"/>
                <a:gd name="T104" fmla="*/ 1092 w 1828"/>
                <a:gd name="T105" fmla="*/ 44 h 1186"/>
                <a:gd name="T106" fmla="*/ 1316 w 1828"/>
                <a:gd name="T107" fmla="*/ 181 h 1186"/>
                <a:gd name="T108" fmla="*/ 1334 w 1828"/>
                <a:gd name="T109" fmla="*/ 180 h 1186"/>
                <a:gd name="T110" fmla="*/ 1466 w 1828"/>
                <a:gd name="T111" fmla="*/ 262 h 1186"/>
                <a:gd name="T112" fmla="*/ 1496 w 1828"/>
                <a:gd name="T113" fmla="*/ 260 h 1186"/>
                <a:gd name="T114" fmla="*/ 1648 w 1828"/>
                <a:gd name="T115" fmla="*/ 341 h 1186"/>
                <a:gd name="T116" fmla="*/ 1784 w 1828"/>
                <a:gd name="T117" fmla="*/ 525 h 1186"/>
                <a:gd name="T118" fmla="*/ 1599 w 1828"/>
                <a:gd name="T119" fmla="*/ 716 h 1186"/>
                <a:gd name="T120" fmla="*/ 1605 w 1828"/>
                <a:gd name="T121" fmla="*/ 760 h 1186"/>
                <a:gd name="T122" fmla="*/ 1828 w 1828"/>
                <a:gd name="T123" fmla="*/ 525 h 1186"/>
                <a:gd name="T124" fmla="*/ 1781 w 1828"/>
                <a:gd name="T125" fmla="*/ 384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8" h="1186">
                  <a:moveTo>
                    <a:pt x="585" y="142"/>
                  </a:moveTo>
                  <a:cubicBezTo>
                    <a:pt x="656" y="142"/>
                    <a:pt x="725" y="164"/>
                    <a:pt x="782" y="207"/>
                  </a:cubicBezTo>
                  <a:cubicBezTo>
                    <a:pt x="825" y="240"/>
                    <a:pt x="860" y="283"/>
                    <a:pt x="883" y="331"/>
                  </a:cubicBezTo>
                  <a:cubicBezTo>
                    <a:pt x="894" y="329"/>
                    <a:pt x="906" y="328"/>
                    <a:pt x="918" y="328"/>
                  </a:cubicBezTo>
                  <a:cubicBezTo>
                    <a:pt x="994" y="328"/>
                    <a:pt x="1061" y="375"/>
                    <a:pt x="1089" y="443"/>
                  </a:cubicBezTo>
                  <a:cubicBezTo>
                    <a:pt x="1106" y="440"/>
                    <a:pt x="1122" y="438"/>
                    <a:pt x="1139" y="438"/>
                  </a:cubicBezTo>
                  <a:cubicBezTo>
                    <a:pt x="1221" y="438"/>
                    <a:pt x="1295" y="479"/>
                    <a:pt x="1337" y="547"/>
                  </a:cubicBezTo>
                  <a:cubicBezTo>
                    <a:pt x="1443" y="577"/>
                    <a:pt x="1518" y="674"/>
                    <a:pt x="1518" y="785"/>
                  </a:cubicBezTo>
                  <a:cubicBezTo>
                    <a:pt x="1518" y="921"/>
                    <a:pt x="1406" y="1032"/>
                    <a:pt x="1269" y="1032"/>
                  </a:cubicBezTo>
                  <a:cubicBezTo>
                    <a:pt x="1247" y="1032"/>
                    <a:pt x="1247" y="1032"/>
                    <a:pt x="1247" y="1032"/>
                  </a:cubicBezTo>
                  <a:cubicBezTo>
                    <a:pt x="1206" y="1064"/>
                    <a:pt x="1155" y="1082"/>
                    <a:pt x="1102" y="1082"/>
                  </a:cubicBezTo>
                  <a:cubicBezTo>
                    <a:pt x="1066" y="1082"/>
                    <a:pt x="1031" y="1074"/>
                    <a:pt x="1000" y="1059"/>
                  </a:cubicBezTo>
                  <a:cubicBezTo>
                    <a:pt x="956" y="1090"/>
                    <a:pt x="903" y="1107"/>
                    <a:pt x="849" y="1107"/>
                  </a:cubicBezTo>
                  <a:cubicBezTo>
                    <a:pt x="796" y="1107"/>
                    <a:pt x="745" y="1091"/>
                    <a:pt x="702" y="1062"/>
                  </a:cubicBezTo>
                  <a:cubicBezTo>
                    <a:pt x="644" y="1113"/>
                    <a:pt x="570" y="1142"/>
                    <a:pt x="491" y="1142"/>
                  </a:cubicBezTo>
                  <a:cubicBezTo>
                    <a:pt x="390" y="1142"/>
                    <a:pt x="296" y="1094"/>
                    <a:pt x="236" y="1014"/>
                  </a:cubicBezTo>
                  <a:cubicBezTo>
                    <a:pt x="121" y="972"/>
                    <a:pt x="44" y="863"/>
                    <a:pt x="44" y="740"/>
                  </a:cubicBezTo>
                  <a:cubicBezTo>
                    <a:pt x="44" y="669"/>
                    <a:pt x="70" y="601"/>
                    <a:pt x="117" y="548"/>
                  </a:cubicBezTo>
                  <a:cubicBezTo>
                    <a:pt x="154" y="506"/>
                    <a:pt x="203" y="476"/>
                    <a:pt x="257" y="460"/>
                  </a:cubicBezTo>
                  <a:cubicBezTo>
                    <a:pt x="260" y="284"/>
                    <a:pt x="406" y="142"/>
                    <a:pt x="585" y="142"/>
                  </a:cubicBezTo>
                  <a:moveTo>
                    <a:pt x="585" y="98"/>
                  </a:moveTo>
                  <a:cubicBezTo>
                    <a:pt x="487" y="98"/>
                    <a:pt x="394" y="135"/>
                    <a:pt x="324" y="204"/>
                  </a:cubicBezTo>
                  <a:cubicBezTo>
                    <a:pt x="262" y="264"/>
                    <a:pt x="224" y="343"/>
                    <a:pt x="215" y="428"/>
                  </a:cubicBezTo>
                  <a:cubicBezTo>
                    <a:pt x="165" y="448"/>
                    <a:pt x="120" y="479"/>
                    <a:pt x="84" y="519"/>
                  </a:cubicBezTo>
                  <a:cubicBezTo>
                    <a:pt x="30" y="580"/>
                    <a:pt x="0" y="659"/>
                    <a:pt x="0" y="740"/>
                  </a:cubicBezTo>
                  <a:cubicBezTo>
                    <a:pt x="0" y="810"/>
                    <a:pt x="21" y="876"/>
                    <a:pt x="61" y="933"/>
                  </a:cubicBezTo>
                  <a:cubicBezTo>
                    <a:pt x="98" y="985"/>
                    <a:pt x="149" y="1026"/>
                    <a:pt x="209" y="1050"/>
                  </a:cubicBezTo>
                  <a:cubicBezTo>
                    <a:pt x="241" y="1091"/>
                    <a:pt x="282" y="1124"/>
                    <a:pt x="329" y="1147"/>
                  </a:cubicBezTo>
                  <a:cubicBezTo>
                    <a:pt x="379" y="1173"/>
                    <a:pt x="435" y="1186"/>
                    <a:pt x="491" y="1186"/>
                  </a:cubicBezTo>
                  <a:cubicBezTo>
                    <a:pt x="569" y="1186"/>
                    <a:pt x="644" y="1161"/>
                    <a:pt x="706" y="1116"/>
                  </a:cubicBezTo>
                  <a:cubicBezTo>
                    <a:pt x="750" y="1139"/>
                    <a:pt x="798" y="1151"/>
                    <a:pt x="849" y="1151"/>
                  </a:cubicBezTo>
                  <a:cubicBezTo>
                    <a:pt x="904" y="1151"/>
                    <a:pt x="957" y="1137"/>
                    <a:pt x="1004" y="1109"/>
                  </a:cubicBezTo>
                  <a:cubicBezTo>
                    <a:pt x="1035" y="1120"/>
                    <a:pt x="1068" y="1126"/>
                    <a:pt x="1102" y="1126"/>
                  </a:cubicBezTo>
                  <a:cubicBezTo>
                    <a:pt x="1159" y="1126"/>
                    <a:pt x="1215" y="1108"/>
                    <a:pt x="1261" y="1076"/>
                  </a:cubicBezTo>
                  <a:cubicBezTo>
                    <a:pt x="1269" y="1076"/>
                    <a:pt x="1269" y="1076"/>
                    <a:pt x="1269" y="1076"/>
                  </a:cubicBezTo>
                  <a:cubicBezTo>
                    <a:pt x="1431" y="1076"/>
                    <a:pt x="1562" y="945"/>
                    <a:pt x="1562" y="785"/>
                  </a:cubicBezTo>
                  <a:cubicBezTo>
                    <a:pt x="1562" y="661"/>
                    <a:pt x="1482" y="550"/>
                    <a:pt x="1365" y="510"/>
                  </a:cubicBezTo>
                  <a:cubicBezTo>
                    <a:pt x="1314" y="437"/>
                    <a:pt x="1231" y="394"/>
                    <a:pt x="1139" y="394"/>
                  </a:cubicBezTo>
                  <a:cubicBezTo>
                    <a:pt x="1131" y="394"/>
                    <a:pt x="1122" y="394"/>
                    <a:pt x="1114" y="395"/>
                  </a:cubicBezTo>
                  <a:cubicBezTo>
                    <a:pt x="1097" y="367"/>
                    <a:pt x="1074" y="343"/>
                    <a:pt x="1046" y="324"/>
                  </a:cubicBezTo>
                  <a:cubicBezTo>
                    <a:pt x="1008" y="298"/>
                    <a:pt x="964" y="284"/>
                    <a:pt x="918" y="284"/>
                  </a:cubicBezTo>
                  <a:cubicBezTo>
                    <a:pt x="914" y="284"/>
                    <a:pt x="911" y="284"/>
                    <a:pt x="908" y="284"/>
                  </a:cubicBezTo>
                  <a:cubicBezTo>
                    <a:pt x="883" y="240"/>
                    <a:pt x="849" y="202"/>
                    <a:pt x="808" y="172"/>
                  </a:cubicBezTo>
                  <a:cubicBezTo>
                    <a:pt x="743" y="123"/>
                    <a:pt x="666" y="98"/>
                    <a:pt x="585" y="98"/>
                  </a:cubicBezTo>
                  <a:close/>
                  <a:moveTo>
                    <a:pt x="1781" y="384"/>
                  </a:moveTo>
                  <a:cubicBezTo>
                    <a:pt x="1754" y="348"/>
                    <a:pt x="1718" y="320"/>
                    <a:pt x="1676" y="304"/>
                  </a:cubicBezTo>
                  <a:cubicBezTo>
                    <a:pt x="1634" y="249"/>
                    <a:pt x="1567" y="216"/>
                    <a:pt x="1496" y="216"/>
                  </a:cubicBezTo>
                  <a:cubicBezTo>
                    <a:pt x="1494" y="216"/>
                    <a:pt x="1492" y="216"/>
                    <a:pt x="1490" y="216"/>
                  </a:cubicBezTo>
                  <a:cubicBezTo>
                    <a:pt x="1455" y="168"/>
                    <a:pt x="1400" y="138"/>
                    <a:pt x="1341" y="136"/>
                  </a:cubicBezTo>
                  <a:cubicBezTo>
                    <a:pt x="1287" y="53"/>
                    <a:pt x="1192" y="0"/>
                    <a:pt x="1092" y="0"/>
                  </a:cubicBezTo>
                  <a:cubicBezTo>
                    <a:pt x="986" y="0"/>
                    <a:pt x="892" y="56"/>
                    <a:pt x="840" y="141"/>
                  </a:cubicBezTo>
                  <a:cubicBezTo>
                    <a:pt x="852" y="150"/>
                    <a:pt x="863" y="160"/>
                    <a:pt x="874" y="170"/>
                  </a:cubicBezTo>
                  <a:cubicBezTo>
                    <a:pt x="917" y="95"/>
                    <a:pt x="999" y="44"/>
                    <a:pt x="1092" y="44"/>
                  </a:cubicBezTo>
                  <a:cubicBezTo>
                    <a:pt x="1187" y="44"/>
                    <a:pt x="1274" y="99"/>
                    <a:pt x="1316" y="181"/>
                  </a:cubicBezTo>
                  <a:cubicBezTo>
                    <a:pt x="1322" y="180"/>
                    <a:pt x="1328" y="180"/>
                    <a:pt x="1334" y="180"/>
                  </a:cubicBezTo>
                  <a:cubicBezTo>
                    <a:pt x="1392" y="180"/>
                    <a:pt x="1442" y="213"/>
                    <a:pt x="1466" y="262"/>
                  </a:cubicBezTo>
                  <a:cubicBezTo>
                    <a:pt x="1476" y="261"/>
                    <a:pt x="1486" y="260"/>
                    <a:pt x="1496" y="260"/>
                  </a:cubicBezTo>
                  <a:cubicBezTo>
                    <a:pt x="1558" y="260"/>
                    <a:pt x="1615" y="291"/>
                    <a:pt x="1648" y="341"/>
                  </a:cubicBezTo>
                  <a:cubicBezTo>
                    <a:pt x="1728" y="366"/>
                    <a:pt x="1784" y="440"/>
                    <a:pt x="1784" y="525"/>
                  </a:cubicBezTo>
                  <a:cubicBezTo>
                    <a:pt x="1784" y="628"/>
                    <a:pt x="1702" y="712"/>
                    <a:pt x="1599" y="716"/>
                  </a:cubicBezTo>
                  <a:cubicBezTo>
                    <a:pt x="1602" y="731"/>
                    <a:pt x="1604" y="745"/>
                    <a:pt x="1605" y="760"/>
                  </a:cubicBezTo>
                  <a:cubicBezTo>
                    <a:pt x="1729" y="752"/>
                    <a:pt x="1828" y="650"/>
                    <a:pt x="1828" y="525"/>
                  </a:cubicBezTo>
                  <a:cubicBezTo>
                    <a:pt x="1828" y="474"/>
                    <a:pt x="1812" y="425"/>
                    <a:pt x="1781" y="3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dirty="0"/>
            </a:p>
          </p:txBody>
        </p:sp>
      </p:grpSp>
      <p:grpSp>
        <p:nvGrpSpPr>
          <p:cNvPr id="14" name="bcgIcons_Gears">
            <a:extLst>
              <a:ext uri="{FF2B5EF4-FFF2-40B4-BE49-F238E27FC236}">
                <a16:creationId xmlns:a16="http://schemas.microsoft.com/office/drawing/2014/main" id="{A9AE369E-53F5-44E5-BE12-3061DB9C0720}"/>
              </a:ext>
            </a:extLst>
          </p:cNvPr>
          <p:cNvGrpSpPr>
            <a:grpSpLocks noChangeAspect="1"/>
          </p:cNvGrpSpPr>
          <p:nvPr/>
        </p:nvGrpSpPr>
        <p:grpSpPr bwMode="auto">
          <a:xfrm>
            <a:off x="743376" y="4226082"/>
            <a:ext cx="1143003" cy="1144063"/>
            <a:chOff x="1682" y="0"/>
            <a:chExt cx="4316" cy="4320"/>
          </a:xfrm>
        </p:grpSpPr>
        <p:sp>
          <p:nvSpPr>
            <p:cNvPr id="15" name="AutoShape 23">
              <a:extLst>
                <a:ext uri="{FF2B5EF4-FFF2-40B4-BE49-F238E27FC236}">
                  <a16:creationId xmlns:a16="http://schemas.microsoft.com/office/drawing/2014/main" id="{21145B1E-CDCB-4DD6-B1E9-AD669D7521D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p>
          </p:txBody>
        </p:sp>
        <p:sp>
          <p:nvSpPr>
            <p:cNvPr id="16" name="Freeform 25">
              <a:extLst>
                <a:ext uri="{FF2B5EF4-FFF2-40B4-BE49-F238E27FC236}">
                  <a16:creationId xmlns:a16="http://schemas.microsoft.com/office/drawing/2014/main" id="{9F947C49-F917-4AD1-B35C-097F99CCE4E2}"/>
                </a:ext>
              </a:extLst>
            </p:cNvPr>
            <p:cNvSpPr>
              <a:spLocks noEditPoints="1"/>
            </p:cNvSpPr>
            <p:nvPr/>
          </p:nvSpPr>
          <p:spPr bwMode="auto">
            <a:xfrm>
              <a:off x="2791" y="846"/>
              <a:ext cx="3027" cy="171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dirty="0"/>
            </a:p>
          </p:txBody>
        </p:sp>
        <p:sp>
          <p:nvSpPr>
            <p:cNvPr id="17" name="Freeform 26">
              <a:extLst>
                <a:ext uri="{FF2B5EF4-FFF2-40B4-BE49-F238E27FC236}">
                  <a16:creationId xmlns:a16="http://schemas.microsoft.com/office/drawing/2014/main" id="{E2588303-321C-498F-B014-B990AEEA72D5}"/>
                </a:ext>
              </a:extLst>
            </p:cNvPr>
            <p:cNvSpPr>
              <a:spLocks noEditPoints="1"/>
            </p:cNvSpPr>
            <p:nvPr/>
          </p:nvSpPr>
          <p:spPr bwMode="auto">
            <a:xfrm>
              <a:off x="1866" y="932"/>
              <a:ext cx="2551" cy="252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dirty="0"/>
            </a:p>
          </p:txBody>
        </p:sp>
      </p:grpSp>
      <p:sp>
        <p:nvSpPr>
          <p:cNvPr id="18" name="ee4pContent2"/>
          <p:cNvSpPr txBox="1"/>
          <p:nvPr/>
        </p:nvSpPr>
        <p:spPr>
          <a:xfrm>
            <a:off x="3171564" y="2856563"/>
            <a:ext cx="2118903"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800" dirty="0">
                <a:solidFill>
                  <a:srgbClr val="29BA74"/>
                </a:solidFill>
                <a:latin typeface="+mn-lt"/>
              </a:rPr>
              <a:t>Several $ billion in cost reduction</a:t>
            </a:r>
            <a:r>
              <a:rPr lang="en-US" sz="1800" dirty="0">
                <a:latin typeface="+mn-lt"/>
              </a:rPr>
              <a:t> realized </a:t>
            </a:r>
          </a:p>
        </p:txBody>
      </p:sp>
      <p:grpSp>
        <p:nvGrpSpPr>
          <p:cNvPr id="19" name="bcgIcons_CutSpending">
            <a:extLst>
              <a:ext uri="{FF2B5EF4-FFF2-40B4-BE49-F238E27FC236}">
                <a16:creationId xmlns:a16="http://schemas.microsoft.com/office/drawing/2014/main" id="{AC07576E-F239-40A9-B933-7C6CC0265442}"/>
              </a:ext>
            </a:extLst>
          </p:cNvPr>
          <p:cNvGrpSpPr>
            <a:grpSpLocks noChangeAspect="1"/>
          </p:cNvGrpSpPr>
          <p:nvPr/>
        </p:nvGrpSpPr>
        <p:grpSpPr bwMode="auto">
          <a:xfrm>
            <a:off x="3537461" y="1640402"/>
            <a:ext cx="1143003" cy="1144063"/>
            <a:chOff x="1682" y="0"/>
            <a:chExt cx="4316" cy="4320"/>
          </a:xfrm>
        </p:grpSpPr>
        <p:sp>
          <p:nvSpPr>
            <p:cNvPr id="20" name="AutoShape 34">
              <a:extLst>
                <a:ext uri="{FF2B5EF4-FFF2-40B4-BE49-F238E27FC236}">
                  <a16:creationId xmlns:a16="http://schemas.microsoft.com/office/drawing/2014/main" id="{A2919C7F-8DF8-4A0D-914C-9F241528C1A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p>
          </p:txBody>
        </p:sp>
        <p:sp>
          <p:nvSpPr>
            <p:cNvPr id="21" name="Freeform 36">
              <a:extLst>
                <a:ext uri="{FF2B5EF4-FFF2-40B4-BE49-F238E27FC236}">
                  <a16:creationId xmlns:a16="http://schemas.microsoft.com/office/drawing/2014/main" id="{0EF79EEE-9F8D-4FC7-9429-24B66D115458}"/>
                </a:ext>
              </a:extLst>
            </p:cNvPr>
            <p:cNvSpPr>
              <a:spLocks noEditPoints="1"/>
            </p:cNvSpPr>
            <p:nvPr/>
          </p:nvSpPr>
          <p:spPr bwMode="auto">
            <a:xfrm>
              <a:off x="2306" y="660"/>
              <a:ext cx="2916" cy="2996"/>
            </a:xfrm>
            <a:custGeom>
              <a:avLst/>
              <a:gdLst>
                <a:gd name="T0" fmla="*/ 246 w 1557"/>
                <a:gd name="T1" fmla="*/ 702 h 1598"/>
                <a:gd name="T2" fmla="*/ 293 w 1557"/>
                <a:gd name="T3" fmla="*/ 755 h 1598"/>
                <a:gd name="T4" fmla="*/ 308 w 1557"/>
                <a:gd name="T5" fmla="*/ 738 h 1598"/>
                <a:gd name="T6" fmla="*/ 317 w 1557"/>
                <a:gd name="T7" fmla="*/ 731 h 1598"/>
                <a:gd name="T8" fmla="*/ 326 w 1557"/>
                <a:gd name="T9" fmla="*/ 726 h 1598"/>
                <a:gd name="T10" fmla="*/ 432 w 1557"/>
                <a:gd name="T11" fmla="*/ 670 h 1598"/>
                <a:gd name="T12" fmla="*/ 358 w 1557"/>
                <a:gd name="T13" fmla="*/ 472 h 1598"/>
                <a:gd name="T14" fmla="*/ 358 w 1557"/>
                <a:gd name="T15" fmla="*/ 472 h 1598"/>
                <a:gd name="T16" fmla="*/ 184 w 1557"/>
                <a:gd name="T17" fmla="*/ 346 h 1598"/>
                <a:gd name="T18" fmla="*/ 0 w 1557"/>
                <a:gd name="T19" fmla="*/ 529 h 1598"/>
                <a:gd name="T20" fmla="*/ 184 w 1557"/>
                <a:gd name="T21" fmla="*/ 713 h 1598"/>
                <a:gd name="T22" fmla="*/ 246 w 1557"/>
                <a:gd name="T23" fmla="*/ 702 h 1598"/>
                <a:gd name="T24" fmla="*/ 44 w 1557"/>
                <a:gd name="T25" fmla="*/ 529 h 1598"/>
                <a:gd name="T26" fmla="*/ 184 w 1557"/>
                <a:gd name="T27" fmla="*/ 390 h 1598"/>
                <a:gd name="T28" fmla="*/ 323 w 1557"/>
                <a:gd name="T29" fmla="*/ 529 h 1598"/>
                <a:gd name="T30" fmla="*/ 184 w 1557"/>
                <a:gd name="T31" fmla="*/ 669 h 1598"/>
                <a:gd name="T32" fmla="*/ 44 w 1557"/>
                <a:gd name="T33" fmla="*/ 529 h 1598"/>
                <a:gd name="T34" fmla="*/ 1220 w 1557"/>
                <a:gd name="T35" fmla="*/ 1161 h 1598"/>
                <a:gd name="T36" fmla="*/ 1215 w 1557"/>
                <a:gd name="T37" fmla="*/ 1179 h 1598"/>
                <a:gd name="T38" fmla="*/ 1130 w 1557"/>
                <a:gd name="T39" fmla="*/ 1217 h 1598"/>
                <a:gd name="T40" fmla="*/ 1060 w 1557"/>
                <a:gd name="T41" fmla="*/ 1197 h 1598"/>
                <a:gd name="T42" fmla="*/ 555 w 1557"/>
                <a:gd name="T43" fmla="*/ 930 h 1598"/>
                <a:gd name="T44" fmla="*/ 698 w 1557"/>
                <a:gd name="T45" fmla="*/ 846 h 1598"/>
                <a:gd name="T46" fmla="*/ 1210 w 1557"/>
                <a:gd name="T47" fmla="*/ 1146 h 1598"/>
                <a:gd name="T48" fmla="*/ 1220 w 1557"/>
                <a:gd name="T49" fmla="*/ 1161 h 1598"/>
                <a:gd name="T50" fmla="*/ 1557 w 1557"/>
                <a:gd name="T51" fmla="*/ 22 h 1598"/>
                <a:gd name="T52" fmla="*/ 1557 w 1557"/>
                <a:gd name="T53" fmla="*/ 1576 h 1598"/>
                <a:gd name="T54" fmla="*/ 1535 w 1557"/>
                <a:gd name="T55" fmla="*/ 1598 h 1598"/>
                <a:gd name="T56" fmla="*/ 791 w 1557"/>
                <a:gd name="T57" fmla="*/ 1598 h 1598"/>
                <a:gd name="T58" fmla="*/ 769 w 1557"/>
                <a:gd name="T59" fmla="*/ 1576 h 1598"/>
                <a:gd name="T60" fmla="*/ 769 w 1557"/>
                <a:gd name="T61" fmla="*/ 1120 h 1598"/>
                <a:gd name="T62" fmla="*/ 813 w 1557"/>
                <a:gd name="T63" fmla="*/ 1144 h 1598"/>
                <a:gd name="T64" fmla="*/ 813 w 1557"/>
                <a:gd name="T65" fmla="*/ 1554 h 1598"/>
                <a:gd name="T66" fmla="*/ 1513 w 1557"/>
                <a:gd name="T67" fmla="*/ 1554 h 1598"/>
                <a:gd name="T68" fmla="*/ 1513 w 1557"/>
                <a:gd name="T69" fmla="*/ 44 h 1598"/>
                <a:gd name="T70" fmla="*/ 813 w 1557"/>
                <a:gd name="T71" fmla="*/ 44 h 1598"/>
                <a:gd name="T72" fmla="*/ 813 w 1557"/>
                <a:gd name="T73" fmla="*/ 834 h 1598"/>
                <a:gd name="T74" fmla="*/ 769 w 1557"/>
                <a:gd name="T75" fmla="*/ 808 h 1598"/>
                <a:gd name="T76" fmla="*/ 769 w 1557"/>
                <a:gd name="T77" fmla="*/ 22 h 1598"/>
                <a:gd name="T78" fmla="*/ 791 w 1557"/>
                <a:gd name="T79" fmla="*/ 0 h 1598"/>
                <a:gd name="T80" fmla="*/ 1535 w 1557"/>
                <a:gd name="T81" fmla="*/ 0 h 1598"/>
                <a:gd name="T82" fmla="*/ 1557 w 1557"/>
                <a:gd name="T83" fmla="*/ 22 h 1598"/>
                <a:gd name="T84" fmla="*/ 725 w 1557"/>
                <a:gd name="T85" fmla="*/ 593 h 1598"/>
                <a:gd name="T86" fmla="*/ 358 w 1557"/>
                <a:gd name="T87" fmla="*/ 787 h 1598"/>
                <a:gd name="T88" fmla="*/ 352 w 1557"/>
                <a:gd name="T89" fmla="*/ 792 h 1598"/>
                <a:gd name="T90" fmla="*/ 246 w 1557"/>
                <a:gd name="T91" fmla="*/ 911 h 1598"/>
                <a:gd name="T92" fmla="*/ 184 w 1557"/>
                <a:gd name="T93" fmla="*/ 900 h 1598"/>
                <a:gd name="T94" fmla="*/ 0 w 1557"/>
                <a:gd name="T95" fmla="*/ 1083 h 1598"/>
                <a:gd name="T96" fmla="*/ 184 w 1557"/>
                <a:gd name="T97" fmla="*/ 1266 h 1598"/>
                <a:gd name="T98" fmla="*/ 358 w 1557"/>
                <a:gd name="T99" fmla="*/ 1140 h 1598"/>
                <a:gd name="T100" fmla="*/ 358 w 1557"/>
                <a:gd name="T101" fmla="*/ 1140 h 1598"/>
                <a:gd name="T102" fmla="*/ 442 w 1557"/>
                <a:gd name="T103" fmla="*/ 917 h 1598"/>
                <a:gd name="T104" fmla="*/ 725 w 1557"/>
                <a:gd name="T105" fmla="*/ 750 h 1598"/>
                <a:gd name="T106" fmla="*/ 725 w 1557"/>
                <a:gd name="T107" fmla="*/ 593 h 1598"/>
                <a:gd name="T108" fmla="*/ 184 w 1557"/>
                <a:gd name="T109" fmla="*/ 1222 h 1598"/>
                <a:gd name="T110" fmla="*/ 44 w 1557"/>
                <a:gd name="T111" fmla="*/ 1083 h 1598"/>
                <a:gd name="T112" fmla="*/ 184 w 1557"/>
                <a:gd name="T113" fmla="*/ 944 h 1598"/>
                <a:gd name="T114" fmla="*/ 323 w 1557"/>
                <a:gd name="T115" fmla="*/ 1083 h 1598"/>
                <a:gd name="T116" fmla="*/ 184 w 1557"/>
                <a:gd name="T117" fmla="*/ 1222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57" h="1598">
                  <a:moveTo>
                    <a:pt x="246" y="702"/>
                  </a:moveTo>
                  <a:cubicBezTo>
                    <a:pt x="293" y="755"/>
                    <a:pt x="293" y="755"/>
                    <a:pt x="293" y="755"/>
                  </a:cubicBezTo>
                  <a:cubicBezTo>
                    <a:pt x="308" y="738"/>
                    <a:pt x="308" y="738"/>
                    <a:pt x="308" y="738"/>
                  </a:cubicBezTo>
                  <a:cubicBezTo>
                    <a:pt x="311" y="735"/>
                    <a:pt x="314" y="733"/>
                    <a:pt x="317" y="731"/>
                  </a:cubicBezTo>
                  <a:cubicBezTo>
                    <a:pt x="326" y="726"/>
                    <a:pt x="326" y="726"/>
                    <a:pt x="326" y="726"/>
                  </a:cubicBezTo>
                  <a:cubicBezTo>
                    <a:pt x="333" y="723"/>
                    <a:pt x="373" y="701"/>
                    <a:pt x="432" y="670"/>
                  </a:cubicBezTo>
                  <a:cubicBezTo>
                    <a:pt x="358" y="472"/>
                    <a:pt x="358" y="472"/>
                    <a:pt x="358" y="472"/>
                  </a:cubicBezTo>
                  <a:cubicBezTo>
                    <a:pt x="358" y="472"/>
                    <a:pt x="358" y="472"/>
                    <a:pt x="358" y="472"/>
                  </a:cubicBezTo>
                  <a:cubicBezTo>
                    <a:pt x="334" y="399"/>
                    <a:pt x="265" y="346"/>
                    <a:pt x="184" y="346"/>
                  </a:cubicBezTo>
                  <a:cubicBezTo>
                    <a:pt x="83" y="346"/>
                    <a:pt x="0" y="428"/>
                    <a:pt x="0" y="529"/>
                  </a:cubicBezTo>
                  <a:cubicBezTo>
                    <a:pt x="0" y="630"/>
                    <a:pt x="83" y="713"/>
                    <a:pt x="184" y="713"/>
                  </a:cubicBezTo>
                  <a:cubicBezTo>
                    <a:pt x="206" y="713"/>
                    <a:pt x="227" y="709"/>
                    <a:pt x="246" y="702"/>
                  </a:cubicBezTo>
                  <a:close/>
                  <a:moveTo>
                    <a:pt x="44" y="529"/>
                  </a:moveTo>
                  <a:cubicBezTo>
                    <a:pt x="44" y="453"/>
                    <a:pt x="107" y="390"/>
                    <a:pt x="184" y="390"/>
                  </a:cubicBezTo>
                  <a:cubicBezTo>
                    <a:pt x="260" y="390"/>
                    <a:pt x="323" y="453"/>
                    <a:pt x="323" y="529"/>
                  </a:cubicBezTo>
                  <a:cubicBezTo>
                    <a:pt x="323" y="606"/>
                    <a:pt x="260" y="669"/>
                    <a:pt x="184" y="669"/>
                  </a:cubicBezTo>
                  <a:cubicBezTo>
                    <a:pt x="107" y="669"/>
                    <a:pt x="44" y="606"/>
                    <a:pt x="44" y="529"/>
                  </a:cubicBezTo>
                  <a:close/>
                  <a:moveTo>
                    <a:pt x="1220" y="1161"/>
                  </a:moveTo>
                  <a:cubicBezTo>
                    <a:pt x="1221" y="1168"/>
                    <a:pt x="1220" y="1174"/>
                    <a:pt x="1215" y="1179"/>
                  </a:cubicBezTo>
                  <a:cubicBezTo>
                    <a:pt x="1202" y="1196"/>
                    <a:pt x="1171" y="1217"/>
                    <a:pt x="1130" y="1217"/>
                  </a:cubicBezTo>
                  <a:cubicBezTo>
                    <a:pt x="1109" y="1217"/>
                    <a:pt x="1085" y="1211"/>
                    <a:pt x="1060" y="1197"/>
                  </a:cubicBezTo>
                  <a:cubicBezTo>
                    <a:pt x="1010" y="1170"/>
                    <a:pt x="745" y="1030"/>
                    <a:pt x="555" y="930"/>
                  </a:cubicBezTo>
                  <a:cubicBezTo>
                    <a:pt x="698" y="846"/>
                    <a:pt x="698" y="846"/>
                    <a:pt x="698" y="846"/>
                  </a:cubicBezTo>
                  <a:cubicBezTo>
                    <a:pt x="1210" y="1146"/>
                    <a:pt x="1210" y="1146"/>
                    <a:pt x="1210" y="1146"/>
                  </a:cubicBezTo>
                  <a:cubicBezTo>
                    <a:pt x="1215" y="1149"/>
                    <a:pt x="1219" y="1155"/>
                    <a:pt x="1220" y="1161"/>
                  </a:cubicBezTo>
                  <a:close/>
                  <a:moveTo>
                    <a:pt x="1557" y="22"/>
                  </a:moveTo>
                  <a:cubicBezTo>
                    <a:pt x="1557" y="1576"/>
                    <a:pt x="1557" y="1576"/>
                    <a:pt x="1557" y="1576"/>
                  </a:cubicBezTo>
                  <a:cubicBezTo>
                    <a:pt x="1557" y="1588"/>
                    <a:pt x="1548" y="1598"/>
                    <a:pt x="1535" y="1598"/>
                  </a:cubicBezTo>
                  <a:cubicBezTo>
                    <a:pt x="791" y="1598"/>
                    <a:pt x="791" y="1598"/>
                    <a:pt x="791" y="1598"/>
                  </a:cubicBezTo>
                  <a:cubicBezTo>
                    <a:pt x="779" y="1598"/>
                    <a:pt x="769" y="1588"/>
                    <a:pt x="769" y="1576"/>
                  </a:cubicBezTo>
                  <a:cubicBezTo>
                    <a:pt x="769" y="1120"/>
                    <a:pt x="769" y="1120"/>
                    <a:pt x="769" y="1120"/>
                  </a:cubicBezTo>
                  <a:cubicBezTo>
                    <a:pt x="784" y="1128"/>
                    <a:pt x="799" y="1136"/>
                    <a:pt x="813" y="1144"/>
                  </a:cubicBezTo>
                  <a:cubicBezTo>
                    <a:pt x="813" y="1554"/>
                    <a:pt x="813" y="1554"/>
                    <a:pt x="813" y="1554"/>
                  </a:cubicBezTo>
                  <a:cubicBezTo>
                    <a:pt x="1513" y="1554"/>
                    <a:pt x="1513" y="1554"/>
                    <a:pt x="1513" y="1554"/>
                  </a:cubicBezTo>
                  <a:cubicBezTo>
                    <a:pt x="1513" y="44"/>
                    <a:pt x="1513" y="44"/>
                    <a:pt x="1513" y="44"/>
                  </a:cubicBezTo>
                  <a:cubicBezTo>
                    <a:pt x="813" y="44"/>
                    <a:pt x="813" y="44"/>
                    <a:pt x="813" y="44"/>
                  </a:cubicBezTo>
                  <a:cubicBezTo>
                    <a:pt x="813" y="834"/>
                    <a:pt x="813" y="834"/>
                    <a:pt x="813" y="834"/>
                  </a:cubicBezTo>
                  <a:cubicBezTo>
                    <a:pt x="769" y="808"/>
                    <a:pt x="769" y="808"/>
                    <a:pt x="769" y="808"/>
                  </a:cubicBezTo>
                  <a:cubicBezTo>
                    <a:pt x="769" y="22"/>
                    <a:pt x="769" y="22"/>
                    <a:pt x="769" y="22"/>
                  </a:cubicBezTo>
                  <a:cubicBezTo>
                    <a:pt x="769" y="10"/>
                    <a:pt x="779" y="0"/>
                    <a:pt x="791" y="0"/>
                  </a:cubicBezTo>
                  <a:cubicBezTo>
                    <a:pt x="1535" y="0"/>
                    <a:pt x="1535" y="0"/>
                    <a:pt x="1535" y="0"/>
                  </a:cubicBezTo>
                  <a:cubicBezTo>
                    <a:pt x="1548" y="0"/>
                    <a:pt x="1557" y="10"/>
                    <a:pt x="1557" y="22"/>
                  </a:cubicBezTo>
                  <a:close/>
                  <a:moveTo>
                    <a:pt x="725" y="593"/>
                  </a:moveTo>
                  <a:cubicBezTo>
                    <a:pt x="545" y="688"/>
                    <a:pt x="362" y="785"/>
                    <a:pt x="358" y="787"/>
                  </a:cubicBezTo>
                  <a:cubicBezTo>
                    <a:pt x="356" y="788"/>
                    <a:pt x="354" y="790"/>
                    <a:pt x="352" y="792"/>
                  </a:cubicBezTo>
                  <a:cubicBezTo>
                    <a:pt x="246" y="911"/>
                    <a:pt x="246" y="911"/>
                    <a:pt x="246" y="911"/>
                  </a:cubicBezTo>
                  <a:cubicBezTo>
                    <a:pt x="227" y="904"/>
                    <a:pt x="206" y="900"/>
                    <a:pt x="184" y="900"/>
                  </a:cubicBezTo>
                  <a:cubicBezTo>
                    <a:pt x="83" y="900"/>
                    <a:pt x="0" y="982"/>
                    <a:pt x="0" y="1083"/>
                  </a:cubicBezTo>
                  <a:cubicBezTo>
                    <a:pt x="0" y="1184"/>
                    <a:pt x="83" y="1266"/>
                    <a:pt x="184" y="1266"/>
                  </a:cubicBezTo>
                  <a:cubicBezTo>
                    <a:pt x="265" y="1266"/>
                    <a:pt x="334" y="1213"/>
                    <a:pt x="358" y="1140"/>
                  </a:cubicBezTo>
                  <a:cubicBezTo>
                    <a:pt x="358" y="1140"/>
                    <a:pt x="358" y="1140"/>
                    <a:pt x="358" y="1140"/>
                  </a:cubicBezTo>
                  <a:cubicBezTo>
                    <a:pt x="442" y="917"/>
                    <a:pt x="442" y="917"/>
                    <a:pt x="442" y="917"/>
                  </a:cubicBezTo>
                  <a:cubicBezTo>
                    <a:pt x="725" y="750"/>
                    <a:pt x="725" y="750"/>
                    <a:pt x="725" y="750"/>
                  </a:cubicBezTo>
                  <a:lnTo>
                    <a:pt x="725" y="593"/>
                  </a:lnTo>
                  <a:close/>
                  <a:moveTo>
                    <a:pt x="184" y="1222"/>
                  </a:moveTo>
                  <a:cubicBezTo>
                    <a:pt x="107" y="1222"/>
                    <a:pt x="44" y="1160"/>
                    <a:pt x="44" y="1083"/>
                  </a:cubicBezTo>
                  <a:cubicBezTo>
                    <a:pt x="44" y="1006"/>
                    <a:pt x="107" y="944"/>
                    <a:pt x="184" y="944"/>
                  </a:cubicBezTo>
                  <a:cubicBezTo>
                    <a:pt x="260" y="944"/>
                    <a:pt x="323" y="1006"/>
                    <a:pt x="323" y="1083"/>
                  </a:cubicBezTo>
                  <a:cubicBezTo>
                    <a:pt x="323" y="1160"/>
                    <a:pt x="260" y="1222"/>
                    <a:pt x="184" y="122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dirty="0"/>
            </a:p>
          </p:txBody>
        </p:sp>
        <p:sp>
          <p:nvSpPr>
            <p:cNvPr id="22" name="Freeform 37">
              <a:extLst>
                <a:ext uri="{FF2B5EF4-FFF2-40B4-BE49-F238E27FC236}">
                  <a16:creationId xmlns:a16="http://schemas.microsoft.com/office/drawing/2014/main" id="{867C94EA-3151-41F0-822A-120225D6EC51}"/>
                </a:ext>
              </a:extLst>
            </p:cNvPr>
            <p:cNvSpPr>
              <a:spLocks/>
            </p:cNvSpPr>
            <p:nvPr/>
          </p:nvSpPr>
          <p:spPr bwMode="auto">
            <a:xfrm>
              <a:off x="3924" y="844"/>
              <a:ext cx="1120" cy="2628"/>
            </a:xfrm>
            <a:custGeom>
              <a:avLst/>
              <a:gdLst>
                <a:gd name="T0" fmla="*/ 595 w 598"/>
                <a:gd name="T1" fmla="*/ 96 h 1402"/>
                <a:gd name="T2" fmla="*/ 573 w 598"/>
                <a:gd name="T3" fmla="*/ 99 h 1402"/>
                <a:gd name="T4" fmla="*/ 503 w 598"/>
                <a:gd name="T5" fmla="*/ 27 h 1402"/>
                <a:gd name="T6" fmla="*/ 507 w 598"/>
                <a:gd name="T7" fmla="*/ 5 h 1402"/>
                <a:gd name="T8" fmla="*/ 504 w 598"/>
                <a:gd name="T9" fmla="*/ 0 h 1402"/>
                <a:gd name="T10" fmla="*/ 93 w 598"/>
                <a:gd name="T11" fmla="*/ 0 h 1402"/>
                <a:gd name="T12" fmla="*/ 90 w 598"/>
                <a:gd name="T13" fmla="*/ 5 h 1402"/>
                <a:gd name="T14" fmla="*/ 94 w 598"/>
                <a:gd name="T15" fmla="*/ 27 h 1402"/>
                <a:gd name="T16" fmla="*/ 24 w 598"/>
                <a:gd name="T17" fmla="*/ 99 h 1402"/>
                <a:gd name="T18" fmla="*/ 4 w 598"/>
                <a:gd name="T19" fmla="*/ 96 h 1402"/>
                <a:gd name="T20" fmla="*/ 0 w 598"/>
                <a:gd name="T21" fmla="*/ 99 h 1402"/>
                <a:gd name="T22" fmla="*/ 0 w 598"/>
                <a:gd name="T23" fmla="*/ 455 h 1402"/>
                <a:gd name="T24" fmla="*/ 0 w 598"/>
                <a:gd name="T25" fmla="*/ 613 h 1402"/>
                <a:gd name="T26" fmla="*/ 0 w 598"/>
                <a:gd name="T27" fmla="*/ 766 h 1402"/>
                <a:gd name="T28" fmla="*/ 442 w 598"/>
                <a:gd name="T29" fmla="*/ 1025 h 1402"/>
                <a:gd name="T30" fmla="*/ 457 w 598"/>
                <a:gd name="T31" fmla="*/ 1046 h 1402"/>
                <a:gd name="T32" fmla="*/ 450 w 598"/>
                <a:gd name="T33" fmla="*/ 1071 h 1402"/>
                <a:gd name="T34" fmla="*/ 404 w 598"/>
                <a:gd name="T35" fmla="*/ 1125 h 1402"/>
                <a:gd name="T36" fmla="*/ 266 w 598"/>
                <a:gd name="T37" fmla="*/ 1187 h 1402"/>
                <a:gd name="T38" fmla="*/ 266 w 598"/>
                <a:gd name="T39" fmla="*/ 1187 h 1402"/>
                <a:gd name="T40" fmla="*/ 163 w 598"/>
                <a:gd name="T41" fmla="*/ 1160 h 1402"/>
                <a:gd name="T42" fmla="*/ 0 w 598"/>
                <a:gd name="T43" fmla="*/ 1073 h 1402"/>
                <a:gd name="T44" fmla="*/ 0 w 598"/>
                <a:gd name="T45" fmla="*/ 1209 h 1402"/>
                <a:gd name="T46" fmla="*/ 0 w 598"/>
                <a:gd name="T47" fmla="*/ 1302 h 1402"/>
                <a:gd name="T48" fmla="*/ 4 w 598"/>
                <a:gd name="T49" fmla="*/ 1305 h 1402"/>
                <a:gd name="T50" fmla="*/ 24 w 598"/>
                <a:gd name="T51" fmla="*/ 1302 h 1402"/>
                <a:gd name="T52" fmla="*/ 94 w 598"/>
                <a:gd name="T53" fmla="*/ 1374 h 1402"/>
                <a:gd name="T54" fmla="*/ 90 w 598"/>
                <a:gd name="T55" fmla="*/ 1398 h 1402"/>
                <a:gd name="T56" fmla="*/ 92 w 598"/>
                <a:gd name="T57" fmla="*/ 1402 h 1402"/>
                <a:gd name="T58" fmla="*/ 505 w 598"/>
                <a:gd name="T59" fmla="*/ 1402 h 1402"/>
                <a:gd name="T60" fmla="*/ 508 w 598"/>
                <a:gd name="T61" fmla="*/ 1398 h 1402"/>
                <a:gd name="T62" fmla="*/ 503 w 598"/>
                <a:gd name="T63" fmla="*/ 1374 h 1402"/>
                <a:gd name="T64" fmla="*/ 573 w 598"/>
                <a:gd name="T65" fmla="*/ 1302 h 1402"/>
                <a:gd name="T66" fmla="*/ 595 w 598"/>
                <a:gd name="T67" fmla="*/ 1305 h 1402"/>
                <a:gd name="T68" fmla="*/ 598 w 598"/>
                <a:gd name="T69" fmla="*/ 1303 h 1402"/>
                <a:gd name="T70" fmla="*/ 598 w 598"/>
                <a:gd name="T71" fmla="*/ 1209 h 1402"/>
                <a:gd name="T72" fmla="*/ 598 w 598"/>
                <a:gd name="T73" fmla="*/ 789 h 1402"/>
                <a:gd name="T74" fmla="*/ 598 w 598"/>
                <a:gd name="T75" fmla="*/ 613 h 1402"/>
                <a:gd name="T76" fmla="*/ 598 w 598"/>
                <a:gd name="T77" fmla="*/ 455 h 1402"/>
                <a:gd name="T78" fmla="*/ 598 w 598"/>
                <a:gd name="T79" fmla="*/ 98 h 1402"/>
                <a:gd name="T80" fmla="*/ 595 w 598"/>
                <a:gd name="T81" fmla="*/ 96 h 1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98" h="1402">
                  <a:moveTo>
                    <a:pt x="595" y="96"/>
                  </a:moveTo>
                  <a:cubicBezTo>
                    <a:pt x="588" y="98"/>
                    <a:pt x="581" y="99"/>
                    <a:pt x="573" y="99"/>
                  </a:cubicBezTo>
                  <a:cubicBezTo>
                    <a:pt x="534" y="99"/>
                    <a:pt x="503" y="67"/>
                    <a:pt x="503" y="27"/>
                  </a:cubicBezTo>
                  <a:cubicBezTo>
                    <a:pt x="503" y="19"/>
                    <a:pt x="505" y="11"/>
                    <a:pt x="507" y="5"/>
                  </a:cubicBezTo>
                  <a:cubicBezTo>
                    <a:pt x="508" y="2"/>
                    <a:pt x="506" y="0"/>
                    <a:pt x="504" y="0"/>
                  </a:cubicBezTo>
                  <a:cubicBezTo>
                    <a:pt x="93" y="0"/>
                    <a:pt x="93" y="0"/>
                    <a:pt x="93" y="0"/>
                  </a:cubicBezTo>
                  <a:cubicBezTo>
                    <a:pt x="91" y="0"/>
                    <a:pt x="90" y="2"/>
                    <a:pt x="90" y="5"/>
                  </a:cubicBezTo>
                  <a:cubicBezTo>
                    <a:pt x="92" y="11"/>
                    <a:pt x="94" y="19"/>
                    <a:pt x="94" y="27"/>
                  </a:cubicBezTo>
                  <a:cubicBezTo>
                    <a:pt x="94" y="67"/>
                    <a:pt x="63" y="99"/>
                    <a:pt x="24" y="99"/>
                  </a:cubicBezTo>
                  <a:cubicBezTo>
                    <a:pt x="17" y="99"/>
                    <a:pt x="10" y="98"/>
                    <a:pt x="4" y="96"/>
                  </a:cubicBezTo>
                  <a:cubicBezTo>
                    <a:pt x="2" y="96"/>
                    <a:pt x="0" y="97"/>
                    <a:pt x="0" y="99"/>
                  </a:cubicBezTo>
                  <a:cubicBezTo>
                    <a:pt x="0" y="266"/>
                    <a:pt x="0" y="379"/>
                    <a:pt x="0" y="455"/>
                  </a:cubicBezTo>
                  <a:cubicBezTo>
                    <a:pt x="0" y="613"/>
                    <a:pt x="0" y="613"/>
                    <a:pt x="0" y="613"/>
                  </a:cubicBezTo>
                  <a:cubicBezTo>
                    <a:pt x="0" y="766"/>
                    <a:pt x="0" y="766"/>
                    <a:pt x="0" y="766"/>
                  </a:cubicBezTo>
                  <a:cubicBezTo>
                    <a:pt x="442" y="1025"/>
                    <a:pt x="442" y="1025"/>
                    <a:pt x="442" y="1025"/>
                  </a:cubicBezTo>
                  <a:cubicBezTo>
                    <a:pt x="450" y="1030"/>
                    <a:pt x="455" y="1037"/>
                    <a:pt x="457" y="1046"/>
                  </a:cubicBezTo>
                  <a:cubicBezTo>
                    <a:pt x="458" y="1055"/>
                    <a:pt x="456" y="1064"/>
                    <a:pt x="450" y="1071"/>
                  </a:cubicBezTo>
                  <a:cubicBezTo>
                    <a:pt x="404" y="1125"/>
                    <a:pt x="404" y="1125"/>
                    <a:pt x="404" y="1125"/>
                  </a:cubicBezTo>
                  <a:cubicBezTo>
                    <a:pt x="379" y="1155"/>
                    <a:pt x="329" y="1187"/>
                    <a:pt x="266" y="1187"/>
                  </a:cubicBezTo>
                  <a:cubicBezTo>
                    <a:pt x="266" y="1187"/>
                    <a:pt x="266" y="1187"/>
                    <a:pt x="266" y="1187"/>
                  </a:cubicBezTo>
                  <a:cubicBezTo>
                    <a:pt x="231" y="1187"/>
                    <a:pt x="197" y="1178"/>
                    <a:pt x="163" y="1160"/>
                  </a:cubicBezTo>
                  <a:cubicBezTo>
                    <a:pt x="141" y="1148"/>
                    <a:pt x="79" y="1115"/>
                    <a:pt x="0" y="1073"/>
                  </a:cubicBezTo>
                  <a:cubicBezTo>
                    <a:pt x="0" y="1209"/>
                    <a:pt x="0" y="1209"/>
                    <a:pt x="0" y="1209"/>
                  </a:cubicBezTo>
                  <a:cubicBezTo>
                    <a:pt x="0" y="1302"/>
                    <a:pt x="0" y="1302"/>
                    <a:pt x="0" y="1302"/>
                  </a:cubicBezTo>
                  <a:cubicBezTo>
                    <a:pt x="0" y="1304"/>
                    <a:pt x="2" y="1305"/>
                    <a:pt x="4" y="1305"/>
                  </a:cubicBezTo>
                  <a:cubicBezTo>
                    <a:pt x="10" y="1303"/>
                    <a:pt x="17" y="1302"/>
                    <a:pt x="24" y="1302"/>
                  </a:cubicBezTo>
                  <a:cubicBezTo>
                    <a:pt x="63" y="1302"/>
                    <a:pt x="94" y="1334"/>
                    <a:pt x="94" y="1374"/>
                  </a:cubicBezTo>
                  <a:cubicBezTo>
                    <a:pt x="94" y="1382"/>
                    <a:pt x="92" y="1391"/>
                    <a:pt x="90" y="1398"/>
                  </a:cubicBezTo>
                  <a:cubicBezTo>
                    <a:pt x="89" y="1400"/>
                    <a:pt x="90" y="1402"/>
                    <a:pt x="92" y="1402"/>
                  </a:cubicBezTo>
                  <a:cubicBezTo>
                    <a:pt x="505" y="1402"/>
                    <a:pt x="505" y="1402"/>
                    <a:pt x="505" y="1402"/>
                  </a:cubicBezTo>
                  <a:cubicBezTo>
                    <a:pt x="507" y="1402"/>
                    <a:pt x="508" y="1400"/>
                    <a:pt x="508" y="1398"/>
                  </a:cubicBezTo>
                  <a:cubicBezTo>
                    <a:pt x="505" y="1391"/>
                    <a:pt x="503" y="1382"/>
                    <a:pt x="503" y="1374"/>
                  </a:cubicBezTo>
                  <a:cubicBezTo>
                    <a:pt x="503" y="1334"/>
                    <a:pt x="534" y="1302"/>
                    <a:pt x="573" y="1302"/>
                  </a:cubicBezTo>
                  <a:cubicBezTo>
                    <a:pt x="581" y="1302"/>
                    <a:pt x="588" y="1303"/>
                    <a:pt x="595" y="1305"/>
                  </a:cubicBezTo>
                  <a:cubicBezTo>
                    <a:pt x="597" y="1306"/>
                    <a:pt x="598" y="1305"/>
                    <a:pt x="598" y="1303"/>
                  </a:cubicBezTo>
                  <a:cubicBezTo>
                    <a:pt x="598" y="1269"/>
                    <a:pt x="598" y="1238"/>
                    <a:pt x="598" y="1209"/>
                  </a:cubicBezTo>
                  <a:cubicBezTo>
                    <a:pt x="598" y="789"/>
                    <a:pt x="598" y="789"/>
                    <a:pt x="598" y="789"/>
                  </a:cubicBezTo>
                  <a:cubicBezTo>
                    <a:pt x="598" y="613"/>
                    <a:pt x="598" y="613"/>
                    <a:pt x="598" y="613"/>
                  </a:cubicBezTo>
                  <a:cubicBezTo>
                    <a:pt x="598" y="553"/>
                    <a:pt x="598" y="501"/>
                    <a:pt x="598" y="455"/>
                  </a:cubicBezTo>
                  <a:cubicBezTo>
                    <a:pt x="598" y="98"/>
                    <a:pt x="598" y="98"/>
                    <a:pt x="598" y="98"/>
                  </a:cubicBezTo>
                  <a:cubicBezTo>
                    <a:pt x="598" y="96"/>
                    <a:pt x="597" y="95"/>
                    <a:pt x="595" y="9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dirty="0"/>
            </a:p>
          </p:txBody>
        </p:sp>
      </p:grpSp>
      <p:sp>
        <p:nvSpPr>
          <p:cNvPr id="23" name="ee4pContent3"/>
          <p:cNvSpPr txBox="1"/>
          <p:nvPr/>
        </p:nvSpPr>
        <p:spPr>
          <a:xfrm>
            <a:off x="5504122" y="2856563"/>
            <a:ext cx="2450252"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800" dirty="0">
                <a:solidFill>
                  <a:srgbClr val="29BA74"/>
                </a:solidFill>
                <a:latin typeface="+mn-lt"/>
              </a:rPr>
              <a:t>Broke down </a:t>
            </a:r>
            <a:r>
              <a:rPr lang="en-US" sz="1800" dirty="0">
                <a:solidFill>
                  <a:srgbClr val="575757"/>
                </a:solidFill>
                <a:latin typeface="+mn-lt"/>
              </a:rPr>
              <a:t>product and leadership</a:t>
            </a:r>
            <a:r>
              <a:rPr lang="en-US" sz="1800" dirty="0">
                <a:solidFill>
                  <a:srgbClr val="29BA74"/>
                </a:solidFill>
                <a:latin typeface="+mn-lt"/>
              </a:rPr>
              <a:t> silos</a:t>
            </a:r>
            <a:r>
              <a:rPr lang="en-US" sz="1800" dirty="0">
                <a:latin typeface="+mn-lt"/>
              </a:rPr>
              <a:t> with org changes</a:t>
            </a:r>
          </a:p>
        </p:txBody>
      </p:sp>
      <p:grpSp>
        <p:nvGrpSpPr>
          <p:cNvPr id="24" name="bcgIcons_Management">
            <a:extLst>
              <a:ext uri="{FF2B5EF4-FFF2-40B4-BE49-F238E27FC236}">
                <a16:creationId xmlns:a16="http://schemas.microsoft.com/office/drawing/2014/main" id="{40B5F2C4-419C-48DA-B258-D0A10A63B73F}"/>
              </a:ext>
            </a:extLst>
          </p:cNvPr>
          <p:cNvGrpSpPr>
            <a:grpSpLocks noChangeAspect="1"/>
          </p:cNvGrpSpPr>
          <p:nvPr/>
        </p:nvGrpSpPr>
        <p:grpSpPr bwMode="auto">
          <a:xfrm>
            <a:off x="6157746" y="1653286"/>
            <a:ext cx="1143003" cy="1144063"/>
            <a:chOff x="1682" y="0"/>
            <a:chExt cx="4316" cy="4320"/>
          </a:xfrm>
        </p:grpSpPr>
        <p:sp>
          <p:nvSpPr>
            <p:cNvPr id="25" name="AutoShape 13">
              <a:extLst>
                <a:ext uri="{FF2B5EF4-FFF2-40B4-BE49-F238E27FC236}">
                  <a16:creationId xmlns:a16="http://schemas.microsoft.com/office/drawing/2014/main" id="{29016D3E-1273-434F-90D5-5078F0FBBC01}"/>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p>
          </p:txBody>
        </p:sp>
        <p:sp>
          <p:nvSpPr>
            <p:cNvPr id="26" name="Freeform 25">
              <a:extLst>
                <a:ext uri="{FF2B5EF4-FFF2-40B4-BE49-F238E27FC236}">
                  <a16:creationId xmlns:a16="http://schemas.microsoft.com/office/drawing/2014/main" id="{AE388F92-54E0-4BC0-9CBC-2CF2AB0B27C8}"/>
                </a:ext>
              </a:extLst>
            </p:cNvPr>
            <p:cNvSpPr>
              <a:spLocks noEditPoints="1"/>
            </p:cNvSpPr>
            <p:nvPr/>
          </p:nvSpPr>
          <p:spPr bwMode="auto">
            <a:xfrm>
              <a:off x="2384" y="439"/>
              <a:ext cx="2908" cy="3174"/>
            </a:xfrm>
            <a:custGeom>
              <a:avLst/>
              <a:gdLst>
                <a:gd name="T0" fmla="*/ 1072 w 1552"/>
                <a:gd name="T1" fmla="*/ 421 h 1693"/>
                <a:gd name="T2" fmla="*/ 1072 w 1552"/>
                <a:gd name="T3" fmla="*/ 420 h 1693"/>
                <a:gd name="T4" fmla="*/ 1037 w 1552"/>
                <a:gd name="T5" fmla="*/ 469 h 1693"/>
                <a:gd name="T6" fmla="*/ 1014 w 1552"/>
                <a:gd name="T7" fmla="*/ 469 h 1693"/>
                <a:gd name="T8" fmla="*/ 1011 w 1552"/>
                <a:gd name="T9" fmla="*/ 238 h 1693"/>
                <a:gd name="T10" fmla="*/ 608 w 1552"/>
                <a:gd name="T11" fmla="*/ 252 h 1693"/>
                <a:gd name="T12" fmla="*/ 532 w 1552"/>
                <a:gd name="T13" fmla="*/ 465 h 1693"/>
                <a:gd name="T14" fmla="*/ 512 w 1552"/>
                <a:gd name="T15" fmla="*/ 463 h 1693"/>
                <a:gd name="T16" fmla="*/ 481 w 1552"/>
                <a:gd name="T17" fmla="*/ 424 h 1693"/>
                <a:gd name="T18" fmla="*/ 481 w 1552"/>
                <a:gd name="T19" fmla="*/ 424 h 1693"/>
                <a:gd name="T20" fmla="*/ 469 w 1552"/>
                <a:gd name="T21" fmla="*/ 314 h 1693"/>
                <a:gd name="T22" fmla="*/ 776 w 1552"/>
                <a:gd name="T23" fmla="*/ 0 h 1693"/>
                <a:gd name="T24" fmla="*/ 1083 w 1552"/>
                <a:gd name="T25" fmla="*/ 314 h 1693"/>
                <a:gd name="T26" fmla="*/ 1072 w 1552"/>
                <a:gd name="T27" fmla="*/ 421 h 1693"/>
                <a:gd name="T28" fmla="*/ 848 w 1552"/>
                <a:gd name="T29" fmla="*/ 1124 h 1693"/>
                <a:gd name="T30" fmla="*/ 803 w 1552"/>
                <a:gd name="T31" fmla="*/ 992 h 1693"/>
                <a:gd name="T32" fmla="*/ 803 w 1552"/>
                <a:gd name="T33" fmla="*/ 987 h 1693"/>
                <a:gd name="T34" fmla="*/ 845 w 1552"/>
                <a:gd name="T35" fmla="*/ 921 h 1693"/>
                <a:gd name="T36" fmla="*/ 841 w 1552"/>
                <a:gd name="T37" fmla="*/ 912 h 1693"/>
                <a:gd name="T38" fmla="*/ 778 w 1552"/>
                <a:gd name="T39" fmla="*/ 903 h 1693"/>
                <a:gd name="T40" fmla="*/ 712 w 1552"/>
                <a:gd name="T41" fmla="*/ 912 h 1693"/>
                <a:gd name="T42" fmla="*/ 708 w 1552"/>
                <a:gd name="T43" fmla="*/ 922 h 1693"/>
                <a:gd name="T44" fmla="*/ 749 w 1552"/>
                <a:gd name="T45" fmla="*/ 987 h 1693"/>
                <a:gd name="T46" fmla="*/ 750 w 1552"/>
                <a:gd name="T47" fmla="*/ 992 h 1693"/>
                <a:gd name="T48" fmla="*/ 701 w 1552"/>
                <a:gd name="T49" fmla="*/ 1124 h 1693"/>
                <a:gd name="T50" fmla="*/ 707 w 1552"/>
                <a:gd name="T51" fmla="*/ 1132 h 1693"/>
                <a:gd name="T52" fmla="*/ 841 w 1552"/>
                <a:gd name="T53" fmla="*/ 1132 h 1693"/>
                <a:gd name="T54" fmla="*/ 848 w 1552"/>
                <a:gd name="T55" fmla="*/ 1124 h 1693"/>
                <a:gd name="T56" fmla="*/ 636 w 1552"/>
                <a:gd name="T57" fmla="*/ 1693 h 1693"/>
                <a:gd name="T58" fmla="*/ 911 w 1552"/>
                <a:gd name="T59" fmla="*/ 1693 h 1693"/>
                <a:gd name="T60" fmla="*/ 921 w 1552"/>
                <a:gd name="T61" fmla="*/ 1683 h 1693"/>
                <a:gd name="T62" fmla="*/ 921 w 1552"/>
                <a:gd name="T63" fmla="*/ 1580 h 1693"/>
                <a:gd name="T64" fmla="*/ 911 w 1552"/>
                <a:gd name="T65" fmla="*/ 1570 h 1693"/>
                <a:gd name="T66" fmla="*/ 636 w 1552"/>
                <a:gd name="T67" fmla="*/ 1570 h 1693"/>
                <a:gd name="T68" fmla="*/ 626 w 1552"/>
                <a:gd name="T69" fmla="*/ 1580 h 1693"/>
                <a:gd name="T70" fmla="*/ 626 w 1552"/>
                <a:gd name="T71" fmla="*/ 1683 h 1693"/>
                <a:gd name="T72" fmla="*/ 636 w 1552"/>
                <a:gd name="T73" fmla="*/ 1693 h 1693"/>
                <a:gd name="T74" fmla="*/ 1267 w 1552"/>
                <a:gd name="T75" fmla="*/ 1693 h 1693"/>
                <a:gd name="T76" fmla="*/ 1542 w 1552"/>
                <a:gd name="T77" fmla="*/ 1693 h 1693"/>
                <a:gd name="T78" fmla="*/ 1552 w 1552"/>
                <a:gd name="T79" fmla="*/ 1683 h 1693"/>
                <a:gd name="T80" fmla="*/ 1552 w 1552"/>
                <a:gd name="T81" fmla="*/ 1580 h 1693"/>
                <a:gd name="T82" fmla="*/ 1542 w 1552"/>
                <a:gd name="T83" fmla="*/ 1570 h 1693"/>
                <a:gd name="T84" fmla="*/ 1267 w 1552"/>
                <a:gd name="T85" fmla="*/ 1570 h 1693"/>
                <a:gd name="T86" fmla="*/ 1257 w 1552"/>
                <a:gd name="T87" fmla="*/ 1580 h 1693"/>
                <a:gd name="T88" fmla="*/ 1257 w 1552"/>
                <a:gd name="T89" fmla="*/ 1683 h 1693"/>
                <a:gd name="T90" fmla="*/ 1267 w 1552"/>
                <a:gd name="T91" fmla="*/ 1693 h 1693"/>
                <a:gd name="T92" fmla="*/ 10 w 1552"/>
                <a:gd name="T93" fmla="*/ 1693 h 1693"/>
                <a:gd name="T94" fmla="*/ 285 w 1552"/>
                <a:gd name="T95" fmla="*/ 1693 h 1693"/>
                <a:gd name="T96" fmla="*/ 295 w 1552"/>
                <a:gd name="T97" fmla="*/ 1683 h 1693"/>
                <a:gd name="T98" fmla="*/ 295 w 1552"/>
                <a:gd name="T99" fmla="*/ 1580 h 1693"/>
                <a:gd name="T100" fmla="*/ 285 w 1552"/>
                <a:gd name="T101" fmla="*/ 1570 h 1693"/>
                <a:gd name="T102" fmla="*/ 10 w 1552"/>
                <a:gd name="T103" fmla="*/ 1570 h 1693"/>
                <a:gd name="T104" fmla="*/ 0 w 1552"/>
                <a:gd name="T105" fmla="*/ 1580 h 1693"/>
                <a:gd name="T106" fmla="*/ 0 w 1552"/>
                <a:gd name="T107" fmla="*/ 1683 h 1693"/>
                <a:gd name="T108" fmla="*/ 10 w 1552"/>
                <a:gd name="T109" fmla="*/ 1693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52" h="1693">
                  <a:moveTo>
                    <a:pt x="1072" y="421"/>
                  </a:moveTo>
                  <a:cubicBezTo>
                    <a:pt x="1072" y="420"/>
                    <a:pt x="1072" y="420"/>
                    <a:pt x="1072" y="420"/>
                  </a:cubicBezTo>
                  <a:cubicBezTo>
                    <a:pt x="1071" y="420"/>
                    <a:pt x="1066" y="436"/>
                    <a:pt x="1037" y="469"/>
                  </a:cubicBezTo>
                  <a:cubicBezTo>
                    <a:pt x="1037" y="469"/>
                    <a:pt x="1037" y="469"/>
                    <a:pt x="1014" y="469"/>
                  </a:cubicBezTo>
                  <a:cubicBezTo>
                    <a:pt x="1014" y="469"/>
                    <a:pt x="1014" y="458"/>
                    <a:pt x="1011" y="238"/>
                  </a:cubicBezTo>
                  <a:cubicBezTo>
                    <a:pt x="977" y="414"/>
                    <a:pt x="608" y="252"/>
                    <a:pt x="608" y="252"/>
                  </a:cubicBezTo>
                  <a:cubicBezTo>
                    <a:pt x="516" y="280"/>
                    <a:pt x="532" y="465"/>
                    <a:pt x="532" y="465"/>
                  </a:cubicBezTo>
                  <a:cubicBezTo>
                    <a:pt x="532" y="465"/>
                    <a:pt x="532" y="465"/>
                    <a:pt x="512" y="463"/>
                  </a:cubicBezTo>
                  <a:cubicBezTo>
                    <a:pt x="512" y="463"/>
                    <a:pt x="512" y="452"/>
                    <a:pt x="481" y="424"/>
                  </a:cubicBezTo>
                  <a:cubicBezTo>
                    <a:pt x="481" y="424"/>
                    <a:pt x="481" y="424"/>
                    <a:pt x="481" y="424"/>
                  </a:cubicBezTo>
                  <a:cubicBezTo>
                    <a:pt x="469" y="390"/>
                    <a:pt x="469" y="353"/>
                    <a:pt x="469" y="314"/>
                  </a:cubicBezTo>
                  <a:cubicBezTo>
                    <a:pt x="469" y="140"/>
                    <a:pt x="602" y="0"/>
                    <a:pt x="776" y="0"/>
                  </a:cubicBezTo>
                  <a:cubicBezTo>
                    <a:pt x="950" y="0"/>
                    <a:pt x="1083" y="140"/>
                    <a:pt x="1083" y="314"/>
                  </a:cubicBezTo>
                  <a:cubicBezTo>
                    <a:pt x="1083" y="351"/>
                    <a:pt x="1084" y="387"/>
                    <a:pt x="1072" y="421"/>
                  </a:cubicBezTo>
                  <a:close/>
                  <a:moveTo>
                    <a:pt x="848" y="1124"/>
                  </a:moveTo>
                  <a:cubicBezTo>
                    <a:pt x="803" y="992"/>
                    <a:pt x="803" y="992"/>
                    <a:pt x="803" y="992"/>
                  </a:cubicBezTo>
                  <a:cubicBezTo>
                    <a:pt x="802" y="990"/>
                    <a:pt x="802" y="988"/>
                    <a:pt x="803" y="987"/>
                  </a:cubicBezTo>
                  <a:cubicBezTo>
                    <a:pt x="845" y="921"/>
                    <a:pt x="845" y="921"/>
                    <a:pt x="845" y="921"/>
                  </a:cubicBezTo>
                  <a:cubicBezTo>
                    <a:pt x="847" y="918"/>
                    <a:pt x="845" y="913"/>
                    <a:pt x="841" y="912"/>
                  </a:cubicBezTo>
                  <a:cubicBezTo>
                    <a:pt x="827" y="909"/>
                    <a:pt x="800" y="903"/>
                    <a:pt x="778" y="903"/>
                  </a:cubicBezTo>
                  <a:cubicBezTo>
                    <a:pt x="756" y="903"/>
                    <a:pt x="726" y="909"/>
                    <a:pt x="712" y="912"/>
                  </a:cubicBezTo>
                  <a:cubicBezTo>
                    <a:pt x="707" y="913"/>
                    <a:pt x="705" y="918"/>
                    <a:pt x="708" y="922"/>
                  </a:cubicBezTo>
                  <a:cubicBezTo>
                    <a:pt x="749" y="987"/>
                    <a:pt x="749" y="987"/>
                    <a:pt x="749" y="987"/>
                  </a:cubicBezTo>
                  <a:cubicBezTo>
                    <a:pt x="750" y="989"/>
                    <a:pt x="750" y="991"/>
                    <a:pt x="750" y="992"/>
                  </a:cubicBezTo>
                  <a:cubicBezTo>
                    <a:pt x="701" y="1124"/>
                    <a:pt x="701" y="1124"/>
                    <a:pt x="701" y="1124"/>
                  </a:cubicBezTo>
                  <a:cubicBezTo>
                    <a:pt x="700" y="1128"/>
                    <a:pt x="703" y="1132"/>
                    <a:pt x="707" y="1132"/>
                  </a:cubicBezTo>
                  <a:cubicBezTo>
                    <a:pt x="841" y="1132"/>
                    <a:pt x="841" y="1132"/>
                    <a:pt x="841" y="1132"/>
                  </a:cubicBezTo>
                  <a:cubicBezTo>
                    <a:pt x="846" y="1132"/>
                    <a:pt x="849" y="1128"/>
                    <a:pt x="848" y="1124"/>
                  </a:cubicBezTo>
                  <a:close/>
                  <a:moveTo>
                    <a:pt x="636" y="1693"/>
                  </a:moveTo>
                  <a:cubicBezTo>
                    <a:pt x="911" y="1693"/>
                    <a:pt x="911" y="1693"/>
                    <a:pt x="911" y="1693"/>
                  </a:cubicBezTo>
                  <a:cubicBezTo>
                    <a:pt x="917" y="1693"/>
                    <a:pt x="921" y="1689"/>
                    <a:pt x="921" y="1683"/>
                  </a:cubicBezTo>
                  <a:cubicBezTo>
                    <a:pt x="921" y="1580"/>
                    <a:pt x="921" y="1580"/>
                    <a:pt x="921" y="1580"/>
                  </a:cubicBezTo>
                  <a:cubicBezTo>
                    <a:pt x="921" y="1575"/>
                    <a:pt x="917" y="1570"/>
                    <a:pt x="911" y="1570"/>
                  </a:cubicBezTo>
                  <a:cubicBezTo>
                    <a:pt x="636" y="1570"/>
                    <a:pt x="636" y="1570"/>
                    <a:pt x="636" y="1570"/>
                  </a:cubicBezTo>
                  <a:cubicBezTo>
                    <a:pt x="630" y="1570"/>
                    <a:pt x="626" y="1575"/>
                    <a:pt x="626" y="1580"/>
                  </a:cubicBezTo>
                  <a:cubicBezTo>
                    <a:pt x="626" y="1683"/>
                    <a:pt x="626" y="1683"/>
                    <a:pt x="626" y="1683"/>
                  </a:cubicBezTo>
                  <a:cubicBezTo>
                    <a:pt x="626" y="1689"/>
                    <a:pt x="630" y="1693"/>
                    <a:pt x="636" y="1693"/>
                  </a:cubicBezTo>
                  <a:close/>
                  <a:moveTo>
                    <a:pt x="1267" y="1693"/>
                  </a:moveTo>
                  <a:cubicBezTo>
                    <a:pt x="1542" y="1693"/>
                    <a:pt x="1542" y="1693"/>
                    <a:pt x="1542" y="1693"/>
                  </a:cubicBezTo>
                  <a:cubicBezTo>
                    <a:pt x="1548" y="1693"/>
                    <a:pt x="1552" y="1689"/>
                    <a:pt x="1552" y="1683"/>
                  </a:cubicBezTo>
                  <a:cubicBezTo>
                    <a:pt x="1552" y="1580"/>
                    <a:pt x="1552" y="1580"/>
                    <a:pt x="1552" y="1580"/>
                  </a:cubicBezTo>
                  <a:cubicBezTo>
                    <a:pt x="1552" y="1575"/>
                    <a:pt x="1548" y="1570"/>
                    <a:pt x="1542" y="1570"/>
                  </a:cubicBezTo>
                  <a:cubicBezTo>
                    <a:pt x="1267" y="1570"/>
                    <a:pt x="1267" y="1570"/>
                    <a:pt x="1267" y="1570"/>
                  </a:cubicBezTo>
                  <a:cubicBezTo>
                    <a:pt x="1261" y="1570"/>
                    <a:pt x="1257" y="1575"/>
                    <a:pt x="1257" y="1580"/>
                  </a:cubicBezTo>
                  <a:cubicBezTo>
                    <a:pt x="1257" y="1683"/>
                    <a:pt x="1257" y="1683"/>
                    <a:pt x="1257" y="1683"/>
                  </a:cubicBezTo>
                  <a:cubicBezTo>
                    <a:pt x="1257" y="1689"/>
                    <a:pt x="1261" y="1693"/>
                    <a:pt x="1267" y="1693"/>
                  </a:cubicBezTo>
                  <a:close/>
                  <a:moveTo>
                    <a:pt x="10" y="1693"/>
                  </a:moveTo>
                  <a:cubicBezTo>
                    <a:pt x="285" y="1693"/>
                    <a:pt x="285" y="1693"/>
                    <a:pt x="285" y="1693"/>
                  </a:cubicBezTo>
                  <a:cubicBezTo>
                    <a:pt x="291" y="1693"/>
                    <a:pt x="295" y="1689"/>
                    <a:pt x="295" y="1683"/>
                  </a:cubicBezTo>
                  <a:cubicBezTo>
                    <a:pt x="295" y="1580"/>
                    <a:pt x="295" y="1580"/>
                    <a:pt x="295" y="1580"/>
                  </a:cubicBezTo>
                  <a:cubicBezTo>
                    <a:pt x="295" y="1575"/>
                    <a:pt x="291" y="1570"/>
                    <a:pt x="285" y="1570"/>
                  </a:cubicBezTo>
                  <a:cubicBezTo>
                    <a:pt x="10" y="1570"/>
                    <a:pt x="10" y="1570"/>
                    <a:pt x="10" y="1570"/>
                  </a:cubicBezTo>
                  <a:cubicBezTo>
                    <a:pt x="4" y="1570"/>
                    <a:pt x="0" y="1575"/>
                    <a:pt x="0" y="1580"/>
                  </a:cubicBezTo>
                  <a:cubicBezTo>
                    <a:pt x="0" y="1683"/>
                    <a:pt x="0" y="1683"/>
                    <a:pt x="0" y="1683"/>
                  </a:cubicBezTo>
                  <a:cubicBezTo>
                    <a:pt x="0" y="1689"/>
                    <a:pt x="4" y="1693"/>
                    <a:pt x="10" y="169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dirty="0"/>
            </a:p>
          </p:txBody>
        </p:sp>
        <p:sp>
          <p:nvSpPr>
            <p:cNvPr id="27" name="Freeform 26">
              <a:extLst>
                <a:ext uri="{FF2B5EF4-FFF2-40B4-BE49-F238E27FC236}">
                  <a16:creationId xmlns:a16="http://schemas.microsoft.com/office/drawing/2014/main" id="{A5761825-B54E-4FE3-84C3-C3D05FA5B40E}"/>
                </a:ext>
              </a:extLst>
            </p:cNvPr>
            <p:cNvSpPr>
              <a:spLocks noEditPoints="1"/>
            </p:cNvSpPr>
            <p:nvPr/>
          </p:nvSpPr>
          <p:spPr bwMode="auto">
            <a:xfrm>
              <a:off x="2220" y="1314"/>
              <a:ext cx="3237" cy="2464"/>
            </a:xfrm>
            <a:custGeom>
              <a:avLst/>
              <a:gdLst>
                <a:gd name="T0" fmla="*/ 280 w 1728"/>
                <a:gd name="T1" fmla="*/ 646 h 1314"/>
                <a:gd name="T2" fmla="*/ 669 w 1728"/>
                <a:gd name="T3" fmla="*/ 397 h 1314"/>
                <a:gd name="T4" fmla="*/ 734 w 1728"/>
                <a:gd name="T5" fmla="*/ 657 h 1314"/>
                <a:gd name="T6" fmla="*/ 294 w 1728"/>
                <a:gd name="T7" fmla="*/ 665 h 1314"/>
                <a:gd name="T8" fmla="*/ 1448 w 1728"/>
                <a:gd name="T9" fmla="*/ 646 h 1314"/>
                <a:gd name="T10" fmla="*/ 1059 w 1728"/>
                <a:gd name="T11" fmla="*/ 397 h 1314"/>
                <a:gd name="T12" fmla="*/ 994 w 1728"/>
                <a:gd name="T13" fmla="*/ 657 h 1314"/>
                <a:gd name="T14" fmla="*/ 1434 w 1728"/>
                <a:gd name="T15" fmla="*/ 665 h 1314"/>
                <a:gd name="T16" fmla="*/ 693 w 1728"/>
                <a:gd name="T17" fmla="*/ 282 h 1314"/>
                <a:gd name="T18" fmla="*/ 703 w 1728"/>
                <a:gd name="T19" fmla="*/ 361 h 1314"/>
                <a:gd name="T20" fmla="*/ 747 w 1728"/>
                <a:gd name="T21" fmla="*/ 406 h 1314"/>
                <a:gd name="T22" fmla="*/ 864 w 1728"/>
                <a:gd name="T23" fmla="*/ 365 h 1314"/>
                <a:gd name="T24" fmla="*/ 981 w 1728"/>
                <a:gd name="T25" fmla="*/ 406 h 1314"/>
                <a:gd name="T26" fmla="*/ 1025 w 1728"/>
                <a:gd name="T27" fmla="*/ 361 h 1314"/>
                <a:gd name="T28" fmla="*/ 1035 w 1728"/>
                <a:gd name="T29" fmla="*/ 282 h 1314"/>
                <a:gd name="T30" fmla="*/ 1182 w 1728"/>
                <a:gd name="T31" fmla="*/ 4 h 1314"/>
                <a:gd name="T32" fmla="*/ 1127 w 1728"/>
                <a:gd name="T33" fmla="*/ 27 h 1314"/>
                <a:gd name="T34" fmla="*/ 1097 w 1728"/>
                <a:gd name="T35" fmla="*/ 56 h 1314"/>
                <a:gd name="T36" fmla="*/ 864 w 1728"/>
                <a:gd name="T37" fmla="*/ 321 h 1314"/>
                <a:gd name="T38" fmla="*/ 631 w 1728"/>
                <a:gd name="T39" fmla="*/ 56 h 1314"/>
                <a:gd name="T40" fmla="*/ 600 w 1728"/>
                <a:gd name="T41" fmla="*/ 25 h 1314"/>
                <a:gd name="T42" fmla="*/ 546 w 1728"/>
                <a:gd name="T43" fmla="*/ 5 h 1314"/>
                <a:gd name="T44" fmla="*/ 1728 w 1728"/>
                <a:gd name="T45" fmla="*/ 1037 h 1314"/>
                <a:gd name="T46" fmla="*/ 1706 w 1728"/>
                <a:gd name="T47" fmla="*/ 1314 h 1314"/>
                <a:gd name="T48" fmla="*/ 1257 w 1728"/>
                <a:gd name="T49" fmla="*/ 1292 h 1314"/>
                <a:gd name="T50" fmla="*/ 1279 w 1728"/>
                <a:gd name="T51" fmla="*/ 1015 h 1314"/>
                <a:gd name="T52" fmla="*/ 1471 w 1728"/>
                <a:gd name="T53" fmla="*/ 883 h 1314"/>
                <a:gd name="T54" fmla="*/ 884 w 1728"/>
                <a:gd name="T55" fmla="*/ 1015 h 1314"/>
                <a:gd name="T56" fmla="*/ 1097 w 1728"/>
                <a:gd name="T57" fmla="*/ 1037 h 1314"/>
                <a:gd name="T58" fmla="*/ 1075 w 1728"/>
                <a:gd name="T59" fmla="*/ 1314 h 1314"/>
                <a:gd name="T60" fmla="*/ 626 w 1728"/>
                <a:gd name="T61" fmla="*/ 1292 h 1314"/>
                <a:gd name="T62" fmla="*/ 648 w 1728"/>
                <a:gd name="T63" fmla="*/ 1015 h 1314"/>
                <a:gd name="T64" fmla="*/ 840 w 1728"/>
                <a:gd name="T65" fmla="*/ 883 h 1314"/>
                <a:gd name="T66" fmla="*/ 257 w 1728"/>
                <a:gd name="T67" fmla="*/ 1015 h 1314"/>
                <a:gd name="T68" fmla="*/ 471 w 1728"/>
                <a:gd name="T69" fmla="*/ 1037 h 1314"/>
                <a:gd name="T70" fmla="*/ 449 w 1728"/>
                <a:gd name="T71" fmla="*/ 1314 h 1314"/>
                <a:gd name="T72" fmla="*/ 0 w 1728"/>
                <a:gd name="T73" fmla="*/ 1292 h 1314"/>
                <a:gd name="T74" fmla="*/ 22 w 1728"/>
                <a:gd name="T75" fmla="*/ 1015 h 1314"/>
                <a:gd name="T76" fmla="*/ 213 w 1728"/>
                <a:gd name="T77" fmla="*/ 861 h 1314"/>
                <a:gd name="T78" fmla="*/ 840 w 1728"/>
                <a:gd name="T79" fmla="*/ 839 h 1314"/>
                <a:gd name="T80" fmla="*/ 884 w 1728"/>
                <a:gd name="T81" fmla="*/ 709 h 1314"/>
                <a:gd name="T82" fmla="*/ 1493 w 1728"/>
                <a:gd name="T83" fmla="*/ 839 h 1314"/>
                <a:gd name="T84" fmla="*/ 1515 w 1728"/>
                <a:gd name="T85" fmla="*/ 1015 h 1314"/>
                <a:gd name="T86" fmla="*/ 1728 w 1728"/>
                <a:gd name="T87" fmla="*/ 1037 h 1314"/>
                <a:gd name="T88" fmla="*/ 44 w 1728"/>
                <a:gd name="T89" fmla="*/ 1270 h 1314"/>
                <a:gd name="T90" fmla="*/ 427 w 1728"/>
                <a:gd name="T91" fmla="*/ 1059 h 1314"/>
                <a:gd name="T92" fmla="*/ 670 w 1728"/>
                <a:gd name="T93" fmla="*/ 1059 h 1314"/>
                <a:gd name="T94" fmla="*/ 1053 w 1728"/>
                <a:gd name="T95" fmla="*/ 1270 h 1314"/>
                <a:gd name="T96" fmla="*/ 670 w 1728"/>
                <a:gd name="T97" fmla="*/ 1059 h 1314"/>
                <a:gd name="T98" fmla="*/ 1301 w 1728"/>
                <a:gd name="T99" fmla="*/ 1059 h 1314"/>
                <a:gd name="T100" fmla="*/ 1684 w 1728"/>
                <a:gd name="T101" fmla="*/ 1270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28" h="1314">
                  <a:moveTo>
                    <a:pt x="294" y="665"/>
                  </a:moveTo>
                  <a:cubicBezTo>
                    <a:pt x="284" y="665"/>
                    <a:pt x="277" y="655"/>
                    <a:pt x="280" y="646"/>
                  </a:cubicBezTo>
                  <a:cubicBezTo>
                    <a:pt x="298" y="598"/>
                    <a:pt x="350" y="472"/>
                    <a:pt x="422" y="440"/>
                  </a:cubicBezTo>
                  <a:cubicBezTo>
                    <a:pt x="501" y="403"/>
                    <a:pt x="640" y="398"/>
                    <a:pt x="669" y="397"/>
                  </a:cubicBezTo>
                  <a:cubicBezTo>
                    <a:pt x="672" y="397"/>
                    <a:pt x="674" y="399"/>
                    <a:pt x="675" y="402"/>
                  </a:cubicBezTo>
                  <a:cubicBezTo>
                    <a:pt x="734" y="657"/>
                    <a:pt x="734" y="657"/>
                    <a:pt x="734" y="657"/>
                  </a:cubicBezTo>
                  <a:cubicBezTo>
                    <a:pt x="735" y="661"/>
                    <a:pt x="732" y="665"/>
                    <a:pt x="728" y="665"/>
                  </a:cubicBezTo>
                  <a:lnTo>
                    <a:pt x="294" y="665"/>
                  </a:lnTo>
                  <a:close/>
                  <a:moveTo>
                    <a:pt x="1434" y="665"/>
                  </a:moveTo>
                  <a:cubicBezTo>
                    <a:pt x="1444" y="665"/>
                    <a:pt x="1451" y="655"/>
                    <a:pt x="1448" y="646"/>
                  </a:cubicBezTo>
                  <a:cubicBezTo>
                    <a:pt x="1430" y="598"/>
                    <a:pt x="1378" y="472"/>
                    <a:pt x="1306" y="440"/>
                  </a:cubicBezTo>
                  <a:cubicBezTo>
                    <a:pt x="1227" y="403"/>
                    <a:pt x="1088" y="398"/>
                    <a:pt x="1059" y="397"/>
                  </a:cubicBezTo>
                  <a:cubicBezTo>
                    <a:pt x="1056" y="397"/>
                    <a:pt x="1054" y="399"/>
                    <a:pt x="1053" y="402"/>
                  </a:cubicBezTo>
                  <a:cubicBezTo>
                    <a:pt x="994" y="657"/>
                    <a:pt x="994" y="657"/>
                    <a:pt x="994" y="657"/>
                  </a:cubicBezTo>
                  <a:cubicBezTo>
                    <a:pt x="993" y="661"/>
                    <a:pt x="996" y="665"/>
                    <a:pt x="1000" y="665"/>
                  </a:cubicBezTo>
                  <a:lnTo>
                    <a:pt x="1434" y="665"/>
                  </a:lnTo>
                  <a:close/>
                  <a:moveTo>
                    <a:pt x="593" y="79"/>
                  </a:moveTo>
                  <a:cubicBezTo>
                    <a:pt x="612" y="129"/>
                    <a:pt x="665" y="257"/>
                    <a:pt x="693" y="282"/>
                  </a:cubicBezTo>
                  <a:cubicBezTo>
                    <a:pt x="696" y="284"/>
                    <a:pt x="699" y="287"/>
                    <a:pt x="703" y="290"/>
                  </a:cubicBezTo>
                  <a:cubicBezTo>
                    <a:pt x="703" y="361"/>
                    <a:pt x="703" y="361"/>
                    <a:pt x="703" y="361"/>
                  </a:cubicBezTo>
                  <a:cubicBezTo>
                    <a:pt x="710" y="371"/>
                    <a:pt x="710" y="371"/>
                    <a:pt x="710" y="371"/>
                  </a:cubicBezTo>
                  <a:cubicBezTo>
                    <a:pt x="711" y="372"/>
                    <a:pt x="723" y="389"/>
                    <a:pt x="747" y="406"/>
                  </a:cubicBezTo>
                  <a:cubicBezTo>
                    <a:pt x="747" y="321"/>
                    <a:pt x="747" y="321"/>
                    <a:pt x="747" y="321"/>
                  </a:cubicBezTo>
                  <a:cubicBezTo>
                    <a:pt x="783" y="343"/>
                    <a:pt x="828" y="365"/>
                    <a:pt x="864" y="365"/>
                  </a:cubicBezTo>
                  <a:cubicBezTo>
                    <a:pt x="900" y="365"/>
                    <a:pt x="945" y="343"/>
                    <a:pt x="981" y="320"/>
                  </a:cubicBezTo>
                  <a:cubicBezTo>
                    <a:pt x="981" y="406"/>
                    <a:pt x="981" y="406"/>
                    <a:pt x="981" y="406"/>
                  </a:cubicBezTo>
                  <a:cubicBezTo>
                    <a:pt x="1005" y="389"/>
                    <a:pt x="1017" y="372"/>
                    <a:pt x="1018" y="371"/>
                  </a:cubicBezTo>
                  <a:cubicBezTo>
                    <a:pt x="1025" y="361"/>
                    <a:pt x="1025" y="361"/>
                    <a:pt x="1025" y="361"/>
                  </a:cubicBezTo>
                  <a:cubicBezTo>
                    <a:pt x="1025" y="290"/>
                    <a:pt x="1025" y="290"/>
                    <a:pt x="1025" y="290"/>
                  </a:cubicBezTo>
                  <a:cubicBezTo>
                    <a:pt x="1029" y="287"/>
                    <a:pt x="1032" y="284"/>
                    <a:pt x="1035" y="282"/>
                  </a:cubicBezTo>
                  <a:cubicBezTo>
                    <a:pt x="1063" y="257"/>
                    <a:pt x="1116" y="129"/>
                    <a:pt x="1135" y="79"/>
                  </a:cubicBezTo>
                  <a:cubicBezTo>
                    <a:pt x="1170" y="57"/>
                    <a:pt x="1179" y="20"/>
                    <a:pt x="1182" y="4"/>
                  </a:cubicBezTo>
                  <a:cubicBezTo>
                    <a:pt x="1182" y="3"/>
                    <a:pt x="1182" y="2"/>
                    <a:pt x="1182" y="1"/>
                  </a:cubicBezTo>
                  <a:cubicBezTo>
                    <a:pt x="1127" y="27"/>
                    <a:pt x="1127" y="27"/>
                    <a:pt x="1127" y="27"/>
                  </a:cubicBezTo>
                  <a:cubicBezTo>
                    <a:pt x="1122" y="34"/>
                    <a:pt x="1116" y="40"/>
                    <a:pt x="1107" y="44"/>
                  </a:cubicBezTo>
                  <a:cubicBezTo>
                    <a:pt x="1103" y="47"/>
                    <a:pt x="1099" y="51"/>
                    <a:pt x="1097" y="56"/>
                  </a:cubicBezTo>
                  <a:cubicBezTo>
                    <a:pt x="1065" y="138"/>
                    <a:pt x="1020" y="236"/>
                    <a:pt x="1006" y="249"/>
                  </a:cubicBezTo>
                  <a:cubicBezTo>
                    <a:pt x="978" y="273"/>
                    <a:pt x="903" y="321"/>
                    <a:pt x="864" y="321"/>
                  </a:cubicBezTo>
                  <a:cubicBezTo>
                    <a:pt x="824" y="321"/>
                    <a:pt x="750" y="273"/>
                    <a:pt x="722" y="249"/>
                  </a:cubicBezTo>
                  <a:cubicBezTo>
                    <a:pt x="707" y="236"/>
                    <a:pt x="663" y="138"/>
                    <a:pt x="631" y="56"/>
                  </a:cubicBezTo>
                  <a:cubicBezTo>
                    <a:pt x="629" y="51"/>
                    <a:pt x="625" y="47"/>
                    <a:pt x="620" y="44"/>
                  </a:cubicBezTo>
                  <a:cubicBezTo>
                    <a:pt x="611" y="39"/>
                    <a:pt x="604" y="33"/>
                    <a:pt x="600" y="25"/>
                  </a:cubicBezTo>
                  <a:cubicBezTo>
                    <a:pt x="546" y="0"/>
                    <a:pt x="546" y="0"/>
                    <a:pt x="546" y="0"/>
                  </a:cubicBezTo>
                  <a:cubicBezTo>
                    <a:pt x="546" y="2"/>
                    <a:pt x="546" y="4"/>
                    <a:pt x="546" y="5"/>
                  </a:cubicBezTo>
                  <a:cubicBezTo>
                    <a:pt x="550" y="25"/>
                    <a:pt x="560" y="59"/>
                    <a:pt x="593" y="79"/>
                  </a:cubicBezTo>
                  <a:close/>
                  <a:moveTo>
                    <a:pt x="1728" y="1037"/>
                  </a:moveTo>
                  <a:cubicBezTo>
                    <a:pt x="1728" y="1292"/>
                    <a:pt x="1728" y="1292"/>
                    <a:pt x="1728" y="1292"/>
                  </a:cubicBezTo>
                  <a:cubicBezTo>
                    <a:pt x="1728" y="1304"/>
                    <a:pt x="1718" y="1314"/>
                    <a:pt x="1706" y="1314"/>
                  </a:cubicBezTo>
                  <a:cubicBezTo>
                    <a:pt x="1279" y="1314"/>
                    <a:pt x="1279" y="1314"/>
                    <a:pt x="1279" y="1314"/>
                  </a:cubicBezTo>
                  <a:cubicBezTo>
                    <a:pt x="1267" y="1314"/>
                    <a:pt x="1257" y="1304"/>
                    <a:pt x="1257" y="1292"/>
                  </a:cubicBezTo>
                  <a:cubicBezTo>
                    <a:pt x="1257" y="1037"/>
                    <a:pt x="1257" y="1037"/>
                    <a:pt x="1257" y="1037"/>
                  </a:cubicBezTo>
                  <a:cubicBezTo>
                    <a:pt x="1257" y="1025"/>
                    <a:pt x="1267" y="1015"/>
                    <a:pt x="1279" y="1015"/>
                  </a:cubicBezTo>
                  <a:cubicBezTo>
                    <a:pt x="1471" y="1015"/>
                    <a:pt x="1471" y="1015"/>
                    <a:pt x="1471" y="1015"/>
                  </a:cubicBezTo>
                  <a:cubicBezTo>
                    <a:pt x="1471" y="883"/>
                    <a:pt x="1471" y="883"/>
                    <a:pt x="1471" y="883"/>
                  </a:cubicBezTo>
                  <a:cubicBezTo>
                    <a:pt x="884" y="883"/>
                    <a:pt x="884" y="883"/>
                    <a:pt x="884" y="883"/>
                  </a:cubicBezTo>
                  <a:cubicBezTo>
                    <a:pt x="884" y="1015"/>
                    <a:pt x="884" y="1015"/>
                    <a:pt x="884" y="1015"/>
                  </a:cubicBezTo>
                  <a:cubicBezTo>
                    <a:pt x="1075" y="1015"/>
                    <a:pt x="1075" y="1015"/>
                    <a:pt x="1075" y="1015"/>
                  </a:cubicBezTo>
                  <a:cubicBezTo>
                    <a:pt x="1087" y="1015"/>
                    <a:pt x="1097" y="1025"/>
                    <a:pt x="1097" y="1037"/>
                  </a:cubicBezTo>
                  <a:cubicBezTo>
                    <a:pt x="1097" y="1292"/>
                    <a:pt x="1097" y="1292"/>
                    <a:pt x="1097" y="1292"/>
                  </a:cubicBezTo>
                  <a:cubicBezTo>
                    <a:pt x="1097" y="1304"/>
                    <a:pt x="1087" y="1314"/>
                    <a:pt x="1075" y="1314"/>
                  </a:cubicBezTo>
                  <a:cubicBezTo>
                    <a:pt x="648" y="1314"/>
                    <a:pt x="648" y="1314"/>
                    <a:pt x="648" y="1314"/>
                  </a:cubicBezTo>
                  <a:cubicBezTo>
                    <a:pt x="636" y="1314"/>
                    <a:pt x="626" y="1304"/>
                    <a:pt x="626" y="1292"/>
                  </a:cubicBezTo>
                  <a:cubicBezTo>
                    <a:pt x="626" y="1037"/>
                    <a:pt x="626" y="1037"/>
                    <a:pt x="626" y="1037"/>
                  </a:cubicBezTo>
                  <a:cubicBezTo>
                    <a:pt x="626" y="1025"/>
                    <a:pt x="636" y="1015"/>
                    <a:pt x="648" y="1015"/>
                  </a:cubicBezTo>
                  <a:cubicBezTo>
                    <a:pt x="840" y="1015"/>
                    <a:pt x="840" y="1015"/>
                    <a:pt x="840" y="1015"/>
                  </a:cubicBezTo>
                  <a:cubicBezTo>
                    <a:pt x="840" y="883"/>
                    <a:pt x="840" y="883"/>
                    <a:pt x="840" y="883"/>
                  </a:cubicBezTo>
                  <a:cubicBezTo>
                    <a:pt x="257" y="883"/>
                    <a:pt x="257" y="883"/>
                    <a:pt x="257" y="883"/>
                  </a:cubicBezTo>
                  <a:cubicBezTo>
                    <a:pt x="257" y="1015"/>
                    <a:pt x="257" y="1015"/>
                    <a:pt x="257" y="1015"/>
                  </a:cubicBezTo>
                  <a:cubicBezTo>
                    <a:pt x="449" y="1015"/>
                    <a:pt x="449" y="1015"/>
                    <a:pt x="449" y="1015"/>
                  </a:cubicBezTo>
                  <a:cubicBezTo>
                    <a:pt x="461" y="1015"/>
                    <a:pt x="471" y="1025"/>
                    <a:pt x="471" y="1037"/>
                  </a:cubicBezTo>
                  <a:cubicBezTo>
                    <a:pt x="471" y="1292"/>
                    <a:pt x="471" y="1292"/>
                    <a:pt x="471" y="1292"/>
                  </a:cubicBezTo>
                  <a:cubicBezTo>
                    <a:pt x="471" y="1304"/>
                    <a:pt x="461" y="1314"/>
                    <a:pt x="449" y="1314"/>
                  </a:cubicBezTo>
                  <a:cubicBezTo>
                    <a:pt x="22" y="1314"/>
                    <a:pt x="22" y="1314"/>
                    <a:pt x="22" y="1314"/>
                  </a:cubicBezTo>
                  <a:cubicBezTo>
                    <a:pt x="10" y="1314"/>
                    <a:pt x="0" y="1304"/>
                    <a:pt x="0" y="1292"/>
                  </a:cubicBezTo>
                  <a:cubicBezTo>
                    <a:pt x="0" y="1037"/>
                    <a:pt x="0" y="1037"/>
                    <a:pt x="0" y="1037"/>
                  </a:cubicBezTo>
                  <a:cubicBezTo>
                    <a:pt x="0" y="1025"/>
                    <a:pt x="10" y="1015"/>
                    <a:pt x="22" y="1015"/>
                  </a:cubicBezTo>
                  <a:cubicBezTo>
                    <a:pt x="213" y="1015"/>
                    <a:pt x="213" y="1015"/>
                    <a:pt x="213" y="1015"/>
                  </a:cubicBezTo>
                  <a:cubicBezTo>
                    <a:pt x="213" y="861"/>
                    <a:pt x="213" y="861"/>
                    <a:pt x="213" y="861"/>
                  </a:cubicBezTo>
                  <a:cubicBezTo>
                    <a:pt x="213" y="849"/>
                    <a:pt x="223" y="839"/>
                    <a:pt x="235" y="839"/>
                  </a:cubicBezTo>
                  <a:cubicBezTo>
                    <a:pt x="840" y="839"/>
                    <a:pt x="840" y="839"/>
                    <a:pt x="840" y="839"/>
                  </a:cubicBezTo>
                  <a:cubicBezTo>
                    <a:pt x="840" y="709"/>
                    <a:pt x="840" y="709"/>
                    <a:pt x="840" y="709"/>
                  </a:cubicBezTo>
                  <a:cubicBezTo>
                    <a:pt x="884" y="709"/>
                    <a:pt x="884" y="709"/>
                    <a:pt x="884" y="709"/>
                  </a:cubicBezTo>
                  <a:cubicBezTo>
                    <a:pt x="884" y="839"/>
                    <a:pt x="884" y="839"/>
                    <a:pt x="884" y="839"/>
                  </a:cubicBezTo>
                  <a:cubicBezTo>
                    <a:pt x="1493" y="839"/>
                    <a:pt x="1493" y="839"/>
                    <a:pt x="1493" y="839"/>
                  </a:cubicBezTo>
                  <a:cubicBezTo>
                    <a:pt x="1505" y="839"/>
                    <a:pt x="1515" y="849"/>
                    <a:pt x="1515" y="861"/>
                  </a:cubicBezTo>
                  <a:cubicBezTo>
                    <a:pt x="1515" y="1015"/>
                    <a:pt x="1515" y="1015"/>
                    <a:pt x="1515" y="1015"/>
                  </a:cubicBezTo>
                  <a:cubicBezTo>
                    <a:pt x="1706" y="1015"/>
                    <a:pt x="1706" y="1015"/>
                    <a:pt x="1706" y="1015"/>
                  </a:cubicBezTo>
                  <a:cubicBezTo>
                    <a:pt x="1718" y="1015"/>
                    <a:pt x="1728" y="1025"/>
                    <a:pt x="1728" y="1037"/>
                  </a:cubicBezTo>
                  <a:close/>
                  <a:moveTo>
                    <a:pt x="44" y="1059"/>
                  </a:moveTo>
                  <a:cubicBezTo>
                    <a:pt x="44" y="1270"/>
                    <a:pt x="44" y="1270"/>
                    <a:pt x="44" y="1270"/>
                  </a:cubicBezTo>
                  <a:cubicBezTo>
                    <a:pt x="427" y="1270"/>
                    <a:pt x="427" y="1270"/>
                    <a:pt x="427" y="1270"/>
                  </a:cubicBezTo>
                  <a:cubicBezTo>
                    <a:pt x="427" y="1059"/>
                    <a:pt x="427" y="1059"/>
                    <a:pt x="427" y="1059"/>
                  </a:cubicBezTo>
                  <a:lnTo>
                    <a:pt x="44" y="1059"/>
                  </a:lnTo>
                  <a:close/>
                  <a:moveTo>
                    <a:pt x="670" y="1059"/>
                  </a:moveTo>
                  <a:cubicBezTo>
                    <a:pt x="670" y="1270"/>
                    <a:pt x="670" y="1270"/>
                    <a:pt x="670" y="1270"/>
                  </a:cubicBezTo>
                  <a:cubicBezTo>
                    <a:pt x="1053" y="1270"/>
                    <a:pt x="1053" y="1270"/>
                    <a:pt x="1053" y="1270"/>
                  </a:cubicBezTo>
                  <a:cubicBezTo>
                    <a:pt x="1053" y="1059"/>
                    <a:pt x="1053" y="1059"/>
                    <a:pt x="1053" y="1059"/>
                  </a:cubicBezTo>
                  <a:lnTo>
                    <a:pt x="670" y="1059"/>
                  </a:lnTo>
                  <a:close/>
                  <a:moveTo>
                    <a:pt x="1684" y="1059"/>
                  </a:moveTo>
                  <a:cubicBezTo>
                    <a:pt x="1301" y="1059"/>
                    <a:pt x="1301" y="1059"/>
                    <a:pt x="1301" y="1059"/>
                  </a:cubicBezTo>
                  <a:cubicBezTo>
                    <a:pt x="1301" y="1270"/>
                    <a:pt x="1301" y="1270"/>
                    <a:pt x="1301" y="1270"/>
                  </a:cubicBezTo>
                  <a:cubicBezTo>
                    <a:pt x="1684" y="1270"/>
                    <a:pt x="1684" y="1270"/>
                    <a:pt x="1684" y="1270"/>
                  </a:cubicBezTo>
                  <a:lnTo>
                    <a:pt x="1684" y="10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dirty="0"/>
            </a:p>
          </p:txBody>
        </p:sp>
      </p:grpSp>
      <p:sp>
        <p:nvSpPr>
          <p:cNvPr id="33" name="ee4pContent2"/>
          <p:cNvSpPr txBox="1"/>
          <p:nvPr/>
        </p:nvSpPr>
        <p:spPr>
          <a:xfrm>
            <a:off x="2832733" y="5540426"/>
            <a:ext cx="2292160"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800" dirty="0">
                <a:latin typeface="+mn-lt"/>
              </a:rPr>
              <a:t>Developed </a:t>
            </a:r>
            <a:r>
              <a:rPr lang="en-US" sz="1800" dirty="0">
                <a:solidFill>
                  <a:srgbClr val="29BA74"/>
                </a:solidFill>
                <a:latin typeface="+mn-lt"/>
              </a:rPr>
              <a:t>new target culture</a:t>
            </a:r>
            <a:r>
              <a:rPr lang="en-US" sz="1800" dirty="0">
                <a:latin typeface="+mn-lt"/>
              </a:rPr>
              <a:t> with energy around innovation</a:t>
            </a:r>
          </a:p>
        </p:txBody>
      </p:sp>
      <p:grpSp>
        <p:nvGrpSpPr>
          <p:cNvPr id="34" name="Group 33">
            <a:extLst>
              <a:ext uri="{FF2B5EF4-FFF2-40B4-BE49-F238E27FC236}">
                <a16:creationId xmlns:a16="http://schemas.microsoft.com/office/drawing/2014/main" id="{DE4DC27C-1E70-4A6A-9D98-DABA73082A11}"/>
              </a:ext>
            </a:extLst>
          </p:cNvPr>
          <p:cNvGrpSpPr>
            <a:grpSpLocks noChangeAspect="1"/>
          </p:cNvGrpSpPr>
          <p:nvPr/>
        </p:nvGrpSpPr>
        <p:grpSpPr bwMode="auto">
          <a:xfrm>
            <a:off x="3668463" y="4244885"/>
            <a:ext cx="1143003" cy="1144063"/>
            <a:chOff x="1682" y="0"/>
            <a:chExt cx="4316" cy="4320"/>
          </a:xfrm>
        </p:grpSpPr>
        <p:sp>
          <p:nvSpPr>
            <p:cNvPr id="35" name="AutoShape 3">
              <a:extLst>
                <a:ext uri="{FF2B5EF4-FFF2-40B4-BE49-F238E27FC236}">
                  <a16:creationId xmlns:a16="http://schemas.microsoft.com/office/drawing/2014/main" id="{D2AD4277-1071-4B04-87B1-DC37A9D97B67}"/>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6" name="Freeform 35">
              <a:extLst>
                <a:ext uri="{FF2B5EF4-FFF2-40B4-BE49-F238E27FC236}">
                  <a16:creationId xmlns:a16="http://schemas.microsoft.com/office/drawing/2014/main" id="{E6372983-61F8-4C76-8E59-D729DC698BEB}"/>
                </a:ext>
              </a:extLst>
            </p:cNvPr>
            <p:cNvSpPr>
              <a:spLocks noEditPoints="1"/>
            </p:cNvSpPr>
            <p:nvPr/>
          </p:nvSpPr>
          <p:spPr bwMode="auto">
            <a:xfrm>
              <a:off x="2860" y="501"/>
              <a:ext cx="1952" cy="2366"/>
            </a:xfrm>
            <a:custGeom>
              <a:avLst/>
              <a:gdLst>
                <a:gd name="T0" fmla="*/ 679 w 1042"/>
                <a:gd name="T1" fmla="*/ 1055 h 1262"/>
                <a:gd name="T2" fmla="*/ 528 w 1042"/>
                <a:gd name="T3" fmla="*/ 913 h 1262"/>
                <a:gd name="T4" fmla="*/ 579 w 1042"/>
                <a:gd name="T5" fmla="*/ 571 h 1262"/>
                <a:gd name="T6" fmla="*/ 500 w 1042"/>
                <a:gd name="T7" fmla="*/ 812 h 1262"/>
                <a:gd name="T8" fmla="*/ 579 w 1042"/>
                <a:gd name="T9" fmla="*/ 571 h 1262"/>
                <a:gd name="T10" fmla="*/ 738 w 1042"/>
                <a:gd name="T11" fmla="*/ 499 h 1262"/>
                <a:gd name="T12" fmla="*/ 926 w 1042"/>
                <a:gd name="T13" fmla="*/ 576 h 1262"/>
                <a:gd name="T14" fmla="*/ 934 w 1042"/>
                <a:gd name="T15" fmla="*/ 533 h 1262"/>
                <a:gd name="T16" fmla="*/ 800 w 1042"/>
                <a:gd name="T17" fmla="*/ 133 h 1262"/>
                <a:gd name="T18" fmla="*/ 1022 w 1042"/>
                <a:gd name="T19" fmla="*/ 477 h 1262"/>
                <a:gd name="T20" fmla="*/ 821 w 1042"/>
                <a:gd name="T21" fmla="*/ 94 h 1262"/>
                <a:gd name="T22" fmla="*/ 728 w 1042"/>
                <a:gd name="T23" fmla="*/ 165 h 1262"/>
                <a:gd name="T24" fmla="*/ 639 w 1042"/>
                <a:gd name="T25" fmla="*/ 403 h 1262"/>
                <a:gd name="T26" fmla="*/ 682 w 1042"/>
                <a:gd name="T27" fmla="*/ 411 h 1262"/>
                <a:gd name="T28" fmla="*/ 728 w 1042"/>
                <a:gd name="T29" fmla="*/ 165 h 1262"/>
                <a:gd name="T30" fmla="*/ 654 w 1042"/>
                <a:gd name="T31" fmla="*/ 130 h 1262"/>
                <a:gd name="T32" fmla="*/ 338 w 1042"/>
                <a:gd name="T33" fmla="*/ 237 h 1262"/>
                <a:gd name="T34" fmla="*/ 135 w 1042"/>
                <a:gd name="T35" fmla="*/ 664 h 1262"/>
                <a:gd name="T36" fmla="*/ 207 w 1042"/>
                <a:gd name="T37" fmla="*/ 376 h 1262"/>
                <a:gd name="T38" fmla="*/ 135 w 1042"/>
                <a:gd name="T39" fmla="*/ 664 h 1262"/>
                <a:gd name="T40" fmla="*/ 979 w 1042"/>
                <a:gd name="T41" fmla="*/ 659 h 1262"/>
                <a:gd name="T42" fmla="*/ 772 w 1042"/>
                <a:gd name="T43" fmla="*/ 988 h 1262"/>
                <a:gd name="T44" fmla="*/ 915 w 1042"/>
                <a:gd name="T45" fmla="*/ 864 h 1262"/>
                <a:gd name="T46" fmla="*/ 1022 w 1042"/>
                <a:gd name="T47" fmla="*/ 669 h 1262"/>
                <a:gd name="T48" fmla="*/ 548 w 1042"/>
                <a:gd name="T49" fmla="*/ 516 h 1262"/>
                <a:gd name="T50" fmla="*/ 173 w 1042"/>
                <a:gd name="T51" fmla="*/ 725 h 1262"/>
                <a:gd name="T52" fmla="*/ 548 w 1042"/>
                <a:gd name="T53" fmla="*/ 516 h 1262"/>
                <a:gd name="T54" fmla="*/ 44 w 1042"/>
                <a:gd name="T55" fmla="*/ 521 h 1262"/>
                <a:gd name="T56" fmla="*/ 633 w 1042"/>
                <a:gd name="T57" fmla="*/ 57 h 1262"/>
                <a:gd name="T58" fmla="*/ 522 w 1042"/>
                <a:gd name="T59" fmla="*/ 0 h 1262"/>
                <a:gd name="T60" fmla="*/ 21 w 1042"/>
                <a:gd name="T61" fmla="*/ 665 h 1262"/>
                <a:gd name="T62" fmla="*/ 781 w 1042"/>
                <a:gd name="T63" fmla="*/ 1262 h 1262"/>
                <a:gd name="T64" fmla="*/ 770 w 1042"/>
                <a:gd name="T65" fmla="*/ 1180 h 1262"/>
                <a:gd name="T66" fmla="*/ 737 w 1042"/>
                <a:gd name="T67" fmla="*/ 1262 h 1262"/>
                <a:gd name="T68" fmla="*/ 263 w 1042"/>
                <a:gd name="T69" fmla="*/ 1262 h 1262"/>
                <a:gd name="T70" fmla="*/ 307 w 1042"/>
                <a:gd name="T71" fmla="*/ 1130 h 1262"/>
                <a:gd name="T72" fmla="*/ 144 w 1042"/>
                <a:gd name="T73" fmla="*/ 813 h 1262"/>
                <a:gd name="T74" fmla="*/ 128 w 1042"/>
                <a:gd name="T75" fmla="*/ 862 h 1262"/>
                <a:gd name="T76" fmla="*/ 263 w 1042"/>
                <a:gd name="T77" fmla="*/ 1130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42" h="1262">
                  <a:moveTo>
                    <a:pt x="505" y="951"/>
                  </a:moveTo>
                  <a:cubicBezTo>
                    <a:pt x="679" y="1055"/>
                    <a:pt x="679" y="1055"/>
                    <a:pt x="679" y="1055"/>
                  </a:cubicBezTo>
                  <a:cubicBezTo>
                    <a:pt x="683" y="1040"/>
                    <a:pt x="691" y="1028"/>
                    <a:pt x="702" y="1017"/>
                  </a:cubicBezTo>
                  <a:cubicBezTo>
                    <a:pt x="528" y="913"/>
                    <a:pt x="528" y="913"/>
                    <a:pt x="528" y="913"/>
                  </a:cubicBezTo>
                  <a:cubicBezTo>
                    <a:pt x="523" y="927"/>
                    <a:pt x="515" y="940"/>
                    <a:pt x="505" y="951"/>
                  </a:cubicBezTo>
                  <a:close/>
                  <a:moveTo>
                    <a:pt x="579" y="571"/>
                  </a:moveTo>
                  <a:cubicBezTo>
                    <a:pt x="461" y="791"/>
                    <a:pt x="461" y="791"/>
                    <a:pt x="461" y="791"/>
                  </a:cubicBezTo>
                  <a:cubicBezTo>
                    <a:pt x="476" y="795"/>
                    <a:pt x="489" y="802"/>
                    <a:pt x="500" y="812"/>
                  </a:cubicBezTo>
                  <a:cubicBezTo>
                    <a:pt x="618" y="592"/>
                    <a:pt x="618" y="592"/>
                    <a:pt x="618" y="592"/>
                  </a:cubicBezTo>
                  <a:cubicBezTo>
                    <a:pt x="603" y="588"/>
                    <a:pt x="590" y="580"/>
                    <a:pt x="579" y="571"/>
                  </a:cubicBezTo>
                  <a:close/>
                  <a:moveTo>
                    <a:pt x="738" y="495"/>
                  </a:moveTo>
                  <a:cubicBezTo>
                    <a:pt x="738" y="496"/>
                    <a:pt x="738" y="498"/>
                    <a:pt x="738" y="499"/>
                  </a:cubicBezTo>
                  <a:cubicBezTo>
                    <a:pt x="738" y="513"/>
                    <a:pt x="735" y="526"/>
                    <a:pt x="730" y="538"/>
                  </a:cubicBezTo>
                  <a:cubicBezTo>
                    <a:pt x="926" y="576"/>
                    <a:pt x="926" y="576"/>
                    <a:pt x="926" y="576"/>
                  </a:cubicBezTo>
                  <a:cubicBezTo>
                    <a:pt x="926" y="575"/>
                    <a:pt x="926" y="574"/>
                    <a:pt x="926" y="573"/>
                  </a:cubicBezTo>
                  <a:cubicBezTo>
                    <a:pt x="926" y="559"/>
                    <a:pt x="929" y="545"/>
                    <a:pt x="934" y="533"/>
                  </a:cubicBezTo>
                  <a:lnTo>
                    <a:pt x="738" y="495"/>
                  </a:lnTo>
                  <a:close/>
                  <a:moveTo>
                    <a:pt x="800" y="133"/>
                  </a:moveTo>
                  <a:cubicBezTo>
                    <a:pt x="910" y="212"/>
                    <a:pt x="986" y="337"/>
                    <a:pt x="998" y="480"/>
                  </a:cubicBezTo>
                  <a:cubicBezTo>
                    <a:pt x="1005" y="478"/>
                    <a:pt x="1013" y="477"/>
                    <a:pt x="1022" y="477"/>
                  </a:cubicBezTo>
                  <a:cubicBezTo>
                    <a:pt x="1029" y="477"/>
                    <a:pt x="1035" y="478"/>
                    <a:pt x="1042" y="479"/>
                  </a:cubicBezTo>
                  <a:cubicBezTo>
                    <a:pt x="1029" y="320"/>
                    <a:pt x="945" y="181"/>
                    <a:pt x="821" y="94"/>
                  </a:cubicBezTo>
                  <a:cubicBezTo>
                    <a:pt x="817" y="108"/>
                    <a:pt x="809" y="122"/>
                    <a:pt x="800" y="133"/>
                  </a:cubicBezTo>
                  <a:close/>
                  <a:moveTo>
                    <a:pt x="728" y="165"/>
                  </a:moveTo>
                  <a:cubicBezTo>
                    <a:pt x="714" y="165"/>
                    <a:pt x="700" y="162"/>
                    <a:pt x="688" y="156"/>
                  </a:cubicBezTo>
                  <a:cubicBezTo>
                    <a:pt x="639" y="403"/>
                    <a:pt x="639" y="403"/>
                    <a:pt x="639" y="403"/>
                  </a:cubicBezTo>
                  <a:cubicBezTo>
                    <a:pt x="640" y="403"/>
                    <a:pt x="641" y="403"/>
                    <a:pt x="642" y="403"/>
                  </a:cubicBezTo>
                  <a:cubicBezTo>
                    <a:pt x="657" y="403"/>
                    <a:pt x="670" y="406"/>
                    <a:pt x="682" y="411"/>
                  </a:cubicBezTo>
                  <a:cubicBezTo>
                    <a:pt x="731" y="165"/>
                    <a:pt x="731" y="165"/>
                    <a:pt x="731" y="165"/>
                  </a:cubicBezTo>
                  <a:cubicBezTo>
                    <a:pt x="730" y="165"/>
                    <a:pt x="729" y="165"/>
                    <a:pt x="728" y="165"/>
                  </a:cubicBezTo>
                  <a:close/>
                  <a:moveTo>
                    <a:pt x="357" y="277"/>
                  </a:moveTo>
                  <a:cubicBezTo>
                    <a:pt x="654" y="130"/>
                    <a:pt x="654" y="130"/>
                    <a:pt x="654" y="130"/>
                  </a:cubicBezTo>
                  <a:cubicBezTo>
                    <a:pt x="645" y="119"/>
                    <a:pt x="638" y="105"/>
                    <a:pt x="635" y="90"/>
                  </a:cubicBezTo>
                  <a:cubicBezTo>
                    <a:pt x="338" y="237"/>
                    <a:pt x="338" y="237"/>
                    <a:pt x="338" y="237"/>
                  </a:cubicBezTo>
                  <a:cubicBezTo>
                    <a:pt x="347" y="248"/>
                    <a:pt x="354" y="262"/>
                    <a:pt x="357" y="277"/>
                  </a:cubicBezTo>
                  <a:close/>
                  <a:moveTo>
                    <a:pt x="135" y="664"/>
                  </a:moveTo>
                  <a:cubicBezTo>
                    <a:pt x="248" y="393"/>
                    <a:pt x="248" y="393"/>
                    <a:pt x="248" y="393"/>
                  </a:cubicBezTo>
                  <a:cubicBezTo>
                    <a:pt x="233" y="391"/>
                    <a:pt x="219" y="385"/>
                    <a:pt x="207" y="376"/>
                  </a:cubicBezTo>
                  <a:cubicBezTo>
                    <a:pt x="94" y="647"/>
                    <a:pt x="94" y="647"/>
                    <a:pt x="94" y="647"/>
                  </a:cubicBezTo>
                  <a:cubicBezTo>
                    <a:pt x="109" y="650"/>
                    <a:pt x="123" y="656"/>
                    <a:pt x="135" y="664"/>
                  </a:cubicBezTo>
                  <a:close/>
                  <a:moveTo>
                    <a:pt x="1022" y="669"/>
                  </a:moveTo>
                  <a:cubicBezTo>
                    <a:pt x="1006" y="669"/>
                    <a:pt x="992" y="665"/>
                    <a:pt x="979" y="659"/>
                  </a:cubicBezTo>
                  <a:cubicBezTo>
                    <a:pt x="960" y="722"/>
                    <a:pt x="928" y="782"/>
                    <a:pt x="884" y="833"/>
                  </a:cubicBezTo>
                  <a:cubicBezTo>
                    <a:pt x="875" y="841"/>
                    <a:pt x="812" y="903"/>
                    <a:pt x="772" y="988"/>
                  </a:cubicBezTo>
                  <a:cubicBezTo>
                    <a:pt x="787" y="988"/>
                    <a:pt x="802" y="992"/>
                    <a:pt x="815" y="999"/>
                  </a:cubicBezTo>
                  <a:cubicBezTo>
                    <a:pt x="855" y="921"/>
                    <a:pt x="914" y="865"/>
                    <a:pt x="915" y="864"/>
                  </a:cubicBezTo>
                  <a:cubicBezTo>
                    <a:pt x="917" y="862"/>
                    <a:pt x="917" y="862"/>
                    <a:pt x="917" y="862"/>
                  </a:cubicBezTo>
                  <a:cubicBezTo>
                    <a:pt x="966" y="806"/>
                    <a:pt x="1001" y="740"/>
                    <a:pt x="1022" y="669"/>
                  </a:cubicBezTo>
                  <a:cubicBezTo>
                    <a:pt x="1022" y="669"/>
                    <a:pt x="1022" y="669"/>
                    <a:pt x="1022" y="669"/>
                  </a:cubicBezTo>
                  <a:close/>
                  <a:moveTo>
                    <a:pt x="548" y="516"/>
                  </a:moveTo>
                  <a:cubicBezTo>
                    <a:pt x="156" y="685"/>
                    <a:pt x="156" y="685"/>
                    <a:pt x="156" y="685"/>
                  </a:cubicBezTo>
                  <a:cubicBezTo>
                    <a:pt x="164" y="696"/>
                    <a:pt x="171" y="710"/>
                    <a:pt x="173" y="725"/>
                  </a:cubicBezTo>
                  <a:cubicBezTo>
                    <a:pt x="565" y="556"/>
                    <a:pt x="565" y="556"/>
                    <a:pt x="565" y="556"/>
                  </a:cubicBezTo>
                  <a:cubicBezTo>
                    <a:pt x="557" y="544"/>
                    <a:pt x="551" y="531"/>
                    <a:pt x="548" y="516"/>
                  </a:cubicBezTo>
                  <a:close/>
                  <a:moveTo>
                    <a:pt x="61" y="648"/>
                  </a:moveTo>
                  <a:cubicBezTo>
                    <a:pt x="50" y="607"/>
                    <a:pt x="44" y="564"/>
                    <a:pt x="44" y="521"/>
                  </a:cubicBezTo>
                  <a:cubicBezTo>
                    <a:pt x="44" y="258"/>
                    <a:pt x="259" y="44"/>
                    <a:pt x="522" y="44"/>
                  </a:cubicBezTo>
                  <a:cubicBezTo>
                    <a:pt x="560" y="44"/>
                    <a:pt x="597" y="48"/>
                    <a:pt x="633" y="57"/>
                  </a:cubicBezTo>
                  <a:cubicBezTo>
                    <a:pt x="635" y="41"/>
                    <a:pt x="640" y="27"/>
                    <a:pt x="649" y="15"/>
                  </a:cubicBezTo>
                  <a:cubicBezTo>
                    <a:pt x="608" y="5"/>
                    <a:pt x="566" y="0"/>
                    <a:pt x="522" y="0"/>
                  </a:cubicBezTo>
                  <a:cubicBezTo>
                    <a:pt x="234" y="0"/>
                    <a:pt x="0" y="234"/>
                    <a:pt x="0" y="521"/>
                  </a:cubicBezTo>
                  <a:cubicBezTo>
                    <a:pt x="0" y="570"/>
                    <a:pt x="7" y="619"/>
                    <a:pt x="21" y="665"/>
                  </a:cubicBezTo>
                  <a:cubicBezTo>
                    <a:pt x="33" y="657"/>
                    <a:pt x="46" y="650"/>
                    <a:pt x="61" y="648"/>
                  </a:cubicBezTo>
                  <a:close/>
                  <a:moveTo>
                    <a:pt x="781" y="1262"/>
                  </a:moveTo>
                  <a:cubicBezTo>
                    <a:pt x="781" y="1179"/>
                    <a:pt x="781" y="1179"/>
                    <a:pt x="781" y="1179"/>
                  </a:cubicBezTo>
                  <a:cubicBezTo>
                    <a:pt x="777" y="1180"/>
                    <a:pt x="774" y="1180"/>
                    <a:pt x="770" y="1180"/>
                  </a:cubicBezTo>
                  <a:cubicBezTo>
                    <a:pt x="758" y="1180"/>
                    <a:pt x="747" y="1178"/>
                    <a:pt x="737" y="1174"/>
                  </a:cubicBezTo>
                  <a:cubicBezTo>
                    <a:pt x="737" y="1262"/>
                    <a:pt x="737" y="1262"/>
                    <a:pt x="737" y="1262"/>
                  </a:cubicBezTo>
                  <a:lnTo>
                    <a:pt x="781" y="1262"/>
                  </a:lnTo>
                  <a:close/>
                  <a:moveTo>
                    <a:pt x="263" y="1262"/>
                  </a:moveTo>
                  <a:cubicBezTo>
                    <a:pt x="307" y="1262"/>
                    <a:pt x="307" y="1262"/>
                    <a:pt x="307" y="1262"/>
                  </a:cubicBezTo>
                  <a:cubicBezTo>
                    <a:pt x="307" y="1130"/>
                    <a:pt x="307" y="1130"/>
                    <a:pt x="307" y="1130"/>
                  </a:cubicBezTo>
                  <a:cubicBezTo>
                    <a:pt x="307" y="976"/>
                    <a:pt x="174" y="846"/>
                    <a:pt x="160" y="833"/>
                  </a:cubicBezTo>
                  <a:cubicBezTo>
                    <a:pt x="154" y="826"/>
                    <a:pt x="149" y="819"/>
                    <a:pt x="144" y="813"/>
                  </a:cubicBezTo>
                  <a:cubicBezTo>
                    <a:pt x="133" y="823"/>
                    <a:pt x="120" y="830"/>
                    <a:pt x="105" y="834"/>
                  </a:cubicBezTo>
                  <a:cubicBezTo>
                    <a:pt x="112" y="844"/>
                    <a:pt x="120" y="853"/>
                    <a:pt x="128" y="862"/>
                  </a:cubicBezTo>
                  <a:cubicBezTo>
                    <a:pt x="129" y="864"/>
                    <a:pt x="129" y="864"/>
                    <a:pt x="129" y="864"/>
                  </a:cubicBezTo>
                  <a:cubicBezTo>
                    <a:pt x="131" y="865"/>
                    <a:pt x="263" y="991"/>
                    <a:pt x="263" y="1130"/>
                  </a:cubicBezTo>
                  <a:lnTo>
                    <a:pt x="263" y="126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7" name="Freeform 36">
              <a:extLst>
                <a:ext uri="{FF2B5EF4-FFF2-40B4-BE49-F238E27FC236}">
                  <a16:creationId xmlns:a16="http://schemas.microsoft.com/office/drawing/2014/main" id="{B0086A9C-ABFC-47AF-8097-3B8C46D994F5}"/>
                </a:ext>
              </a:extLst>
            </p:cNvPr>
            <p:cNvSpPr>
              <a:spLocks noEditPoints="1"/>
            </p:cNvSpPr>
            <p:nvPr/>
          </p:nvSpPr>
          <p:spPr bwMode="auto">
            <a:xfrm>
              <a:off x="2911" y="532"/>
              <a:ext cx="1961" cy="3276"/>
            </a:xfrm>
            <a:custGeom>
              <a:avLst/>
              <a:gdLst>
                <a:gd name="T0" fmla="*/ 0 w 1047"/>
                <a:gd name="T1" fmla="*/ 725 h 1747"/>
                <a:gd name="T2" fmla="*/ 104 w 1047"/>
                <a:gd name="T3" fmla="*/ 725 h 1747"/>
                <a:gd name="T4" fmla="*/ 701 w 1047"/>
                <a:gd name="T5" fmla="*/ 0 h 1747"/>
                <a:gd name="T6" fmla="*/ 701 w 1047"/>
                <a:gd name="T7" fmla="*/ 104 h 1747"/>
                <a:gd name="T8" fmla="*/ 701 w 1047"/>
                <a:gd name="T9" fmla="*/ 0 h 1747"/>
                <a:gd name="T10" fmla="*/ 943 w 1047"/>
                <a:gd name="T11" fmla="*/ 556 h 1747"/>
                <a:gd name="T12" fmla="*/ 1047 w 1047"/>
                <a:gd name="T13" fmla="*/ 556 h 1747"/>
                <a:gd name="T14" fmla="*/ 237 w 1047"/>
                <a:gd name="T15" fmla="*/ 229 h 1747"/>
                <a:gd name="T16" fmla="*/ 237 w 1047"/>
                <a:gd name="T17" fmla="*/ 333 h 1747"/>
                <a:gd name="T18" fmla="*/ 237 w 1047"/>
                <a:gd name="T19" fmla="*/ 229 h 1747"/>
                <a:gd name="T20" fmla="*/ 357 w 1047"/>
                <a:gd name="T21" fmla="*/ 867 h 1747"/>
                <a:gd name="T22" fmla="*/ 461 w 1047"/>
                <a:gd name="T23" fmla="*/ 867 h 1747"/>
                <a:gd name="T24" fmla="*/ 743 w 1047"/>
                <a:gd name="T25" fmla="*/ 1015 h 1747"/>
                <a:gd name="T26" fmla="*/ 743 w 1047"/>
                <a:gd name="T27" fmla="*/ 1119 h 1747"/>
                <a:gd name="T28" fmla="*/ 743 w 1047"/>
                <a:gd name="T29" fmla="*/ 1015 h 1747"/>
                <a:gd name="T30" fmla="*/ 563 w 1047"/>
                <a:gd name="T31" fmla="*/ 482 h 1747"/>
                <a:gd name="T32" fmla="*/ 667 w 1047"/>
                <a:gd name="T33" fmla="*/ 482 h 1747"/>
                <a:gd name="T34" fmla="*/ 820 w 1047"/>
                <a:gd name="T35" fmla="*/ 1288 h 1747"/>
                <a:gd name="T36" fmla="*/ 216 w 1047"/>
                <a:gd name="T37" fmla="*/ 1245 h 1747"/>
                <a:gd name="T38" fmla="*/ 173 w 1047"/>
                <a:gd name="T39" fmla="*/ 1376 h 1747"/>
                <a:gd name="T40" fmla="*/ 173 w 1047"/>
                <a:gd name="T41" fmla="*/ 1418 h 1747"/>
                <a:gd name="T42" fmla="*/ 179 w 1047"/>
                <a:gd name="T43" fmla="*/ 1507 h 1747"/>
                <a:gd name="T44" fmla="*/ 173 w 1047"/>
                <a:gd name="T45" fmla="*/ 1599 h 1747"/>
                <a:gd name="T46" fmla="*/ 267 w 1047"/>
                <a:gd name="T47" fmla="*/ 1642 h 1747"/>
                <a:gd name="T48" fmla="*/ 280 w 1047"/>
                <a:gd name="T49" fmla="*/ 1701 h 1747"/>
                <a:gd name="T50" fmla="*/ 520 w 1047"/>
                <a:gd name="T51" fmla="*/ 1741 h 1747"/>
                <a:gd name="T52" fmla="*/ 723 w 1047"/>
                <a:gd name="T53" fmla="*/ 1681 h 1747"/>
                <a:gd name="T54" fmla="*/ 777 w 1047"/>
                <a:gd name="T55" fmla="*/ 1642 h 1747"/>
                <a:gd name="T56" fmla="*/ 820 w 1047"/>
                <a:gd name="T57" fmla="*/ 1528 h 1747"/>
                <a:gd name="T58" fmla="*/ 820 w 1047"/>
                <a:gd name="T59" fmla="*/ 1486 h 1747"/>
                <a:gd name="T60" fmla="*/ 815 w 1047"/>
                <a:gd name="T61" fmla="*/ 1397 h 1747"/>
                <a:gd name="T62" fmla="*/ 820 w 1047"/>
                <a:gd name="T63" fmla="*/ 1288 h 1747"/>
                <a:gd name="T64" fmla="*/ 369 w 1047"/>
                <a:gd name="T65" fmla="*/ 1419 h 1747"/>
                <a:gd name="T66" fmla="*/ 373 w 1047"/>
                <a:gd name="T67" fmla="*/ 1485 h 1747"/>
                <a:gd name="T68" fmla="*/ 217 w 1047"/>
                <a:gd name="T69" fmla="*/ 1419 h 1747"/>
                <a:gd name="T70" fmla="*/ 497 w 1047"/>
                <a:gd name="T71" fmla="*/ 1696 h 1747"/>
                <a:gd name="T72" fmla="*/ 311 w 1047"/>
                <a:gd name="T73" fmla="*/ 1667 h 1747"/>
                <a:gd name="T74" fmla="*/ 679 w 1047"/>
                <a:gd name="T75" fmla="*/ 1642 h 1747"/>
                <a:gd name="T76" fmla="*/ 776 w 1047"/>
                <a:gd name="T77" fmla="*/ 1598 h 1747"/>
                <a:gd name="T78" fmla="*/ 217 w 1047"/>
                <a:gd name="T79" fmla="*/ 1529 h 1747"/>
                <a:gd name="T80" fmla="*/ 497 w 1047"/>
                <a:gd name="T81" fmla="*/ 1574 h 1747"/>
                <a:gd name="T82" fmla="*/ 776 w 1047"/>
                <a:gd name="T83" fmla="*/ 1529 h 1747"/>
                <a:gd name="T84" fmla="*/ 543 w 1047"/>
                <a:gd name="T85" fmla="*/ 1412 h 1747"/>
                <a:gd name="T86" fmla="*/ 544 w 1047"/>
                <a:gd name="T87" fmla="*/ 1412 h 1747"/>
                <a:gd name="T88" fmla="*/ 549 w 1047"/>
                <a:gd name="T89" fmla="*/ 1416 h 1747"/>
                <a:gd name="T90" fmla="*/ 483 w 1047"/>
                <a:gd name="T91" fmla="*/ 1539 h 1747"/>
                <a:gd name="T92" fmla="*/ 477 w 1047"/>
                <a:gd name="T93" fmla="*/ 1541 h 1747"/>
                <a:gd name="T94" fmla="*/ 486 w 1047"/>
                <a:gd name="T95" fmla="*/ 1467 h 1747"/>
                <a:gd name="T96" fmla="*/ 449 w 1047"/>
                <a:gd name="T97" fmla="*/ 1476 h 1747"/>
                <a:gd name="T98" fmla="*/ 445 w 1047"/>
                <a:gd name="T99" fmla="*/ 1470 h 1747"/>
                <a:gd name="T100" fmla="*/ 514 w 1047"/>
                <a:gd name="T101" fmla="*/ 1347 h 1747"/>
                <a:gd name="T102" fmla="*/ 519 w 1047"/>
                <a:gd name="T103" fmla="*/ 1352 h 1747"/>
                <a:gd name="T104" fmla="*/ 543 w 1047"/>
                <a:gd name="T105" fmla="*/ 1412 h 1747"/>
                <a:gd name="T106" fmla="*/ 620 w 1047"/>
                <a:gd name="T107" fmla="*/ 1485 h 1747"/>
                <a:gd name="T108" fmla="*/ 624 w 1047"/>
                <a:gd name="T109" fmla="*/ 1419 h 1747"/>
                <a:gd name="T110" fmla="*/ 776 w 1047"/>
                <a:gd name="T111" fmla="*/ 1485 h 1747"/>
                <a:gd name="T112" fmla="*/ 606 w 1047"/>
                <a:gd name="T113" fmla="*/ 1375 h 1747"/>
                <a:gd name="T114" fmla="*/ 387 w 1047"/>
                <a:gd name="T115" fmla="*/ 1375 h 1747"/>
                <a:gd name="T116" fmla="*/ 217 w 1047"/>
                <a:gd name="T117" fmla="*/ 1289 h 1747"/>
                <a:gd name="T118" fmla="*/ 776 w 1047"/>
                <a:gd name="T119" fmla="*/ 1375 h 1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47" h="1747">
                  <a:moveTo>
                    <a:pt x="52" y="673"/>
                  </a:moveTo>
                  <a:cubicBezTo>
                    <a:pt x="23" y="673"/>
                    <a:pt x="0" y="696"/>
                    <a:pt x="0" y="725"/>
                  </a:cubicBezTo>
                  <a:cubicBezTo>
                    <a:pt x="0" y="754"/>
                    <a:pt x="23" y="777"/>
                    <a:pt x="52" y="777"/>
                  </a:cubicBezTo>
                  <a:cubicBezTo>
                    <a:pt x="80" y="777"/>
                    <a:pt x="104" y="754"/>
                    <a:pt x="104" y="725"/>
                  </a:cubicBezTo>
                  <a:cubicBezTo>
                    <a:pt x="104" y="696"/>
                    <a:pt x="80" y="673"/>
                    <a:pt x="52" y="673"/>
                  </a:cubicBezTo>
                  <a:close/>
                  <a:moveTo>
                    <a:pt x="701" y="0"/>
                  </a:moveTo>
                  <a:cubicBezTo>
                    <a:pt x="673" y="0"/>
                    <a:pt x="649" y="23"/>
                    <a:pt x="649" y="52"/>
                  </a:cubicBezTo>
                  <a:cubicBezTo>
                    <a:pt x="649" y="80"/>
                    <a:pt x="673" y="104"/>
                    <a:pt x="701" y="104"/>
                  </a:cubicBezTo>
                  <a:cubicBezTo>
                    <a:pt x="730" y="104"/>
                    <a:pt x="753" y="80"/>
                    <a:pt x="753" y="52"/>
                  </a:cubicBezTo>
                  <a:cubicBezTo>
                    <a:pt x="753" y="23"/>
                    <a:pt x="730" y="0"/>
                    <a:pt x="701" y="0"/>
                  </a:cubicBezTo>
                  <a:close/>
                  <a:moveTo>
                    <a:pt x="995" y="504"/>
                  </a:moveTo>
                  <a:cubicBezTo>
                    <a:pt x="966" y="504"/>
                    <a:pt x="943" y="527"/>
                    <a:pt x="943" y="556"/>
                  </a:cubicBezTo>
                  <a:cubicBezTo>
                    <a:pt x="943" y="584"/>
                    <a:pt x="966" y="608"/>
                    <a:pt x="995" y="608"/>
                  </a:cubicBezTo>
                  <a:cubicBezTo>
                    <a:pt x="1023" y="608"/>
                    <a:pt x="1047" y="584"/>
                    <a:pt x="1047" y="556"/>
                  </a:cubicBezTo>
                  <a:cubicBezTo>
                    <a:pt x="1047" y="527"/>
                    <a:pt x="1023" y="504"/>
                    <a:pt x="995" y="504"/>
                  </a:cubicBezTo>
                  <a:close/>
                  <a:moveTo>
                    <a:pt x="237" y="229"/>
                  </a:moveTo>
                  <a:cubicBezTo>
                    <a:pt x="208" y="229"/>
                    <a:pt x="185" y="253"/>
                    <a:pt x="185" y="281"/>
                  </a:cubicBezTo>
                  <a:cubicBezTo>
                    <a:pt x="185" y="310"/>
                    <a:pt x="208" y="333"/>
                    <a:pt x="237" y="333"/>
                  </a:cubicBezTo>
                  <a:cubicBezTo>
                    <a:pt x="265" y="333"/>
                    <a:pt x="289" y="310"/>
                    <a:pt x="289" y="281"/>
                  </a:cubicBezTo>
                  <a:cubicBezTo>
                    <a:pt x="289" y="253"/>
                    <a:pt x="265" y="229"/>
                    <a:pt x="237" y="229"/>
                  </a:cubicBezTo>
                  <a:close/>
                  <a:moveTo>
                    <a:pt x="409" y="815"/>
                  </a:moveTo>
                  <a:cubicBezTo>
                    <a:pt x="381" y="815"/>
                    <a:pt x="357" y="838"/>
                    <a:pt x="357" y="867"/>
                  </a:cubicBezTo>
                  <a:cubicBezTo>
                    <a:pt x="357" y="896"/>
                    <a:pt x="381" y="919"/>
                    <a:pt x="409" y="919"/>
                  </a:cubicBezTo>
                  <a:cubicBezTo>
                    <a:pt x="438" y="919"/>
                    <a:pt x="461" y="896"/>
                    <a:pt x="461" y="867"/>
                  </a:cubicBezTo>
                  <a:cubicBezTo>
                    <a:pt x="461" y="838"/>
                    <a:pt x="438" y="815"/>
                    <a:pt x="409" y="815"/>
                  </a:cubicBezTo>
                  <a:close/>
                  <a:moveTo>
                    <a:pt x="743" y="1015"/>
                  </a:moveTo>
                  <a:cubicBezTo>
                    <a:pt x="715" y="1015"/>
                    <a:pt x="691" y="1038"/>
                    <a:pt x="691" y="1067"/>
                  </a:cubicBezTo>
                  <a:cubicBezTo>
                    <a:pt x="691" y="1096"/>
                    <a:pt x="715" y="1119"/>
                    <a:pt x="743" y="1119"/>
                  </a:cubicBezTo>
                  <a:cubicBezTo>
                    <a:pt x="772" y="1119"/>
                    <a:pt x="795" y="1096"/>
                    <a:pt x="795" y="1067"/>
                  </a:cubicBezTo>
                  <a:cubicBezTo>
                    <a:pt x="795" y="1038"/>
                    <a:pt x="772" y="1015"/>
                    <a:pt x="743" y="1015"/>
                  </a:cubicBezTo>
                  <a:close/>
                  <a:moveTo>
                    <a:pt x="615" y="430"/>
                  </a:moveTo>
                  <a:cubicBezTo>
                    <a:pt x="587" y="430"/>
                    <a:pt x="563" y="453"/>
                    <a:pt x="563" y="482"/>
                  </a:cubicBezTo>
                  <a:cubicBezTo>
                    <a:pt x="563" y="510"/>
                    <a:pt x="587" y="534"/>
                    <a:pt x="615" y="534"/>
                  </a:cubicBezTo>
                  <a:cubicBezTo>
                    <a:pt x="644" y="534"/>
                    <a:pt x="667" y="510"/>
                    <a:pt x="667" y="482"/>
                  </a:cubicBezTo>
                  <a:cubicBezTo>
                    <a:pt x="667" y="453"/>
                    <a:pt x="644" y="430"/>
                    <a:pt x="615" y="430"/>
                  </a:cubicBezTo>
                  <a:close/>
                  <a:moveTo>
                    <a:pt x="820" y="1288"/>
                  </a:moveTo>
                  <a:cubicBezTo>
                    <a:pt x="820" y="1264"/>
                    <a:pt x="801" y="1245"/>
                    <a:pt x="777" y="1245"/>
                  </a:cubicBezTo>
                  <a:cubicBezTo>
                    <a:pt x="216" y="1245"/>
                    <a:pt x="216" y="1245"/>
                    <a:pt x="216" y="1245"/>
                  </a:cubicBezTo>
                  <a:cubicBezTo>
                    <a:pt x="192" y="1245"/>
                    <a:pt x="173" y="1264"/>
                    <a:pt x="173" y="1288"/>
                  </a:cubicBezTo>
                  <a:cubicBezTo>
                    <a:pt x="173" y="1376"/>
                    <a:pt x="173" y="1376"/>
                    <a:pt x="173" y="1376"/>
                  </a:cubicBezTo>
                  <a:cubicBezTo>
                    <a:pt x="173" y="1384"/>
                    <a:pt x="175" y="1391"/>
                    <a:pt x="179" y="1397"/>
                  </a:cubicBezTo>
                  <a:cubicBezTo>
                    <a:pt x="175" y="1403"/>
                    <a:pt x="173" y="1410"/>
                    <a:pt x="173" y="1418"/>
                  </a:cubicBezTo>
                  <a:cubicBezTo>
                    <a:pt x="173" y="1486"/>
                    <a:pt x="173" y="1486"/>
                    <a:pt x="173" y="1486"/>
                  </a:cubicBezTo>
                  <a:cubicBezTo>
                    <a:pt x="173" y="1493"/>
                    <a:pt x="175" y="1500"/>
                    <a:pt x="179" y="1507"/>
                  </a:cubicBezTo>
                  <a:cubicBezTo>
                    <a:pt x="175" y="1513"/>
                    <a:pt x="173" y="1520"/>
                    <a:pt x="173" y="1528"/>
                  </a:cubicBezTo>
                  <a:cubicBezTo>
                    <a:pt x="173" y="1599"/>
                    <a:pt x="173" y="1599"/>
                    <a:pt x="173" y="1599"/>
                  </a:cubicBezTo>
                  <a:cubicBezTo>
                    <a:pt x="173" y="1623"/>
                    <a:pt x="192" y="1642"/>
                    <a:pt x="216" y="1642"/>
                  </a:cubicBezTo>
                  <a:cubicBezTo>
                    <a:pt x="267" y="1642"/>
                    <a:pt x="267" y="1642"/>
                    <a:pt x="267" y="1642"/>
                  </a:cubicBezTo>
                  <a:cubicBezTo>
                    <a:pt x="267" y="1681"/>
                    <a:pt x="267" y="1681"/>
                    <a:pt x="267" y="1681"/>
                  </a:cubicBezTo>
                  <a:cubicBezTo>
                    <a:pt x="267" y="1690"/>
                    <a:pt x="272" y="1698"/>
                    <a:pt x="280" y="1701"/>
                  </a:cubicBezTo>
                  <a:cubicBezTo>
                    <a:pt x="383" y="1747"/>
                    <a:pt x="479" y="1741"/>
                    <a:pt x="495" y="1740"/>
                  </a:cubicBezTo>
                  <a:cubicBezTo>
                    <a:pt x="499" y="1741"/>
                    <a:pt x="508" y="1741"/>
                    <a:pt x="520" y="1741"/>
                  </a:cubicBezTo>
                  <a:cubicBezTo>
                    <a:pt x="558" y="1741"/>
                    <a:pt x="632" y="1736"/>
                    <a:pt x="710" y="1701"/>
                  </a:cubicBezTo>
                  <a:cubicBezTo>
                    <a:pt x="718" y="1698"/>
                    <a:pt x="723" y="1690"/>
                    <a:pt x="723" y="1681"/>
                  </a:cubicBezTo>
                  <a:cubicBezTo>
                    <a:pt x="723" y="1642"/>
                    <a:pt x="723" y="1642"/>
                    <a:pt x="723" y="1642"/>
                  </a:cubicBezTo>
                  <a:cubicBezTo>
                    <a:pt x="777" y="1642"/>
                    <a:pt x="777" y="1642"/>
                    <a:pt x="777" y="1642"/>
                  </a:cubicBezTo>
                  <a:cubicBezTo>
                    <a:pt x="801" y="1642"/>
                    <a:pt x="820" y="1623"/>
                    <a:pt x="820" y="1599"/>
                  </a:cubicBezTo>
                  <a:cubicBezTo>
                    <a:pt x="820" y="1528"/>
                    <a:pt x="820" y="1528"/>
                    <a:pt x="820" y="1528"/>
                  </a:cubicBezTo>
                  <a:cubicBezTo>
                    <a:pt x="820" y="1520"/>
                    <a:pt x="818" y="1513"/>
                    <a:pt x="815" y="1507"/>
                  </a:cubicBezTo>
                  <a:cubicBezTo>
                    <a:pt x="818" y="1500"/>
                    <a:pt x="820" y="1493"/>
                    <a:pt x="820" y="1486"/>
                  </a:cubicBezTo>
                  <a:cubicBezTo>
                    <a:pt x="820" y="1418"/>
                    <a:pt x="820" y="1418"/>
                    <a:pt x="820" y="1418"/>
                  </a:cubicBezTo>
                  <a:cubicBezTo>
                    <a:pt x="820" y="1410"/>
                    <a:pt x="818" y="1403"/>
                    <a:pt x="815" y="1397"/>
                  </a:cubicBezTo>
                  <a:cubicBezTo>
                    <a:pt x="818" y="1391"/>
                    <a:pt x="820" y="1384"/>
                    <a:pt x="820" y="1376"/>
                  </a:cubicBezTo>
                  <a:lnTo>
                    <a:pt x="820" y="1288"/>
                  </a:lnTo>
                  <a:close/>
                  <a:moveTo>
                    <a:pt x="217" y="1419"/>
                  </a:moveTo>
                  <a:cubicBezTo>
                    <a:pt x="369" y="1419"/>
                    <a:pt x="369" y="1419"/>
                    <a:pt x="369" y="1419"/>
                  </a:cubicBezTo>
                  <a:cubicBezTo>
                    <a:pt x="368" y="1427"/>
                    <a:pt x="367" y="1436"/>
                    <a:pt x="367" y="1444"/>
                  </a:cubicBezTo>
                  <a:cubicBezTo>
                    <a:pt x="367" y="1458"/>
                    <a:pt x="369" y="1472"/>
                    <a:pt x="373" y="1485"/>
                  </a:cubicBezTo>
                  <a:cubicBezTo>
                    <a:pt x="217" y="1485"/>
                    <a:pt x="217" y="1485"/>
                    <a:pt x="217" y="1485"/>
                  </a:cubicBezTo>
                  <a:lnTo>
                    <a:pt x="217" y="1419"/>
                  </a:lnTo>
                  <a:close/>
                  <a:moveTo>
                    <a:pt x="679" y="1667"/>
                  </a:moveTo>
                  <a:cubicBezTo>
                    <a:pt x="584" y="1704"/>
                    <a:pt x="498" y="1696"/>
                    <a:pt x="497" y="1696"/>
                  </a:cubicBezTo>
                  <a:cubicBezTo>
                    <a:pt x="496" y="1696"/>
                    <a:pt x="494" y="1696"/>
                    <a:pt x="493" y="1696"/>
                  </a:cubicBezTo>
                  <a:cubicBezTo>
                    <a:pt x="492" y="1696"/>
                    <a:pt x="406" y="1704"/>
                    <a:pt x="311" y="1667"/>
                  </a:cubicBezTo>
                  <a:cubicBezTo>
                    <a:pt x="311" y="1642"/>
                    <a:pt x="311" y="1642"/>
                    <a:pt x="311" y="1642"/>
                  </a:cubicBezTo>
                  <a:cubicBezTo>
                    <a:pt x="679" y="1642"/>
                    <a:pt x="679" y="1642"/>
                    <a:pt x="679" y="1642"/>
                  </a:cubicBezTo>
                  <a:lnTo>
                    <a:pt x="679" y="1667"/>
                  </a:lnTo>
                  <a:close/>
                  <a:moveTo>
                    <a:pt x="776" y="1598"/>
                  </a:moveTo>
                  <a:cubicBezTo>
                    <a:pt x="217" y="1598"/>
                    <a:pt x="217" y="1598"/>
                    <a:pt x="217" y="1598"/>
                  </a:cubicBezTo>
                  <a:cubicBezTo>
                    <a:pt x="217" y="1529"/>
                    <a:pt x="217" y="1529"/>
                    <a:pt x="217" y="1529"/>
                  </a:cubicBezTo>
                  <a:cubicBezTo>
                    <a:pt x="398" y="1529"/>
                    <a:pt x="398" y="1529"/>
                    <a:pt x="398" y="1529"/>
                  </a:cubicBezTo>
                  <a:cubicBezTo>
                    <a:pt x="422" y="1556"/>
                    <a:pt x="457" y="1574"/>
                    <a:pt x="497" y="1574"/>
                  </a:cubicBezTo>
                  <a:cubicBezTo>
                    <a:pt x="536" y="1574"/>
                    <a:pt x="571" y="1556"/>
                    <a:pt x="595" y="1529"/>
                  </a:cubicBezTo>
                  <a:cubicBezTo>
                    <a:pt x="776" y="1529"/>
                    <a:pt x="776" y="1529"/>
                    <a:pt x="776" y="1529"/>
                  </a:cubicBezTo>
                  <a:lnTo>
                    <a:pt x="776" y="1598"/>
                  </a:lnTo>
                  <a:close/>
                  <a:moveTo>
                    <a:pt x="543" y="1412"/>
                  </a:moveTo>
                  <a:cubicBezTo>
                    <a:pt x="543" y="1412"/>
                    <a:pt x="544" y="1412"/>
                    <a:pt x="544" y="1412"/>
                  </a:cubicBezTo>
                  <a:cubicBezTo>
                    <a:pt x="544" y="1412"/>
                    <a:pt x="544" y="1412"/>
                    <a:pt x="544" y="1412"/>
                  </a:cubicBezTo>
                  <a:cubicBezTo>
                    <a:pt x="544" y="1412"/>
                    <a:pt x="544" y="1412"/>
                    <a:pt x="544" y="1412"/>
                  </a:cubicBezTo>
                  <a:cubicBezTo>
                    <a:pt x="547" y="1412"/>
                    <a:pt x="549" y="1414"/>
                    <a:pt x="549" y="1416"/>
                  </a:cubicBezTo>
                  <a:cubicBezTo>
                    <a:pt x="549" y="1417"/>
                    <a:pt x="549" y="1418"/>
                    <a:pt x="548" y="1419"/>
                  </a:cubicBezTo>
                  <a:cubicBezTo>
                    <a:pt x="483" y="1539"/>
                    <a:pt x="483" y="1539"/>
                    <a:pt x="483" y="1539"/>
                  </a:cubicBezTo>
                  <a:cubicBezTo>
                    <a:pt x="482" y="1541"/>
                    <a:pt x="480" y="1542"/>
                    <a:pt x="479" y="1542"/>
                  </a:cubicBezTo>
                  <a:cubicBezTo>
                    <a:pt x="478" y="1542"/>
                    <a:pt x="478" y="1541"/>
                    <a:pt x="477" y="1541"/>
                  </a:cubicBezTo>
                  <a:cubicBezTo>
                    <a:pt x="475" y="1541"/>
                    <a:pt x="474" y="1538"/>
                    <a:pt x="474" y="1536"/>
                  </a:cubicBezTo>
                  <a:cubicBezTo>
                    <a:pt x="486" y="1467"/>
                    <a:pt x="486" y="1467"/>
                    <a:pt x="486" y="1467"/>
                  </a:cubicBezTo>
                  <a:cubicBezTo>
                    <a:pt x="450" y="1476"/>
                    <a:pt x="450" y="1476"/>
                    <a:pt x="450" y="1476"/>
                  </a:cubicBezTo>
                  <a:cubicBezTo>
                    <a:pt x="450" y="1476"/>
                    <a:pt x="449" y="1476"/>
                    <a:pt x="449" y="1476"/>
                  </a:cubicBezTo>
                  <a:cubicBezTo>
                    <a:pt x="448" y="1476"/>
                    <a:pt x="446" y="1476"/>
                    <a:pt x="445" y="1475"/>
                  </a:cubicBezTo>
                  <a:cubicBezTo>
                    <a:pt x="444" y="1473"/>
                    <a:pt x="444" y="1471"/>
                    <a:pt x="445" y="1470"/>
                  </a:cubicBezTo>
                  <a:cubicBezTo>
                    <a:pt x="510" y="1349"/>
                    <a:pt x="510" y="1349"/>
                    <a:pt x="510" y="1349"/>
                  </a:cubicBezTo>
                  <a:cubicBezTo>
                    <a:pt x="511" y="1347"/>
                    <a:pt x="513" y="1347"/>
                    <a:pt x="514" y="1347"/>
                  </a:cubicBezTo>
                  <a:cubicBezTo>
                    <a:pt x="515" y="1347"/>
                    <a:pt x="515" y="1347"/>
                    <a:pt x="516" y="1347"/>
                  </a:cubicBezTo>
                  <a:cubicBezTo>
                    <a:pt x="518" y="1348"/>
                    <a:pt x="519" y="1350"/>
                    <a:pt x="519" y="1352"/>
                  </a:cubicBezTo>
                  <a:cubicBezTo>
                    <a:pt x="508" y="1422"/>
                    <a:pt x="508" y="1422"/>
                    <a:pt x="508" y="1422"/>
                  </a:cubicBezTo>
                  <a:lnTo>
                    <a:pt x="543" y="1412"/>
                  </a:lnTo>
                  <a:close/>
                  <a:moveTo>
                    <a:pt x="776" y="1485"/>
                  </a:moveTo>
                  <a:cubicBezTo>
                    <a:pt x="620" y="1485"/>
                    <a:pt x="620" y="1485"/>
                    <a:pt x="620" y="1485"/>
                  </a:cubicBezTo>
                  <a:cubicBezTo>
                    <a:pt x="624" y="1472"/>
                    <a:pt x="626" y="1458"/>
                    <a:pt x="626" y="1444"/>
                  </a:cubicBezTo>
                  <a:cubicBezTo>
                    <a:pt x="626" y="1436"/>
                    <a:pt x="625" y="1427"/>
                    <a:pt x="624" y="1419"/>
                  </a:cubicBezTo>
                  <a:cubicBezTo>
                    <a:pt x="776" y="1419"/>
                    <a:pt x="776" y="1419"/>
                    <a:pt x="776" y="1419"/>
                  </a:cubicBezTo>
                  <a:lnTo>
                    <a:pt x="776" y="1485"/>
                  </a:lnTo>
                  <a:close/>
                  <a:moveTo>
                    <a:pt x="776" y="1375"/>
                  </a:moveTo>
                  <a:cubicBezTo>
                    <a:pt x="606" y="1375"/>
                    <a:pt x="606" y="1375"/>
                    <a:pt x="606" y="1375"/>
                  </a:cubicBezTo>
                  <a:cubicBezTo>
                    <a:pt x="583" y="1339"/>
                    <a:pt x="543" y="1314"/>
                    <a:pt x="497" y="1314"/>
                  </a:cubicBezTo>
                  <a:cubicBezTo>
                    <a:pt x="450" y="1314"/>
                    <a:pt x="410" y="1339"/>
                    <a:pt x="387" y="1375"/>
                  </a:cubicBezTo>
                  <a:cubicBezTo>
                    <a:pt x="217" y="1375"/>
                    <a:pt x="217" y="1375"/>
                    <a:pt x="217" y="1375"/>
                  </a:cubicBezTo>
                  <a:cubicBezTo>
                    <a:pt x="217" y="1289"/>
                    <a:pt x="217" y="1289"/>
                    <a:pt x="217" y="1289"/>
                  </a:cubicBezTo>
                  <a:cubicBezTo>
                    <a:pt x="776" y="1289"/>
                    <a:pt x="776" y="1289"/>
                    <a:pt x="776" y="1289"/>
                  </a:cubicBezTo>
                  <a:lnTo>
                    <a:pt x="776" y="137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38" name="ee4pContent3"/>
          <p:cNvSpPr txBox="1"/>
          <p:nvPr/>
        </p:nvSpPr>
        <p:spPr>
          <a:xfrm>
            <a:off x="5609978" y="5540426"/>
            <a:ext cx="2154674"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800" dirty="0">
                <a:latin typeface="+mn-lt"/>
              </a:rPr>
              <a:t>Created a </a:t>
            </a:r>
            <a:r>
              <a:rPr lang="en-US" sz="1800" dirty="0">
                <a:solidFill>
                  <a:srgbClr val="29BA74"/>
                </a:solidFill>
                <a:latin typeface="+mn-lt"/>
              </a:rPr>
              <a:t>"next gen" go-to-market </a:t>
            </a:r>
            <a:r>
              <a:rPr lang="en-US" sz="1800" dirty="0">
                <a:latin typeface="+mn-lt"/>
              </a:rPr>
              <a:t>capability</a:t>
            </a:r>
          </a:p>
        </p:txBody>
      </p:sp>
      <p:grpSp>
        <p:nvGrpSpPr>
          <p:cNvPr id="39" name="bcgIcons_GoToMarket">
            <a:extLst>
              <a:ext uri="{FF2B5EF4-FFF2-40B4-BE49-F238E27FC236}">
                <a16:creationId xmlns:a16="http://schemas.microsoft.com/office/drawing/2014/main" id="{80DCD6BF-47C8-41B6-935A-8B6D6CCE7BFE}"/>
              </a:ext>
            </a:extLst>
          </p:cNvPr>
          <p:cNvGrpSpPr>
            <a:grpSpLocks noChangeAspect="1"/>
          </p:cNvGrpSpPr>
          <p:nvPr/>
        </p:nvGrpSpPr>
        <p:grpSpPr bwMode="auto">
          <a:xfrm>
            <a:off x="6297511" y="4247927"/>
            <a:ext cx="1143003" cy="1144063"/>
            <a:chOff x="1682" y="0"/>
            <a:chExt cx="4316" cy="4320"/>
          </a:xfrm>
        </p:grpSpPr>
        <p:sp>
          <p:nvSpPr>
            <p:cNvPr id="40" name="AutoShape 14">
              <a:extLst>
                <a:ext uri="{FF2B5EF4-FFF2-40B4-BE49-F238E27FC236}">
                  <a16:creationId xmlns:a16="http://schemas.microsoft.com/office/drawing/2014/main" id="{6B6264DF-7B72-47C2-A253-60D979D85B1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dirty="0"/>
            </a:p>
          </p:txBody>
        </p:sp>
        <p:sp>
          <p:nvSpPr>
            <p:cNvPr id="41" name="Freeform 16">
              <a:extLst>
                <a:ext uri="{FF2B5EF4-FFF2-40B4-BE49-F238E27FC236}">
                  <a16:creationId xmlns:a16="http://schemas.microsoft.com/office/drawing/2014/main" id="{FF46FB5E-9D6C-47F1-A06B-2A72B07FF12A}"/>
                </a:ext>
              </a:extLst>
            </p:cNvPr>
            <p:cNvSpPr>
              <a:spLocks noEditPoints="1"/>
            </p:cNvSpPr>
            <p:nvPr/>
          </p:nvSpPr>
          <p:spPr bwMode="auto">
            <a:xfrm>
              <a:off x="2574" y="296"/>
              <a:ext cx="2605" cy="2697"/>
            </a:xfrm>
            <a:custGeom>
              <a:avLst/>
              <a:gdLst>
                <a:gd name="T0" fmla="*/ 540 w 1391"/>
                <a:gd name="T1" fmla="*/ 461 h 1438"/>
                <a:gd name="T2" fmla="*/ 144 w 1391"/>
                <a:gd name="T3" fmla="*/ 866 h 1438"/>
                <a:gd name="T4" fmla="*/ 204 w 1391"/>
                <a:gd name="T5" fmla="*/ 1230 h 1438"/>
                <a:gd name="T6" fmla="*/ 235 w 1391"/>
                <a:gd name="T7" fmla="*/ 1261 h 1438"/>
                <a:gd name="T8" fmla="*/ 122 w 1391"/>
                <a:gd name="T9" fmla="*/ 1364 h 1438"/>
                <a:gd name="T10" fmla="*/ 121 w 1391"/>
                <a:gd name="T11" fmla="*/ 1364 h 1438"/>
                <a:gd name="T12" fmla="*/ 8 w 1391"/>
                <a:gd name="T13" fmla="*/ 1258 h 1438"/>
                <a:gd name="T14" fmla="*/ 40 w 1391"/>
                <a:gd name="T15" fmla="*/ 1228 h 1438"/>
                <a:gd name="T16" fmla="*/ 100 w 1391"/>
                <a:gd name="T17" fmla="*/ 857 h 1438"/>
                <a:gd name="T18" fmla="*/ 496 w 1391"/>
                <a:gd name="T19" fmla="*/ 452 h 1438"/>
                <a:gd name="T20" fmla="*/ 518 w 1391"/>
                <a:gd name="T21" fmla="*/ 0 h 1438"/>
                <a:gd name="T22" fmla="*/ 758 w 1391"/>
                <a:gd name="T23" fmla="*/ 746 h 1438"/>
                <a:gd name="T24" fmla="*/ 699 w 1391"/>
                <a:gd name="T25" fmla="*/ 22 h 1438"/>
                <a:gd name="T26" fmla="*/ 655 w 1391"/>
                <a:gd name="T27" fmla="*/ 22 h 1438"/>
                <a:gd name="T28" fmla="*/ 594 w 1391"/>
                <a:gd name="T29" fmla="*/ 744 h 1438"/>
                <a:gd name="T30" fmla="*/ 562 w 1391"/>
                <a:gd name="T31" fmla="*/ 775 h 1438"/>
                <a:gd name="T32" fmla="*/ 674 w 1391"/>
                <a:gd name="T33" fmla="*/ 880 h 1438"/>
                <a:gd name="T34" fmla="*/ 690 w 1391"/>
                <a:gd name="T35" fmla="*/ 874 h 1438"/>
                <a:gd name="T36" fmla="*/ 790 w 1391"/>
                <a:gd name="T37" fmla="*/ 747 h 1438"/>
                <a:gd name="T38" fmla="*/ 1111 w 1391"/>
                <a:gd name="T39" fmla="*/ 886 h 1438"/>
                <a:gd name="T40" fmla="*/ 1051 w 1391"/>
                <a:gd name="T41" fmla="*/ 726 h 1438"/>
                <a:gd name="T42" fmla="*/ 858 w 1391"/>
                <a:gd name="T43" fmla="*/ 524 h 1438"/>
                <a:gd name="T44" fmla="*/ 836 w 1391"/>
                <a:gd name="T45" fmla="*/ 0 h 1438"/>
                <a:gd name="T46" fmla="*/ 814 w 1391"/>
                <a:gd name="T47" fmla="*/ 533 h 1438"/>
                <a:gd name="T48" fmla="*/ 1007 w 1391"/>
                <a:gd name="T49" fmla="*/ 735 h 1438"/>
                <a:gd name="T50" fmla="*/ 947 w 1391"/>
                <a:gd name="T51" fmla="*/ 884 h 1438"/>
                <a:gd name="T52" fmla="*/ 915 w 1391"/>
                <a:gd name="T53" fmla="*/ 915 h 1438"/>
                <a:gd name="T54" fmla="*/ 1027 w 1391"/>
                <a:gd name="T55" fmla="*/ 1021 h 1438"/>
                <a:gd name="T56" fmla="*/ 1043 w 1391"/>
                <a:gd name="T57" fmla="*/ 1014 h 1438"/>
                <a:gd name="T58" fmla="*/ 1142 w 1391"/>
                <a:gd name="T59" fmla="*/ 887 h 1438"/>
                <a:gd name="T60" fmla="*/ 1383 w 1391"/>
                <a:gd name="T61" fmla="*/ 1304 h 1438"/>
                <a:gd name="T62" fmla="*/ 1291 w 1391"/>
                <a:gd name="T63" fmla="*/ 1362 h 1438"/>
                <a:gd name="T64" fmla="*/ 1285 w 1391"/>
                <a:gd name="T65" fmla="*/ 618 h 1438"/>
                <a:gd name="T66" fmla="*/ 1016 w 1391"/>
                <a:gd name="T67" fmla="*/ 22 h 1438"/>
                <a:gd name="T68" fmla="*/ 972 w 1391"/>
                <a:gd name="T69" fmla="*/ 22 h 1438"/>
                <a:gd name="T70" fmla="*/ 979 w 1391"/>
                <a:gd name="T71" fmla="*/ 373 h 1438"/>
                <a:gd name="T72" fmla="*/ 1247 w 1391"/>
                <a:gd name="T73" fmla="*/ 1363 h 1438"/>
                <a:gd name="T74" fmla="*/ 1156 w 1391"/>
                <a:gd name="T75" fmla="*/ 1301 h 1438"/>
                <a:gd name="T76" fmla="*/ 1252 w 1391"/>
                <a:gd name="T77" fmla="*/ 1431 h 1438"/>
                <a:gd name="T78" fmla="*/ 1268 w 1391"/>
                <a:gd name="T79" fmla="*/ 1438 h 1438"/>
                <a:gd name="T80" fmla="*/ 1288 w 1391"/>
                <a:gd name="T81" fmla="*/ 1427 h 1438"/>
                <a:gd name="T82" fmla="*/ 1383 w 1391"/>
                <a:gd name="T83" fmla="*/ 1304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91" h="1438">
                  <a:moveTo>
                    <a:pt x="540" y="22"/>
                  </a:moveTo>
                  <a:cubicBezTo>
                    <a:pt x="540" y="461"/>
                    <a:pt x="540" y="461"/>
                    <a:pt x="540" y="461"/>
                  </a:cubicBezTo>
                  <a:cubicBezTo>
                    <a:pt x="540" y="467"/>
                    <a:pt x="538" y="472"/>
                    <a:pt x="534" y="476"/>
                  </a:cubicBezTo>
                  <a:cubicBezTo>
                    <a:pt x="144" y="866"/>
                    <a:pt x="144" y="866"/>
                    <a:pt x="144" y="866"/>
                  </a:cubicBezTo>
                  <a:cubicBezTo>
                    <a:pt x="144" y="1289"/>
                    <a:pt x="144" y="1289"/>
                    <a:pt x="144" y="1289"/>
                  </a:cubicBezTo>
                  <a:cubicBezTo>
                    <a:pt x="204" y="1230"/>
                    <a:pt x="204" y="1230"/>
                    <a:pt x="204" y="1230"/>
                  </a:cubicBezTo>
                  <a:cubicBezTo>
                    <a:pt x="213" y="1221"/>
                    <a:pt x="227" y="1221"/>
                    <a:pt x="235" y="1230"/>
                  </a:cubicBezTo>
                  <a:cubicBezTo>
                    <a:pt x="244" y="1239"/>
                    <a:pt x="244" y="1253"/>
                    <a:pt x="235" y="1261"/>
                  </a:cubicBezTo>
                  <a:cubicBezTo>
                    <a:pt x="141" y="1353"/>
                    <a:pt x="141" y="1353"/>
                    <a:pt x="141" y="1353"/>
                  </a:cubicBezTo>
                  <a:cubicBezTo>
                    <a:pt x="137" y="1360"/>
                    <a:pt x="130" y="1364"/>
                    <a:pt x="122" y="1364"/>
                  </a:cubicBezTo>
                  <a:cubicBezTo>
                    <a:pt x="122" y="1364"/>
                    <a:pt x="121" y="1364"/>
                    <a:pt x="121" y="1364"/>
                  </a:cubicBezTo>
                  <a:cubicBezTo>
                    <a:pt x="121" y="1364"/>
                    <a:pt x="121" y="1364"/>
                    <a:pt x="121" y="1364"/>
                  </a:cubicBezTo>
                  <a:cubicBezTo>
                    <a:pt x="115" y="1364"/>
                    <a:pt x="109" y="1362"/>
                    <a:pt x="105" y="1357"/>
                  </a:cubicBezTo>
                  <a:cubicBezTo>
                    <a:pt x="8" y="1258"/>
                    <a:pt x="8" y="1258"/>
                    <a:pt x="8" y="1258"/>
                  </a:cubicBezTo>
                  <a:cubicBezTo>
                    <a:pt x="0" y="1250"/>
                    <a:pt x="0" y="1236"/>
                    <a:pt x="9" y="1227"/>
                  </a:cubicBezTo>
                  <a:cubicBezTo>
                    <a:pt x="18" y="1219"/>
                    <a:pt x="31" y="1219"/>
                    <a:pt x="40" y="1228"/>
                  </a:cubicBezTo>
                  <a:cubicBezTo>
                    <a:pt x="100" y="1289"/>
                    <a:pt x="100" y="1289"/>
                    <a:pt x="100" y="1289"/>
                  </a:cubicBezTo>
                  <a:cubicBezTo>
                    <a:pt x="100" y="857"/>
                    <a:pt x="100" y="857"/>
                    <a:pt x="100" y="857"/>
                  </a:cubicBezTo>
                  <a:cubicBezTo>
                    <a:pt x="100" y="851"/>
                    <a:pt x="102" y="846"/>
                    <a:pt x="106" y="842"/>
                  </a:cubicBezTo>
                  <a:cubicBezTo>
                    <a:pt x="496" y="452"/>
                    <a:pt x="496" y="452"/>
                    <a:pt x="496" y="452"/>
                  </a:cubicBezTo>
                  <a:cubicBezTo>
                    <a:pt x="496" y="22"/>
                    <a:pt x="496" y="22"/>
                    <a:pt x="496" y="22"/>
                  </a:cubicBezTo>
                  <a:cubicBezTo>
                    <a:pt x="496" y="10"/>
                    <a:pt x="506" y="0"/>
                    <a:pt x="518" y="0"/>
                  </a:cubicBezTo>
                  <a:cubicBezTo>
                    <a:pt x="531" y="0"/>
                    <a:pt x="540" y="10"/>
                    <a:pt x="540" y="22"/>
                  </a:cubicBezTo>
                  <a:close/>
                  <a:moveTo>
                    <a:pt x="758" y="746"/>
                  </a:moveTo>
                  <a:cubicBezTo>
                    <a:pt x="699" y="804"/>
                    <a:pt x="699" y="804"/>
                    <a:pt x="699" y="804"/>
                  </a:cubicBezTo>
                  <a:cubicBezTo>
                    <a:pt x="699" y="22"/>
                    <a:pt x="699" y="22"/>
                    <a:pt x="699" y="22"/>
                  </a:cubicBezTo>
                  <a:cubicBezTo>
                    <a:pt x="699" y="10"/>
                    <a:pt x="689" y="0"/>
                    <a:pt x="677" y="0"/>
                  </a:cubicBezTo>
                  <a:cubicBezTo>
                    <a:pt x="665" y="0"/>
                    <a:pt x="655" y="10"/>
                    <a:pt x="655" y="22"/>
                  </a:cubicBezTo>
                  <a:cubicBezTo>
                    <a:pt x="655" y="807"/>
                    <a:pt x="655" y="807"/>
                    <a:pt x="655" y="807"/>
                  </a:cubicBezTo>
                  <a:cubicBezTo>
                    <a:pt x="594" y="744"/>
                    <a:pt x="594" y="744"/>
                    <a:pt x="594" y="744"/>
                  </a:cubicBezTo>
                  <a:cubicBezTo>
                    <a:pt x="586" y="735"/>
                    <a:pt x="572" y="735"/>
                    <a:pt x="563" y="744"/>
                  </a:cubicBezTo>
                  <a:cubicBezTo>
                    <a:pt x="554" y="752"/>
                    <a:pt x="554" y="766"/>
                    <a:pt x="562" y="775"/>
                  </a:cubicBezTo>
                  <a:cubicBezTo>
                    <a:pt x="659" y="874"/>
                    <a:pt x="659" y="874"/>
                    <a:pt x="659" y="874"/>
                  </a:cubicBezTo>
                  <a:cubicBezTo>
                    <a:pt x="663" y="878"/>
                    <a:pt x="669" y="880"/>
                    <a:pt x="674" y="880"/>
                  </a:cubicBezTo>
                  <a:cubicBezTo>
                    <a:pt x="675" y="880"/>
                    <a:pt x="675" y="880"/>
                    <a:pt x="675" y="880"/>
                  </a:cubicBezTo>
                  <a:cubicBezTo>
                    <a:pt x="680" y="880"/>
                    <a:pt x="686" y="878"/>
                    <a:pt x="690" y="874"/>
                  </a:cubicBezTo>
                  <a:cubicBezTo>
                    <a:pt x="789" y="778"/>
                    <a:pt x="789" y="778"/>
                    <a:pt x="789" y="778"/>
                  </a:cubicBezTo>
                  <a:cubicBezTo>
                    <a:pt x="798" y="769"/>
                    <a:pt x="798" y="755"/>
                    <a:pt x="790" y="747"/>
                  </a:cubicBezTo>
                  <a:cubicBezTo>
                    <a:pt x="781" y="738"/>
                    <a:pt x="767" y="738"/>
                    <a:pt x="758" y="746"/>
                  </a:cubicBezTo>
                  <a:close/>
                  <a:moveTo>
                    <a:pt x="1111" y="886"/>
                  </a:moveTo>
                  <a:cubicBezTo>
                    <a:pt x="1051" y="945"/>
                    <a:pt x="1051" y="945"/>
                    <a:pt x="1051" y="945"/>
                  </a:cubicBezTo>
                  <a:cubicBezTo>
                    <a:pt x="1051" y="726"/>
                    <a:pt x="1051" y="726"/>
                    <a:pt x="1051" y="726"/>
                  </a:cubicBezTo>
                  <a:cubicBezTo>
                    <a:pt x="1051" y="720"/>
                    <a:pt x="1048" y="715"/>
                    <a:pt x="1044" y="710"/>
                  </a:cubicBezTo>
                  <a:cubicBezTo>
                    <a:pt x="858" y="524"/>
                    <a:pt x="858" y="524"/>
                    <a:pt x="858" y="524"/>
                  </a:cubicBezTo>
                  <a:cubicBezTo>
                    <a:pt x="858" y="22"/>
                    <a:pt x="858" y="22"/>
                    <a:pt x="858" y="22"/>
                  </a:cubicBezTo>
                  <a:cubicBezTo>
                    <a:pt x="858" y="10"/>
                    <a:pt x="848" y="0"/>
                    <a:pt x="836" y="0"/>
                  </a:cubicBezTo>
                  <a:cubicBezTo>
                    <a:pt x="823" y="0"/>
                    <a:pt x="814" y="10"/>
                    <a:pt x="814" y="22"/>
                  </a:cubicBezTo>
                  <a:cubicBezTo>
                    <a:pt x="814" y="533"/>
                    <a:pt x="814" y="533"/>
                    <a:pt x="814" y="533"/>
                  </a:cubicBezTo>
                  <a:cubicBezTo>
                    <a:pt x="814" y="539"/>
                    <a:pt x="816" y="545"/>
                    <a:pt x="820" y="549"/>
                  </a:cubicBezTo>
                  <a:cubicBezTo>
                    <a:pt x="1007" y="735"/>
                    <a:pt x="1007" y="735"/>
                    <a:pt x="1007" y="735"/>
                  </a:cubicBezTo>
                  <a:cubicBezTo>
                    <a:pt x="1007" y="946"/>
                    <a:pt x="1007" y="946"/>
                    <a:pt x="1007" y="946"/>
                  </a:cubicBezTo>
                  <a:cubicBezTo>
                    <a:pt x="947" y="884"/>
                    <a:pt x="947" y="884"/>
                    <a:pt x="947" y="884"/>
                  </a:cubicBezTo>
                  <a:cubicBezTo>
                    <a:pt x="938" y="875"/>
                    <a:pt x="924" y="875"/>
                    <a:pt x="916" y="884"/>
                  </a:cubicBezTo>
                  <a:cubicBezTo>
                    <a:pt x="907" y="892"/>
                    <a:pt x="907" y="906"/>
                    <a:pt x="915" y="915"/>
                  </a:cubicBezTo>
                  <a:cubicBezTo>
                    <a:pt x="1012" y="1014"/>
                    <a:pt x="1012" y="1014"/>
                    <a:pt x="1012" y="1014"/>
                  </a:cubicBezTo>
                  <a:cubicBezTo>
                    <a:pt x="1016" y="1018"/>
                    <a:pt x="1021" y="1020"/>
                    <a:pt x="1027" y="1021"/>
                  </a:cubicBezTo>
                  <a:cubicBezTo>
                    <a:pt x="1027" y="1021"/>
                    <a:pt x="1027" y="1021"/>
                    <a:pt x="1027" y="1021"/>
                  </a:cubicBezTo>
                  <a:cubicBezTo>
                    <a:pt x="1033" y="1021"/>
                    <a:pt x="1039" y="1018"/>
                    <a:pt x="1043" y="1014"/>
                  </a:cubicBezTo>
                  <a:cubicBezTo>
                    <a:pt x="1142" y="918"/>
                    <a:pt x="1142" y="918"/>
                    <a:pt x="1142" y="918"/>
                  </a:cubicBezTo>
                  <a:cubicBezTo>
                    <a:pt x="1151" y="909"/>
                    <a:pt x="1151" y="895"/>
                    <a:pt x="1142" y="887"/>
                  </a:cubicBezTo>
                  <a:cubicBezTo>
                    <a:pt x="1134" y="878"/>
                    <a:pt x="1120" y="878"/>
                    <a:pt x="1111" y="886"/>
                  </a:cubicBezTo>
                  <a:close/>
                  <a:moveTo>
                    <a:pt x="1383" y="1304"/>
                  </a:moveTo>
                  <a:cubicBezTo>
                    <a:pt x="1374" y="1295"/>
                    <a:pt x="1360" y="1295"/>
                    <a:pt x="1351" y="1304"/>
                  </a:cubicBezTo>
                  <a:cubicBezTo>
                    <a:pt x="1291" y="1362"/>
                    <a:pt x="1291" y="1362"/>
                    <a:pt x="1291" y="1362"/>
                  </a:cubicBezTo>
                  <a:cubicBezTo>
                    <a:pt x="1291" y="634"/>
                    <a:pt x="1291" y="634"/>
                    <a:pt x="1291" y="634"/>
                  </a:cubicBezTo>
                  <a:cubicBezTo>
                    <a:pt x="1291" y="628"/>
                    <a:pt x="1289" y="623"/>
                    <a:pt x="1285" y="618"/>
                  </a:cubicBezTo>
                  <a:cubicBezTo>
                    <a:pt x="1016" y="348"/>
                    <a:pt x="1016" y="348"/>
                    <a:pt x="1016" y="348"/>
                  </a:cubicBezTo>
                  <a:cubicBezTo>
                    <a:pt x="1016" y="22"/>
                    <a:pt x="1016" y="22"/>
                    <a:pt x="1016" y="22"/>
                  </a:cubicBezTo>
                  <a:cubicBezTo>
                    <a:pt x="1016" y="10"/>
                    <a:pt x="1006" y="0"/>
                    <a:pt x="994" y="0"/>
                  </a:cubicBezTo>
                  <a:cubicBezTo>
                    <a:pt x="982" y="0"/>
                    <a:pt x="972" y="10"/>
                    <a:pt x="972" y="22"/>
                  </a:cubicBezTo>
                  <a:cubicBezTo>
                    <a:pt x="972" y="357"/>
                    <a:pt x="972" y="357"/>
                    <a:pt x="972" y="357"/>
                  </a:cubicBezTo>
                  <a:cubicBezTo>
                    <a:pt x="972" y="363"/>
                    <a:pt x="975" y="368"/>
                    <a:pt x="979" y="373"/>
                  </a:cubicBezTo>
                  <a:cubicBezTo>
                    <a:pt x="1247" y="643"/>
                    <a:pt x="1247" y="643"/>
                    <a:pt x="1247" y="643"/>
                  </a:cubicBezTo>
                  <a:cubicBezTo>
                    <a:pt x="1247" y="1363"/>
                    <a:pt x="1247" y="1363"/>
                    <a:pt x="1247" y="1363"/>
                  </a:cubicBezTo>
                  <a:cubicBezTo>
                    <a:pt x="1187" y="1301"/>
                    <a:pt x="1187" y="1301"/>
                    <a:pt x="1187" y="1301"/>
                  </a:cubicBezTo>
                  <a:cubicBezTo>
                    <a:pt x="1179" y="1293"/>
                    <a:pt x="1165" y="1293"/>
                    <a:pt x="1156" y="1301"/>
                  </a:cubicBezTo>
                  <a:cubicBezTo>
                    <a:pt x="1147" y="1310"/>
                    <a:pt x="1147" y="1323"/>
                    <a:pt x="1155" y="1332"/>
                  </a:cubicBezTo>
                  <a:cubicBezTo>
                    <a:pt x="1252" y="1431"/>
                    <a:pt x="1252" y="1431"/>
                    <a:pt x="1252" y="1431"/>
                  </a:cubicBezTo>
                  <a:cubicBezTo>
                    <a:pt x="1256" y="1436"/>
                    <a:pt x="1262" y="1438"/>
                    <a:pt x="1268" y="1438"/>
                  </a:cubicBezTo>
                  <a:cubicBezTo>
                    <a:pt x="1268" y="1438"/>
                    <a:pt x="1268" y="1438"/>
                    <a:pt x="1268" y="1438"/>
                  </a:cubicBezTo>
                  <a:cubicBezTo>
                    <a:pt x="1268" y="1438"/>
                    <a:pt x="1269" y="1438"/>
                    <a:pt x="1269" y="1438"/>
                  </a:cubicBezTo>
                  <a:cubicBezTo>
                    <a:pt x="1277" y="1438"/>
                    <a:pt x="1284" y="1433"/>
                    <a:pt x="1288" y="1427"/>
                  </a:cubicBezTo>
                  <a:cubicBezTo>
                    <a:pt x="1382" y="1335"/>
                    <a:pt x="1382" y="1335"/>
                    <a:pt x="1382" y="1335"/>
                  </a:cubicBezTo>
                  <a:cubicBezTo>
                    <a:pt x="1391" y="1327"/>
                    <a:pt x="1391" y="1313"/>
                    <a:pt x="1383" y="130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dirty="0"/>
            </a:p>
          </p:txBody>
        </p:sp>
        <p:sp>
          <p:nvSpPr>
            <p:cNvPr id="42" name="Freeform 17">
              <a:extLst>
                <a:ext uri="{FF2B5EF4-FFF2-40B4-BE49-F238E27FC236}">
                  <a16:creationId xmlns:a16="http://schemas.microsoft.com/office/drawing/2014/main" id="{6B8AE4E4-9646-49AB-AFD2-4CB528364E93}"/>
                </a:ext>
              </a:extLst>
            </p:cNvPr>
            <p:cNvSpPr>
              <a:spLocks noEditPoints="1"/>
            </p:cNvSpPr>
            <p:nvPr/>
          </p:nvSpPr>
          <p:spPr bwMode="auto">
            <a:xfrm>
              <a:off x="2317" y="2081"/>
              <a:ext cx="3125" cy="1986"/>
            </a:xfrm>
            <a:custGeom>
              <a:avLst/>
              <a:gdLst>
                <a:gd name="T0" fmla="*/ 554 w 1668"/>
                <a:gd name="T1" fmla="*/ 259 h 1059"/>
                <a:gd name="T2" fmla="*/ 1072 w 1668"/>
                <a:gd name="T3" fmla="*/ 259 h 1059"/>
                <a:gd name="T4" fmla="*/ 956 w 1668"/>
                <a:gd name="T5" fmla="*/ 273 h 1059"/>
                <a:gd name="T6" fmla="*/ 927 w 1668"/>
                <a:gd name="T7" fmla="*/ 331 h 1059"/>
                <a:gd name="T8" fmla="*/ 917 w 1668"/>
                <a:gd name="T9" fmla="*/ 367 h 1059"/>
                <a:gd name="T10" fmla="*/ 856 w 1668"/>
                <a:gd name="T11" fmla="*/ 423 h 1059"/>
                <a:gd name="T12" fmla="*/ 848 w 1668"/>
                <a:gd name="T13" fmla="*/ 431 h 1059"/>
                <a:gd name="T14" fmla="*/ 724 w 1668"/>
                <a:gd name="T15" fmla="*/ 403 h 1059"/>
                <a:gd name="T16" fmla="*/ 679 w 1668"/>
                <a:gd name="T17" fmla="*/ 168 h 1059"/>
                <a:gd name="T18" fmla="*/ 940 w 1668"/>
                <a:gd name="T19" fmla="*/ 107 h 1059"/>
                <a:gd name="T20" fmla="*/ 918 w 1668"/>
                <a:gd name="T21" fmla="*/ 152 h 1059"/>
                <a:gd name="T22" fmla="*/ 919 w 1668"/>
                <a:gd name="T23" fmla="*/ 186 h 1059"/>
                <a:gd name="T24" fmla="*/ 927 w 1668"/>
                <a:gd name="T25" fmla="*/ 218 h 1059"/>
                <a:gd name="T26" fmla="*/ 942 w 1668"/>
                <a:gd name="T27" fmla="*/ 246 h 1059"/>
                <a:gd name="T28" fmla="*/ 1409 w 1668"/>
                <a:gd name="T29" fmla="*/ 542 h 1059"/>
                <a:gd name="T30" fmla="*/ 1409 w 1668"/>
                <a:gd name="T31" fmla="*/ 1059 h 1059"/>
                <a:gd name="T32" fmla="*/ 1409 w 1668"/>
                <a:gd name="T33" fmla="*/ 542 h 1059"/>
                <a:gd name="T34" fmla="*/ 1498 w 1668"/>
                <a:gd name="T35" fmla="*/ 944 h 1059"/>
                <a:gd name="T36" fmla="*/ 1374 w 1668"/>
                <a:gd name="T37" fmla="*/ 972 h 1059"/>
                <a:gd name="T38" fmla="*/ 1366 w 1668"/>
                <a:gd name="T39" fmla="*/ 965 h 1059"/>
                <a:gd name="T40" fmla="*/ 1305 w 1668"/>
                <a:gd name="T41" fmla="*/ 909 h 1059"/>
                <a:gd name="T42" fmla="*/ 1295 w 1668"/>
                <a:gd name="T43" fmla="*/ 873 h 1059"/>
                <a:gd name="T44" fmla="*/ 1266 w 1668"/>
                <a:gd name="T45" fmla="*/ 815 h 1059"/>
                <a:gd name="T46" fmla="*/ 1282 w 1668"/>
                <a:gd name="T47" fmla="*/ 785 h 1059"/>
                <a:gd name="T48" fmla="*/ 1298 w 1668"/>
                <a:gd name="T49" fmla="*/ 747 h 1059"/>
                <a:gd name="T50" fmla="*/ 1307 w 1668"/>
                <a:gd name="T51" fmla="*/ 692 h 1059"/>
                <a:gd name="T52" fmla="*/ 1303 w 1668"/>
                <a:gd name="T53" fmla="*/ 692 h 1059"/>
                <a:gd name="T54" fmla="*/ 1417 w 1668"/>
                <a:gd name="T55" fmla="*/ 629 h 1059"/>
                <a:gd name="T56" fmla="*/ 1498 w 1668"/>
                <a:gd name="T57" fmla="*/ 868 h 1059"/>
                <a:gd name="T58" fmla="*/ 0 w 1668"/>
                <a:gd name="T59" fmla="*/ 721 h 1059"/>
                <a:gd name="T60" fmla="*/ 518 w 1668"/>
                <a:gd name="T61" fmla="*/ 721 h 1059"/>
                <a:gd name="T62" fmla="*/ 406 w 1668"/>
                <a:gd name="T63" fmla="*/ 737 h 1059"/>
                <a:gd name="T64" fmla="*/ 376 w 1668"/>
                <a:gd name="T65" fmla="*/ 775 h 1059"/>
                <a:gd name="T66" fmla="*/ 327 w 1668"/>
                <a:gd name="T67" fmla="*/ 826 h 1059"/>
                <a:gd name="T68" fmla="*/ 304 w 1668"/>
                <a:gd name="T69" fmla="*/ 882 h 1059"/>
                <a:gd name="T70" fmla="*/ 289 w 1668"/>
                <a:gd name="T71" fmla="*/ 890 h 1059"/>
                <a:gd name="T72" fmla="*/ 202 w 1668"/>
                <a:gd name="T73" fmla="*/ 863 h 1059"/>
                <a:gd name="T74" fmla="*/ 132 w 1668"/>
                <a:gd name="T75" fmla="*/ 627 h 1059"/>
                <a:gd name="T76" fmla="*/ 371 w 1668"/>
                <a:gd name="T77" fmla="*/ 606 h 1059"/>
                <a:gd name="T78" fmla="*/ 377 w 1668"/>
                <a:gd name="T79" fmla="*/ 654 h 1059"/>
                <a:gd name="T80" fmla="*/ 394 w 1668"/>
                <a:gd name="T81" fmla="*/ 70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8" h="1059">
                  <a:moveTo>
                    <a:pt x="813" y="0"/>
                  </a:moveTo>
                  <a:cubicBezTo>
                    <a:pt x="670" y="0"/>
                    <a:pt x="554" y="116"/>
                    <a:pt x="554" y="259"/>
                  </a:cubicBezTo>
                  <a:cubicBezTo>
                    <a:pt x="554" y="402"/>
                    <a:pt x="670" y="518"/>
                    <a:pt x="813" y="518"/>
                  </a:cubicBezTo>
                  <a:cubicBezTo>
                    <a:pt x="956" y="518"/>
                    <a:pt x="1072" y="402"/>
                    <a:pt x="1072" y="259"/>
                  </a:cubicBezTo>
                  <a:cubicBezTo>
                    <a:pt x="1072" y="116"/>
                    <a:pt x="956" y="0"/>
                    <a:pt x="813" y="0"/>
                  </a:cubicBezTo>
                  <a:close/>
                  <a:moveTo>
                    <a:pt x="956" y="273"/>
                  </a:moveTo>
                  <a:cubicBezTo>
                    <a:pt x="955" y="277"/>
                    <a:pt x="949" y="290"/>
                    <a:pt x="925" y="290"/>
                  </a:cubicBezTo>
                  <a:cubicBezTo>
                    <a:pt x="927" y="301"/>
                    <a:pt x="928" y="319"/>
                    <a:pt x="927" y="331"/>
                  </a:cubicBezTo>
                  <a:cubicBezTo>
                    <a:pt x="927" y="334"/>
                    <a:pt x="927" y="334"/>
                    <a:pt x="927" y="334"/>
                  </a:cubicBezTo>
                  <a:cubicBezTo>
                    <a:pt x="926" y="353"/>
                    <a:pt x="925" y="363"/>
                    <a:pt x="917" y="367"/>
                  </a:cubicBezTo>
                  <a:cubicBezTo>
                    <a:pt x="910" y="371"/>
                    <a:pt x="887" y="374"/>
                    <a:pt x="856" y="371"/>
                  </a:cubicBezTo>
                  <a:cubicBezTo>
                    <a:pt x="856" y="423"/>
                    <a:pt x="856" y="423"/>
                    <a:pt x="856" y="423"/>
                  </a:cubicBezTo>
                  <a:cubicBezTo>
                    <a:pt x="856" y="427"/>
                    <a:pt x="853" y="431"/>
                    <a:pt x="848" y="431"/>
                  </a:cubicBezTo>
                  <a:cubicBezTo>
                    <a:pt x="848" y="431"/>
                    <a:pt x="848" y="431"/>
                    <a:pt x="848" y="431"/>
                  </a:cubicBezTo>
                  <a:cubicBezTo>
                    <a:pt x="843" y="431"/>
                    <a:pt x="779" y="430"/>
                    <a:pt x="729" y="410"/>
                  </a:cubicBezTo>
                  <a:cubicBezTo>
                    <a:pt x="726" y="409"/>
                    <a:pt x="724" y="406"/>
                    <a:pt x="724" y="403"/>
                  </a:cubicBezTo>
                  <a:cubicBezTo>
                    <a:pt x="724" y="327"/>
                    <a:pt x="724" y="327"/>
                    <a:pt x="724" y="327"/>
                  </a:cubicBezTo>
                  <a:cubicBezTo>
                    <a:pt x="699" y="300"/>
                    <a:pt x="648" y="234"/>
                    <a:pt x="679" y="168"/>
                  </a:cubicBezTo>
                  <a:cubicBezTo>
                    <a:pt x="697" y="131"/>
                    <a:pt x="733" y="87"/>
                    <a:pt x="805" y="87"/>
                  </a:cubicBezTo>
                  <a:cubicBezTo>
                    <a:pt x="887" y="87"/>
                    <a:pt x="863" y="108"/>
                    <a:pt x="940" y="107"/>
                  </a:cubicBezTo>
                  <a:cubicBezTo>
                    <a:pt x="948" y="107"/>
                    <a:pt x="923" y="134"/>
                    <a:pt x="919" y="151"/>
                  </a:cubicBezTo>
                  <a:cubicBezTo>
                    <a:pt x="919" y="151"/>
                    <a:pt x="919" y="152"/>
                    <a:pt x="918" y="152"/>
                  </a:cubicBezTo>
                  <a:cubicBezTo>
                    <a:pt x="918" y="152"/>
                    <a:pt x="916" y="151"/>
                    <a:pt x="914" y="151"/>
                  </a:cubicBezTo>
                  <a:cubicBezTo>
                    <a:pt x="915" y="161"/>
                    <a:pt x="917" y="180"/>
                    <a:pt x="919" y="186"/>
                  </a:cubicBezTo>
                  <a:cubicBezTo>
                    <a:pt x="921" y="192"/>
                    <a:pt x="922" y="199"/>
                    <a:pt x="924" y="205"/>
                  </a:cubicBezTo>
                  <a:cubicBezTo>
                    <a:pt x="925" y="210"/>
                    <a:pt x="926" y="215"/>
                    <a:pt x="927" y="218"/>
                  </a:cubicBezTo>
                  <a:cubicBezTo>
                    <a:pt x="931" y="230"/>
                    <a:pt x="935" y="239"/>
                    <a:pt x="939" y="243"/>
                  </a:cubicBezTo>
                  <a:cubicBezTo>
                    <a:pt x="940" y="244"/>
                    <a:pt x="941" y="245"/>
                    <a:pt x="942" y="246"/>
                  </a:cubicBezTo>
                  <a:cubicBezTo>
                    <a:pt x="951" y="256"/>
                    <a:pt x="959" y="265"/>
                    <a:pt x="956" y="273"/>
                  </a:cubicBezTo>
                  <a:close/>
                  <a:moveTo>
                    <a:pt x="1409" y="542"/>
                  </a:moveTo>
                  <a:cubicBezTo>
                    <a:pt x="1266" y="542"/>
                    <a:pt x="1150" y="658"/>
                    <a:pt x="1150" y="800"/>
                  </a:cubicBezTo>
                  <a:cubicBezTo>
                    <a:pt x="1150" y="943"/>
                    <a:pt x="1266" y="1059"/>
                    <a:pt x="1409" y="1059"/>
                  </a:cubicBezTo>
                  <a:cubicBezTo>
                    <a:pt x="1552" y="1059"/>
                    <a:pt x="1668" y="943"/>
                    <a:pt x="1668" y="800"/>
                  </a:cubicBezTo>
                  <a:cubicBezTo>
                    <a:pt x="1668" y="658"/>
                    <a:pt x="1552" y="542"/>
                    <a:pt x="1409" y="542"/>
                  </a:cubicBezTo>
                  <a:close/>
                  <a:moveTo>
                    <a:pt x="1498" y="868"/>
                  </a:moveTo>
                  <a:cubicBezTo>
                    <a:pt x="1498" y="944"/>
                    <a:pt x="1498" y="944"/>
                    <a:pt x="1498" y="944"/>
                  </a:cubicBezTo>
                  <a:cubicBezTo>
                    <a:pt x="1498" y="947"/>
                    <a:pt x="1496" y="950"/>
                    <a:pt x="1493" y="951"/>
                  </a:cubicBezTo>
                  <a:cubicBezTo>
                    <a:pt x="1443" y="972"/>
                    <a:pt x="1379" y="972"/>
                    <a:pt x="1374" y="972"/>
                  </a:cubicBezTo>
                  <a:cubicBezTo>
                    <a:pt x="1373" y="972"/>
                    <a:pt x="1373" y="972"/>
                    <a:pt x="1373" y="972"/>
                  </a:cubicBezTo>
                  <a:cubicBezTo>
                    <a:pt x="1369" y="972"/>
                    <a:pt x="1366" y="969"/>
                    <a:pt x="1366" y="965"/>
                  </a:cubicBezTo>
                  <a:cubicBezTo>
                    <a:pt x="1366" y="912"/>
                    <a:pt x="1366" y="912"/>
                    <a:pt x="1366" y="912"/>
                  </a:cubicBezTo>
                  <a:cubicBezTo>
                    <a:pt x="1335" y="916"/>
                    <a:pt x="1311" y="912"/>
                    <a:pt x="1305" y="909"/>
                  </a:cubicBezTo>
                  <a:cubicBezTo>
                    <a:pt x="1297" y="905"/>
                    <a:pt x="1296" y="894"/>
                    <a:pt x="1295" y="875"/>
                  </a:cubicBezTo>
                  <a:cubicBezTo>
                    <a:pt x="1295" y="873"/>
                    <a:pt x="1295" y="873"/>
                    <a:pt x="1295" y="873"/>
                  </a:cubicBezTo>
                  <a:cubicBezTo>
                    <a:pt x="1294" y="861"/>
                    <a:pt x="1295" y="842"/>
                    <a:pt x="1296" y="832"/>
                  </a:cubicBezTo>
                  <a:cubicBezTo>
                    <a:pt x="1273" y="831"/>
                    <a:pt x="1267" y="819"/>
                    <a:pt x="1266" y="815"/>
                  </a:cubicBezTo>
                  <a:cubicBezTo>
                    <a:pt x="1263" y="806"/>
                    <a:pt x="1271" y="797"/>
                    <a:pt x="1280" y="788"/>
                  </a:cubicBezTo>
                  <a:cubicBezTo>
                    <a:pt x="1281" y="787"/>
                    <a:pt x="1282" y="786"/>
                    <a:pt x="1282" y="785"/>
                  </a:cubicBezTo>
                  <a:cubicBezTo>
                    <a:pt x="1286" y="780"/>
                    <a:pt x="1291" y="771"/>
                    <a:pt x="1295" y="760"/>
                  </a:cubicBezTo>
                  <a:cubicBezTo>
                    <a:pt x="1296" y="757"/>
                    <a:pt x="1297" y="752"/>
                    <a:pt x="1298" y="747"/>
                  </a:cubicBezTo>
                  <a:cubicBezTo>
                    <a:pt x="1300" y="740"/>
                    <a:pt x="1301" y="733"/>
                    <a:pt x="1303" y="728"/>
                  </a:cubicBezTo>
                  <a:cubicBezTo>
                    <a:pt x="1305" y="721"/>
                    <a:pt x="1307" y="702"/>
                    <a:pt x="1307" y="692"/>
                  </a:cubicBezTo>
                  <a:cubicBezTo>
                    <a:pt x="1306" y="692"/>
                    <a:pt x="1304" y="693"/>
                    <a:pt x="1303" y="693"/>
                  </a:cubicBezTo>
                  <a:cubicBezTo>
                    <a:pt x="1303" y="693"/>
                    <a:pt x="1303" y="693"/>
                    <a:pt x="1303" y="692"/>
                  </a:cubicBezTo>
                  <a:cubicBezTo>
                    <a:pt x="1299" y="675"/>
                    <a:pt x="1274" y="648"/>
                    <a:pt x="1282" y="648"/>
                  </a:cubicBezTo>
                  <a:cubicBezTo>
                    <a:pt x="1358" y="650"/>
                    <a:pt x="1334" y="629"/>
                    <a:pt x="1417" y="629"/>
                  </a:cubicBezTo>
                  <a:cubicBezTo>
                    <a:pt x="1489" y="629"/>
                    <a:pt x="1525" y="672"/>
                    <a:pt x="1543" y="709"/>
                  </a:cubicBezTo>
                  <a:cubicBezTo>
                    <a:pt x="1574" y="776"/>
                    <a:pt x="1523" y="842"/>
                    <a:pt x="1498" y="868"/>
                  </a:cubicBezTo>
                  <a:close/>
                  <a:moveTo>
                    <a:pt x="259" y="462"/>
                  </a:moveTo>
                  <a:cubicBezTo>
                    <a:pt x="116" y="462"/>
                    <a:pt x="0" y="578"/>
                    <a:pt x="0" y="721"/>
                  </a:cubicBezTo>
                  <a:cubicBezTo>
                    <a:pt x="0" y="864"/>
                    <a:pt x="116" y="980"/>
                    <a:pt x="259" y="980"/>
                  </a:cubicBezTo>
                  <a:cubicBezTo>
                    <a:pt x="402" y="980"/>
                    <a:pt x="518" y="864"/>
                    <a:pt x="518" y="721"/>
                  </a:cubicBezTo>
                  <a:cubicBezTo>
                    <a:pt x="518" y="578"/>
                    <a:pt x="402" y="462"/>
                    <a:pt x="259" y="462"/>
                  </a:cubicBezTo>
                  <a:close/>
                  <a:moveTo>
                    <a:pt x="406" y="737"/>
                  </a:moveTo>
                  <a:cubicBezTo>
                    <a:pt x="404" y="743"/>
                    <a:pt x="394" y="752"/>
                    <a:pt x="375" y="752"/>
                  </a:cubicBezTo>
                  <a:cubicBezTo>
                    <a:pt x="376" y="758"/>
                    <a:pt x="376" y="767"/>
                    <a:pt x="376" y="775"/>
                  </a:cubicBezTo>
                  <a:cubicBezTo>
                    <a:pt x="376" y="806"/>
                    <a:pt x="372" y="815"/>
                    <a:pt x="368" y="818"/>
                  </a:cubicBezTo>
                  <a:cubicBezTo>
                    <a:pt x="365" y="822"/>
                    <a:pt x="357" y="827"/>
                    <a:pt x="327" y="826"/>
                  </a:cubicBezTo>
                  <a:cubicBezTo>
                    <a:pt x="322" y="826"/>
                    <a:pt x="312" y="826"/>
                    <a:pt x="304" y="825"/>
                  </a:cubicBezTo>
                  <a:cubicBezTo>
                    <a:pt x="304" y="882"/>
                    <a:pt x="304" y="882"/>
                    <a:pt x="304" y="882"/>
                  </a:cubicBezTo>
                  <a:cubicBezTo>
                    <a:pt x="304" y="886"/>
                    <a:pt x="301" y="889"/>
                    <a:pt x="297" y="889"/>
                  </a:cubicBezTo>
                  <a:cubicBezTo>
                    <a:pt x="297" y="889"/>
                    <a:pt x="294" y="890"/>
                    <a:pt x="289" y="890"/>
                  </a:cubicBezTo>
                  <a:cubicBezTo>
                    <a:pt x="273" y="890"/>
                    <a:pt x="236" y="887"/>
                    <a:pt x="206" y="869"/>
                  </a:cubicBezTo>
                  <a:cubicBezTo>
                    <a:pt x="204" y="868"/>
                    <a:pt x="202" y="866"/>
                    <a:pt x="202" y="863"/>
                  </a:cubicBezTo>
                  <a:cubicBezTo>
                    <a:pt x="200" y="826"/>
                    <a:pt x="200" y="826"/>
                    <a:pt x="200" y="826"/>
                  </a:cubicBezTo>
                  <a:cubicBezTo>
                    <a:pt x="151" y="806"/>
                    <a:pt x="73" y="749"/>
                    <a:pt x="132" y="627"/>
                  </a:cubicBezTo>
                  <a:cubicBezTo>
                    <a:pt x="150" y="591"/>
                    <a:pt x="192" y="553"/>
                    <a:pt x="262" y="553"/>
                  </a:cubicBezTo>
                  <a:cubicBezTo>
                    <a:pt x="342" y="553"/>
                    <a:pt x="375" y="590"/>
                    <a:pt x="371" y="606"/>
                  </a:cubicBezTo>
                  <a:cubicBezTo>
                    <a:pt x="370" y="609"/>
                    <a:pt x="368" y="612"/>
                    <a:pt x="366" y="615"/>
                  </a:cubicBezTo>
                  <a:cubicBezTo>
                    <a:pt x="370" y="620"/>
                    <a:pt x="379" y="633"/>
                    <a:pt x="377" y="654"/>
                  </a:cubicBezTo>
                  <a:cubicBezTo>
                    <a:pt x="377" y="664"/>
                    <a:pt x="378" y="683"/>
                    <a:pt x="379" y="686"/>
                  </a:cubicBezTo>
                  <a:cubicBezTo>
                    <a:pt x="382" y="693"/>
                    <a:pt x="388" y="703"/>
                    <a:pt x="394" y="709"/>
                  </a:cubicBezTo>
                  <a:cubicBezTo>
                    <a:pt x="400" y="715"/>
                    <a:pt x="410" y="729"/>
                    <a:pt x="406" y="7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1" dirty="0"/>
            </a:p>
          </p:txBody>
        </p:sp>
      </p:grpSp>
    </p:spTree>
    <p:custDataLst>
      <p:tags r:id="rId1"/>
    </p:custDataLst>
    <p:extLst>
      <p:ext uri="{BB962C8B-B14F-4D97-AF65-F5344CB8AC3E}">
        <p14:creationId xmlns:p14="http://schemas.microsoft.com/office/powerpoint/2010/main" val="2476280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49" name="think-cell Slide" r:id="rId6" imgW="411" imgH="409" progId="TCLayout.ActiveDocument.1">
                  <p:embed/>
                </p:oleObj>
              </mc:Choice>
              <mc:Fallback>
                <p:oleObj name="think-cell Slide" r:id="rId6" imgW="411" imgH="409"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3" name="Oval 12"/>
          <p:cNvSpPr/>
          <p:nvPr/>
        </p:nvSpPr>
        <p:spPr>
          <a:xfrm>
            <a:off x="7254151" y="1828723"/>
            <a:ext cx="4037398" cy="4037398"/>
          </a:xfrm>
          <a:prstGeom prst="ellipse">
            <a:avLst/>
          </a:prstGeom>
          <a:solidFill>
            <a:srgbClr val="F2F2F2"/>
          </a:solidFill>
          <a:ln w="9525" cap="rnd" cmpd="sng" algn="ctr">
            <a:solidFill>
              <a:srgbClr val="7F7F7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11" name="Rectangle 10"/>
          <p:cNvSpPr/>
          <p:nvPr/>
        </p:nvSpPr>
        <p:spPr>
          <a:xfrm>
            <a:off x="6181364" y="3023128"/>
            <a:ext cx="2194571" cy="1477328"/>
          </a:xfrm>
          <a:prstGeom prst="rect">
            <a:avLst/>
          </a:prstGeom>
          <a:solidFill>
            <a:srgbClr val="F2F2F2"/>
          </a:solidFill>
        </p:spPr>
        <p:txBody>
          <a:bodyPr vert="horz" wrap="square" lIns="45720" tIns="45720" rIns="45720" bIns="45720">
            <a:spAutoFit/>
          </a:bodyPr>
          <a:lstStyle/>
          <a:p>
            <a:pPr marL="108000" lvl="1" algn="ctr" defTabSz="914286">
              <a:buClr>
                <a:schemeClr val="tx2">
                  <a:lumMod val="100000"/>
                </a:schemeClr>
              </a:buClr>
              <a:buSzPct val="100000"/>
              <a:defRPr/>
            </a:pPr>
            <a:r>
              <a:rPr lang="en-AU" dirty="0">
                <a:solidFill>
                  <a:schemeClr val="tx1">
                    <a:lumMod val="100000"/>
                  </a:schemeClr>
                </a:solidFill>
                <a:latin typeface="Trebuchet MS" panose="020B0603020202020204" pitchFamily="34" charset="0"/>
                <a:ea typeface="+mj-ea"/>
                <a:cs typeface="+mj-cs"/>
                <a:sym typeface="Trebuchet MS" panose="020B0603020202020204" pitchFamily="34" charset="0"/>
              </a:rPr>
              <a:t>Communicate a compelling case for change internally</a:t>
            </a:r>
            <a:br>
              <a:rPr lang="en-AU" dirty="0">
                <a:solidFill>
                  <a:schemeClr val="tx1">
                    <a:lumMod val="100000"/>
                  </a:schemeClr>
                </a:solidFill>
                <a:latin typeface="Trebuchet MS" panose="020B0603020202020204" pitchFamily="34" charset="0"/>
                <a:ea typeface="+mj-ea"/>
                <a:cs typeface="+mj-cs"/>
                <a:sym typeface="Trebuchet MS" panose="020B0603020202020204" pitchFamily="34" charset="0"/>
              </a:rPr>
            </a:br>
            <a:r>
              <a:rPr lang="en-AU" dirty="0">
                <a:solidFill>
                  <a:schemeClr val="tx1">
                    <a:lumMod val="100000"/>
                  </a:schemeClr>
                </a:solidFill>
                <a:latin typeface="Trebuchet MS" panose="020B0603020202020204" pitchFamily="34" charset="0"/>
                <a:ea typeface="+mj-ea"/>
                <a:cs typeface="+mj-cs"/>
                <a:sym typeface="Trebuchet MS" panose="020B0603020202020204" pitchFamily="34" charset="0"/>
              </a:rPr>
              <a:t>and externally</a:t>
            </a:r>
          </a:p>
        </p:txBody>
      </p:sp>
      <p:sp>
        <p:nvSpPr>
          <p:cNvPr id="2" name="TextBox 1"/>
          <p:cNvSpPr txBox="1"/>
          <p:nvPr/>
        </p:nvSpPr>
        <p:spPr>
          <a:xfrm>
            <a:off x="4329113" y="223284"/>
            <a:ext cx="7426112" cy="7977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800" dirty="0">
                <a:solidFill>
                  <a:schemeClr val="accent1">
                    <a:lumMod val="75000"/>
                    <a:lumOff val="25000"/>
                  </a:schemeClr>
                </a:solidFill>
              </a:rPr>
              <a:t>The Head of Transformation     </a:t>
            </a:r>
            <a:endParaRPr lang="en-US" sz="1400" dirty="0">
              <a:solidFill>
                <a:srgbClr val="FF0000"/>
              </a:solidFill>
            </a:endParaRPr>
          </a:p>
        </p:txBody>
      </p:sp>
      <p:sp>
        <p:nvSpPr>
          <p:cNvPr id="7" name="TextBox 6"/>
          <p:cNvSpPr txBox="1"/>
          <p:nvPr/>
        </p:nvSpPr>
        <p:spPr>
          <a:xfrm>
            <a:off x="8083771" y="1229039"/>
            <a:ext cx="2371090" cy="1477328"/>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108000" lvl="1" algn="ctr" defTabSz="914286">
              <a:buClr>
                <a:schemeClr val="tx2">
                  <a:lumMod val="100000"/>
                </a:schemeClr>
              </a:buClr>
              <a:buSzPct val="100000"/>
              <a:defRPr/>
            </a:pPr>
            <a:r>
              <a:rPr lang="en-AU" dirty="0">
                <a:solidFill>
                  <a:schemeClr val="tx1">
                    <a:lumMod val="100000"/>
                  </a:schemeClr>
                </a:solidFill>
                <a:latin typeface="Trebuchet MS" panose="020B0603020202020204" pitchFamily="34" charset="0"/>
                <a:sym typeface="Trebuchet MS" panose="020B0603020202020204" pitchFamily="34" charset="0"/>
              </a:rPr>
              <a:t>Create an aspirational vision of a digitally enabled, growth-oriented future</a:t>
            </a:r>
          </a:p>
        </p:txBody>
      </p:sp>
      <p:sp>
        <p:nvSpPr>
          <p:cNvPr id="8" name="TextBox 7"/>
          <p:cNvSpPr txBox="1"/>
          <p:nvPr/>
        </p:nvSpPr>
        <p:spPr>
          <a:xfrm>
            <a:off x="10190895" y="3116116"/>
            <a:ext cx="2011680" cy="1477328"/>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108000" lvl="1" algn="ctr" defTabSz="914286">
              <a:buClr>
                <a:schemeClr val="tx2">
                  <a:lumMod val="100000"/>
                </a:schemeClr>
              </a:buClr>
              <a:buSzPct val="100000"/>
              <a:defRPr/>
            </a:pPr>
            <a:r>
              <a:rPr lang="en-AU" dirty="0">
                <a:solidFill>
                  <a:schemeClr val="tx1">
                    <a:lumMod val="100000"/>
                  </a:schemeClr>
                </a:solidFill>
                <a:latin typeface="Trebuchet MS" panose="020B0603020202020204" pitchFamily="34" charset="0"/>
                <a:sym typeface="Trebuchet MS" panose="020B0603020202020204" pitchFamily="34" charset="0"/>
              </a:rPr>
              <a:t>Prioritize the big rocks to deliver results and create enduring value</a:t>
            </a:r>
          </a:p>
        </p:txBody>
      </p:sp>
      <p:sp>
        <p:nvSpPr>
          <p:cNvPr id="9" name="TextBox 8"/>
          <p:cNvSpPr txBox="1"/>
          <p:nvPr/>
        </p:nvSpPr>
        <p:spPr>
          <a:xfrm>
            <a:off x="8263476" y="5234287"/>
            <a:ext cx="2011680" cy="1200329"/>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108000" lvl="1" algn="ctr" defTabSz="914286">
              <a:buClr>
                <a:schemeClr val="tx2">
                  <a:lumMod val="100000"/>
                </a:schemeClr>
              </a:buClr>
              <a:buSzPct val="100000"/>
              <a:defRPr/>
            </a:pPr>
            <a:r>
              <a:rPr lang="en-US" dirty="0">
                <a:solidFill>
                  <a:srgbClr val="575757"/>
                </a:solidFill>
              </a:rPr>
              <a:t>Ensure the leadership team's alignment and commitment</a:t>
            </a:r>
            <a:endParaRPr lang="en-AU" dirty="0">
              <a:solidFill>
                <a:schemeClr val="tx1">
                  <a:lumMod val="100000"/>
                </a:schemeClr>
              </a:solidFill>
              <a:latin typeface="Trebuchet MS" panose="020B0603020202020204" pitchFamily="34" charset="0"/>
              <a:sym typeface="Trebuchet MS" panose="020B0603020202020204" pitchFamily="34" charset="0"/>
            </a:endParaRPr>
          </a:p>
        </p:txBody>
      </p:sp>
      <p:cxnSp>
        <p:nvCxnSpPr>
          <p:cNvPr id="20" name="Straight Connector 19"/>
          <p:cNvCxnSpPr/>
          <p:nvPr/>
        </p:nvCxnSpPr>
        <p:spPr>
          <a:xfrm>
            <a:off x="6374895" y="1958232"/>
            <a:ext cx="0" cy="3645127"/>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954701" y="619530"/>
            <a:ext cx="1936137" cy="5495544"/>
            <a:chOff x="759440" y="433787"/>
            <a:chExt cx="1931006" cy="5570640"/>
          </a:xfrm>
        </p:grpSpPr>
        <p:pic>
          <p:nvPicPr>
            <p:cNvPr id="24" name="Picture 23"/>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59440" y="433787"/>
              <a:ext cx="1931006" cy="5570640"/>
            </a:xfrm>
            <a:prstGeom prst="rect">
              <a:avLst/>
            </a:prstGeom>
          </p:spPr>
        </p:pic>
        <p:grpSp>
          <p:nvGrpSpPr>
            <p:cNvPr id="5" name="Group 4"/>
            <p:cNvGrpSpPr/>
            <p:nvPr/>
          </p:nvGrpSpPr>
          <p:grpSpPr>
            <a:xfrm>
              <a:off x="1314747" y="476251"/>
              <a:ext cx="883258" cy="2191614"/>
              <a:chOff x="1314747" y="476251"/>
              <a:chExt cx="883258" cy="2191614"/>
            </a:xfrm>
          </p:grpSpPr>
          <p:sp>
            <p:nvSpPr>
              <p:cNvPr id="26" name="Freeform 25"/>
              <p:cNvSpPr/>
              <p:nvPr/>
            </p:nvSpPr>
            <p:spPr>
              <a:xfrm>
                <a:off x="1314747" y="476251"/>
                <a:ext cx="883258" cy="1912441"/>
              </a:xfrm>
              <a:custGeom>
                <a:avLst/>
                <a:gdLst>
                  <a:gd name="connsiteX0" fmla="*/ 0 w 885825"/>
                  <a:gd name="connsiteY0" fmla="*/ 0 h 1909763"/>
                  <a:gd name="connsiteX1" fmla="*/ 119062 w 885825"/>
                  <a:gd name="connsiteY1" fmla="*/ 26194 h 1909763"/>
                  <a:gd name="connsiteX2" fmla="*/ 228600 w 885825"/>
                  <a:gd name="connsiteY2" fmla="*/ 57150 h 1909763"/>
                  <a:gd name="connsiteX3" fmla="*/ 323850 w 885825"/>
                  <a:gd name="connsiteY3" fmla="*/ 83344 h 1909763"/>
                  <a:gd name="connsiteX4" fmla="*/ 409575 w 885825"/>
                  <a:gd name="connsiteY4" fmla="*/ 116681 h 1909763"/>
                  <a:gd name="connsiteX5" fmla="*/ 502443 w 885825"/>
                  <a:gd name="connsiteY5" fmla="*/ 159544 h 1909763"/>
                  <a:gd name="connsiteX6" fmla="*/ 557212 w 885825"/>
                  <a:gd name="connsiteY6" fmla="*/ 192881 h 1909763"/>
                  <a:gd name="connsiteX7" fmla="*/ 621506 w 885825"/>
                  <a:gd name="connsiteY7" fmla="*/ 252413 h 1909763"/>
                  <a:gd name="connsiteX8" fmla="*/ 678656 w 885825"/>
                  <a:gd name="connsiteY8" fmla="*/ 314325 h 1909763"/>
                  <a:gd name="connsiteX9" fmla="*/ 709612 w 885825"/>
                  <a:gd name="connsiteY9" fmla="*/ 369094 h 1909763"/>
                  <a:gd name="connsiteX10" fmla="*/ 735806 w 885825"/>
                  <a:gd name="connsiteY10" fmla="*/ 431006 h 1909763"/>
                  <a:gd name="connsiteX11" fmla="*/ 762000 w 885825"/>
                  <a:gd name="connsiteY11" fmla="*/ 519113 h 1909763"/>
                  <a:gd name="connsiteX12" fmla="*/ 766762 w 885825"/>
                  <a:gd name="connsiteY12" fmla="*/ 614363 h 1909763"/>
                  <a:gd name="connsiteX13" fmla="*/ 776287 w 885825"/>
                  <a:gd name="connsiteY13" fmla="*/ 700088 h 1909763"/>
                  <a:gd name="connsiteX14" fmla="*/ 766762 w 885825"/>
                  <a:gd name="connsiteY14" fmla="*/ 778669 h 1909763"/>
                  <a:gd name="connsiteX15" fmla="*/ 762000 w 885825"/>
                  <a:gd name="connsiteY15" fmla="*/ 835819 h 1909763"/>
                  <a:gd name="connsiteX16" fmla="*/ 762000 w 885825"/>
                  <a:gd name="connsiteY16" fmla="*/ 892969 h 1909763"/>
                  <a:gd name="connsiteX17" fmla="*/ 762000 w 885825"/>
                  <a:gd name="connsiteY17" fmla="*/ 892969 h 1909763"/>
                  <a:gd name="connsiteX18" fmla="*/ 773906 w 885825"/>
                  <a:gd name="connsiteY18" fmla="*/ 985838 h 1909763"/>
                  <a:gd name="connsiteX19" fmla="*/ 788193 w 885825"/>
                  <a:gd name="connsiteY19" fmla="*/ 1071563 h 1909763"/>
                  <a:gd name="connsiteX20" fmla="*/ 804862 w 885825"/>
                  <a:gd name="connsiteY20" fmla="*/ 1123950 h 1909763"/>
                  <a:gd name="connsiteX21" fmla="*/ 814387 w 885825"/>
                  <a:gd name="connsiteY21" fmla="*/ 1183481 h 1909763"/>
                  <a:gd name="connsiteX22" fmla="*/ 840581 w 885825"/>
                  <a:gd name="connsiteY22" fmla="*/ 1238250 h 1909763"/>
                  <a:gd name="connsiteX23" fmla="*/ 881062 w 885825"/>
                  <a:gd name="connsiteY23" fmla="*/ 1314450 h 1909763"/>
                  <a:gd name="connsiteX24" fmla="*/ 885825 w 885825"/>
                  <a:gd name="connsiteY24" fmla="*/ 1343025 h 1909763"/>
                  <a:gd name="connsiteX25" fmla="*/ 866775 w 885825"/>
                  <a:gd name="connsiteY25" fmla="*/ 1376363 h 1909763"/>
                  <a:gd name="connsiteX26" fmla="*/ 833437 w 885825"/>
                  <a:gd name="connsiteY26" fmla="*/ 1397794 h 1909763"/>
                  <a:gd name="connsiteX27" fmla="*/ 783431 w 885825"/>
                  <a:gd name="connsiteY27" fmla="*/ 1395413 h 1909763"/>
                  <a:gd name="connsiteX28" fmla="*/ 728662 w 885825"/>
                  <a:gd name="connsiteY28" fmla="*/ 1397794 h 1909763"/>
                  <a:gd name="connsiteX29" fmla="*/ 700087 w 885825"/>
                  <a:gd name="connsiteY29" fmla="*/ 1414463 h 1909763"/>
                  <a:gd name="connsiteX30" fmla="*/ 669131 w 885825"/>
                  <a:gd name="connsiteY30" fmla="*/ 1447800 h 1909763"/>
                  <a:gd name="connsiteX31" fmla="*/ 669131 w 885825"/>
                  <a:gd name="connsiteY31" fmla="*/ 1485900 h 1909763"/>
                  <a:gd name="connsiteX32" fmla="*/ 673893 w 885825"/>
                  <a:gd name="connsiteY32" fmla="*/ 1514475 h 1909763"/>
                  <a:gd name="connsiteX33" fmla="*/ 681037 w 885825"/>
                  <a:gd name="connsiteY33" fmla="*/ 1543050 h 1909763"/>
                  <a:gd name="connsiteX34" fmla="*/ 707231 w 885825"/>
                  <a:gd name="connsiteY34" fmla="*/ 1578769 h 1909763"/>
                  <a:gd name="connsiteX35" fmla="*/ 721518 w 885825"/>
                  <a:gd name="connsiteY35" fmla="*/ 1609725 h 1909763"/>
                  <a:gd name="connsiteX36" fmla="*/ 747712 w 885825"/>
                  <a:gd name="connsiteY36" fmla="*/ 1664494 h 1909763"/>
                  <a:gd name="connsiteX37" fmla="*/ 733425 w 885825"/>
                  <a:gd name="connsiteY37" fmla="*/ 1707356 h 1909763"/>
                  <a:gd name="connsiteX38" fmla="*/ 704850 w 885825"/>
                  <a:gd name="connsiteY38" fmla="*/ 1764506 h 1909763"/>
                  <a:gd name="connsiteX39" fmla="*/ 678656 w 885825"/>
                  <a:gd name="connsiteY39" fmla="*/ 1845469 h 1909763"/>
                  <a:gd name="connsiteX40" fmla="*/ 676275 w 885825"/>
                  <a:gd name="connsiteY40" fmla="*/ 1883569 h 1909763"/>
                  <a:gd name="connsiteX41" fmla="*/ 681037 w 885825"/>
                  <a:gd name="connsiteY41" fmla="*/ 1905000 h 1909763"/>
                  <a:gd name="connsiteX42" fmla="*/ 676275 w 885825"/>
                  <a:gd name="connsiteY42" fmla="*/ 1909763 h 1909763"/>
                  <a:gd name="connsiteX0" fmla="*/ 0 w 885825"/>
                  <a:gd name="connsiteY0" fmla="*/ 0 h 1909763"/>
                  <a:gd name="connsiteX1" fmla="*/ 119062 w 885825"/>
                  <a:gd name="connsiteY1" fmla="*/ 26194 h 1909763"/>
                  <a:gd name="connsiteX2" fmla="*/ 228600 w 885825"/>
                  <a:gd name="connsiteY2" fmla="*/ 57150 h 1909763"/>
                  <a:gd name="connsiteX3" fmla="*/ 323850 w 885825"/>
                  <a:gd name="connsiteY3" fmla="*/ 83344 h 1909763"/>
                  <a:gd name="connsiteX4" fmla="*/ 409575 w 885825"/>
                  <a:gd name="connsiteY4" fmla="*/ 116681 h 1909763"/>
                  <a:gd name="connsiteX5" fmla="*/ 502443 w 885825"/>
                  <a:gd name="connsiteY5" fmla="*/ 159544 h 1909763"/>
                  <a:gd name="connsiteX6" fmla="*/ 557212 w 885825"/>
                  <a:gd name="connsiteY6" fmla="*/ 192881 h 1909763"/>
                  <a:gd name="connsiteX7" fmla="*/ 621506 w 885825"/>
                  <a:gd name="connsiteY7" fmla="*/ 252413 h 1909763"/>
                  <a:gd name="connsiteX8" fmla="*/ 678656 w 885825"/>
                  <a:gd name="connsiteY8" fmla="*/ 314325 h 1909763"/>
                  <a:gd name="connsiteX9" fmla="*/ 709612 w 885825"/>
                  <a:gd name="connsiteY9" fmla="*/ 369094 h 1909763"/>
                  <a:gd name="connsiteX10" fmla="*/ 735806 w 885825"/>
                  <a:gd name="connsiteY10" fmla="*/ 431006 h 1909763"/>
                  <a:gd name="connsiteX11" fmla="*/ 762000 w 885825"/>
                  <a:gd name="connsiteY11" fmla="*/ 519113 h 1909763"/>
                  <a:gd name="connsiteX12" fmla="*/ 766762 w 885825"/>
                  <a:gd name="connsiteY12" fmla="*/ 614363 h 1909763"/>
                  <a:gd name="connsiteX13" fmla="*/ 776287 w 885825"/>
                  <a:gd name="connsiteY13" fmla="*/ 700088 h 1909763"/>
                  <a:gd name="connsiteX14" fmla="*/ 766762 w 885825"/>
                  <a:gd name="connsiteY14" fmla="*/ 778669 h 1909763"/>
                  <a:gd name="connsiteX15" fmla="*/ 762000 w 885825"/>
                  <a:gd name="connsiteY15" fmla="*/ 835819 h 1909763"/>
                  <a:gd name="connsiteX16" fmla="*/ 762000 w 885825"/>
                  <a:gd name="connsiteY16" fmla="*/ 892969 h 1909763"/>
                  <a:gd name="connsiteX17" fmla="*/ 762000 w 885825"/>
                  <a:gd name="connsiteY17" fmla="*/ 892969 h 1909763"/>
                  <a:gd name="connsiteX18" fmla="*/ 773906 w 885825"/>
                  <a:gd name="connsiteY18" fmla="*/ 985838 h 1909763"/>
                  <a:gd name="connsiteX19" fmla="*/ 788193 w 885825"/>
                  <a:gd name="connsiteY19" fmla="*/ 1071563 h 1909763"/>
                  <a:gd name="connsiteX20" fmla="*/ 804862 w 885825"/>
                  <a:gd name="connsiteY20" fmla="*/ 1123950 h 1909763"/>
                  <a:gd name="connsiteX21" fmla="*/ 814387 w 885825"/>
                  <a:gd name="connsiteY21" fmla="*/ 1183481 h 1909763"/>
                  <a:gd name="connsiteX22" fmla="*/ 840581 w 885825"/>
                  <a:gd name="connsiteY22" fmla="*/ 1238250 h 1909763"/>
                  <a:gd name="connsiteX23" fmla="*/ 881062 w 885825"/>
                  <a:gd name="connsiteY23" fmla="*/ 1314450 h 1909763"/>
                  <a:gd name="connsiteX24" fmla="*/ 885825 w 885825"/>
                  <a:gd name="connsiteY24" fmla="*/ 1343025 h 1909763"/>
                  <a:gd name="connsiteX25" fmla="*/ 866775 w 885825"/>
                  <a:gd name="connsiteY25" fmla="*/ 1376363 h 1909763"/>
                  <a:gd name="connsiteX26" fmla="*/ 833437 w 885825"/>
                  <a:gd name="connsiteY26" fmla="*/ 1397794 h 1909763"/>
                  <a:gd name="connsiteX27" fmla="*/ 783431 w 885825"/>
                  <a:gd name="connsiteY27" fmla="*/ 1395413 h 1909763"/>
                  <a:gd name="connsiteX28" fmla="*/ 728662 w 885825"/>
                  <a:gd name="connsiteY28" fmla="*/ 1397794 h 1909763"/>
                  <a:gd name="connsiteX29" fmla="*/ 700087 w 885825"/>
                  <a:gd name="connsiteY29" fmla="*/ 1414463 h 1909763"/>
                  <a:gd name="connsiteX30" fmla="*/ 669131 w 885825"/>
                  <a:gd name="connsiteY30" fmla="*/ 1447800 h 1909763"/>
                  <a:gd name="connsiteX31" fmla="*/ 669131 w 885825"/>
                  <a:gd name="connsiteY31" fmla="*/ 1485900 h 1909763"/>
                  <a:gd name="connsiteX32" fmla="*/ 673893 w 885825"/>
                  <a:gd name="connsiteY32" fmla="*/ 1514475 h 1909763"/>
                  <a:gd name="connsiteX33" fmla="*/ 681037 w 885825"/>
                  <a:gd name="connsiteY33" fmla="*/ 1543050 h 1909763"/>
                  <a:gd name="connsiteX34" fmla="*/ 707231 w 885825"/>
                  <a:gd name="connsiteY34" fmla="*/ 1578769 h 1909763"/>
                  <a:gd name="connsiteX35" fmla="*/ 721518 w 885825"/>
                  <a:gd name="connsiteY35" fmla="*/ 1609725 h 1909763"/>
                  <a:gd name="connsiteX36" fmla="*/ 747712 w 885825"/>
                  <a:gd name="connsiteY36" fmla="*/ 1664494 h 1909763"/>
                  <a:gd name="connsiteX37" fmla="*/ 733425 w 885825"/>
                  <a:gd name="connsiteY37" fmla="*/ 1707356 h 1909763"/>
                  <a:gd name="connsiteX38" fmla="*/ 704850 w 885825"/>
                  <a:gd name="connsiteY38" fmla="*/ 1764506 h 1909763"/>
                  <a:gd name="connsiteX39" fmla="*/ 678656 w 885825"/>
                  <a:gd name="connsiteY39" fmla="*/ 1845469 h 1909763"/>
                  <a:gd name="connsiteX40" fmla="*/ 676275 w 885825"/>
                  <a:gd name="connsiteY40" fmla="*/ 1883569 h 1909763"/>
                  <a:gd name="connsiteX41" fmla="*/ 681037 w 885825"/>
                  <a:gd name="connsiteY41" fmla="*/ 1905000 h 1909763"/>
                  <a:gd name="connsiteX42" fmla="*/ 676275 w 885825"/>
                  <a:gd name="connsiteY42" fmla="*/ 1909763 h 1909763"/>
                  <a:gd name="connsiteX0" fmla="*/ 0 w 885825"/>
                  <a:gd name="connsiteY0" fmla="*/ 0 h 1909763"/>
                  <a:gd name="connsiteX1" fmla="*/ 119062 w 885825"/>
                  <a:gd name="connsiteY1" fmla="*/ 26194 h 1909763"/>
                  <a:gd name="connsiteX2" fmla="*/ 228600 w 885825"/>
                  <a:gd name="connsiteY2" fmla="*/ 57150 h 1909763"/>
                  <a:gd name="connsiteX3" fmla="*/ 323850 w 885825"/>
                  <a:gd name="connsiteY3" fmla="*/ 83344 h 1909763"/>
                  <a:gd name="connsiteX4" fmla="*/ 409575 w 885825"/>
                  <a:gd name="connsiteY4" fmla="*/ 116681 h 1909763"/>
                  <a:gd name="connsiteX5" fmla="*/ 502443 w 885825"/>
                  <a:gd name="connsiteY5" fmla="*/ 159544 h 1909763"/>
                  <a:gd name="connsiteX6" fmla="*/ 557212 w 885825"/>
                  <a:gd name="connsiteY6" fmla="*/ 192881 h 1909763"/>
                  <a:gd name="connsiteX7" fmla="*/ 621506 w 885825"/>
                  <a:gd name="connsiteY7" fmla="*/ 252413 h 1909763"/>
                  <a:gd name="connsiteX8" fmla="*/ 678656 w 885825"/>
                  <a:gd name="connsiteY8" fmla="*/ 314325 h 1909763"/>
                  <a:gd name="connsiteX9" fmla="*/ 709612 w 885825"/>
                  <a:gd name="connsiteY9" fmla="*/ 369094 h 1909763"/>
                  <a:gd name="connsiteX10" fmla="*/ 735806 w 885825"/>
                  <a:gd name="connsiteY10" fmla="*/ 431006 h 1909763"/>
                  <a:gd name="connsiteX11" fmla="*/ 762000 w 885825"/>
                  <a:gd name="connsiteY11" fmla="*/ 519113 h 1909763"/>
                  <a:gd name="connsiteX12" fmla="*/ 766762 w 885825"/>
                  <a:gd name="connsiteY12" fmla="*/ 614363 h 1909763"/>
                  <a:gd name="connsiteX13" fmla="*/ 776287 w 885825"/>
                  <a:gd name="connsiteY13" fmla="*/ 700088 h 1909763"/>
                  <a:gd name="connsiteX14" fmla="*/ 766762 w 885825"/>
                  <a:gd name="connsiteY14" fmla="*/ 778669 h 1909763"/>
                  <a:gd name="connsiteX15" fmla="*/ 762000 w 885825"/>
                  <a:gd name="connsiteY15" fmla="*/ 835819 h 1909763"/>
                  <a:gd name="connsiteX16" fmla="*/ 762000 w 885825"/>
                  <a:gd name="connsiteY16" fmla="*/ 892969 h 1909763"/>
                  <a:gd name="connsiteX17" fmla="*/ 762000 w 885825"/>
                  <a:gd name="connsiteY17" fmla="*/ 892969 h 1909763"/>
                  <a:gd name="connsiteX18" fmla="*/ 773906 w 885825"/>
                  <a:gd name="connsiteY18" fmla="*/ 985838 h 1909763"/>
                  <a:gd name="connsiteX19" fmla="*/ 788193 w 885825"/>
                  <a:gd name="connsiteY19" fmla="*/ 1071563 h 1909763"/>
                  <a:gd name="connsiteX20" fmla="*/ 804862 w 885825"/>
                  <a:gd name="connsiteY20" fmla="*/ 1123950 h 1909763"/>
                  <a:gd name="connsiteX21" fmla="*/ 814387 w 885825"/>
                  <a:gd name="connsiteY21" fmla="*/ 1183481 h 1909763"/>
                  <a:gd name="connsiteX22" fmla="*/ 840581 w 885825"/>
                  <a:gd name="connsiteY22" fmla="*/ 1238250 h 1909763"/>
                  <a:gd name="connsiteX23" fmla="*/ 881062 w 885825"/>
                  <a:gd name="connsiteY23" fmla="*/ 1314450 h 1909763"/>
                  <a:gd name="connsiteX24" fmla="*/ 885825 w 885825"/>
                  <a:gd name="connsiteY24" fmla="*/ 1343025 h 1909763"/>
                  <a:gd name="connsiteX25" fmla="*/ 866775 w 885825"/>
                  <a:gd name="connsiteY25" fmla="*/ 1376363 h 1909763"/>
                  <a:gd name="connsiteX26" fmla="*/ 833437 w 885825"/>
                  <a:gd name="connsiteY26" fmla="*/ 1397794 h 1909763"/>
                  <a:gd name="connsiteX27" fmla="*/ 783431 w 885825"/>
                  <a:gd name="connsiteY27" fmla="*/ 1395413 h 1909763"/>
                  <a:gd name="connsiteX28" fmla="*/ 728662 w 885825"/>
                  <a:gd name="connsiteY28" fmla="*/ 1397794 h 1909763"/>
                  <a:gd name="connsiteX29" fmla="*/ 700087 w 885825"/>
                  <a:gd name="connsiteY29" fmla="*/ 1414463 h 1909763"/>
                  <a:gd name="connsiteX30" fmla="*/ 669131 w 885825"/>
                  <a:gd name="connsiteY30" fmla="*/ 1447800 h 1909763"/>
                  <a:gd name="connsiteX31" fmla="*/ 669131 w 885825"/>
                  <a:gd name="connsiteY31" fmla="*/ 1485900 h 1909763"/>
                  <a:gd name="connsiteX32" fmla="*/ 673893 w 885825"/>
                  <a:gd name="connsiteY32" fmla="*/ 1514475 h 1909763"/>
                  <a:gd name="connsiteX33" fmla="*/ 681037 w 885825"/>
                  <a:gd name="connsiteY33" fmla="*/ 1543050 h 1909763"/>
                  <a:gd name="connsiteX34" fmla="*/ 707231 w 885825"/>
                  <a:gd name="connsiteY34" fmla="*/ 1578769 h 1909763"/>
                  <a:gd name="connsiteX35" fmla="*/ 721518 w 885825"/>
                  <a:gd name="connsiteY35" fmla="*/ 1609725 h 1909763"/>
                  <a:gd name="connsiteX36" fmla="*/ 747712 w 885825"/>
                  <a:gd name="connsiteY36" fmla="*/ 1664494 h 1909763"/>
                  <a:gd name="connsiteX37" fmla="*/ 733425 w 885825"/>
                  <a:gd name="connsiteY37" fmla="*/ 1707356 h 1909763"/>
                  <a:gd name="connsiteX38" fmla="*/ 704850 w 885825"/>
                  <a:gd name="connsiteY38" fmla="*/ 1764506 h 1909763"/>
                  <a:gd name="connsiteX39" fmla="*/ 678656 w 885825"/>
                  <a:gd name="connsiteY39" fmla="*/ 1845469 h 1909763"/>
                  <a:gd name="connsiteX40" fmla="*/ 676275 w 885825"/>
                  <a:gd name="connsiteY40" fmla="*/ 1883569 h 1909763"/>
                  <a:gd name="connsiteX41" fmla="*/ 681037 w 885825"/>
                  <a:gd name="connsiteY41" fmla="*/ 1905000 h 1909763"/>
                  <a:gd name="connsiteX42" fmla="*/ 676275 w 885825"/>
                  <a:gd name="connsiteY42" fmla="*/ 1909763 h 1909763"/>
                  <a:gd name="connsiteX0" fmla="*/ 0 w 885825"/>
                  <a:gd name="connsiteY0" fmla="*/ 0 h 1909763"/>
                  <a:gd name="connsiteX1" fmla="*/ 119062 w 885825"/>
                  <a:gd name="connsiteY1" fmla="*/ 26194 h 1909763"/>
                  <a:gd name="connsiteX2" fmla="*/ 228600 w 885825"/>
                  <a:gd name="connsiteY2" fmla="*/ 57150 h 1909763"/>
                  <a:gd name="connsiteX3" fmla="*/ 323850 w 885825"/>
                  <a:gd name="connsiteY3" fmla="*/ 83344 h 1909763"/>
                  <a:gd name="connsiteX4" fmla="*/ 409575 w 885825"/>
                  <a:gd name="connsiteY4" fmla="*/ 116681 h 1909763"/>
                  <a:gd name="connsiteX5" fmla="*/ 502443 w 885825"/>
                  <a:gd name="connsiteY5" fmla="*/ 159544 h 1909763"/>
                  <a:gd name="connsiteX6" fmla="*/ 557212 w 885825"/>
                  <a:gd name="connsiteY6" fmla="*/ 192881 h 1909763"/>
                  <a:gd name="connsiteX7" fmla="*/ 621506 w 885825"/>
                  <a:gd name="connsiteY7" fmla="*/ 252413 h 1909763"/>
                  <a:gd name="connsiteX8" fmla="*/ 678656 w 885825"/>
                  <a:gd name="connsiteY8" fmla="*/ 314325 h 1909763"/>
                  <a:gd name="connsiteX9" fmla="*/ 709612 w 885825"/>
                  <a:gd name="connsiteY9" fmla="*/ 369094 h 1909763"/>
                  <a:gd name="connsiteX10" fmla="*/ 735806 w 885825"/>
                  <a:gd name="connsiteY10" fmla="*/ 431006 h 1909763"/>
                  <a:gd name="connsiteX11" fmla="*/ 762000 w 885825"/>
                  <a:gd name="connsiteY11" fmla="*/ 519113 h 1909763"/>
                  <a:gd name="connsiteX12" fmla="*/ 766762 w 885825"/>
                  <a:gd name="connsiteY12" fmla="*/ 614363 h 1909763"/>
                  <a:gd name="connsiteX13" fmla="*/ 764381 w 885825"/>
                  <a:gd name="connsiteY13" fmla="*/ 716757 h 1909763"/>
                  <a:gd name="connsiteX14" fmla="*/ 766762 w 885825"/>
                  <a:gd name="connsiteY14" fmla="*/ 778669 h 1909763"/>
                  <a:gd name="connsiteX15" fmla="*/ 762000 w 885825"/>
                  <a:gd name="connsiteY15" fmla="*/ 835819 h 1909763"/>
                  <a:gd name="connsiteX16" fmla="*/ 762000 w 885825"/>
                  <a:gd name="connsiteY16" fmla="*/ 892969 h 1909763"/>
                  <a:gd name="connsiteX17" fmla="*/ 762000 w 885825"/>
                  <a:gd name="connsiteY17" fmla="*/ 892969 h 1909763"/>
                  <a:gd name="connsiteX18" fmla="*/ 773906 w 885825"/>
                  <a:gd name="connsiteY18" fmla="*/ 985838 h 1909763"/>
                  <a:gd name="connsiteX19" fmla="*/ 788193 w 885825"/>
                  <a:gd name="connsiteY19" fmla="*/ 1071563 h 1909763"/>
                  <a:gd name="connsiteX20" fmla="*/ 804862 w 885825"/>
                  <a:gd name="connsiteY20" fmla="*/ 1123950 h 1909763"/>
                  <a:gd name="connsiteX21" fmla="*/ 814387 w 885825"/>
                  <a:gd name="connsiteY21" fmla="*/ 1183481 h 1909763"/>
                  <a:gd name="connsiteX22" fmla="*/ 840581 w 885825"/>
                  <a:gd name="connsiteY22" fmla="*/ 1238250 h 1909763"/>
                  <a:gd name="connsiteX23" fmla="*/ 881062 w 885825"/>
                  <a:gd name="connsiteY23" fmla="*/ 1314450 h 1909763"/>
                  <a:gd name="connsiteX24" fmla="*/ 885825 w 885825"/>
                  <a:gd name="connsiteY24" fmla="*/ 1343025 h 1909763"/>
                  <a:gd name="connsiteX25" fmla="*/ 866775 w 885825"/>
                  <a:gd name="connsiteY25" fmla="*/ 1376363 h 1909763"/>
                  <a:gd name="connsiteX26" fmla="*/ 833437 w 885825"/>
                  <a:gd name="connsiteY26" fmla="*/ 1397794 h 1909763"/>
                  <a:gd name="connsiteX27" fmla="*/ 783431 w 885825"/>
                  <a:gd name="connsiteY27" fmla="*/ 1395413 h 1909763"/>
                  <a:gd name="connsiteX28" fmla="*/ 728662 w 885825"/>
                  <a:gd name="connsiteY28" fmla="*/ 1397794 h 1909763"/>
                  <a:gd name="connsiteX29" fmla="*/ 700087 w 885825"/>
                  <a:gd name="connsiteY29" fmla="*/ 1414463 h 1909763"/>
                  <a:gd name="connsiteX30" fmla="*/ 669131 w 885825"/>
                  <a:gd name="connsiteY30" fmla="*/ 1447800 h 1909763"/>
                  <a:gd name="connsiteX31" fmla="*/ 669131 w 885825"/>
                  <a:gd name="connsiteY31" fmla="*/ 1485900 h 1909763"/>
                  <a:gd name="connsiteX32" fmla="*/ 673893 w 885825"/>
                  <a:gd name="connsiteY32" fmla="*/ 1514475 h 1909763"/>
                  <a:gd name="connsiteX33" fmla="*/ 681037 w 885825"/>
                  <a:gd name="connsiteY33" fmla="*/ 1543050 h 1909763"/>
                  <a:gd name="connsiteX34" fmla="*/ 707231 w 885825"/>
                  <a:gd name="connsiteY34" fmla="*/ 1578769 h 1909763"/>
                  <a:gd name="connsiteX35" fmla="*/ 721518 w 885825"/>
                  <a:gd name="connsiteY35" fmla="*/ 1609725 h 1909763"/>
                  <a:gd name="connsiteX36" fmla="*/ 747712 w 885825"/>
                  <a:gd name="connsiteY36" fmla="*/ 1664494 h 1909763"/>
                  <a:gd name="connsiteX37" fmla="*/ 733425 w 885825"/>
                  <a:gd name="connsiteY37" fmla="*/ 1707356 h 1909763"/>
                  <a:gd name="connsiteX38" fmla="*/ 704850 w 885825"/>
                  <a:gd name="connsiteY38" fmla="*/ 1764506 h 1909763"/>
                  <a:gd name="connsiteX39" fmla="*/ 678656 w 885825"/>
                  <a:gd name="connsiteY39" fmla="*/ 1845469 h 1909763"/>
                  <a:gd name="connsiteX40" fmla="*/ 676275 w 885825"/>
                  <a:gd name="connsiteY40" fmla="*/ 1883569 h 1909763"/>
                  <a:gd name="connsiteX41" fmla="*/ 681037 w 885825"/>
                  <a:gd name="connsiteY41" fmla="*/ 1905000 h 1909763"/>
                  <a:gd name="connsiteX42" fmla="*/ 676275 w 885825"/>
                  <a:gd name="connsiteY42" fmla="*/ 1909763 h 1909763"/>
                  <a:gd name="connsiteX0" fmla="*/ 0 w 885825"/>
                  <a:gd name="connsiteY0" fmla="*/ 0 h 1909763"/>
                  <a:gd name="connsiteX1" fmla="*/ 119062 w 885825"/>
                  <a:gd name="connsiteY1" fmla="*/ 26194 h 1909763"/>
                  <a:gd name="connsiteX2" fmla="*/ 228600 w 885825"/>
                  <a:gd name="connsiteY2" fmla="*/ 57150 h 1909763"/>
                  <a:gd name="connsiteX3" fmla="*/ 323850 w 885825"/>
                  <a:gd name="connsiteY3" fmla="*/ 83344 h 1909763"/>
                  <a:gd name="connsiteX4" fmla="*/ 409575 w 885825"/>
                  <a:gd name="connsiteY4" fmla="*/ 116681 h 1909763"/>
                  <a:gd name="connsiteX5" fmla="*/ 502443 w 885825"/>
                  <a:gd name="connsiteY5" fmla="*/ 159544 h 1909763"/>
                  <a:gd name="connsiteX6" fmla="*/ 557212 w 885825"/>
                  <a:gd name="connsiteY6" fmla="*/ 192881 h 1909763"/>
                  <a:gd name="connsiteX7" fmla="*/ 621506 w 885825"/>
                  <a:gd name="connsiteY7" fmla="*/ 252413 h 1909763"/>
                  <a:gd name="connsiteX8" fmla="*/ 678656 w 885825"/>
                  <a:gd name="connsiteY8" fmla="*/ 314325 h 1909763"/>
                  <a:gd name="connsiteX9" fmla="*/ 709612 w 885825"/>
                  <a:gd name="connsiteY9" fmla="*/ 369094 h 1909763"/>
                  <a:gd name="connsiteX10" fmla="*/ 735806 w 885825"/>
                  <a:gd name="connsiteY10" fmla="*/ 431006 h 1909763"/>
                  <a:gd name="connsiteX11" fmla="*/ 762000 w 885825"/>
                  <a:gd name="connsiteY11" fmla="*/ 519113 h 1909763"/>
                  <a:gd name="connsiteX12" fmla="*/ 766762 w 885825"/>
                  <a:gd name="connsiteY12" fmla="*/ 614363 h 1909763"/>
                  <a:gd name="connsiteX13" fmla="*/ 764381 w 885825"/>
                  <a:gd name="connsiteY13" fmla="*/ 716757 h 1909763"/>
                  <a:gd name="connsiteX14" fmla="*/ 766762 w 885825"/>
                  <a:gd name="connsiteY14" fmla="*/ 778669 h 1909763"/>
                  <a:gd name="connsiteX15" fmla="*/ 762000 w 885825"/>
                  <a:gd name="connsiteY15" fmla="*/ 835819 h 1909763"/>
                  <a:gd name="connsiteX16" fmla="*/ 762000 w 885825"/>
                  <a:gd name="connsiteY16" fmla="*/ 892969 h 1909763"/>
                  <a:gd name="connsiteX17" fmla="*/ 762000 w 885825"/>
                  <a:gd name="connsiteY17" fmla="*/ 892969 h 1909763"/>
                  <a:gd name="connsiteX18" fmla="*/ 773906 w 885825"/>
                  <a:gd name="connsiteY18" fmla="*/ 985838 h 1909763"/>
                  <a:gd name="connsiteX19" fmla="*/ 788193 w 885825"/>
                  <a:gd name="connsiteY19" fmla="*/ 1071563 h 1909763"/>
                  <a:gd name="connsiteX20" fmla="*/ 797718 w 885825"/>
                  <a:gd name="connsiteY20" fmla="*/ 1131093 h 1909763"/>
                  <a:gd name="connsiteX21" fmla="*/ 814387 w 885825"/>
                  <a:gd name="connsiteY21" fmla="*/ 1183481 h 1909763"/>
                  <a:gd name="connsiteX22" fmla="*/ 840581 w 885825"/>
                  <a:gd name="connsiteY22" fmla="*/ 1238250 h 1909763"/>
                  <a:gd name="connsiteX23" fmla="*/ 881062 w 885825"/>
                  <a:gd name="connsiteY23" fmla="*/ 1314450 h 1909763"/>
                  <a:gd name="connsiteX24" fmla="*/ 885825 w 885825"/>
                  <a:gd name="connsiteY24" fmla="*/ 1343025 h 1909763"/>
                  <a:gd name="connsiteX25" fmla="*/ 866775 w 885825"/>
                  <a:gd name="connsiteY25" fmla="*/ 1376363 h 1909763"/>
                  <a:gd name="connsiteX26" fmla="*/ 833437 w 885825"/>
                  <a:gd name="connsiteY26" fmla="*/ 1397794 h 1909763"/>
                  <a:gd name="connsiteX27" fmla="*/ 783431 w 885825"/>
                  <a:gd name="connsiteY27" fmla="*/ 1395413 h 1909763"/>
                  <a:gd name="connsiteX28" fmla="*/ 728662 w 885825"/>
                  <a:gd name="connsiteY28" fmla="*/ 1397794 h 1909763"/>
                  <a:gd name="connsiteX29" fmla="*/ 700087 w 885825"/>
                  <a:gd name="connsiteY29" fmla="*/ 1414463 h 1909763"/>
                  <a:gd name="connsiteX30" fmla="*/ 669131 w 885825"/>
                  <a:gd name="connsiteY30" fmla="*/ 1447800 h 1909763"/>
                  <a:gd name="connsiteX31" fmla="*/ 669131 w 885825"/>
                  <a:gd name="connsiteY31" fmla="*/ 1485900 h 1909763"/>
                  <a:gd name="connsiteX32" fmla="*/ 673893 w 885825"/>
                  <a:gd name="connsiteY32" fmla="*/ 1514475 h 1909763"/>
                  <a:gd name="connsiteX33" fmla="*/ 681037 w 885825"/>
                  <a:gd name="connsiteY33" fmla="*/ 1543050 h 1909763"/>
                  <a:gd name="connsiteX34" fmla="*/ 707231 w 885825"/>
                  <a:gd name="connsiteY34" fmla="*/ 1578769 h 1909763"/>
                  <a:gd name="connsiteX35" fmla="*/ 721518 w 885825"/>
                  <a:gd name="connsiteY35" fmla="*/ 1609725 h 1909763"/>
                  <a:gd name="connsiteX36" fmla="*/ 747712 w 885825"/>
                  <a:gd name="connsiteY36" fmla="*/ 1664494 h 1909763"/>
                  <a:gd name="connsiteX37" fmla="*/ 733425 w 885825"/>
                  <a:gd name="connsiteY37" fmla="*/ 1707356 h 1909763"/>
                  <a:gd name="connsiteX38" fmla="*/ 704850 w 885825"/>
                  <a:gd name="connsiteY38" fmla="*/ 1764506 h 1909763"/>
                  <a:gd name="connsiteX39" fmla="*/ 678656 w 885825"/>
                  <a:gd name="connsiteY39" fmla="*/ 1845469 h 1909763"/>
                  <a:gd name="connsiteX40" fmla="*/ 676275 w 885825"/>
                  <a:gd name="connsiteY40" fmla="*/ 1883569 h 1909763"/>
                  <a:gd name="connsiteX41" fmla="*/ 681037 w 885825"/>
                  <a:gd name="connsiteY41" fmla="*/ 1905000 h 1909763"/>
                  <a:gd name="connsiteX42" fmla="*/ 676275 w 885825"/>
                  <a:gd name="connsiteY42" fmla="*/ 1909763 h 1909763"/>
                  <a:gd name="connsiteX0" fmla="*/ 0 w 885825"/>
                  <a:gd name="connsiteY0" fmla="*/ 0 h 1909763"/>
                  <a:gd name="connsiteX1" fmla="*/ 119062 w 885825"/>
                  <a:gd name="connsiteY1" fmla="*/ 26194 h 1909763"/>
                  <a:gd name="connsiteX2" fmla="*/ 228600 w 885825"/>
                  <a:gd name="connsiteY2" fmla="*/ 57150 h 1909763"/>
                  <a:gd name="connsiteX3" fmla="*/ 323850 w 885825"/>
                  <a:gd name="connsiteY3" fmla="*/ 83344 h 1909763"/>
                  <a:gd name="connsiteX4" fmla="*/ 409575 w 885825"/>
                  <a:gd name="connsiteY4" fmla="*/ 116681 h 1909763"/>
                  <a:gd name="connsiteX5" fmla="*/ 502443 w 885825"/>
                  <a:gd name="connsiteY5" fmla="*/ 159544 h 1909763"/>
                  <a:gd name="connsiteX6" fmla="*/ 557212 w 885825"/>
                  <a:gd name="connsiteY6" fmla="*/ 192881 h 1909763"/>
                  <a:gd name="connsiteX7" fmla="*/ 621506 w 885825"/>
                  <a:gd name="connsiteY7" fmla="*/ 252413 h 1909763"/>
                  <a:gd name="connsiteX8" fmla="*/ 678656 w 885825"/>
                  <a:gd name="connsiteY8" fmla="*/ 314325 h 1909763"/>
                  <a:gd name="connsiteX9" fmla="*/ 709612 w 885825"/>
                  <a:gd name="connsiteY9" fmla="*/ 369094 h 1909763"/>
                  <a:gd name="connsiteX10" fmla="*/ 735806 w 885825"/>
                  <a:gd name="connsiteY10" fmla="*/ 431006 h 1909763"/>
                  <a:gd name="connsiteX11" fmla="*/ 762000 w 885825"/>
                  <a:gd name="connsiteY11" fmla="*/ 519113 h 1909763"/>
                  <a:gd name="connsiteX12" fmla="*/ 766762 w 885825"/>
                  <a:gd name="connsiteY12" fmla="*/ 614363 h 1909763"/>
                  <a:gd name="connsiteX13" fmla="*/ 764381 w 885825"/>
                  <a:gd name="connsiteY13" fmla="*/ 716757 h 1909763"/>
                  <a:gd name="connsiteX14" fmla="*/ 766762 w 885825"/>
                  <a:gd name="connsiteY14" fmla="*/ 778669 h 1909763"/>
                  <a:gd name="connsiteX15" fmla="*/ 762000 w 885825"/>
                  <a:gd name="connsiteY15" fmla="*/ 835819 h 1909763"/>
                  <a:gd name="connsiteX16" fmla="*/ 762000 w 885825"/>
                  <a:gd name="connsiteY16" fmla="*/ 892969 h 1909763"/>
                  <a:gd name="connsiteX17" fmla="*/ 762000 w 885825"/>
                  <a:gd name="connsiteY17" fmla="*/ 892969 h 1909763"/>
                  <a:gd name="connsiteX18" fmla="*/ 773906 w 885825"/>
                  <a:gd name="connsiteY18" fmla="*/ 985838 h 1909763"/>
                  <a:gd name="connsiteX19" fmla="*/ 788193 w 885825"/>
                  <a:gd name="connsiteY19" fmla="*/ 1071563 h 1909763"/>
                  <a:gd name="connsiteX20" fmla="*/ 797718 w 885825"/>
                  <a:gd name="connsiteY20" fmla="*/ 1131093 h 1909763"/>
                  <a:gd name="connsiteX21" fmla="*/ 819149 w 885825"/>
                  <a:gd name="connsiteY21" fmla="*/ 1183481 h 1909763"/>
                  <a:gd name="connsiteX22" fmla="*/ 840581 w 885825"/>
                  <a:gd name="connsiteY22" fmla="*/ 1238250 h 1909763"/>
                  <a:gd name="connsiteX23" fmla="*/ 881062 w 885825"/>
                  <a:gd name="connsiteY23" fmla="*/ 1314450 h 1909763"/>
                  <a:gd name="connsiteX24" fmla="*/ 885825 w 885825"/>
                  <a:gd name="connsiteY24" fmla="*/ 1343025 h 1909763"/>
                  <a:gd name="connsiteX25" fmla="*/ 866775 w 885825"/>
                  <a:gd name="connsiteY25" fmla="*/ 1376363 h 1909763"/>
                  <a:gd name="connsiteX26" fmla="*/ 833437 w 885825"/>
                  <a:gd name="connsiteY26" fmla="*/ 1397794 h 1909763"/>
                  <a:gd name="connsiteX27" fmla="*/ 783431 w 885825"/>
                  <a:gd name="connsiteY27" fmla="*/ 1395413 h 1909763"/>
                  <a:gd name="connsiteX28" fmla="*/ 728662 w 885825"/>
                  <a:gd name="connsiteY28" fmla="*/ 1397794 h 1909763"/>
                  <a:gd name="connsiteX29" fmla="*/ 700087 w 885825"/>
                  <a:gd name="connsiteY29" fmla="*/ 1414463 h 1909763"/>
                  <a:gd name="connsiteX30" fmla="*/ 669131 w 885825"/>
                  <a:gd name="connsiteY30" fmla="*/ 1447800 h 1909763"/>
                  <a:gd name="connsiteX31" fmla="*/ 669131 w 885825"/>
                  <a:gd name="connsiteY31" fmla="*/ 1485900 h 1909763"/>
                  <a:gd name="connsiteX32" fmla="*/ 673893 w 885825"/>
                  <a:gd name="connsiteY32" fmla="*/ 1514475 h 1909763"/>
                  <a:gd name="connsiteX33" fmla="*/ 681037 w 885825"/>
                  <a:gd name="connsiteY33" fmla="*/ 1543050 h 1909763"/>
                  <a:gd name="connsiteX34" fmla="*/ 707231 w 885825"/>
                  <a:gd name="connsiteY34" fmla="*/ 1578769 h 1909763"/>
                  <a:gd name="connsiteX35" fmla="*/ 721518 w 885825"/>
                  <a:gd name="connsiteY35" fmla="*/ 1609725 h 1909763"/>
                  <a:gd name="connsiteX36" fmla="*/ 747712 w 885825"/>
                  <a:gd name="connsiteY36" fmla="*/ 1664494 h 1909763"/>
                  <a:gd name="connsiteX37" fmla="*/ 733425 w 885825"/>
                  <a:gd name="connsiteY37" fmla="*/ 1707356 h 1909763"/>
                  <a:gd name="connsiteX38" fmla="*/ 704850 w 885825"/>
                  <a:gd name="connsiteY38" fmla="*/ 1764506 h 1909763"/>
                  <a:gd name="connsiteX39" fmla="*/ 678656 w 885825"/>
                  <a:gd name="connsiteY39" fmla="*/ 1845469 h 1909763"/>
                  <a:gd name="connsiteX40" fmla="*/ 676275 w 885825"/>
                  <a:gd name="connsiteY40" fmla="*/ 1883569 h 1909763"/>
                  <a:gd name="connsiteX41" fmla="*/ 681037 w 885825"/>
                  <a:gd name="connsiteY41" fmla="*/ 1905000 h 1909763"/>
                  <a:gd name="connsiteX42" fmla="*/ 676275 w 885825"/>
                  <a:gd name="connsiteY42" fmla="*/ 1909763 h 1909763"/>
                  <a:gd name="connsiteX0" fmla="*/ 0 w 885825"/>
                  <a:gd name="connsiteY0" fmla="*/ 0 h 1909763"/>
                  <a:gd name="connsiteX1" fmla="*/ 119062 w 885825"/>
                  <a:gd name="connsiteY1" fmla="*/ 26194 h 1909763"/>
                  <a:gd name="connsiteX2" fmla="*/ 228600 w 885825"/>
                  <a:gd name="connsiteY2" fmla="*/ 57150 h 1909763"/>
                  <a:gd name="connsiteX3" fmla="*/ 323850 w 885825"/>
                  <a:gd name="connsiteY3" fmla="*/ 83344 h 1909763"/>
                  <a:gd name="connsiteX4" fmla="*/ 409575 w 885825"/>
                  <a:gd name="connsiteY4" fmla="*/ 116681 h 1909763"/>
                  <a:gd name="connsiteX5" fmla="*/ 502443 w 885825"/>
                  <a:gd name="connsiteY5" fmla="*/ 159544 h 1909763"/>
                  <a:gd name="connsiteX6" fmla="*/ 557212 w 885825"/>
                  <a:gd name="connsiteY6" fmla="*/ 192881 h 1909763"/>
                  <a:gd name="connsiteX7" fmla="*/ 621506 w 885825"/>
                  <a:gd name="connsiteY7" fmla="*/ 252413 h 1909763"/>
                  <a:gd name="connsiteX8" fmla="*/ 678656 w 885825"/>
                  <a:gd name="connsiteY8" fmla="*/ 314325 h 1909763"/>
                  <a:gd name="connsiteX9" fmla="*/ 709612 w 885825"/>
                  <a:gd name="connsiteY9" fmla="*/ 369094 h 1909763"/>
                  <a:gd name="connsiteX10" fmla="*/ 735806 w 885825"/>
                  <a:gd name="connsiteY10" fmla="*/ 431006 h 1909763"/>
                  <a:gd name="connsiteX11" fmla="*/ 762000 w 885825"/>
                  <a:gd name="connsiteY11" fmla="*/ 519113 h 1909763"/>
                  <a:gd name="connsiteX12" fmla="*/ 766762 w 885825"/>
                  <a:gd name="connsiteY12" fmla="*/ 614363 h 1909763"/>
                  <a:gd name="connsiteX13" fmla="*/ 764381 w 885825"/>
                  <a:gd name="connsiteY13" fmla="*/ 716757 h 1909763"/>
                  <a:gd name="connsiteX14" fmla="*/ 766762 w 885825"/>
                  <a:gd name="connsiteY14" fmla="*/ 778669 h 1909763"/>
                  <a:gd name="connsiteX15" fmla="*/ 762000 w 885825"/>
                  <a:gd name="connsiteY15" fmla="*/ 835819 h 1909763"/>
                  <a:gd name="connsiteX16" fmla="*/ 762000 w 885825"/>
                  <a:gd name="connsiteY16" fmla="*/ 892969 h 1909763"/>
                  <a:gd name="connsiteX17" fmla="*/ 762000 w 885825"/>
                  <a:gd name="connsiteY17" fmla="*/ 892969 h 1909763"/>
                  <a:gd name="connsiteX18" fmla="*/ 773906 w 885825"/>
                  <a:gd name="connsiteY18" fmla="*/ 985838 h 1909763"/>
                  <a:gd name="connsiteX19" fmla="*/ 788193 w 885825"/>
                  <a:gd name="connsiteY19" fmla="*/ 1071563 h 1909763"/>
                  <a:gd name="connsiteX20" fmla="*/ 797718 w 885825"/>
                  <a:gd name="connsiteY20" fmla="*/ 1131093 h 1909763"/>
                  <a:gd name="connsiteX21" fmla="*/ 819149 w 885825"/>
                  <a:gd name="connsiteY21" fmla="*/ 1183481 h 1909763"/>
                  <a:gd name="connsiteX22" fmla="*/ 840581 w 885825"/>
                  <a:gd name="connsiteY22" fmla="*/ 1238250 h 1909763"/>
                  <a:gd name="connsiteX23" fmla="*/ 881062 w 885825"/>
                  <a:gd name="connsiteY23" fmla="*/ 1314450 h 1909763"/>
                  <a:gd name="connsiteX24" fmla="*/ 885825 w 885825"/>
                  <a:gd name="connsiteY24" fmla="*/ 1343025 h 1909763"/>
                  <a:gd name="connsiteX25" fmla="*/ 866775 w 885825"/>
                  <a:gd name="connsiteY25" fmla="*/ 1376363 h 1909763"/>
                  <a:gd name="connsiteX26" fmla="*/ 833437 w 885825"/>
                  <a:gd name="connsiteY26" fmla="*/ 1397794 h 1909763"/>
                  <a:gd name="connsiteX27" fmla="*/ 783431 w 885825"/>
                  <a:gd name="connsiteY27" fmla="*/ 1395413 h 1909763"/>
                  <a:gd name="connsiteX28" fmla="*/ 728662 w 885825"/>
                  <a:gd name="connsiteY28" fmla="*/ 1397794 h 1909763"/>
                  <a:gd name="connsiteX29" fmla="*/ 700087 w 885825"/>
                  <a:gd name="connsiteY29" fmla="*/ 1414463 h 1909763"/>
                  <a:gd name="connsiteX30" fmla="*/ 669131 w 885825"/>
                  <a:gd name="connsiteY30" fmla="*/ 1447800 h 1909763"/>
                  <a:gd name="connsiteX31" fmla="*/ 669131 w 885825"/>
                  <a:gd name="connsiteY31" fmla="*/ 1485900 h 1909763"/>
                  <a:gd name="connsiteX32" fmla="*/ 673893 w 885825"/>
                  <a:gd name="connsiteY32" fmla="*/ 1514475 h 1909763"/>
                  <a:gd name="connsiteX33" fmla="*/ 681037 w 885825"/>
                  <a:gd name="connsiteY33" fmla="*/ 1543050 h 1909763"/>
                  <a:gd name="connsiteX34" fmla="*/ 707231 w 885825"/>
                  <a:gd name="connsiteY34" fmla="*/ 1578769 h 1909763"/>
                  <a:gd name="connsiteX35" fmla="*/ 721518 w 885825"/>
                  <a:gd name="connsiteY35" fmla="*/ 1609725 h 1909763"/>
                  <a:gd name="connsiteX36" fmla="*/ 747712 w 885825"/>
                  <a:gd name="connsiteY36" fmla="*/ 1664494 h 1909763"/>
                  <a:gd name="connsiteX37" fmla="*/ 733425 w 885825"/>
                  <a:gd name="connsiteY37" fmla="*/ 1707356 h 1909763"/>
                  <a:gd name="connsiteX38" fmla="*/ 704850 w 885825"/>
                  <a:gd name="connsiteY38" fmla="*/ 1764506 h 1909763"/>
                  <a:gd name="connsiteX39" fmla="*/ 678656 w 885825"/>
                  <a:gd name="connsiteY39" fmla="*/ 1845469 h 1909763"/>
                  <a:gd name="connsiteX40" fmla="*/ 676275 w 885825"/>
                  <a:gd name="connsiteY40" fmla="*/ 1883569 h 1909763"/>
                  <a:gd name="connsiteX41" fmla="*/ 681037 w 885825"/>
                  <a:gd name="connsiteY41" fmla="*/ 1905000 h 1909763"/>
                  <a:gd name="connsiteX42" fmla="*/ 676275 w 885825"/>
                  <a:gd name="connsiteY42" fmla="*/ 1909763 h 1909763"/>
                  <a:gd name="connsiteX0" fmla="*/ 0 w 885825"/>
                  <a:gd name="connsiteY0" fmla="*/ 0 h 1909763"/>
                  <a:gd name="connsiteX1" fmla="*/ 119062 w 885825"/>
                  <a:gd name="connsiteY1" fmla="*/ 26194 h 1909763"/>
                  <a:gd name="connsiteX2" fmla="*/ 228600 w 885825"/>
                  <a:gd name="connsiteY2" fmla="*/ 57150 h 1909763"/>
                  <a:gd name="connsiteX3" fmla="*/ 323850 w 885825"/>
                  <a:gd name="connsiteY3" fmla="*/ 83344 h 1909763"/>
                  <a:gd name="connsiteX4" fmla="*/ 409575 w 885825"/>
                  <a:gd name="connsiteY4" fmla="*/ 116681 h 1909763"/>
                  <a:gd name="connsiteX5" fmla="*/ 502443 w 885825"/>
                  <a:gd name="connsiteY5" fmla="*/ 159544 h 1909763"/>
                  <a:gd name="connsiteX6" fmla="*/ 557212 w 885825"/>
                  <a:gd name="connsiteY6" fmla="*/ 192881 h 1909763"/>
                  <a:gd name="connsiteX7" fmla="*/ 621506 w 885825"/>
                  <a:gd name="connsiteY7" fmla="*/ 252413 h 1909763"/>
                  <a:gd name="connsiteX8" fmla="*/ 678656 w 885825"/>
                  <a:gd name="connsiteY8" fmla="*/ 314325 h 1909763"/>
                  <a:gd name="connsiteX9" fmla="*/ 709612 w 885825"/>
                  <a:gd name="connsiteY9" fmla="*/ 369094 h 1909763"/>
                  <a:gd name="connsiteX10" fmla="*/ 735806 w 885825"/>
                  <a:gd name="connsiteY10" fmla="*/ 431006 h 1909763"/>
                  <a:gd name="connsiteX11" fmla="*/ 762000 w 885825"/>
                  <a:gd name="connsiteY11" fmla="*/ 519113 h 1909763"/>
                  <a:gd name="connsiteX12" fmla="*/ 766762 w 885825"/>
                  <a:gd name="connsiteY12" fmla="*/ 614363 h 1909763"/>
                  <a:gd name="connsiteX13" fmla="*/ 764381 w 885825"/>
                  <a:gd name="connsiteY13" fmla="*/ 716757 h 1909763"/>
                  <a:gd name="connsiteX14" fmla="*/ 766762 w 885825"/>
                  <a:gd name="connsiteY14" fmla="*/ 778669 h 1909763"/>
                  <a:gd name="connsiteX15" fmla="*/ 762000 w 885825"/>
                  <a:gd name="connsiteY15" fmla="*/ 835819 h 1909763"/>
                  <a:gd name="connsiteX16" fmla="*/ 762000 w 885825"/>
                  <a:gd name="connsiteY16" fmla="*/ 892969 h 1909763"/>
                  <a:gd name="connsiteX17" fmla="*/ 762000 w 885825"/>
                  <a:gd name="connsiteY17" fmla="*/ 892969 h 1909763"/>
                  <a:gd name="connsiteX18" fmla="*/ 773906 w 885825"/>
                  <a:gd name="connsiteY18" fmla="*/ 985838 h 1909763"/>
                  <a:gd name="connsiteX19" fmla="*/ 788193 w 885825"/>
                  <a:gd name="connsiteY19" fmla="*/ 1071563 h 1909763"/>
                  <a:gd name="connsiteX20" fmla="*/ 797718 w 885825"/>
                  <a:gd name="connsiteY20" fmla="*/ 1131093 h 1909763"/>
                  <a:gd name="connsiteX21" fmla="*/ 819149 w 885825"/>
                  <a:gd name="connsiteY21" fmla="*/ 1183481 h 1909763"/>
                  <a:gd name="connsiteX22" fmla="*/ 840581 w 885825"/>
                  <a:gd name="connsiteY22" fmla="*/ 1238250 h 1909763"/>
                  <a:gd name="connsiteX23" fmla="*/ 881062 w 885825"/>
                  <a:gd name="connsiteY23" fmla="*/ 1314450 h 1909763"/>
                  <a:gd name="connsiteX24" fmla="*/ 885825 w 885825"/>
                  <a:gd name="connsiteY24" fmla="*/ 1343025 h 1909763"/>
                  <a:gd name="connsiteX25" fmla="*/ 866775 w 885825"/>
                  <a:gd name="connsiteY25" fmla="*/ 1376363 h 1909763"/>
                  <a:gd name="connsiteX26" fmla="*/ 833437 w 885825"/>
                  <a:gd name="connsiteY26" fmla="*/ 1397794 h 1909763"/>
                  <a:gd name="connsiteX27" fmla="*/ 783431 w 885825"/>
                  <a:gd name="connsiteY27" fmla="*/ 1395413 h 1909763"/>
                  <a:gd name="connsiteX28" fmla="*/ 728662 w 885825"/>
                  <a:gd name="connsiteY28" fmla="*/ 1397794 h 1909763"/>
                  <a:gd name="connsiteX29" fmla="*/ 700087 w 885825"/>
                  <a:gd name="connsiteY29" fmla="*/ 1414463 h 1909763"/>
                  <a:gd name="connsiteX30" fmla="*/ 669131 w 885825"/>
                  <a:gd name="connsiteY30" fmla="*/ 1447800 h 1909763"/>
                  <a:gd name="connsiteX31" fmla="*/ 669131 w 885825"/>
                  <a:gd name="connsiteY31" fmla="*/ 1485900 h 1909763"/>
                  <a:gd name="connsiteX32" fmla="*/ 673893 w 885825"/>
                  <a:gd name="connsiteY32" fmla="*/ 1514475 h 1909763"/>
                  <a:gd name="connsiteX33" fmla="*/ 681037 w 885825"/>
                  <a:gd name="connsiteY33" fmla="*/ 1543050 h 1909763"/>
                  <a:gd name="connsiteX34" fmla="*/ 707231 w 885825"/>
                  <a:gd name="connsiteY34" fmla="*/ 1578769 h 1909763"/>
                  <a:gd name="connsiteX35" fmla="*/ 721518 w 885825"/>
                  <a:gd name="connsiteY35" fmla="*/ 1609725 h 1909763"/>
                  <a:gd name="connsiteX36" fmla="*/ 747712 w 885825"/>
                  <a:gd name="connsiteY36" fmla="*/ 1664494 h 1909763"/>
                  <a:gd name="connsiteX37" fmla="*/ 733425 w 885825"/>
                  <a:gd name="connsiteY37" fmla="*/ 1707356 h 1909763"/>
                  <a:gd name="connsiteX38" fmla="*/ 704850 w 885825"/>
                  <a:gd name="connsiteY38" fmla="*/ 1764506 h 1909763"/>
                  <a:gd name="connsiteX39" fmla="*/ 673894 w 885825"/>
                  <a:gd name="connsiteY39" fmla="*/ 1821657 h 1909763"/>
                  <a:gd name="connsiteX40" fmla="*/ 676275 w 885825"/>
                  <a:gd name="connsiteY40" fmla="*/ 1883569 h 1909763"/>
                  <a:gd name="connsiteX41" fmla="*/ 681037 w 885825"/>
                  <a:gd name="connsiteY41" fmla="*/ 1905000 h 1909763"/>
                  <a:gd name="connsiteX42" fmla="*/ 676275 w 885825"/>
                  <a:gd name="connsiteY42" fmla="*/ 1909763 h 1909763"/>
                  <a:gd name="connsiteX0" fmla="*/ 0 w 885825"/>
                  <a:gd name="connsiteY0" fmla="*/ 0 h 1909763"/>
                  <a:gd name="connsiteX1" fmla="*/ 119062 w 885825"/>
                  <a:gd name="connsiteY1" fmla="*/ 26194 h 1909763"/>
                  <a:gd name="connsiteX2" fmla="*/ 228600 w 885825"/>
                  <a:gd name="connsiteY2" fmla="*/ 57150 h 1909763"/>
                  <a:gd name="connsiteX3" fmla="*/ 323850 w 885825"/>
                  <a:gd name="connsiteY3" fmla="*/ 83344 h 1909763"/>
                  <a:gd name="connsiteX4" fmla="*/ 409575 w 885825"/>
                  <a:gd name="connsiteY4" fmla="*/ 116681 h 1909763"/>
                  <a:gd name="connsiteX5" fmla="*/ 502443 w 885825"/>
                  <a:gd name="connsiteY5" fmla="*/ 159544 h 1909763"/>
                  <a:gd name="connsiteX6" fmla="*/ 557212 w 885825"/>
                  <a:gd name="connsiteY6" fmla="*/ 192881 h 1909763"/>
                  <a:gd name="connsiteX7" fmla="*/ 621506 w 885825"/>
                  <a:gd name="connsiteY7" fmla="*/ 252413 h 1909763"/>
                  <a:gd name="connsiteX8" fmla="*/ 678656 w 885825"/>
                  <a:gd name="connsiteY8" fmla="*/ 314325 h 1909763"/>
                  <a:gd name="connsiteX9" fmla="*/ 709612 w 885825"/>
                  <a:gd name="connsiteY9" fmla="*/ 369094 h 1909763"/>
                  <a:gd name="connsiteX10" fmla="*/ 735806 w 885825"/>
                  <a:gd name="connsiteY10" fmla="*/ 431006 h 1909763"/>
                  <a:gd name="connsiteX11" fmla="*/ 762000 w 885825"/>
                  <a:gd name="connsiteY11" fmla="*/ 519113 h 1909763"/>
                  <a:gd name="connsiteX12" fmla="*/ 766762 w 885825"/>
                  <a:gd name="connsiteY12" fmla="*/ 614363 h 1909763"/>
                  <a:gd name="connsiteX13" fmla="*/ 764381 w 885825"/>
                  <a:gd name="connsiteY13" fmla="*/ 716757 h 1909763"/>
                  <a:gd name="connsiteX14" fmla="*/ 766762 w 885825"/>
                  <a:gd name="connsiteY14" fmla="*/ 778669 h 1909763"/>
                  <a:gd name="connsiteX15" fmla="*/ 762000 w 885825"/>
                  <a:gd name="connsiteY15" fmla="*/ 835819 h 1909763"/>
                  <a:gd name="connsiteX16" fmla="*/ 762000 w 885825"/>
                  <a:gd name="connsiteY16" fmla="*/ 892969 h 1909763"/>
                  <a:gd name="connsiteX17" fmla="*/ 762000 w 885825"/>
                  <a:gd name="connsiteY17" fmla="*/ 892969 h 1909763"/>
                  <a:gd name="connsiteX18" fmla="*/ 773906 w 885825"/>
                  <a:gd name="connsiteY18" fmla="*/ 985838 h 1909763"/>
                  <a:gd name="connsiteX19" fmla="*/ 788193 w 885825"/>
                  <a:gd name="connsiteY19" fmla="*/ 1071563 h 1909763"/>
                  <a:gd name="connsiteX20" fmla="*/ 797718 w 885825"/>
                  <a:gd name="connsiteY20" fmla="*/ 1131093 h 1909763"/>
                  <a:gd name="connsiteX21" fmla="*/ 819149 w 885825"/>
                  <a:gd name="connsiteY21" fmla="*/ 1183481 h 1909763"/>
                  <a:gd name="connsiteX22" fmla="*/ 840581 w 885825"/>
                  <a:gd name="connsiteY22" fmla="*/ 1238250 h 1909763"/>
                  <a:gd name="connsiteX23" fmla="*/ 881062 w 885825"/>
                  <a:gd name="connsiteY23" fmla="*/ 1314450 h 1909763"/>
                  <a:gd name="connsiteX24" fmla="*/ 885825 w 885825"/>
                  <a:gd name="connsiteY24" fmla="*/ 1343025 h 1909763"/>
                  <a:gd name="connsiteX25" fmla="*/ 866775 w 885825"/>
                  <a:gd name="connsiteY25" fmla="*/ 1376363 h 1909763"/>
                  <a:gd name="connsiteX26" fmla="*/ 833437 w 885825"/>
                  <a:gd name="connsiteY26" fmla="*/ 1397794 h 1909763"/>
                  <a:gd name="connsiteX27" fmla="*/ 783431 w 885825"/>
                  <a:gd name="connsiteY27" fmla="*/ 1395413 h 1909763"/>
                  <a:gd name="connsiteX28" fmla="*/ 728662 w 885825"/>
                  <a:gd name="connsiteY28" fmla="*/ 1397794 h 1909763"/>
                  <a:gd name="connsiteX29" fmla="*/ 700087 w 885825"/>
                  <a:gd name="connsiteY29" fmla="*/ 1414463 h 1909763"/>
                  <a:gd name="connsiteX30" fmla="*/ 669131 w 885825"/>
                  <a:gd name="connsiteY30" fmla="*/ 1447800 h 1909763"/>
                  <a:gd name="connsiteX31" fmla="*/ 669131 w 885825"/>
                  <a:gd name="connsiteY31" fmla="*/ 1485900 h 1909763"/>
                  <a:gd name="connsiteX32" fmla="*/ 673893 w 885825"/>
                  <a:gd name="connsiteY32" fmla="*/ 1514475 h 1909763"/>
                  <a:gd name="connsiteX33" fmla="*/ 681037 w 885825"/>
                  <a:gd name="connsiteY33" fmla="*/ 1543050 h 1909763"/>
                  <a:gd name="connsiteX34" fmla="*/ 707231 w 885825"/>
                  <a:gd name="connsiteY34" fmla="*/ 1578769 h 1909763"/>
                  <a:gd name="connsiteX35" fmla="*/ 721518 w 885825"/>
                  <a:gd name="connsiteY35" fmla="*/ 1609725 h 1909763"/>
                  <a:gd name="connsiteX36" fmla="*/ 747712 w 885825"/>
                  <a:gd name="connsiteY36" fmla="*/ 1664494 h 1909763"/>
                  <a:gd name="connsiteX37" fmla="*/ 733425 w 885825"/>
                  <a:gd name="connsiteY37" fmla="*/ 1707356 h 1909763"/>
                  <a:gd name="connsiteX38" fmla="*/ 704850 w 885825"/>
                  <a:gd name="connsiteY38" fmla="*/ 1764506 h 1909763"/>
                  <a:gd name="connsiteX39" fmla="*/ 673894 w 885825"/>
                  <a:gd name="connsiteY39" fmla="*/ 1821657 h 1909763"/>
                  <a:gd name="connsiteX40" fmla="*/ 676275 w 885825"/>
                  <a:gd name="connsiteY40" fmla="*/ 1883569 h 1909763"/>
                  <a:gd name="connsiteX41" fmla="*/ 681037 w 885825"/>
                  <a:gd name="connsiteY41" fmla="*/ 1905000 h 1909763"/>
                  <a:gd name="connsiteX42" fmla="*/ 676275 w 885825"/>
                  <a:gd name="connsiteY42" fmla="*/ 1909763 h 1909763"/>
                  <a:gd name="connsiteX0" fmla="*/ 0 w 885825"/>
                  <a:gd name="connsiteY0" fmla="*/ 0 h 1905000"/>
                  <a:gd name="connsiteX1" fmla="*/ 119062 w 885825"/>
                  <a:gd name="connsiteY1" fmla="*/ 26194 h 1905000"/>
                  <a:gd name="connsiteX2" fmla="*/ 228600 w 885825"/>
                  <a:gd name="connsiteY2" fmla="*/ 57150 h 1905000"/>
                  <a:gd name="connsiteX3" fmla="*/ 323850 w 885825"/>
                  <a:gd name="connsiteY3" fmla="*/ 83344 h 1905000"/>
                  <a:gd name="connsiteX4" fmla="*/ 409575 w 885825"/>
                  <a:gd name="connsiteY4" fmla="*/ 116681 h 1905000"/>
                  <a:gd name="connsiteX5" fmla="*/ 502443 w 885825"/>
                  <a:gd name="connsiteY5" fmla="*/ 159544 h 1905000"/>
                  <a:gd name="connsiteX6" fmla="*/ 557212 w 885825"/>
                  <a:gd name="connsiteY6" fmla="*/ 192881 h 1905000"/>
                  <a:gd name="connsiteX7" fmla="*/ 621506 w 885825"/>
                  <a:gd name="connsiteY7" fmla="*/ 252413 h 1905000"/>
                  <a:gd name="connsiteX8" fmla="*/ 678656 w 885825"/>
                  <a:gd name="connsiteY8" fmla="*/ 314325 h 1905000"/>
                  <a:gd name="connsiteX9" fmla="*/ 709612 w 885825"/>
                  <a:gd name="connsiteY9" fmla="*/ 369094 h 1905000"/>
                  <a:gd name="connsiteX10" fmla="*/ 735806 w 885825"/>
                  <a:gd name="connsiteY10" fmla="*/ 431006 h 1905000"/>
                  <a:gd name="connsiteX11" fmla="*/ 762000 w 885825"/>
                  <a:gd name="connsiteY11" fmla="*/ 519113 h 1905000"/>
                  <a:gd name="connsiteX12" fmla="*/ 766762 w 885825"/>
                  <a:gd name="connsiteY12" fmla="*/ 614363 h 1905000"/>
                  <a:gd name="connsiteX13" fmla="*/ 764381 w 885825"/>
                  <a:gd name="connsiteY13" fmla="*/ 716757 h 1905000"/>
                  <a:gd name="connsiteX14" fmla="*/ 766762 w 885825"/>
                  <a:gd name="connsiteY14" fmla="*/ 778669 h 1905000"/>
                  <a:gd name="connsiteX15" fmla="*/ 762000 w 885825"/>
                  <a:gd name="connsiteY15" fmla="*/ 835819 h 1905000"/>
                  <a:gd name="connsiteX16" fmla="*/ 762000 w 885825"/>
                  <a:gd name="connsiteY16" fmla="*/ 892969 h 1905000"/>
                  <a:gd name="connsiteX17" fmla="*/ 762000 w 885825"/>
                  <a:gd name="connsiteY17" fmla="*/ 892969 h 1905000"/>
                  <a:gd name="connsiteX18" fmla="*/ 773906 w 885825"/>
                  <a:gd name="connsiteY18" fmla="*/ 985838 h 1905000"/>
                  <a:gd name="connsiteX19" fmla="*/ 788193 w 885825"/>
                  <a:gd name="connsiteY19" fmla="*/ 1071563 h 1905000"/>
                  <a:gd name="connsiteX20" fmla="*/ 797718 w 885825"/>
                  <a:gd name="connsiteY20" fmla="*/ 1131093 h 1905000"/>
                  <a:gd name="connsiteX21" fmla="*/ 819149 w 885825"/>
                  <a:gd name="connsiteY21" fmla="*/ 1183481 h 1905000"/>
                  <a:gd name="connsiteX22" fmla="*/ 840581 w 885825"/>
                  <a:gd name="connsiteY22" fmla="*/ 1238250 h 1905000"/>
                  <a:gd name="connsiteX23" fmla="*/ 881062 w 885825"/>
                  <a:gd name="connsiteY23" fmla="*/ 1314450 h 1905000"/>
                  <a:gd name="connsiteX24" fmla="*/ 885825 w 885825"/>
                  <a:gd name="connsiteY24" fmla="*/ 1343025 h 1905000"/>
                  <a:gd name="connsiteX25" fmla="*/ 866775 w 885825"/>
                  <a:gd name="connsiteY25" fmla="*/ 1376363 h 1905000"/>
                  <a:gd name="connsiteX26" fmla="*/ 833437 w 885825"/>
                  <a:gd name="connsiteY26" fmla="*/ 1397794 h 1905000"/>
                  <a:gd name="connsiteX27" fmla="*/ 783431 w 885825"/>
                  <a:gd name="connsiteY27" fmla="*/ 1395413 h 1905000"/>
                  <a:gd name="connsiteX28" fmla="*/ 728662 w 885825"/>
                  <a:gd name="connsiteY28" fmla="*/ 1397794 h 1905000"/>
                  <a:gd name="connsiteX29" fmla="*/ 700087 w 885825"/>
                  <a:gd name="connsiteY29" fmla="*/ 1414463 h 1905000"/>
                  <a:gd name="connsiteX30" fmla="*/ 669131 w 885825"/>
                  <a:gd name="connsiteY30" fmla="*/ 1447800 h 1905000"/>
                  <a:gd name="connsiteX31" fmla="*/ 669131 w 885825"/>
                  <a:gd name="connsiteY31" fmla="*/ 1485900 h 1905000"/>
                  <a:gd name="connsiteX32" fmla="*/ 673893 w 885825"/>
                  <a:gd name="connsiteY32" fmla="*/ 1514475 h 1905000"/>
                  <a:gd name="connsiteX33" fmla="*/ 681037 w 885825"/>
                  <a:gd name="connsiteY33" fmla="*/ 1543050 h 1905000"/>
                  <a:gd name="connsiteX34" fmla="*/ 707231 w 885825"/>
                  <a:gd name="connsiteY34" fmla="*/ 1578769 h 1905000"/>
                  <a:gd name="connsiteX35" fmla="*/ 721518 w 885825"/>
                  <a:gd name="connsiteY35" fmla="*/ 1609725 h 1905000"/>
                  <a:gd name="connsiteX36" fmla="*/ 747712 w 885825"/>
                  <a:gd name="connsiteY36" fmla="*/ 1664494 h 1905000"/>
                  <a:gd name="connsiteX37" fmla="*/ 733425 w 885825"/>
                  <a:gd name="connsiteY37" fmla="*/ 1707356 h 1905000"/>
                  <a:gd name="connsiteX38" fmla="*/ 704850 w 885825"/>
                  <a:gd name="connsiteY38" fmla="*/ 1764506 h 1905000"/>
                  <a:gd name="connsiteX39" fmla="*/ 673894 w 885825"/>
                  <a:gd name="connsiteY39" fmla="*/ 1821657 h 1905000"/>
                  <a:gd name="connsiteX40" fmla="*/ 676275 w 885825"/>
                  <a:gd name="connsiteY40" fmla="*/ 1883569 h 1905000"/>
                  <a:gd name="connsiteX41" fmla="*/ 681037 w 885825"/>
                  <a:gd name="connsiteY41" fmla="*/ 1905000 h 1905000"/>
                  <a:gd name="connsiteX0" fmla="*/ 0 w 885825"/>
                  <a:gd name="connsiteY0" fmla="*/ 0 h 1905000"/>
                  <a:gd name="connsiteX1" fmla="*/ 119062 w 885825"/>
                  <a:gd name="connsiteY1" fmla="*/ 26194 h 1905000"/>
                  <a:gd name="connsiteX2" fmla="*/ 228600 w 885825"/>
                  <a:gd name="connsiteY2" fmla="*/ 57150 h 1905000"/>
                  <a:gd name="connsiteX3" fmla="*/ 323850 w 885825"/>
                  <a:gd name="connsiteY3" fmla="*/ 83344 h 1905000"/>
                  <a:gd name="connsiteX4" fmla="*/ 409575 w 885825"/>
                  <a:gd name="connsiteY4" fmla="*/ 116681 h 1905000"/>
                  <a:gd name="connsiteX5" fmla="*/ 502443 w 885825"/>
                  <a:gd name="connsiteY5" fmla="*/ 159544 h 1905000"/>
                  <a:gd name="connsiteX6" fmla="*/ 557212 w 885825"/>
                  <a:gd name="connsiteY6" fmla="*/ 192881 h 1905000"/>
                  <a:gd name="connsiteX7" fmla="*/ 621506 w 885825"/>
                  <a:gd name="connsiteY7" fmla="*/ 252413 h 1905000"/>
                  <a:gd name="connsiteX8" fmla="*/ 678656 w 885825"/>
                  <a:gd name="connsiteY8" fmla="*/ 314325 h 1905000"/>
                  <a:gd name="connsiteX9" fmla="*/ 709612 w 885825"/>
                  <a:gd name="connsiteY9" fmla="*/ 369094 h 1905000"/>
                  <a:gd name="connsiteX10" fmla="*/ 735806 w 885825"/>
                  <a:gd name="connsiteY10" fmla="*/ 431006 h 1905000"/>
                  <a:gd name="connsiteX11" fmla="*/ 762000 w 885825"/>
                  <a:gd name="connsiteY11" fmla="*/ 519113 h 1905000"/>
                  <a:gd name="connsiteX12" fmla="*/ 766762 w 885825"/>
                  <a:gd name="connsiteY12" fmla="*/ 614363 h 1905000"/>
                  <a:gd name="connsiteX13" fmla="*/ 764381 w 885825"/>
                  <a:gd name="connsiteY13" fmla="*/ 716757 h 1905000"/>
                  <a:gd name="connsiteX14" fmla="*/ 762000 w 885825"/>
                  <a:gd name="connsiteY14" fmla="*/ 781051 h 1905000"/>
                  <a:gd name="connsiteX15" fmla="*/ 762000 w 885825"/>
                  <a:gd name="connsiteY15" fmla="*/ 835819 h 1905000"/>
                  <a:gd name="connsiteX16" fmla="*/ 762000 w 885825"/>
                  <a:gd name="connsiteY16" fmla="*/ 892969 h 1905000"/>
                  <a:gd name="connsiteX17" fmla="*/ 762000 w 885825"/>
                  <a:gd name="connsiteY17" fmla="*/ 892969 h 1905000"/>
                  <a:gd name="connsiteX18" fmla="*/ 773906 w 885825"/>
                  <a:gd name="connsiteY18" fmla="*/ 985838 h 1905000"/>
                  <a:gd name="connsiteX19" fmla="*/ 788193 w 885825"/>
                  <a:gd name="connsiteY19" fmla="*/ 1071563 h 1905000"/>
                  <a:gd name="connsiteX20" fmla="*/ 797718 w 885825"/>
                  <a:gd name="connsiteY20" fmla="*/ 1131093 h 1905000"/>
                  <a:gd name="connsiteX21" fmla="*/ 819149 w 885825"/>
                  <a:gd name="connsiteY21" fmla="*/ 1183481 h 1905000"/>
                  <a:gd name="connsiteX22" fmla="*/ 840581 w 885825"/>
                  <a:gd name="connsiteY22" fmla="*/ 1238250 h 1905000"/>
                  <a:gd name="connsiteX23" fmla="*/ 881062 w 885825"/>
                  <a:gd name="connsiteY23" fmla="*/ 1314450 h 1905000"/>
                  <a:gd name="connsiteX24" fmla="*/ 885825 w 885825"/>
                  <a:gd name="connsiteY24" fmla="*/ 1343025 h 1905000"/>
                  <a:gd name="connsiteX25" fmla="*/ 866775 w 885825"/>
                  <a:gd name="connsiteY25" fmla="*/ 1376363 h 1905000"/>
                  <a:gd name="connsiteX26" fmla="*/ 833437 w 885825"/>
                  <a:gd name="connsiteY26" fmla="*/ 1397794 h 1905000"/>
                  <a:gd name="connsiteX27" fmla="*/ 783431 w 885825"/>
                  <a:gd name="connsiteY27" fmla="*/ 1395413 h 1905000"/>
                  <a:gd name="connsiteX28" fmla="*/ 728662 w 885825"/>
                  <a:gd name="connsiteY28" fmla="*/ 1397794 h 1905000"/>
                  <a:gd name="connsiteX29" fmla="*/ 700087 w 885825"/>
                  <a:gd name="connsiteY29" fmla="*/ 1414463 h 1905000"/>
                  <a:gd name="connsiteX30" fmla="*/ 669131 w 885825"/>
                  <a:gd name="connsiteY30" fmla="*/ 1447800 h 1905000"/>
                  <a:gd name="connsiteX31" fmla="*/ 669131 w 885825"/>
                  <a:gd name="connsiteY31" fmla="*/ 1485900 h 1905000"/>
                  <a:gd name="connsiteX32" fmla="*/ 673893 w 885825"/>
                  <a:gd name="connsiteY32" fmla="*/ 1514475 h 1905000"/>
                  <a:gd name="connsiteX33" fmla="*/ 681037 w 885825"/>
                  <a:gd name="connsiteY33" fmla="*/ 1543050 h 1905000"/>
                  <a:gd name="connsiteX34" fmla="*/ 707231 w 885825"/>
                  <a:gd name="connsiteY34" fmla="*/ 1578769 h 1905000"/>
                  <a:gd name="connsiteX35" fmla="*/ 721518 w 885825"/>
                  <a:gd name="connsiteY35" fmla="*/ 1609725 h 1905000"/>
                  <a:gd name="connsiteX36" fmla="*/ 747712 w 885825"/>
                  <a:gd name="connsiteY36" fmla="*/ 1664494 h 1905000"/>
                  <a:gd name="connsiteX37" fmla="*/ 733425 w 885825"/>
                  <a:gd name="connsiteY37" fmla="*/ 1707356 h 1905000"/>
                  <a:gd name="connsiteX38" fmla="*/ 704850 w 885825"/>
                  <a:gd name="connsiteY38" fmla="*/ 1764506 h 1905000"/>
                  <a:gd name="connsiteX39" fmla="*/ 673894 w 885825"/>
                  <a:gd name="connsiteY39" fmla="*/ 1821657 h 1905000"/>
                  <a:gd name="connsiteX40" fmla="*/ 676275 w 885825"/>
                  <a:gd name="connsiteY40" fmla="*/ 1883569 h 1905000"/>
                  <a:gd name="connsiteX41" fmla="*/ 681037 w 885825"/>
                  <a:gd name="connsiteY41" fmla="*/ 1905000 h 1905000"/>
                  <a:gd name="connsiteX0" fmla="*/ 0 w 885825"/>
                  <a:gd name="connsiteY0" fmla="*/ 0 h 1905000"/>
                  <a:gd name="connsiteX1" fmla="*/ 119062 w 885825"/>
                  <a:gd name="connsiteY1" fmla="*/ 26194 h 1905000"/>
                  <a:gd name="connsiteX2" fmla="*/ 228600 w 885825"/>
                  <a:gd name="connsiteY2" fmla="*/ 57150 h 1905000"/>
                  <a:gd name="connsiteX3" fmla="*/ 323850 w 885825"/>
                  <a:gd name="connsiteY3" fmla="*/ 83344 h 1905000"/>
                  <a:gd name="connsiteX4" fmla="*/ 409575 w 885825"/>
                  <a:gd name="connsiteY4" fmla="*/ 116681 h 1905000"/>
                  <a:gd name="connsiteX5" fmla="*/ 502443 w 885825"/>
                  <a:gd name="connsiteY5" fmla="*/ 159544 h 1905000"/>
                  <a:gd name="connsiteX6" fmla="*/ 557212 w 885825"/>
                  <a:gd name="connsiteY6" fmla="*/ 192881 h 1905000"/>
                  <a:gd name="connsiteX7" fmla="*/ 621506 w 885825"/>
                  <a:gd name="connsiteY7" fmla="*/ 252413 h 1905000"/>
                  <a:gd name="connsiteX8" fmla="*/ 678656 w 885825"/>
                  <a:gd name="connsiteY8" fmla="*/ 314325 h 1905000"/>
                  <a:gd name="connsiteX9" fmla="*/ 709612 w 885825"/>
                  <a:gd name="connsiteY9" fmla="*/ 369094 h 1905000"/>
                  <a:gd name="connsiteX10" fmla="*/ 735806 w 885825"/>
                  <a:gd name="connsiteY10" fmla="*/ 431006 h 1905000"/>
                  <a:gd name="connsiteX11" fmla="*/ 762000 w 885825"/>
                  <a:gd name="connsiteY11" fmla="*/ 519113 h 1905000"/>
                  <a:gd name="connsiteX12" fmla="*/ 766762 w 885825"/>
                  <a:gd name="connsiteY12" fmla="*/ 614363 h 1905000"/>
                  <a:gd name="connsiteX13" fmla="*/ 764381 w 885825"/>
                  <a:gd name="connsiteY13" fmla="*/ 716757 h 1905000"/>
                  <a:gd name="connsiteX14" fmla="*/ 762000 w 885825"/>
                  <a:gd name="connsiteY14" fmla="*/ 781051 h 1905000"/>
                  <a:gd name="connsiteX15" fmla="*/ 762000 w 885825"/>
                  <a:gd name="connsiteY15" fmla="*/ 835819 h 1905000"/>
                  <a:gd name="connsiteX16" fmla="*/ 762000 w 885825"/>
                  <a:gd name="connsiteY16" fmla="*/ 892969 h 1905000"/>
                  <a:gd name="connsiteX17" fmla="*/ 762000 w 885825"/>
                  <a:gd name="connsiteY17" fmla="*/ 892969 h 1905000"/>
                  <a:gd name="connsiteX18" fmla="*/ 773906 w 885825"/>
                  <a:gd name="connsiteY18" fmla="*/ 985838 h 1905000"/>
                  <a:gd name="connsiteX19" fmla="*/ 788193 w 885825"/>
                  <a:gd name="connsiteY19" fmla="*/ 1071563 h 1905000"/>
                  <a:gd name="connsiteX20" fmla="*/ 797718 w 885825"/>
                  <a:gd name="connsiteY20" fmla="*/ 1131093 h 1905000"/>
                  <a:gd name="connsiteX21" fmla="*/ 819149 w 885825"/>
                  <a:gd name="connsiteY21" fmla="*/ 1183481 h 1905000"/>
                  <a:gd name="connsiteX22" fmla="*/ 840581 w 885825"/>
                  <a:gd name="connsiteY22" fmla="*/ 1238250 h 1905000"/>
                  <a:gd name="connsiteX23" fmla="*/ 881062 w 885825"/>
                  <a:gd name="connsiteY23" fmla="*/ 1314450 h 1905000"/>
                  <a:gd name="connsiteX24" fmla="*/ 885825 w 885825"/>
                  <a:gd name="connsiteY24" fmla="*/ 1343025 h 1905000"/>
                  <a:gd name="connsiteX25" fmla="*/ 866775 w 885825"/>
                  <a:gd name="connsiteY25" fmla="*/ 1376363 h 1905000"/>
                  <a:gd name="connsiteX26" fmla="*/ 833437 w 885825"/>
                  <a:gd name="connsiteY26" fmla="*/ 1397794 h 1905000"/>
                  <a:gd name="connsiteX27" fmla="*/ 783431 w 885825"/>
                  <a:gd name="connsiteY27" fmla="*/ 1395413 h 1905000"/>
                  <a:gd name="connsiteX28" fmla="*/ 728662 w 885825"/>
                  <a:gd name="connsiteY28" fmla="*/ 1397794 h 1905000"/>
                  <a:gd name="connsiteX29" fmla="*/ 700087 w 885825"/>
                  <a:gd name="connsiteY29" fmla="*/ 1414463 h 1905000"/>
                  <a:gd name="connsiteX30" fmla="*/ 669131 w 885825"/>
                  <a:gd name="connsiteY30" fmla="*/ 1447800 h 1905000"/>
                  <a:gd name="connsiteX31" fmla="*/ 669131 w 885825"/>
                  <a:gd name="connsiteY31" fmla="*/ 1485900 h 1905000"/>
                  <a:gd name="connsiteX32" fmla="*/ 673893 w 885825"/>
                  <a:gd name="connsiteY32" fmla="*/ 1514475 h 1905000"/>
                  <a:gd name="connsiteX33" fmla="*/ 681037 w 885825"/>
                  <a:gd name="connsiteY33" fmla="*/ 1543050 h 1905000"/>
                  <a:gd name="connsiteX34" fmla="*/ 707231 w 885825"/>
                  <a:gd name="connsiteY34" fmla="*/ 1578769 h 1905000"/>
                  <a:gd name="connsiteX35" fmla="*/ 721518 w 885825"/>
                  <a:gd name="connsiteY35" fmla="*/ 1609725 h 1905000"/>
                  <a:gd name="connsiteX36" fmla="*/ 747712 w 885825"/>
                  <a:gd name="connsiteY36" fmla="*/ 1664494 h 1905000"/>
                  <a:gd name="connsiteX37" fmla="*/ 733425 w 885825"/>
                  <a:gd name="connsiteY37" fmla="*/ 1707356 h 1905000"/>
                  <a:gd name="connsiteX38" fmla="*/ 704850 w 885825"/>
                  <a:gd name="connsiteY38" fmla="*/ 1764506 h 1905000"/>
                  <a:gd name="connsiteX39" fmla="*/ 673894 w 885825"/>
                  <a:gd name="connsiteY39" fmla="*/ 1821657 h 1905000"/>
                  <a:gd name="connsiteX40" fmla="*/ 676275 w 885825"/>
                  <a:gd name="connsiteY40" fmla="*/ 1883569 h 1905000"/>
                  <a:gd name="connsiteX41" fmla="*/ 681037 w 885825"/>
                  <a:gd name="connsiteY41" fmla="*/ 1905000 h 1905000"/>
                  <a:gd name="connsiteX0" fmla="*/ 0 w 885825"/>
                  <a:gd name="connsiteY0" fmla="*/ 0 h 1905000"/>
                  <a:gd name="connsiteX1" fmla="*/ 119062 w 885825"/>
                  <a:gd name="connsiteY1" fmla="*/ 26194 h 1905000"/>
                  <a:gd name="connsiteX2" fmla="*/ 228600 w 885825"/>
                  <a:gd name="connsiteY2" fmla="*/ 57150 h 1905000"/>
                  <a:gd name="connsiteX3" fmla="*/ 323850 w 885825"/>
                  <a:gd name="connsiteY3" fmla="*/ 83344 h 1905000"/>
                  <a:gd name="connsiteX4" fmla="*/ 409575 w 885825"/>
                  <a:gd name="connsiteY4" fmla="*/ 116681 h 1905000"/>
                  <a:gd name="connsiteX5" fmla="*/ 502443 w 885825"/>
                  <a:gd name="connsiteY5" fmla="*/ 159544 h 1905000"/>
                  <a:gd name="connsiteX6" fmla="*/ 557212 w 885825"/>
                  <a:gd name="connsiteY6" fmla="*/ 192881 h 1905000"/>
                  <a:gd name="connsiteX7" fmla="*/ 621506 w 885825"/>
                  <a:gd name="connsiteY7" fmla="*/ 252413 h 1905000"/>
                  <a:gd name="connsiteX8" fmla="*/ 678656 w 885825"/>
                  <a:gd name="connsiteY8" fmla="*/ 314325 h 1905000"/>
                  <a:gd name="connsiteX9" fmla="*/ 709612 w 885825"/>
                  <a:gd name="connsiteY9" fmla="*/ 369094 h 1905000"/>
                  <a:gd name="connsiteX10" fmla="*/ 735806 w 885825"/>
                  <a:gd name="connsiteY10" fmla="*/ 431006 h 1905000"/>
                  <a:gd name="connsiteX11" fmla="*/ 762000 w 885825"/>
                  <a:gd name="connsiteY11" fmla="*/ 519113 h 1905000"/>
                  <a:gd name="connsiteX12" fmla="*/ 766762 w 885825"/>
                  <a:gd name="connsiteY12" fmla="*/ 614363 h 1905000"/>
                  <a:gd name="connsiteX13" fmla="*/ 764381 w 885825"/>
                  <a:gd name="connsiteY13" fmla="*/ 716757 h 1905000"/>
                  <a:gd name="connsiteX14" fmla="*/ 762000 w 885825"/>
                  <a:gd name="connsiteY14" fmla="*/ 781051 h 1905000"/>
                  <a:gd name="connsiteX15" fmla="*/ 762000 w 885825"/>
                  <a:gd name="connsiteY15" fmla="*/ 835819 h 1905000"/>
                  <a:gd name="connsiteX16" fmla="*/ 762000 w 885825"/>
                  <a:gd name="connsiteY16" fmla="*/ 892969 h 1905000"/>
                  <a:gd name="connsiteX17" fmla="*/ 762000 w 885825"/>
                  <a:gd name="connsiteY17" fmla="*/ 892969 h 1905000"/>
                  <a:gd name="connsiteX18" fmla="*/ 773906 w 885825"/>
                  <a:gd name="connsiteY18" fmla="*/ 985838 h 1905000"/>
                  <a:gd name="connsiteX19" fmla="*/ 788193 w 885825"/>
                  <a:gd name="connsiteY19" fmla="*/ 1071563 h 1905000"/>
                  <a:gd name="connsiteX20" fmla="*/ 797718 w 885825"/>
                  <a:gd name="connsiteY20" fmla="*/ 1131093 h 1905000"/>
                  <a:gd name="connsiteX21" fmla="*/ 819149 w 885825"/>
                  <a:gd name="connsiteY21" fmla="*/ 1183481 h 1905000"/>
                  <a:gd name="connsiteX22" fmla="*/ 840581 w 885825"/>
                  <a:gd name="connsiteY22" fmla="*/ 1238250 h 1905000"/>
                  <a:gd name="connsiteX23" fmla="*/ 881062 w 885825"/>
                  <a:gd name="connsiteY23" fmla="*/ 1314450 h 1905000"/>
                  <a:gd name="connsiteX24" fmla="*/ 885825 w 885825"/>
                  <a:gd name="connsiteY24" fmla="*/ 1343025 h 1905000"/>
                  <a:gd name="connsiteX25" fmla="*/ 866775 w 885825"/>
                  <a:gd name="connsiteY25" fmla="*/ 1376363 h 1905000"/>
                  <a:gd name="connsiteX26" fmla="*/ 833437 w 885825"/>
                  <a:gd name="connsiteY26" fmla="*/ 1397794 h 1905000"/>
                  <a:gd name="connsiteX27" fmla="*/ 783431 w 885825"/>
                  <a:gd name="connsiteY27" fmla="*/ 1395413 h 1905000"/>
                  <a:gd name="connsiteX28" fmla="*/ 728662 w 885825"/>
                  <a:gd name="connsiteY28" fmla="*/ 1397794 h 1905000"/>
                  <a:gd name="connsiteX29" fmla="*/ 700087 w 885825"/>
                  <a:gd name="connsiteY29" fmla="*/ 1414463 h 1905000"/>
                  <a:gd name="connsiteX30" fmla="*/ 669131 w 885825"/>
                  <a:gd name="connsiteY30" fmla="*/ 1447800 h 1905000"/>
                  <a:gd name="connsiteX31" fmla="*/ 669131 w 885825"/>
                  <a:gd name="connsiteY31" fmla="*/ 1485900 h 1905000"/>
                  <a:gd name="connsiteX32" fmla="*/ 673893 w 885825"/>
                  <a:gd name="connsiteY32" fmla="*/ 1514475 h 1905000"/>
                  <a:gd name="connsiteX33" fmla="*/ 681037 w 885825"/>
                  <a:gd name="connsiteY33" fmla="*/ 1543050 h 1905000"/>
                  <a:gd name="connsiteX34" fmla="*/ 707231 w 885825"/>
                  <a:gd name="connsiteY34" fmla="*/ 1578769 h 1905000"/>
                  <a:gd name="connsiteX35" fmla="*/ 721518 w 885825"/>
                  <a:gd name="connsiteY35" fmla="*/ 1609725 h 1905000"/>
                  <a:gd name="connsiteX36" fmla="*/ 747712 w 885825"/>
                  <a:gd name="connsiteY36" fmla="*/ 1664494 h 1905000"/>
                  <a:gd name="connsiteX37" fmla="*/ 733425 w 885825"/>
                  <a:gd name="connsiteY37" fmla="*/ 1707356 h 1905000"/>
                  <a:gd name="connsiteX38" fmla="*/ 704850 w 885825"/>
                  <a:gd name="connsiteY38" fmla="*/ 1764506 h 1905000"/>
                  <a:gd name="connsiteX39" fmla="*/ 673894 w 885825"/>
                  <a:gd name="connsiteY39" fmla="*/ 1821657 h 1905000"/>
                  <a:gd name="connsiteX40" fmla="*/ 676275 w 885825"/>
                  <a:gd name="connsiteY40" fmla="*/ 1883569 h 1905000"/>
                  <a:gd name="connsiteX41" fmla="*/ 681037 w 885825"/>
                  <a:gd name="connsiteY41" fmla="*/ 1905000 h 1905000"/>
                  <a:gd name="connsiteX0" fmla="*/ 0 w 885825"/>
                  <a:gd name="connsiteY0" fmla="*/ 0 h 1905000"/>
                  <a:gd name="connsiteX1" fmla="*/ 119062 w 885825"/>
                  <a:gd name="connsiteY1" fmla="*/ 26194 h 1905000"/>
                  <a:gd name="connsiteX2" fmla="*/ 228600 w 885825"/>
                  <a:gd name="connsiteY2" fmla="*/ 57150 h 1905000"/>
                  <a:gd name="connsiteX3" fmla="*/ 323850 w 885825"/>
                  <a:gd name="connsiteY3" fmla="*/ 83344 h 1905000"/>
                  <a:gd name="connsiteX4" fmla="*/ 409575 w 885825"/>
                  <a:gd name="connsiteY4" fmla="*/ 116681 h 1905000"/>
                  <a:gd name="connsiteX5" fmla="*/ 502443 w 885825"/>
                  <a:gd name="connsiteY5" fmla="*/ 159544 h 1905000"/>
                  <a:gd name="connsiteX6" fmla="*/ 557212 w 885825"/>
                  <a:gd name="connsiteY6" fmla="*/ 192881 h 1905000"/>
                  <a:gd name="connsiteX7" fmla="*/ 621506 w 885825"/>
                  <a:gd name="connsiteY7" fmla="*/ 252413 h 1905000"/>
                  <a:gd name="connsiteX8" fmla="*/ 678656 w 885825"/>
                  <a:gd name="connsiteY8" fmla="*/ 314325 h 1905000"/>
                  <a:gd name="connsiteX9" fmla="*/ 709612 w 885825"/>
                  <a:gd name="connsiteY9" fmla="*/ 369094 h 1905000"/>
                  <a:gd name="connsiteX10" fmla="*/ 735806 w 885825"/>
                  <a:gd name="connsiteY10" fmla="*/ 431006 h 1905000"/>
                  <a:gd name="connsiteX11" fmla="*/ 762000 w 885825"/>
                  <a:gd name="connsiteY11" fmla="*/ 519113 h 1905000"/>
                  <a:gd name="connsiteX12" fmla="*/ 766762 w 885825"/>
                  <a:gd name="connsiteY12" fmla="*/ 614363 h 1905000"/>
                  <a:gd name="connsiteX13" fmla="*/ 764381 w 885825"/>
                  <a:gd name="connsiteY13" fmla="*/ 716757 h 1905000"/>
                  <a:gd name="connsiteX14" fmla="*/ 762000 w 885825"/>
                  <a:gd name="connsiteY14" fmla="*/ 781051 h 1905000"/>
                  <a:gd name="connsiteX15" fmla="*/ 762000 w 885825"/>
                  <a:gd name="connsiteY15" fmla="*/ 835819 h 1905000"/>
                  <a:gd name="connsiteX16" fmla="*/ 762000 w 885825"/>
                  <a:gd name="connsiteY16" fmla="*/ 892969 h 1905000"/>
                  <a:gd name="connsiteX17" fmla="*/ 762000 w 885825"/>
                  <a:gd name="connsiteY17" fmla="*/ 892969 h 1905000"/>
                  <a:gd name="connsiteX18" fmla="*/ 773906 w 885825"/>
                  <a:gd name="connsiteY18" fmla="*/ 985838 h 1905000"/>
                  <a:gd name="connsiteX19" fmla="*/ 788193 w 885825"/>
                  <a:gd name="connsiteY19" fmla="*/ 1071563 h 1905000"/>
                  <a:gd name="connsiteX20" fmla="*/ 797718 w 885825"/>
                  <a:gd name="connsiteY20" fmla="*/ 1131093 h 1905000"/>
                  <a:gd name="connsiteX21" fmla="*/ 819149 w 885825"/>
                  <a:gd name="connsiteY21" fmla="*/ 1183481 h 1905000"/>
                  <a:gd name="connsiteX22" fmla="*/ 840581 w 885825"/>
                  <a:gd name="connsiteY22" fmla="*/ 1238250 h 1905000"/>
                  <a:gd name="connsiteX23" fmla="*/ 881062 w 885825"/>
                  <a:gd name="connsiteY23" fmla="*/ 1314450 h 1905000"/>
                  <a:gd name="connsiteX24" fmla="*/ 885825 w 885825"/>
                  <a:gd name="connsiteY24" fmla="*/ 1343025 h 1905000"/>
                  <a:gd name="connsiteX25" fmla="*/ 866775 w 885825"/>
                  <a:gd name="connsiteY25" fmla="*/ 1376363 h 1905000"/>
                  <a:gd name="connsiteX26" fmla="*/ 833437 w 885825"/>
                  <a:gd name="connsiteY26" fmla="*/ 1397794 h 1905000"/>
                  <a:gd name="connsiteX27" fmla="*/ 783431 w 885825"/>
                  <a:gd name="connsiteY27" fmla="*/ 1395413 h 1905000"/>
                  <a:gd name="connsiteX28" fmla="*/ 728662 w 885825"/>
                  <a:gd name="connsiteY28" fmla="*/ 1397794 h 1905000"/>
                  <a:gd name="connsiteX29" fmla="*/ 692944 w 885825"/>
                  <a:gd name="connsiteY29" fmla="*/ 1414463 h 1905000"/>
                  <a:gd name="connsiteX30" fmla="*/ 669131 w 885825"/>
                  <a:gd name="connsiteY30" fmla="*/ 1447800 h 1905000"/>
                  <a:gd name="connsiteX31" fmla="*/ 669131 w 885825"/>
                  <a:gd name="connsiteY31" fmla="*/ 1485900 h 1905000"/>
                  <a:gd name="connsiteX32" fmla="*/ 673893 w 885825"/>
                  <a:gd name="connsiteY32" fmla="*/ 1514475 h 1905000"/>
                  <a:gd name="connsiteX33" fmla="*/ 681037 w 885825"/>
                  <a:gd name="connsiteY33" fmla="*/ 1543050 h 1905000"/>
                  <a:gd name="connsiteX34" fmla="*/ 707231 w 885825"/>
                  <a:gd name="connsiteY34" fmla="*/ 1578769 h 1905000"/>
                  <a:gd name="connsiteX35" fmla="*/ 721518 w 885825"/>
                  <a:gd name="connsiteY35" fmla="*/ 1609725 h 1905000"/>
                  <a:gd name="connsiteX36" fmla="*/ 747712 w 885825"/>
                  <a:gd name="connsiteY36" fmla="*/ 1664494 h 1905000"/>
                  <a:gd name="connsiteX37" fmla="*/ 733425 w 885825"/>
                  <a:gd name="connsiteY37" fmla="*/ 1707356 h 1905000"/>
                  <a:gd name="connsiteX38" fmla="*/ 704850 w 885825"/>
                  <a:gd name="connsiteY38" fmla="*/ 1764506 h 1905000"/>
                  <a:gd name="connsiteX39" fmla="*/ 673894 w 885825"/>
                  <a:gd name="connsiteY39" fmla="*/ 1821657 h 1905000"/>
                  <a:gd name="connsiteX40" fmla="*/ 676275 w 885825"/>
                  <a:gd name="connsiteY40" fmla="*/ 1883569 h 1905000"/>
                  <a:gd name="connsiteX41" fmla="*/ 681037 w 885825"/>
                  <a:gd name="connsiteY41" fmla="*/ 1905000 h 1905000"/>
                  <a:gd name="connsiteX0" fmla="*/ 0 w 885825"/>
                  <a:gd name="connsiteY0" fmla="*/ 0 h 1905000"/>
                  <a:gd name="connsiteX1" fmla="*/ 119062 w 885825"/>
                  <a:gd name="connsiteY1" fmla="*/ 26194 h 1905000"/>
                  <a:gd name="connsiteX2" fmla="*/ 228600 w 885825"/>
                  <a:gd name="connsiteY2" fmla="*/ 57150 h 1905000"/>
                  <a:gd name="connsiteX3" fmla="*/ 323850 w 885825"/>
                  <a:gd name="connsiteY3" fmla="*/ 83344 h 1905000"/>
                  <a:gd name="connsiteX4" fmla="*/ 409575 w 885825"/>
                  <a:gd name="connsiteY4" fmla="*/ 116681 h 1905000"/>
                  <a:gd name="connsiteX5" fmla="*/ 502443 w 885825"/>
                  <a:gd name="connsiteY5" fmla="*/ 159544 h 1905000"/>
                  <a:gd name="connsiteX6" fmla="*/ 557212 w 885825"/>
                  <a:gd name="connsiteY6" fmla="*/ 192881 h 1905000"/>
                  <a:gd name="connsiteX7" fmla="*/ 621506 w 885825"/>
                  <a:gd name="connsiteY7" fmla="*/ 252413 h 1905000"/>
                  <a:gd name="connsiteX8" fmla="*/ 678656 w 885825"/>
                  <a:gd name="connsiteY8" fmla="*/ 314325 h 1905000"/>
                  <a:gd name="connsiteX9" fmla="*/ 709612 w 885825"/>
                  <a:gd name="connsiteY9" fmla="*/ 369094 h 1905000"/>
                  <a:gd name="connsiteX10" fmla="*/ 735806 w 885825"/>
                  <a:gd name="connsiteY10" fmla="*/ 431006 h 1905000"/>
                  <a:gd name="connsiteX11" fmla="*/ 762000 w 885825"/>
                  <a:gd name="connsiteY11" fmla="*/ 519113 h 1905000"/>
                  <a:gd name="connsiteX12" fmla="*/ 766762 w 885825"/>
                  <a:gd name="connsiteY12" fmla="*/ 614363 h 1905000"/>
                  <a:gd name="connsiteX13" fmla="*/ 764381 w 885825"/>
                  <a:gd name="connsiteY13" fmla="*/ 716757 h 1905000"/>
                  <a:gd name="connsiteX14" fmla="*/ 762000 w 885825"/>
                  <a:gd name="connsiteY14" fmla="*/ 781051 h 1905000"/>
                  <a:gd name="connsiteX15" fmla="*/ 762000 w 885825"/>
                  <a:gd name="connsiteY15" fmla="*/ 835819 h 1905000"/>
                  <a:gd name="connsiteX16" fmla="*/ 762000 w 885825"/>
                  <a:gd name="connsiteY16" fmla="*/ 892969 h 1905000"/>
                  <a:gd name="connsiteX17" fmla="*/ 762000 w 885825"/>
                  <a:gd name="connsiteY17" fmla="*/ 892969 h 1905000"/>
                  <a:gd name="connsiteX18" fmla="*/ 773906 w 885825"/>
                  <a:gd name="connsiteY18" fmla="*/ 985838 h 1905000"/>
                  <a:gd name="connsiteX19" fmla="*/ 788193 w 885825"/>
                  <a:gd name="connsiteY19" fmla="*/ 1071563 h 1905000"/>
                  <a:gd name="connsiteX20" fmla="*/ 797718 w 885825"/>
                  <a:gd name="connsiteY20" fmla="*/ 1131093 h 1905000"/>
                  <a:gd name="connsiteX21" fmla="*/ 819149 w 885825"/>
                  <a:gd name="connsiteY21" fmla="*/ 1183481 h 1905000"/>
                  <a:gd name="connsiteX22" fmla="*/ 840581 w 885825"/>
                  <a:gd name="connsiteY22" fmla="*/ 1238250 h 1905000"/>
                  <a:gd name="connsiteX23" fmla="*/ 881062 w 885825"/>
                  <a:gd name="connsiteY23" fmla="*/ 1314450 h 1905000"/>
                  <a:gd name="connsiteX24" fmla="*/ 885825 w 885825"/>
                  <a:gd name="connsiteY24" fmla="*/ 1343025 h 1905000"/>
                  <a:gd name="connsiteX25" fmla="*/ 866775 w 885825"/>
                  <a:gd name="connsiteY25" fmla="*/ 1376363 h 1905000"/>
                  <a:gd name="connsiteX26" fmla="*/ 833437 w 885825"/>
                  <a:gd name="connsiteY26" fmla="*/ 1397794 h 1905000"/>
                  <a:gd name="connsiteX27" fmla="*/ 783431 w 885825"/>
                  <a:gd name="connsiteY27" fmla="*/ 1395413 h 1905000"/>
                  <a:gd name="connsiteX28" fmla="*/ 728662 w 885825"/>
                  <a:gd name="connsiteY28" fmla="*/ 1397794 h 1905000"/>
                  <a:gd name="connsiteX29" fmla="*/ 692944 w 885825"/>
                  <a:gd name="connsiteY29" fmla="*/ 1414463 h 1905000"/>
                  <a:gd name="connsiteX30" fmla="*/ 669131 w 885825"/>
                  <a:gd name="connsiteY30" fmla="*/ 1447800 h 1905000"/>
                  <a:gd name="connsiteX31" fmla="*/ 669131 w 885825"/>
                  <a:gd name="connsiteY31" fmla="*/ 1485900 h 1905000"/>
                  <a:gd name="connsiteX32" fmla="*/ 673893 w 885825"/>
                  <a:gd name="connsiteY32" fmla="*/ 1514475 h 1905000"/>
                  <a:gd name="connsiteX33" fmla="*/ 681037 w 885825"/>
                  <a:gd name="connsiteY33" fmla="*/ 1543050 h 1905000"/>
                  <a:gd name="connsiteX34" fmla="*/ 707231 w 885825"/>
                  <a:gd name="connsiteY34" fmla="*/ 1578769 h 1905000"/>
                  <a:gd name="connsiteX35" fmla="*/ 721518 w 885825"/>
                  <a:gd name="connsiteY35" fmla="*/ 1609725 h 1905000"/>
                  <a:gd name="connsiteX36" fmla="*/ 747712 w 885825"/>
                  <a:gd name="connsiteY36" fmla="*/ 1664494 h 1905000"/>
                  <a:gd name="connsiteX37" fmla="*/ 733425 w 885825"/>
                  <a:gd name="connsiteY37" fmla="*/ 1707356 h 1905000"/>
                  <a:gd name="connsiteX38" fmla="*/ 704850 w 885825"/>
                  <a:gd name="connsiteY38" fmla="*/ 1764506 h 1905000"/>
                  <a:gd name="connsiteX39" fmla="*/ 673894 w 885825"/>
                  <a:gd name="connsiteY39" fmla="*/ 1821657 h 1905000"/>
                  <a:gd name="connsiteX40" fmla="*/ 676275 w 885825"/>
                  <a:gd name="connsiteY40" fmla="*/ 1883569 h 1905000"/>
                  <a:gd name="connsiteX41" fmla="*/ 681037 w 885825"/>
                  <a:gd name="connsiteY41" fmla="*/ 1905000 h 1905000"/>
                  <a:gd name="connsiteX0" fmla="*/ 0 w 887353"/>
                  <a:gd name="connsiteY0" fmla="*/ 0 h 1905000"/>
                  <a:gd name="connsiteX1" fmla="*/ 119062 w 887353"/>
                  <a:gd name="connsiteY1" fmla="*/ 26194 h 1905000"/>
                  <a:gd name="connsiteX2" fmla="*/ 228600 w 887353"/>
                  <a:gd name="connsiteY2" fmla="*/ 57150 h 1905000"/>
                  <a:gd name="connsiteX3" fmla="*/ 323850 w 887353"/>
                  <a:gd name="connsiteY3" fmla="*/ 83344 h 1905000"/>
                  <a:gd name="connsiteX4" fmla="*/ 409575 w 887353"/>
                  <a:gd name="connsiteY4" fmla="*/ 116681 h 1905000"/>
                  <a:gd name="connsiteX5" fmla="*/ 502443 w 887353"/>
                  <a:gd name="connsiteY5" fmla="*/ 159544 h 1905000"/>
                  <a:gd name="connsiteX6" fmla="*/ 557212 w 887353"/>
                  <a:gd name="connsiteY6" fmla="*/ 192881 h 1905000"/>
                  <a:gd name="connsiteX7" fmla="*/ 621506 w 887353"/>
                  <a:gd name="connsiteY7" fmla="*/ 252413 h 1905000"/>
                  <a:gd name="connsiteX8" fmla="*/ 678656 w 887353"/>
                  <a:gd name="connsiteY8" fmla="*/ 314325 h 1905000"/>
                  <a:gd name="connsiteX9" fmla="*/ 709612 w 887353"/>
                  <a:gd name="connsiteY9" fmla="*/ 369094 h 1905000"/>
                  <a:gd name="connsiteX10" fmla="*/ 735806 w 887353"/>
                  <a:gd name="connsiteY10" fmla="*/ 431006 h 1905000"/>
                  <a:gd name="connsiteX11" fmla="*/ 762000 w 887353"/>
                  <a:gd name="connsiteY11" fmla="*/ 519113 h 1905000"/>
                  <a:gd name="connsiteX12" fmla="*/ 766762 w 887353"/>
                  <a:gd name="connsiteY12" fmla="*/ 614363 h 1905000"/>
                  <a:gd name="connsiteX13" fmla="*/ 764381 w 887353"/>
                  <a:gd name="connsiteY13" fmla="*/ 716757 h 1905000"/>
                  <a:gd name="connsiteX14" fmla="*/ 762000 w 887353"/>
                  <a:gd name="connsiteY14" fmla="*/ 781051 h 1905000"/>
                  <a:gd name="connsiteX15" fmla="*/ 762000 w 887353"/>
                  <a:gd name="connsiteY15" fmla="*/ 835819 h 1905000"/>
                  <a:gd name="connsiteX16" fmla="*/ 762000 w 887353"/>
                  <a:gd name="connsiteY16" fmla="*/ 892969 h 1905000"/>
                  <a:gd name="connsiteX17" fmla="*/ 762000 w 887353"/>
                  <a:gd name="connsiteY17" fmla="*/ 892969 h 1905000"/>
                  <a:gd name="connsiteX18" fmla="*/ 773906 w 887353"/>
                  <a:gd name="connsiteY18" fmla="*/ 985838 h 1905000"/>
                  <a:gd name="connsiteX19" fmla="*/ 788193 w 887353"/>
                  <a:gd name="connsiteY19" fmla="*/ 1071563 h 1905000"/>
                  <a:gd name="connsiteX20" fmla="*/ 797718 w 887353"/>
                  <a:gd name="connsiteY20" fmla="*/ 1131093 h 1905000"/>
                  <a:gd name="connsiteX21" fmla="*/ 819149 w 887353"/>
                  <a:gd name="connsiteY21" fmla="*/ 1183481 h 1905000"/>
                  <a:gd name="connsiteX22" fmla="*/ 840581 w 887353"/>
                  <a:gd name="connsiteY22" fmla="*/ 1238250 h 1905000"/>
                  <a:gd name="connsiteX23" fmla="*/ 881062 w 887353"/>
                  <a:gd name="connsiteY23" fmla="*/ 1314450 h 1905000"/>
                  <a:gd name="connsiteX24" fmla="*/ 885825 w 887353"/>
                  <a:gd name="connsiteY24" fmla="*/ 1343025 h 1905000"/>
                  <a:gd name="connsiteX25" fmla="*/ 866775 w 887353"/>
                  <a:gd name="connsiteY25" fmla="*/ 1376363 h 1905000"/>
                  <a:gd name="connsiteX26" fmla="*/ 833437 w 887353"/>
                  <a:gd name="connsiteY26" fmla="*/ 1397794 h 1905000"/>
                  <a:gd name="connsiteX27" fmla="*/ 783431 w 887353"/>
                  <a:gd name="connsiteY27" fmla="*/ 1395413 h 1905000"/>
                  <a:gd name="connsiteX28" fmla="*/ 728662 w 887353"/>
                  <a:gd name="connsiteY28" fmla="*/ 1397794 h 1905000"/>
                  <a:gd name="connsiteX29" fmla="*/ 692944 w 887353"/>
                  <a:gd name="connsiteY29" fmla="*/ 1414463 h 1905000"/>
                  <a:gd name="connsiteX30" fmla="*/ 669131 w 887353"/>
                  <a:gd name="connsiteY30" fmla="*/ 1447800 h 1905000"/>
                  <a:gd name="connsiteX31" fmla="*/ 669131 w 887353"/>
                  <a:gd name="connsiteY31" fmla="*/ 1485900 h 1905000"/>
                  <a:gd name="connsiteX32" fmla="*/ 673893 w 887353"/>
                  <a:gd name="connsiteY32" fmla="*/ 1514475 h 1905000"/>
                  <a:gd name="connsiteX33" fmla="*/ 681037 w 887353"/>
                  <a:gd name="connsiteY33" fmla="*/ 1543050 h 1905000"/>
                  <a:gd name="connsiteX34" fmla="*/ 707231 w 887353"/>
                  <a:gd name="connsiteY34" fmla="*/ 1578769 h 1905000"/>
                  <a:gd name="connsiteX35" fmla="*/ 721518 w 887353"/>
                  <a:gd name="connsiteY35" fmla="*/ 1609725 h 1905000"/>
                  <a:gd name="connsiteX36" fmla="*/ 747712 w 887353"/>
                  <a:gd name="connsiteY36" fmla="*/ 1664494 h 1905000"/>
                  <a:gd name="connsiteX37" fmla="*/ 733425 w 887353"/>
                  <a:gd name="connsiteY37" fmla="*/ 1707356 h 1905000"/>
                  <a:gd name="connsiteX38" fmla="*/ 704850 w 887353"/>
                  <a:gd name="connsiteY38" fmla="*/ 1764506 h 1905000"/>
                  <a:gd name="connsiteX39" fmla="*/ 673894 w 887353"/>
                  <a:gd name="connsiteY39" fmla="*/ 1821657 h 1905000"/>
                  <a:gd name="connsiteX40" fmla="*/ 676275 w 887353"/>
                  <a:gd name="connsiteY40" fmla="*/ 1883569 h 1905000"/>
                  <a:gd name="connsiteX41" fmla="*/ 681037 w 887353"/>
                  <a:gd name="connsiteY41" fmla="*/ 1905000 h 1905000"/>
                  <a:gd name="connsiteX0" fmla="*/ 0 w 887353"/>
                  <a:gd name="connsiteY0" fmla="*/ 0 h 1905000"/>
                  <a:gd name="connsiteX1" fmla="*/ 119062 w 887353"/>
                  <a:gd name="connsiteY1" fmla="*/ 26194 h 1905000"/>
                  <a:gd name="connsiteX2" fmla="*/ 228600 w 887353"/>
                  <a:gd name="connsiteY2" fmla="*/ 57150 h 1905000"/>
                  <a:gd name="connsiteX3" fmla="*/ 323850 w 887353"/>
                  <a:gd name="connsiteY3" fmla="*/ 83344 h 1905000"/>
                  <a:gd name="connsiteX4" fmla="*/ 409575 w 887353"/>
                  <a:gd name="connsiteY4" fmla="*/ 116681 h 1905000"/>
                  <a:gd name="connsiteX5" fmla="*/ 502443 w 887353"/>
                  <a:gd name="connsiteY5" fmla="*/ 159544 h 1905000"/>
                  <a:gd name="connsiteX6" fmla="*/ 557212 w 887353"/>
                  <a:gd name="connsiteY6" fmla="*/ 192881 h 1905000"/>
                  <a:gd name="connsiteX7" fmla="*/ 621506 w 887353"/>
                  <a:gd name="connsiteY7" fmla="*/ 252413 h 1905000"/>
                  <a:gd name="connsiteX8" fmla="*/ 678656 w 887353"/>
                  <a:gd name="connsiteY8" fmla="*/ 314325 h 1905000"/>
                  <a:gd name="connsiteX9" fmla="*/ 709612 w 887353"/>
                  <a:gd name="connsiteY9" fmla="*/ 369094 h 1905000"/>
                  <a:gd name="connsiteX10" fmla="*/ 735806 w 887353"/>
                  <a:gd name="connsiteY10" fmla="*/ 431006 h 1905000"/>
                  <a:gd name="connsiteX11" fmla="*/ 762000 w 887353"/>
                  <a:gd name="connsiteY11" fmla="*/ 519113 h 1905000"/>
                  <a:gd name="connsiteX12" fmla="*/ 766762 w 887353"/>
                  <a:gd name="connsiteY12" fmla="*/ 614363 h 1905000"/>
                  <a:gd name="connsiteX13" fmla="*/ 764381 w 887353"/>
                  <a:gd name="connsiteY13" fmla="*/ 716757 h 1905000"/>
                  <a:gd name="connsiteX14" fmla="*/ 762000 w 887353"/>
                  <a:gd name="connsiteY14" fmla="*/ 781051 h 1905000"/>
                  <a:gd name="connsiteX15" fmla="*/ 762000 w 887353"/>
                  <a:gd name="connsiteY15" fmla="*/ 835819 h 1905000"/>
                  <a:gd name="connsiteX16" fmla="*/ 762000 w 887353"/>
                  <a:gd name="connsiteY16" fmla="*/ 892969 h 1905000"/>
                  <a:gd name="connsiteX17" fmla="*/ 762000 w 887353"/>
                  <a:gd name="connsiteY17" fmla="*/ 892969 h 1905000"/>
                  <a:gd name="connsiteX18" fmla="*/ 773906 w 887353"/>
                  <a:gd name="connsiteY18" fmla="*/ 985838 h 1905000"/>
                  <a:gd name="connsiteX19" fmla="*/ 788193 w 887353"/>
                  <a:gd name="connsiteY19" fmla="*/ 1071563 h 1905000"/>
                  <a:gd name="connsiteX20" fmla="*/ 797718 w 887353"/>
                  <a:gd name="connsiteY20" fmla="*/ 1131093 h 1905000"/>
                  <a:gd name="connsiteX21" fmla="*/ 819149 w 887353"/>
                  <a:gd name="connsiteY21" fmla="*/ 1183481 h 1905000"/>
                  <a:gd name="connsiteX22" fmla="*/ 840581 w 887353"/>
                  <a:gd name="connsiteY22" fmla="*/ 1238250 h 1905000"/>
                  <a:gd name="connsiteX23" fmla="*/ 881062 w 887353"/>
                  <a:gd name="connsiteY23" fmla="*/ 1314450 h 1905000"/>
                  <a:gd name="connsiteX24" fmla="*/ 885825 w 887353"/>
                  <a:gd name="connsiteY24" fmla="*/ 1343025 h 1905000"/>
                  <a:gd name="connsiteX25" fmla="*/ 866775 w 887353"/>
                  <a:gd name="connsiteY25" fmla="*/ 1376363 h 1905000"/>
                  <a:gd name="connsiteX26" fmla="*/ 833437 w 887353"/>
                  <a:gd name="connsiteY26" fmla="*/ 1397794 h 1905000"/>
                  <a:gd name="connsiteX27" fmla="*/ 783431 w 887353"/>
                  <a:gd name="connsiteY27" fmla="*/ 1395413 h 1905000"/>
                  <a:gd name="connsiteX28" fmla="*/ 728662 w 887353"/>
                  <a:gd name="connsiteY28" fmla="*/ 1397794 h 1905000"/>
                  <a:gd name="connsiteX29" fmla="*/ 692944 w 887353"/>
                  <a:gd name="connsiteY29" fmla="*/ 1414463 h 1905000"/>
                  <a:gd name="connsiteX30" fmla="*/ 669131 w 887353"/>
                  <a:gd name="connsiteY30" fmla="*/ 1447800 h 1905000"/>
                  <a:gd name="connsiteX31" fmla="*/ 669131 w 887353"/>
                  <a:gd name="connsiteY31" fmla="*/ 1485900 h 1905000"/>
                  <a:gd name="connsiteX32" fmla="*/ 673893 w 887353"/>
                  <a:gd name="connsiteY32" fmla="*/ 1514475 h 1905000"/>
                  <a:gd name="connsiteX33" fmla="*/ 681037 w 887353"/>
                  <a:gd name="connsiteY33" fmla="*/ 1543050 h 1905000"/>
                  <a:gd name="connsiteX34" fmla="*/ 707231 w 887353"/>
                  <a:gd name="connsiteY34" fmla="*/ 1578769 h 1905000"/>
                  <a:gd name="connsiteX35" fmla="*/ 721518 w 887353"/>
                  <a:gd name="connsiteY35" fmla="*/ 1609725 h 1905000"/>
                  <a:gd name="connsiteX36" fmla="*/ 747712 w 887353"/>
                  <a:gd name="connsiteY36" fmla="*/ 1664494 h 1905000"/>
                  <a:gd name="connsiteX37" fmla="*/ 733425 w 887353"/>
                  <a:gd name="connsiteY37" fmla="*/ 1707356 h 1905000"/>
                  <a:gd name="connsiteX38" fmla="*/ 704850 w 887353"/>
                  <a:gd name="connsiteY38" fmla="*/ 1764506 h 1905000"/>
                  <a:gd name="connsiteX39" fmla="*/ 673894 w 887353"/>
                  <a:gd name="connsiteY39" fmla="*/ 1821657 h 1905000"/>
                  <a:gd name="connsiteX40" fmla="*/ 676275 w 887353"/>
                  <a:gd name="connsiteY40" fmla="*/ 1883569 h 1905000"/>
                  <a:gd name="connsiteX41" fmla="*/ 681037 w 887353"/>
                  <a:gd name="connsiteY41" fmla="*/ 1905000 h 1905000"/>
                  <a:gd name="connsiteX0" fmla="*/ 0 w 887353"/>
                  <a:gd name="connsiteY0" fmla="*/ 0 h 1905000"/>
                  <a:gd name="connsiteX1" fmla="*/ 119062 w 887353"/>
                  <a:gd name="connsiteY1" fmla="*/ 26194 h 1905000"/>
                  <a:gd name="connsiteX2" fmla="*/ 228600 w 887353"/>
                  <a:gd name="connsiteY2" fmla="*/ 57150 h 1905000"/>
                  <a:gd name="connsiteX3" fmla="*/ 323850 w 887353"/>
                  <a:gd name="connsiteY3" fmla="*/ 83344 h 1905000"/>
                  <a:gd name="connsiteX4" fmla="*/ 409575 w 887353"/>
                  <a:gd name="connsiteY4" fmla="*/ 116681 h 1905000"/>
                  <a:gd name="connsiteX5" fmla="*/ 502443 w 887353"/>
                  <a:gd name="connsiteY5" fmla="*/ 159544 h 1905000"/>
                  <a:gd name="connsiteX6" fmla="*/ 557212 w 887353"/>
                  <a:gd name="connsiteY6" fmla="*/ 192881 h 1905000"/>
                  <a:gd name="connsiteX7" fmla="*/ 621506 w 887353"/>
                  <a:gd name="connsiteY7" fmla="*/ 252413 h 1905000"/>
                  <a:gd name="connsiteX8" fmla="*/ 678656 w 887353"/>
                  <a:gd name="connsiteY8" fmla="*/ 314325 h 1905000"/>
                  <a:gd name="connsiteX9" fmla="*/ 709612 w 887353"/>
                  <a:gd name="connsiteY9" fmla="*/ 369094 h 1905000"/>
                  <a:gd name="connsiteX10" fmla="*/ 735806 w 887353"/>
                  <a:gd name="connsiteY10" fmla="*/ 431006 h 1905000"/>
                  <a:gd name="connsiteX11" fmla="*/ 762000 w 887353"/>
                  <a:gd name="connsiteY11" fmla="*/ 519113 h 1905000"/>
                  <a:gd name="connsiteX12" fmla="*/ 766762 w 887353"/>
                  <a:gd name="connsiteY12" fmla="*/ 614363 h 1905000"/>
                  <a:gd name="connsiteX13" fmla="*/ 764381 w 887353"/>
                  <a:gd name="connsiteY13" fmla="*/ 716757 h 1905000"/>
                  <a:gd name="connsiteX14" fmla="*/ 762000 w 887353"/>
                  <a:gd name="connsiteY14" fmla="*/ 781051 h 1905000"/>
                  <a:gd name="connsiteX15" fmla="*/ 762000 w 887353"/>
                  <a:gd name="connsiteY15" fmla="*/ 835819 h 1905000"/>
                  <a:gd name="connsiteX16" fmla="*/ 762000 w 887353"/>
                  <a:gd name="connsiteY16" fmla="*/ 892969 h 1905000"/>
                  <a:gd name="connsiteX17" fmla="*/ 762000 w 887353"/>
                  <a:gd name="connsiteY17" fmla="*/ 892969 h 1905000"/>
                  <a:gd name="connsiteX18" fmla="*/ 773906 w 887353"/>
                  <a:gd name="connsiteY18" fmla="*/ 985838 h 1905000"/>
                  <a:gd name="connsiteX19" fmla="*/ 788193 w 887353"/>
                  <a:gd name="connsiteY19" fmla="*/ 1071563 h 1905000"/>
                  <a:gd name="connsiteX20" fmla="*/ 797718 w 887353"/>
                  <a:gd name="connsiteY20" fmla="*/ 1131093 h 1905000"/>
                  <a:gd name="connsiteX21" fmla="*/ 819149 w 887353"/>
                  <a:gd name="connsiteY21" fmla="*/ 1183481 h 1905000"/>
                  <a:gd name="connsiteX22" fmla="*/ 840581 w 887353"/>
                  <a:gd name="connsiteY22" fmla="*/ 1238250 h 1905000"/>
                  <a:gd name="connsiteX23" fmla="*/ 881062 w 887353"/>
                  <a:gd name="connsiteY23" fmla="*/ 1314450 h 1905000"/>
                  <a:gd name="connsiteX24" fmla="*/ 885825 w 887353"/>
                  <a:gd name="connsiteY24" fmla="*/ 1343025 h 1905000"/>
                  <a:gd name="connsiteX25" fmla="*/ 866775 w 887353"/>
                  <a:gd name="connsiteY25" fmla="*/ 1376363 h 1905000"/>
                  <a:gd name="connsiteX26" fmla="*/ 833437 w 887353"/>
                  <a:gd name="connsiteY26" fmla="*/ 1397794 h 1905000"/>
                  <a:gd name="connsiteX27" fmla="*/ 783431 w 887353"/>
                  <a:gd name="connsiteY27" fmla="*/ 1395413 h 1905000"/>
                  <a:gd name="connsiteX28" fmla="*/ 728662 w 887353"/>
                  <a:gd name="connsiteY28" fmla="*/ 1397794 h 1905000"/>
                  <a:gd name="connsiteX29" fmla="*/ 692944 w 887353"/>
                  <a:gd name="connsiteY29" fmla="*/ 1414463 h 1905000"/>
                  <a:gd name="connsiteX30" fmla="*/ 669131 w 887353"/>
                  <a:gd name="connsiteY30" fmla="*/ 1447800 h 1905000"/>
                  <a:gd name="connsiteX31" fmla="*/ 669131 w 887353"/>
                  <a:gd name="connsiteY31" fmla="*/ 1485900 h 1905000"/>
                  <a:gd name="connsiteX32" fmla="*/ 673893 w 887353"/>
                  <a:gd name="connsiteY32" fmla="*/ 1514475 h 1905000"/>
                  <a:gd name="connsiteX33" fmla="*/ 689047 w 887353"/>
                  <a:gd name="connsiteY33" fmla="*/ 1543050 h 1905000"/>
                  <a:gd name="connsiteX34" fmla="*/ 707231 w 887353"/>
                  <a:gd name="connsiteY34" fmla="*/ 1578769 h 1905000"/>
                  <a:gd name="connsiteX35" fmla="*/ 721518 w 887353"/>
                  <a:gd name="connsiteY35" fmla="*/ 1609725 h 1905000"/>
                  <a:gd name="connsiteX36" fmla="*/ 747712 w 887353"/>
                  <a:gd name="connsiteY36" fmla="*/ 1664494 h 1905000"/>
                  <a:gd name="connsiteX37" fmla="*/ 733425 w 887353"/>
                  <a:gd name="connsiteY37" fmla="*/ 1707356 h 1905000"/>
                  <a:gd name="connsiteX38" fmla="*/ 704850 w 887353"/>
                  <a:gd name="connsiteY38" fmla="*/ 1764506 h 1905000"/>
                  <a:gd name="connsiteX39" fmla="*/ 673894 w 887353"/>
                  <a:gd name="connsiteY39" fmla="*/ 1821657 h 1905000"/>
                  <a:gd name="connsiteX40" fmla="*/ 676275 w 887353"/>
                  <a:gd name="connsiteY40" fmla="*/ 1883569 h 1905000"/>
                  <a:gd name="connsiteX41" fmla="*/ 681037 w 887353"/>
                  <a:gd name="connsiteY41" fmla="*/ 1905000 h 1905000"/>
                  <a:gd name="connsiteX0" fmla="*/ 0 w 887353"/>
                  <a:gd name="connsiteY0" fmla="*/ 0 h 1905000"/>
                  <a:gd name="connsiteX1" fmla="*/ 119062 w 887353"/>
                  <a:gd name="connsiteY1" fmla="*/ 26194 h 1905000"/>
                  <a:gd name="connsiteX2" fmla="*/ 228600 w 887353"/>
                  <a:gd name="connsiteY2" fmla="*/ 57150 h 1905000"/>
                  <a:gd name="connsiteX3" fmla="*/ 323850 w 887353"/>
                  <a:gd name="connsiteY3" fmla="*/ 83344 h 1905000"/>
                  <a:gd name="connsiteX4" fmla="*/ 409575 w 887353"/>
                  <a:gd name="connsiteY4" fmla="*/ 116681 h 1905000"/>
                  <a:gd name="connsiteX5" fmla="*/ 502443 w 887353"/>
                  <a:gd name="connsiteY5" fmla="*/ 159544 h 1905000"/>
                  <a:gd name="connsiteX6" fmla="*/ 557212 w 887353"/>
                  <a:gd name="connsiteY6" fmla="*/ 192881 h 1905000"/>
                  <a:gd name="connsiteX7" fmla="*/ 621506 w 887353"/>
                  <a:gd name="connsiteY7" fmla="*/ 252413 h 1905000"/>
                  <a:gd name="connsiteX8" fmla="*/ 678656 w 887353"/>
                  <a:gd name="connsiteY8" fmla="*/ 314325 h 1905000"/>
                  <a:gd name="connsiteX9" fmla="*/ 709612 w 887353"/>
                  <a:gd name="connsiteY9" fmla="*/ 369094 h 1905000"/>
                  <a:gd name="connsiteX10" fmla="*/ 735806 w 887353"/>
                  <a:gd name="connsiteY10" fmla="*/ 431006 h 1905000"/>
                  <a:gd name="connsiteX11" fmla="*/ 762000 w 887353"/>
                  <a:gd name="connsiteY11" fmla="*/ 519113 h 1905000"/>
                  <a:gd name="connsiteX12" fmla="*/ 766762 w 887353"/>
                  <a:gd name="connsiteY12" fmla="*/ 614363 h 1905000"/>
                  <a:gd name="connsiteX13" fmla="*/ 764381 w 887353"/>
                  <a:gd name="connsiteY13" fmla="*/ 716757 h 1905000"/>
                  <a:gd name="connsiteX14" fmla="*/ 762000 w 887353"/>
                  <a:gd name="connsiteY14" fmla="*/ 781051 h 1905000"/>
                  <a:gd name="connsiteX15" fmla="*/ 762000 w 887353"/>
                  <a:gd name="connsiteY15" fmla="*/ 835819 h 1905000"/>
                  <a:gd name="connsiteX16" fmla="*/ 762000 w 887353"/>
                  <a:gd name="connsiteY16" fmla="*/ 892969 h 1905000"/>
                  <a:gd name="connsiteX17" fmla="*/ 762000 w 887353"/>
                  <a:gd name="connsiteY17" fmla="*/ 892969 h 1905000"/>
                  <a:gd name="connsiteX18" fmla="*/ 773906 w 887353"/>
                  <a:gd name="connsiteY18" fmla="*/ 985838 h 1905000"/>
                  <a:gd name="connsiteX19" fmla="*/ 788193 w 887353"/>
                  <a:gd name="connsiteY19" fmla="*/ 1071563 h 1905000"/>
                  <a:gd name="connsiteX20" fmla="*/ 797718 w 887353"/>
                  <a:gd name="connsiteY20" fmla="*/ 1131093 h 1905000"/>
                  <a:gd name="connsiteX21" fmla="*/ 819149 w 887353"/>
                  <a:gd name="connsiteY21" fmla="*/ 1183481 h 1905000"/>
                  <a:gd name="connsiteX22" fmla="*/ 840581 w 887353"/>
                  <a:gd name="connsiteY22" fmla="*/ 1238250 h 1905000"/>
                  <a:gd name="connsiteX23" fmla="*/ 881062 w 887353"/>
                  <a:gd name="connsiteY23" fmla="*/ 1314450 h 1905000"/>
                  <a:gd name="connsiteX24" fmla="*/ 885825 w 887353"/>
                  <a:gd name="connsiteY24" fmla="*/ 1343025 h 1905000"/>
                  <a:gd name="connsiteX25" fmla="*/ 866775 w 887353"/>
                  <a:gd name="connsiteY25" fmla="*/ 1376363 h 1905000"/>
                  <a:gd name="connsiteX26" fmla="*/ 833437 w 887353"/>
                  <a:gd name="connsiteY26" fmla="*/ 1397794 h 1905000"/>
                  <a:gd name="connsiteX27" fmla="*/ 783431 w 887353"/>
                  <a:gd name="connsiteY27" fmla="*/ 1395413 h 1905000"/>
                  <a:gd name="connsiteX28" fmla="*/ 728662 w 887353"/>
                  <a:gd name="connsiteY28" fmla="*/ 1397794 h 1905000"/>
                  <a:gd name="connsiteX29" fmla="*/ 692944 w 887353"/>
                  <a:gd name="connsiteY29" fmla="*/ 1414463 h 1905000"/>
                  <a:gd name="connsiteX30" fmla="*/ 669131 w 887353"/>
                  <a:gd name="connsiteY30" fmla="*/ 1447800 h 1905000"/>
                  <a:gd name="connsiteX31" fmla="*/ 669131 w 887353"/>
                  <a:gd name="connsiteY31" fmla="*/ 1485900 h 1905000"/>
                  <a:gd name="connsiteX32" fmla="*/ 673893 w 887353"/>
                  <a:gd name="connsiteY32" fmla="*/ 1514475 h 1905000"/>
                  <a:gd name="connsiteX33" fmla="*/ 686377 w 887353"/>
                  <a:gd name="connsiteY33" fmla="*/ 1551060 h 1905000"/>
                  <a:gd name="connsiteX34" fmla="*/ 707231 w 887353"/>
                  <a:gd name="connsiteY34" fmla="*/ 1578769 h 1905000"/>
                  <a:gd name="connsiteX35" fmla="*/ 721518 w 887353"/>
                  <a:gd name="connsiteY35" fmla="*/ 1609725 h 1905000"/>
                  <a:gd name="connsiteX36" fmla="*/ 747712 w 887353"/>
                  <a:gd name="connsiteY36" fmla="*/ 1664494 h 1905000"/>
                  <a:gd name="connsiteX37" fmla="*/ 733425 w 887353"/>
                  <a:gd name="connsiteY37" fmla="*/ 1707356 h 1905000"/>
                  <a:gd name="connsiteX38" fmla="*/ 704850 w 887353"/>
                  <a:gd name="connsiteY38" fmla="*/ 1764506 h 1905000"/>
                  <a:gd name="connsiteX39" fmla="*/ 673894 w 887353"/>
                  <a:gd name="connsiteY39" fmla="*/ 1821657 h 1905000"/>
                  <a:gd name="connsiteX40" fmla="*/ 676275 w 887353"/>
                  <a:gd name="connsiteY40" fmla="*/ 1883569 h 1905000"/>
                  <a:gd name="connsiteX41" fmla="*/ 681037 w 887353"/>
                  <a:gd name="connsiteY41" fmla="*/ 1905000 h 1905000"/>
                  <a:gd name="connsiteX0" fmla="*/ 0 w 887353"/>
                  <a:gd name="connsiteY0" fmla="*/ 0 h 1905000"/>
                  <a:gd name="connsiteX1" fmla="*/ 119062 w 887353"/>
                  <a:gd name="connsiteY1" fmla="*/ 26194 h 1905000"/>
                  <a:gd name="connsiteX2" fmla="*/ 228600 w 887353"/>
                  <a:gd name="connsiteY2" fmla="*/ 57150 h 1905000"/>
                  <a:gd name="connsiteX3" fmla="*/ 323850 w 887353"/>
                  <a:gd name="connsiteY3" fmla="*/ 83344 h 1905000"/>
                  <a:gd name="connsiteX4" fmla="*/ 409575 w 887353"/>
                  <a:gd name="connsiteY4" fmla="*/ 116681 h 1905000"/>
                  <a:gd name="connsiteX5" fmla="*/ 502443 w 887353"/>
                  <a:gd name="connsiteY5" fmla="*/ 159544 h 1905000"/>
                  <a:gd name="connsiteX6" fmla="*/ 557212 w 887353"/>
                  <a:gd name="connsiteY6" fmla="*/ 192881 h 1905000"/>
                  <a:gd name="connsiteX7" fmla="*/ 621506 w 887353"/>
                  <a:gd name="connsiteY7" fmla="*/ 252413 h 1905000"/>
                  <a:gd name="connsiteX8" fmla="*/ 678656 w 887353"/>
                  <a:gd name="connsiteY8" fmla="*/ 314325 h 1905000"/>
                  <a:gd name="connsiteX9" fmla="*/ 709612 w 887353"/>
                  <a:gd name="connsiteY9" fmla="*/ 369094 h 1905000"/>
                  <a:gd name="connsiteX10" fmla="*/ 735806 w 887353"/>
                  <a:gd name="connsiteY10" fmla="*/ 431006 h 1905000"/>
                  <a:gd name="connsiteX11" fmla="*/ 762000 w 887353"/>
                  <a:gd name="connsiteY11" fmla="*/ 519113 h 1905000"/>
                  <a:gd name="connsiteX12" fmla="*/ 766762 w 887353"/>
                  <a:gd name="connsiteY12" fmla="*/ 614363 h 1905000"/>
                  <a:gd name="connsiteX13" fmla="*/ 764381 w 887353"/>
                  <a:gd name="connsiteY13" fmla="*/ 716757 h 1905000"/>
                  <a:gd name="connsiteX14" fmla="*/ 762000 w 887353"/>
                  <a:gd name="connsiteY14" fmla="*/ 781051 h 1905000"/>
                  <a:gd name="connsiteX15" fmla="*/ 762000 w 887353"/>
                  <a:gd name="connsiteY15" fmla="*/ 835819 h 1905000"/>
                  <a:gd name="connsiteX16" fmla="*/ 762000 w 887353"/>
                  <a:gd name="connsiteY16" fmla="*/ 892969 h 1905000"/>
                  <a:gd name="connsiteX17" fmla="*/ 762000 w 887353"/>
                  <a:gd name="connsiteY17" fmla="*/ 892969 h 1905000"/>
                  <a:gd name="connsiteX18" fmla="*/ 773906 w 887353"/>
                  <a:gd name="connsiteY18" fmla="*/ 985838 h 1905000"/>
                  <a:gd name="connsiteX19" fmla="*/ 788193 w 887353"/>
                  <a:gd name="connsiteY19" fmla="*/ 1071563 h 1905000"/>
                  <a:gd name="connsiteX20" fmla="*/ 797718 w 887353"/>
                  <a:gd name="connsiteY20" fmla="*/ 1131093 h 1905000"/>
                  <a:gd name="connsiteX21" fmla="*/ 819149 w 887353"/>
                  <a:gd name="connsiteY21" fmla="*/ 1183481 h 1905000"/>
                  <a:gd name="connsiteX22" fmla="*/ 840581 w 887353"/>
                  <a:gd name="connsiteY22" fmla="*/ 1238250 h 1905000"/>
                  <a:gd name="connsiteX23" fmla="*/ 881062 w 887353"/>
                  <a:gd name="connsiteY23" fmla="*/ 1314450 h 1905000"/>
                  <a:gd name="connsiteX24" fmla="*/ 885825 w 887353"/>
                  <a:gd name="connsiteY24" fmla="*/ 1343025 h 1905000"/>
                  <a:gd name="connsiteX25" fmla="*/ 866775 w 887353"/>
                  <a:gd name="connsiteY25" fmla="*/ 1376363 h 1905000"/>
                  <a:gd name="connsiteX26" fmla="*/ 833437 w 887353"/>
                  <a:gd name="connsiteY26" fmla="*/ 1397794 h 1905000"/>
                  <a:gd name="connsiteX27" fmla="*/ 783431 w 887353"/>
                  <a:gd name="connsiteY27" fmla="*/ 1395413 h 1905000"/>
                  <a:gd name="connsiteX28" fmla="*/ 728662 w 887353"/>
                  <a:gd name="connsiteY28" fmla="*/ 1397794 h 1905000"/>
                  <a:gd name="connsiteX29" fmla="*/ 692944 w 887353"/>
                  <a:gd name="connsiteY29" fmla="*/ 1414463 h 1905000"/>
                  <a:gd name="connsiteX30" fmla="*/ 669131 w 887353"/>
                  <a:gd name="connsiteY30" fmla="*/ 1447800 h 1905000"/>
                  <a:gd name="connsiteX31" fmla="*/ 669131 w 887353"/>
                  <a:gd name="connsiteY31" fmla="*/ 1485900 h 1905000"/>
                  <a:gd name="connsiteX32" fmla="*/ 673893 w 887353"/>
                  <a:gd name="connsiteY32" fmla="*/ 1514475 h 1905000"/>
                  <a:gd name="connsiteX33" fmla="*/ 686377 w 887353"/>
                  <a:gd name="connsiteY33" fmla="*/ 1551060 h 1905000"/>
                  <a:gd name="connsiteX34" fmla="*/ 705896 w 887353"/>
                  <a:gd name="connsiteY34" fmla="*/ 1581439 h 1905000"/>
                  <a:gd name="connsiteX35" fmla="*/ 721518 w 887353"/>
                  <a:gd name="connsiteY35" fmla="*/ 1609725 h 1905000"/>
                  <a:gd name="connsiteX36" fmla="*/ 747712 w 887353"/>
                  <a:gd name="connsiteY36" fmla="*/ 1664494 h 1905000"/>
                  <a:gd name="connsiteX37" fmla="*/ 733425 w 887353"/>
                  <a:gd name="connsiteY37" fmla="*/ 1707356 h 1905000"/>
                  <a:gd name="connsiteX38" fmla="*/ 704850 w 887353"/>
                  <a:gd name="connsiteY38" fmla="*/ 1764506 h 1905000"/>
                  <a:gd name="connsiteX39" fmla="*/ 673894 w 887353"/>
                  <a:gd name="connsiteY39" fmla="*/ 1821657 h 1905000"/>
                  <a:gd name="connsiteX40" fmla="*/ 676275 w 887353"/>
                  <a:gd name="connsiteY40" fmla="*/ 1883569 h 1905000"/>
                  <a:gd name="connsiteX41" fmla="*/ 681037 w 887353"/>
                  <a:gd name="connsiteY41" fmla="*/ 1905000 h 1905000"/>
                  <a:gd name="connsiteX0" fmla="*/ 0 w 887353"/>
                  <a:gd name="connsiteY0" fmla="*/ 0 h 1905000"/>
                  <a:gd name="connsiteX1" fmla="*/ 119062 w 887353"/>
                  <a:gd name="connsiteY1" fmla="*/ 26194 h 1905000"/>
                  <a:gd name="connsiteX2" fmla="*/ 228600 w 887353"/>
                  <a:gd name="connsiteY2" fmla="*/ 57150 h 1905000"/>
                  <a:gd name="connsiteX3" fmla="*/ 323850 w 887353"/>
                  <a:gd name="connsiteY3" fmla="*/ 83344 h 1905000"/>
                  <a:gd name="connsiteX4" fmla="*/ 409575 w 887353"/>
                  <a:gd name="connsiteY4" fmla="*/ 116681 h 1905000"/>
                  <a:gd name="connsiteX5" fmla="*/ 502443 w 887353"/>
                  <a:gd name="connsiteY5" fmla="*/ 159544 h 1905000"/>
                  <a:gd name="connsiteX6" fmla="*/ 557212 w 887353"/>
                  <a:gd name="connsiteY6" fmla="*/ 192881 h 1905000"/>
                  <a:gd name="connsiteX7" fmla="*/ 621506 w 887353"/>
                  <a:gd name="connsiteY7" fmla="*/ 252413 h 1905000"/>
                  <a:gd name="connsiteX8" fmla="*/ 678656 w 887353"/>
                  <a:gd name="connsiteY8" fmla="*/ 314325 h 1905000"/>
                  <a:gd name="connsiteX9" fmla="*/ 709612 w 887353"/>
                  <a:gd name="connsiteY9" fmla="*/ 369094 h 1905000"/>
                  <a:gd name="connsiteX10" fmla="*/ 735806 w 887353"/>
                  <a:gd name="connsiteY10" fmla="*/ 431006 h 1905000"/>
                  <a:gd name="connsiteX11" fmla="*/ 762000 w 887353"/>
                  <a:gd name="connsiteY11" fmla="*/ 519113 h 1905000"/>
                  <a:gd name="connsiteX12" fmla="*/ 766762 w 887353"/>
                  <a:gd name="connsiteY12" fmla="*/ 614363 h 1905000"/>
                  <a:gd name="connsiteX13" fmla="*/ 764381 w 887353"/>
                  <a:gd name="connsiteY13" fmla="*/ 716757 h 1905000"/>
                  <a:gd name="connsiteX14" fmla="*/ 762000 w 887353"/>
                  <a:gd name="connsiteY14" fmla="*/ 781051 h 1905000"/>
                  <a:gd name="connsiteX15" fmla="*/ 762000 w 887353"/>
                  <a:gd name="connsiteY15" fmla="*/ 835819 h 1905000"/>
                  <a:gd name="connsiteX16" fmla="*/ 762000 w 887353"/>
                  <a:gd name="connsiteY16" fmla="*/ 892969 h 1905000"/>
                  <a:gd name="connsiteX17" fmla="*/ 762000 w 887353"/>
                  <a:gd name="connsiteY17" fmla="*/ 892969 h 1905000"/>
                  <a:gd name="connsiteX18" fmla="*/ 773906 w 887353"/>
                  <a:gd name="connsiteY18" fmla="*/ 985838 h 1905000"/>
                  <a:gd name="connsiteX19" fmla="*/ 788193 w 887353"/>
                  <a:gd name="connsiteY19" fmla="*/ 1071563 h 1905000"/>
                  <a:gd name="connsiteX20" fmla="*/ 797718 w 887353"/>
                  <a:gd name="connsiteY20" fmla="*/ 1131093 h 1905000"/>
                  <a:gd name="connsiteX21" fmla="*/ 819149 w 887353"/>
                  <a:gd name="connsiteY21" fmla="*/ 1183481 h 1905000"/>
                  <a:gd name="connsiteX22" fmla="*/ 840581 w 887353"/>
                  <a:gd name="connsiteY22" fmla="*/ 1238250 h 1905000"/>
                  <a:gd name="connsiteX23" fmla="*/ 881062 w 887353"/>
                  <a:gd name="connsiteY23" fmla="*/ 1314450 h 1905000"/>
                  <a:gd name="connsiteX24" fmla="*/ 885825 w 887353"/>
                  <a:gd name="connsiteY24" fmla="*/ 1343025 h 1905000"/>
                  <a:gd name="connsiteX25" fmla="*/ 866775 w 887353"/>
                  <a:gd name="connsiteY25" fmla="*/ 1376363 h 1905000"/>
                  <a:gd name="connsiteX26" fmla="*/ 833437 w 887353"/>
                  <a:gd name="connsiteY26" fmla="*/ 1397794 h 1905000"/>
                  <a:gd name="connsiteX27" fmla="*/ 783431 w 887353"/>
                  <a:gd name="connsiteY27" fmla="*/ 1395413 h 1905000"/>
                  <a:gd name="connsiteX28" fmla="*/ 728662 w 887353"/>
                  <a:gd name="connsiteY28" fmla="*/ 1397794 h 1905000"/>
                  <a:gd name="connsiteX29" fmla="*/ 692944 w 887353"/>
                  <a:gd name="connsiteY29" fmla="*/ 1414463 h 1905000"/>
                  <a:gd name="connsiteX30" fmla="*/ 669131 w 887353"/>
                  <a:gd name="connsiteY30" fmla="*/ 1447800 h 1905000"/>
                  <a:gd name="connsiteX31" fmla="*/ 669131 w 887353"/>
                  <a:gd name="connsiteY31" fmla="*/ 1485900 h 1905000"/>
                  <a:gd name="connsiteX32" fmla="*/ 673893 w 887353"/>
                  <a:gd name="connsiteY32" fmla="*/ 1514475 h 1905000"/>
                  <a:gd name="connsiteX33" fmla="*/ 686377 w 887353"/>
                  <a:gd name="connsiteY33" fmla="*/ 1551060 h 1905000"/>
                  <a:gd name="connsiteX34" fmla="*/ 705896 w 887353"/>
                  <a:gd name="connsiteY34" fmla="*/ 1581439 h 1905000"/>
                  <a:gd name="connsiteX35" fmla="*/ 721518 w 887353"/>
                  <a:gd name="connsiteY35" fmla="*/ 1609725 h 1905000"/>
                  <a:gd name="connsiteX36" fmla="*/ 745042 w 887353"/>
                  <a:gd name="connsiteY36" fmla="*/ 1665829 h 1905000"/>
                  <a:gd name="connsiteX37" fmla="*/ 733425 w 887353"/>
                  <a:gd name="connsiteY37" fmla="*/ 1707356 h 1905000"/>
                  <a:gd name="connsiteX38" fmla="*/ 704850 w 887353"/>
                  <a:gd name="connsiteY38" fmla="*/ 1764506 h 1905000"/>
                  <a:gd name="connsiteX39" fmla="*/ 673894 w 887353"/>
                  <a:gd name="connsiteY39" fmla="*/ 1821657 h 1905000"/>
                  <a:gd name="connsiteX40" fmla="*/ 676275 w 887353"/>
                  <a:gd name="connsiteY40" fmla="*/ 1883569 h 1905000"/>
                  <a:gd name="connsiteX41" fmla="*/ 681037 w 887353"/>
                  <a:gd name="connsiteY41" fmla="*/ 1905000 h 1905000"/>
                  <a:gd name="connsiteX0" fmla="*/ 0 w 887353"/>
                  <a:gd name="connsiteY0" fmla="*/ 0 h 1905000"/>
                  <a:gd name="connsiteX1" fmla="*/ 119062 w 887353"/>
                  <a:gd name="connsiteY1" fmla="*/ 26194 h 1905000"/>
                  <a:gd name="connsiteX2" fmla="*/ 228600 w 887353"/>
                  <a:gd name="connsiteY2" fmla="*/ 57150 h 1905000"/>
                  <a:gd name="connsiteX3" fmla="*/ 323850 w 887353"/>
                  <a:gd name="connsiteY3" fmla="*/ 83344 h 1905000"/>
                  <a:gd name="connsiteX4" fmla="*/ 409575 w 887353"/>
                  <a:gd name="connsiteY4" fmla="*/ 116681 h 1905000"/>
                  <a:gd name="connsiteX5" fmla="*/ 502443 w 887353"/>
                  <a:gd name="connsiteY5" fmla="*/ 159544 h 1905000"/>
                  <a:gd name="connsiteX6" fmla="*/ 557212 w 887353"/>
                  <a:gd name="connsiteY6" fmla="*/ 192881 h 1905000"/>
                  <a:gd name="connsiteX7" fmla="*/ 621506 w 887353"/>
                  <a:gd name="connsiteY7" fmla="*/ 252413 h 1905000"/>
                  <a:gd name="connsiteX8" fmla="*/ 678656 w 887353"/>
                  <a:gd name="connsiteY8" fmla="*/ 314325 h 1905000"/>
                  <a:gd name="connsiteX9" fmla="*/ 709612 w 887353"/>
                  <a:gd name="connsiteY9" fmla="*/ 369094 h 1905000"/>
                  <a:gd name="connsiteX10" fmla="*/ 735806 w 887353"/>
                  <a:gd name="connsiteY10" fmla="*/ 431006 h 1905000"/>
                  <a:gd name="connsiteX11" fmla="*/ 762000 w 887353"/>
                  <a:gd name="connsiteY11" fmla="*/ 519113 h 1905000"/>
                  <a:gd name="connsiteX12" fmla="*/ 766762 w 887353"/>
                  <a:gd name="connsiteY12" fmla="*/ 614363 h 1905000"/>
                  <a:gd name="connsiteX13" fmla="*/ 764381 w 887353"/>
                  <a:gd name="connsiteY13" fmla="*/ 716757 h 1905000"/>
                  <a:gd name="connsiteX14" fmla="*/ 762000 w 887353"/>
                  <a:gd name="connsiteY14" fmla="*/ 781051 h 1905000"/>
                  <a:gd name="connsiteX15" fmla="*/ 762000 w 887353"/>
                  <a:gd name="connsiteY15" fmla="*/ 835819 h 1905000"/>
                  <a:gd name="connsiteX16" fmla="*/ 762000 w 887353"/>
                  <a:gd name="connsiteY16" fmla="*/ 892969 h 1905000"/>
                  <a:gd name="connsiteX17" fmla="*/ 762000 w 887353"/>
                  <a:gd name="connsiteY17" fmla="*/ 892969 h 1905000"/>
                  <a:gd name="connsiteX18" fmla="*/ 773906 w 887353"/>
                  <a:gd name="connsiteY18" fmla="*/ 985838 h 1905000"/>
                  <a:gd name="connsiteX19" fmla="*/ 788193 w 887353"/>
                  <a:gd name="connsiteY19" fmla="*/ 1071563 h 1905000"/>
                  <a:gd name="connsiteX20" fmla="*/ 797718 w 887353"/>
                  <a:gd name="connsiteY20" fmla="*/ 1131093 h 1905000"/>
                  <a:gd name="connsiteX21" fmla="*/ 819149 w 887353"/>
                  <a:gd name="connsiteY21" fmla="*/ 1183481 h 1905000"/>
                  <a:gd name="connsiteX22" fmla="*/ 840581 w 887353"/>
                  <a:gd name="connsiteY22" fmla="*/ 1238250 h 1905000"/>
                  <a:gd name="connsiteX23" fmla="*/ 881062 w 887353"/>
                  <a:gd name="connsiteY23" fmla="*/ 1314450 h 1905000"/>
                  <a:gd name="connsiteX24" fmla="*/ 885825 w 887353"/>
                  <a:gd name="connsiteY24" fmla="*/ 1343025 h 1905000"/>
                  <a:gd name="connsiteX25" fmla="*/ 866775 w 887353"/>
                  <a:gd name="connsiteY25" fmla="*/ 1376363 h 1905000"/>
                  <a:gd name="connsiteX26" fmla="*/ 833437 w 887353"/>
                  <a:gd name="connsiteY26" fmla="*/ 1397794 h 1905000"/>
                  <a:gd name="connsiteX27" fmla="*/ 783431 w 887353"/>
                  <a:gd name="connsiteY27" fmla="*/ 1395413 h 1905000"/>
                  <a:gd name="connsiteX28" fmla="*/ 728662 w 887353"/>
                  <a:gd name="connsiteY28" fmla="*/ 1397794 h 1905000"/>
                  <a:gd name="connsiteX29" fmla="*/ 692944 w 887353"/>
                  <a:gd name="connsiteY29" fmla="*/ 1414463 h 1905000"/>
                  <a:gd name="connsiteX30" fmla="*/ 669131 w 887353"/>
                  <a:gd name="connsiteY30" fmla="*/ 1447800 h 1905000"/>
                  <a:gd name="connsiteX31" fmla="*/ 669131 w 887353"/>
                  <a:gd name="connsiteY31" fmla="*/ 1485900 h 1905000"/>
                  <a:gd name="connsiteX32" fmla="*/ 673893 w 887353"/>
                  <a:gd name="connsiteY32" fmla="*/ 1514475 h 1905000"/>
                  <a:gd name="connsiteX33" fmla="*/ 686377 w 887353"/>
                  <a:gd name="connsiteY33" fmla="*/ 1551060 h 1905000"/>
                  <a:gd name="connsiteX34" fmla="*/ 705896 w 887353"/>
                  <a:gd name="connsiteY34" fmla="*/ 1581439 h 1905000"/>
                  <a:gd name="connsiteX35" fmla="*/ 721518 w 887353"/>
                  <a:gd name="connsiteY35" fmla="*/ 1609725 h 1905000"/>
                  <a:gd name="connsiteX36" fmla="*/ 739703 w 887353"/>
                  <a:gd name="connsiteY36" fmla="*/ 1665829 h 1905000"/>
                  <a:gd name="connsiteX37" fmla="*/ 733425 w 887353"/>
                  <a:gd name="connsiteY37" fmla="*/ 1707356 h 1905000"/>
                  <a:gd name="connsiteX38" fmla="*/ 704850 w 887353"/>
                  <a:gd name="connsiteY38" fmla="*/ 1764506 h 1905000"/>
                  <a:gd name="connsiteX39" fmla="*/ 673894 w 887353"/>
                  <a:gd name="connsiteY39" fmla="*/ 1821657 h 1905000"/>
                  <a:gd name="connsiteX40" fmla="*/ 676275 w 887353"/>
                  <a:gd name="connsiteY40" fmla="*/ 1883569 h 1905000"/>
                  <a:gd name="connsiteX41" fmla="*/ 681037 w 887353"/>
                  <a:gd name="connsiteY41" fmla="*/ 1905000 h 1905000"/>
                  <a:gd name="connsiteX0" fmla="*/ 0 w 885278"/>
                  <a:gd name="connsiteY0" fmla="*/ 0 h 1905000"/>
                  <a:gd name="connsiteX1" fmla="*/ 119062 w 885278"/>
                  <a:gd name="connsiteY1" fmla="*/ 26194 h 1905000"/>
                  <a:gd name="connsiteX2" fmla="*/ 228600 w 885278"/>
                  <a:gd name="connsiteY2" fmla="*/ 57150 h 1905000"/>
                  <a:gd name="connsiteX3" fmla="*/ 323850 w 885278"/>
                  <a:gd name="connsiteY3" fmla="*/ 83344 h 1905000"/>
                  <a:gd name="connsiteX4" fmla="*/ 409575 w 885278"/>
                  <a:gd name="connsiteY4" fmla="*/ 116681 h 1905000"/>
                  <a:gd name="connsiteX5" fmla="*/ 502443 w 885278"/>
                  <a:gd name="connsiteY5" fmla="*/ 159544 h 1905000"/>
                  <a:gd name="connsiteX6" fmla="*/ 557212 w 885278"/>
                  <a:gd name="connsiteY6" fmla="*/ 192881 h 1905000"/>
                  <a:gd name="connsiteX7" fmla="*/ 621506 w 885278"/>
                  <a:gd name="connsiteY7" fmla="*/ 252413 h 1905000"/>
                  <a:gd name="connsiteX8" fmla="*/ 678656 w 885278"/>
                  <a:gd name="connsiteY8" fmla="*/ 314325 h 1905000"/>
                  <a:gd name="connsiteX9" fmla="*/ 709612 w 885278"/>
                  <a:gd name="connsiteY9" fmla="*/ 369094 h 1905000"/>
                  <a:gd name="connsiteX10" fmla="*/ 735806 w 885278"/>
                  <a:gd name="connsiteY10" fmla="*/ 431006 h 1905000"/>
                  <a:gd name="connsiteX11" fmla="*/ 762000 w 885278"/>
                  <a:gd name="connsiteY11" fmla="*/ 519113 h 1905000"/>
                  <a:gd name="connsiteX12" fmla="*/ 766762 w 885278"/>
                  <a:gd name="connsiteY12" fmla="*/ 614363 h 1905000"/>
                  <a:gd name="connsiteX13" fmla="*/ 764381 w 885278"/>
                  <a:gd name="connsiteY13" fmla="*/ 716757 h 1905000"/>
                  <a:gd name="connsiteX14" fmla="*/ 762000 w 885278"/>
                  <a:gd name="connsiteY14" fmla="*/ 781051 h 1905000"/>
                  <a:gd name="connsiteX15" fmla="*/ 762000 w 885278"/>
                  <a:gd name="connsiteY15" fmla="*/ 835819 h 1905000"/>
                  <a:gd name="connsiteX16" fmla="*/ 762000 w 885278"/>
                  <a:gd name="connsiteY16" fmla="*/ 892969 h 1905000"/>
                  <a:gd name="connsiteX17" fmla="*/ 762000 w 885278"/>
                  <a:gd name="connsiteY17" fmla="*/ 892969 h 1905000"/>
                  <a:gd name="connsiteX18" fmla="*/ 773906 w 885278"/>
                  <a:gd name="connsiteY18" fmla="*/ 985838 h 1905000"/>
                  <a:gd name="connsiteX19" fmla="*/ 788193 w 885278"/>
                  <a:gd name="connsiteY19" fmla="*/ 1071563 h 1905000"/>
                  <a:gd name="connsiteX20" fmla="*/ 797718 w 885278"/>
                  <a:gd name="connsiteY20" fmla="*/ 1131093 h 1905000"/>
                  <a:gd name="connsiteX21" fmla="*/ 819149 w 885278"/>
                  <a:gd name="connsiteY21" fmla="*/ 1183481 h 1905000"/>
                  <a:gd name="connsiteX22" fmla="*/ 840581 w 885278"/>
                  <a:gd name="connsiteY22" fmla="*/ 1238250 h 1905000"/>
                  <a:gd name="connsiteX23" fmla="*/ 881062 w 885278"/>
                  <a:gd name="connsiteY23" fmla="*/ 1314450 h 1905000"/>
                  <a:gd name="connsiteX24" fmla="*/ 881820 w 885278"/>
                  <a:gd name="connsiteY24" fmla="*/ 1345695 h 1905000"/>
                  <a:gd name="connsiteX25" fmla="*/ 866775 w 885278"/>
                  <a:gd name="connsiteY25" fmla="*/ 1376363 h 1905000"/>
                  <a:gd name="connsiteX26" fmla="*/ 833437 w 885278"/>
                  <a:gd name="connsiteY26" fmla="*/ 1397794 h 1905000"/>
                  <a:gd name="connsiteX27" fmla="*/ 783431 w 885278"/>
                  <a:gd name="connsiteY27" fmla="*/ 1395413 h 1905000"/>
                  <a:gd name="connsiteX28" fmla="*/ 728662 w 885278"/>
                  <a:gd name="connsiteY28" fmla="*/ 1397794 h 1905000"/>
                  <a:gd name="connsiteX29" fmla="*/ 692944 w 885278"/>
                  <a:gd name="connsiteY29" fmla="*/ 1414463 h 1905000"/>
                  <a:gd name="connsiteX30" fmla="*/ 669131 w 885278"/>
                  <a:gd name="connsiteY30" fmla="*/ 1447800 h 1905000"/>
                  <a:gd name="connsiteX31" fmla="*/ 669131 w 885278"/>
                  <a:gd name="connsiteY31" fmla="*/ 1485900 h 1905000"/>
                  <a:gd name="connsiteX32" fmla="*/ 673893 w 885278"/>
                  <a:gd name="connsiteY32" fmla="*/ 1514475 h 1905000"/>
                  <a:gd name="connsiteX33" fmla="*/ 686377 w 885278"/>
                  <a:gd name="connsiteY33" fmla="*/ 1551060 h 1905000"/>
                  <a:gd name="connsiteX34" fmla="*/ 705896 w 885278"/>
                  <a:gd name="connsiteY34" fmla="*/ 1581439 h 1905000"/>
                  <a:gd name="connsiteX35" fmla="*/ 721518 w 885278"/>
                  <a:gd name="connsiteY35" fmla="*/ 1609725 h 1905000"/>
                  <a:gd name="connsiteX36" fmla="*/ 739703 w 885278"/>
                  <a:gd name="connsiteY36" fmla="*/ 1665829 h 1905000"/>
                  <a:gd name="connsiteX37" fmla="*/ 733425 w 885278"/>
                  <a:gd name="connsiteY37" fmla="*/ 1707356 h 1905000"/>
                  <a:gd name="connsiteX38" fmla="*/ 704850 w 885278"/>
                  <a:gd name="connsiteY38" fmla="*/ 1764506 h 1905000"/>
                  <a:gd name="connsiteX39" fmla="*/ 673894 w 885278"/>
                  <a:gd name="connsiteY39" fmla="*/ 1821657 h 1905000"/>
                  <a:gd name="connsiteX40" fmla="*/ 676275 w 885278"/>
                  <a:gd name="connsiteY40" fmla="*/ 1883569 h 1905000"/>
                  <a:gd name="connsiteX41" fmla="*/ 681037 w 885278"/>
                  <a:gd name="connsiteY41" fmla="*/ 1905000 h 1905000"/>
                  <a:gd name="connsiteX0" fmla="*/ 0 w 884995"/>
                  <a:gd name="connsiteY0" fmla="*/ 0 h 1905000"/>
                  <a:gd name="connsiteX1" fmla="*/ 119062 w 884995"/>
                  <a:gd name="connsiteY1" fmla="*/ 26194 h 1905000"/>
                  <a:gd name="connsiteX2" fmla="*/ 228600 w 884995"/>
                  <a:gd name="connsiteY2" fmla="*/ 57150 h 1905000"/>
                  <a:gd name="connsiteX3" fmla="*/ 323850 w 884995"/>
                  <a:gd name="connsiteY3" fmla="*/ 83344 h 1905000"/>
                  <a:gd name="connsiteX4" fmla="*/ 409575 w 884995"/>
                  <a:gd name="connsiteY4" fmla="*/ 116681 h 1905000"/>
                  <a:gd name="connsiteX5" fmla="*/ 502443 w 884995"/>
                  <a:gd name="connsiteY5" fmla="*/ 159544 h 1905000"/>
                  <a:gd name="connsiteX6" fmla="*/ 557212 w 884995"/>
                  <a:gd name="connsiteY6" fmla="*/ 192881 h 1905000"/>
                  <a:gd name="connsiteX7" fmla="*/ 621506 w 884995"/>
                  <a:gd name="connsiteY7" fmla="*/ 252413 h 1905000"/>
                  <a:gd name="connsiteX8" fmla="*/ 678656 w 884995"/>
                  <a:gd name="connsiteY8" fmla="*/ 314325 h 1905000"/>
                  <a:gd name="connsiteX9" fmla="*/ 709612 w 884995"/>
                  <a:gd name="connsiteY9" fmla="*/ 369094 h 1905000"/>
                  <a:gd name="connsiteX10" fmla="*/ 735806 w 884995"/>
                  <a:gd name="connsiteY10" fmla="*/ 431006 h 1905000"/>
                  <a:gd name="connsiteX11" fmla="*/ 762000 w 884995"/>
                  <a:gd name="connsiteY11" fmla="*/ 519113 h 1905000"/>
                  <a:gd name="connsiteX12" fmla="*/ 766762 w 884995"/>
                  <a:gd name="connsiteY12" fmla="*/ 614363 h 1905000"/>
                  <a:gd name="connsiteX13" fmla="*/ 764381 w 884995"/>
                  <a:gd name="connsiteY13" fmla="*/ 716757 h 1905000"/>
                  <a:gd name="connsiteX14" fmla="*/ 762000 w 884995"/>
                  <a:gd name="connsiteY14" fmla="*/ 781051 h 1905000"/>
                  <a:gd name="connsiteX15" fmla="*/ 762000 w 884995"/>
                  <a:gd name="connsiteY15" fmla="*/ 835819 h 1905000"/>
                  <a:gd name="connsiteX16" fmla="*/ 762000 w 884995"/>
                  <a:gd name="connsiteY16" fmla="*/ 892969 h 1905000"/>
                  <a:gd name="connsiteX17" fmla="*/ 762000 w 884995"/>
                  <a:gd name="connsiteY17" fmla="*/ 892969 h 1905000"/>
                  <a:gd name="connsiteX18" fmla="*/ 773906 w 884995"/>
                  <a:gd name="connsiteY18" fmla="*/ 985838 h 1905000"/>
                  <a:gd name="connsiteX19" fmla="*/ 788193 w 884995"/>
                  <a:gd name="connsiteY19" fmla="*/ 1071563 h 1905000"/>
                  <a:gd name="connsiteX20" fmla="*/ 797718 w 884995"/>
                  <a:gd name="connsiteY20" fmla="*/ 1131093 h 1905000"/>
                  <a:gd name="connsiteX21" fmla="*/ 819149 w 884995"/>
                  <a:gd name="connsiteY21" fmla="*/ 1183481 h 1905000"/>
                  <a:gd name="connsiteX22" fmla="*/ 840581 w 884995"/>
                  <a:gd name="connsiteY22" fmla="*/ 1238250 h 1905000"/>
                  <a:gd name="connsiteX23" fmla="*/ 881062 w 884995"/>
                  <a:gd name="connsiteY23" fmla="*/ 1314450 h 1905000"/>
                  <a:gd name="connsiteX24" fmla="*/ 881820 w 884995"/>
                  <a:gd name="connsiteY24" fmla="*/ 1345695 h 1905000"/>
                  <a:gd name="connsiteX25" fmla="*/ 866775 w 884995"/>
                  <a:gd name="connsiteY25" fmla="*/ 1376363 h 1905000"/>
                  <a:gd name="connsiteX26" fmla="*/ 833437 w 884995"/>
                  <a:gd name="connsiteY26" fmla="*/ 1397794 h 1905000"/>
                  <a:gd name="connsiteX27" fmla="*/ 783431 w 884995"/>
                  <a:gd name="connsiteY27" fmla="*/ 1395413 h 1905000"/>
                  <a:gd name="connsiteX28" fmla="*/ 728662 w 884995"/>
                  <a:gd name="connsiteY28" fmla="*/ 1397794 h 1905000"/>
                  <a:gd name="connsiteX29" fmla="*/ 692944 w 884995"/>
                  <a:gd name="connsiteY29" fmla="*/ 1414463 h 1905000"/>
                  <a:gd name="connsiteX30" fmla="*/ 669131 w 884995"/>
                  <a:gd name="connsiteY30" fmla="*/ 1447800 h 1905000"/>
                  <a:gd name="connsiteX31" fmla="*/ 669131 w 884995"/>
                  <a:gd name="connsiteY31" fmla="*/ 1485900 h 1905000"/>
                  <a:gd name="connsiteX32" fmla="*/ 673893 w 884995"/>
                  <a:gd name="connsiteY32" fmla="*/ 1514475 h 1905000"/>
                  <a:gd name="connsiteX33" fmla="*/ 686377 w 884995"/>
                  <a:gd name="connsiteY33" fmla="*/ 1551060 h 1905000"/>
                  <a:gd name="connsiteX34" fmla="*/ 705896 w 884995"/>
                  <a:gd name="connsiteY34" fmla="*/ 1581439 h 1905000"/>
                  <a:gd name="connsiteX35" fmla="*/ 721518 w 884995"/>
                  <a:gd name="connsiteY35" fmla="*/ 1609725 h 1905000"/>
                  <a:gd name="connsiteX36" fmla="*/ 739703 w 884995"/>
                  <a:gd name="connsiteY36" fmla="*/ 1665829 h 1905000"/>
                  <a:gd name="connsiteX37" fmla="*/ 733425 w 884995"/>
                  <a:gd name="connsiteY37" fmla="*/ 1707356 h 1905000"/>
                  <a:gd name="connsiteX38" fmla="*/ 704850 w 884995"/>
                  <a:gd name="connsiteY38" fmla="*/ 1764506 h 1905000"/>
                  <a:gd name="connsiteX39" fmla="*/ 673894 w 884995"/>
                  <a:gd name="connsiteY39" fmla="*/ 1821657 h 1905000"/>
                  <a:gd name="connsiteX40" fmla="*/ 676275 w 884995"/>
                  <a:gd name="connsiteY40" fmla="*/ 1883569 h 1905000"/>
                  <a:gd name="connsiteX41" fmla="*/ 681037 w 884995"/>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85838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7794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85838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645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85838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85838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85838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85838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85838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85838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5241 w 882194"/>
                  <a:gd name="connsiteY18" fmla="*/ 993848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6191 w 882194"/>
                  <a:gd name="connsiteY19" fmla="*/ 1073565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6191 w 882194"/>
                  <a:gd name="connsiteY19" fmla="*/ 1073565 h 1905000"/>
                  <a:gd name="connsiteX20" fmla="*/ 798719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6191 w 882194"/>
                  <a:gd name="connsiteY19" fmla="*/ 1073565 h 1905000"/>
                  <a:gd name="connsiteX20" fmla="*/ 798719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6191 w 882194"/>
                  <a:gd name="connsiteY19" fmla="*/ 1073565 h 1905000"/>
                  <a:gd name="connsiteX20" fmla="*/ 798719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4125 w 882194"/>
                  <a:gd name="connsiteY31" fmla="*/ 1487902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6191 w 882194"/>
                  <a:gd name="connsiteY19" fmla="*/ 1073565 h 1905000"/>
                  <a:gd name="connsiteX20" fmla="*/ 798719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4125 w 882194"/>
                  <a:gd name="connsiteY31" fmla="*/ 1487902 h 1905000"/>
                  <a:gd name="connsiteX32" fmla="*/ 671891 w 882194"/>
                  <a:gd name="connsiteY32" fmla="*/ 1518480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6191 w 882194"/>
                  <a:gd name="connsiteY19" fmla="*/ 1073565 h 1905000"/>
                  <a:gd name="connsiteX20" fmla="*/ 798719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4125 w 882194"/>
                  <a:gd name="connsiteY31" fmla="*/ 1487902 h 1905000"/>
                  <a:gd name="connsiteX32" fmla="*/ 671891 w 882194"/>
                  <a:gd name="connsiteY32" fmla="*/ 1518480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69110 w 882194"/>
                  <a:gd name="connsiteY13" fmla="*/ 71439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6191 w 882194"/>
                  <a:gd name="connsiteY19" fmla="*/ 1073565 h 1905000"/>
                  <a:gd name="connsiteX20" fmla="*/ 798719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4125 w 882194"/>
                  <a:gd name="connsiteY31" fmla="*/ 1487902 h 1905000"/>
                  <a:gd name="connsiteX32" fmla="*/ 671891 w 882194"/>
                  <a:gd name="connsiteY32" fmla="*/ 1518480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69110 w 882194"/>
                  <a:gd name="connsiteY13" fmla="*/ 714397 h 1905000"/>
                  <a:gd name="connsiteX14" fmla="*/ 766731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6191 w 882194"/>
                  <a:gd name="connsiteY19" fmla="*/ 1073565 h 1905000"/>
                  <a:gd name="connsiteX20" fmla="*/ 798719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4125 w 882194"/>
                  <a:gd name="connsiteY31" fmla="*/ 1487902 h 1905000"/>
                  <a:gd name="connsiteX32" fmla="*/ 671891 w 882194"/>
                  <a:gd name="connsiteY32" fmla="*/ 1518480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69110 w 882194"/>
                  <a:gd name="connsiteY13" fmla="*/ 714397 h 1905000"/>
                  <a:gd name="connsiteX14" fmla="*/ 766731 w 882194"/>
                  <a:gd name="connsiteY14" fmla="*/ 781051 h 1905000"/>
                  <a:gd name="connsiteX15" fmla="*/ 773825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6191 w 882194"/>
                  <a:gd name="connsiteY19" fmla="*/ 1073565 h 1905000"/>
                  <a:gd name="connsiteX20" fmla="*/ 798719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4125 w 882194"/>
                  <a:gd name="connsiteY31" fmla="*/ 1487902 h 1905000"/>
                  <a:gd name="connsiteX32" fmla="*/ 671891 w 882194"/>
                  <a:gd name="connsiteY32" fmla="*/ 1518480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69110 w 882194"/>
                  <a:gd name="connsiteY13" fmla="*/ 714397 h 1905000"/>
                  <a:gd name="connsiteX14" fmla="*/ 766731 w 882194"/>
                  <a:gd name="connsiteY14" fmla="*/ 781051 h 1905000"/>
                  <a:gd name="connsiteX15" fmla="*/ 773825 w 882194"/>
                  <a:gd name="connsiteY15" fmla="*/ 835819 h 1905000"/>
                  <a:gd name="connsiteX16" fmla="*/ 762000 w 882194"/>
                  <a:gd name="connsiteY16" fmla="*/ 892969 h 1905000"/>
                  <a:gd name="connsiteX17" fmla="*/ 766731 w 882194"/>
                  <a:gd name="connsiteY17" fmla="*/ 897690 h 1905000"/>
                  <a:gd name="connsiteX18" fmla="*/ 773906 w 882194"/>
                  <a:gd name="connsiteY18" fmla="*/ 992513 h 1905000"/>
                  <a:gd name="connsiteX19" fmla="*/ 786191 w 882194"/>
                  <a:gd name="connsiteY19" fmla="*/ 1073565 h 1905000"/>
                  <a:gd name="connsiteX20" fmla="*/ 798719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4125 w 882194"/>
                  <a:gd name="connsiteY31" fmla="*/ 1487902 h 1905000"/>
                  <a:gd name="connsiteX32" fmla="*/ 671891 w 882194"/>
                  <a:gd name="connsiteY32" fmla="*/ 1518480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69110 w 882194"/>
                  <a:gd name="connsiteY13" fmla="*/ 714397 h 1905000"/>
                  <a:gd name="connsiteX14" fmla="*/ 766731 w 882194"/>
                  <a:gd name="connsiteY14" fmla="*/ 781051 h 1905000"/>
                  <a:gd name="connsiteX15" fmla="*/ 773825 w 882194"/>
                  <a:gd name="connsiteY15" fmla="*/ 835819 h 1905000"/>
                  <a:gd name="connsiteX16" fmla="*/ 762000 w 882194"/>
                  <a:gd name="connsiteY16" fmla="*/ 892969 h 1905000"/>
                  <a:gd name="connsiteX17" fmla="*/ 766731 w 882194"/>
                  <a:gd name="connsiteY17" fmla="*/ 897690 h 1905000"/>
                  <a:gd name="connsiteX18" fmla="*/ 773906 w 882194"/>
                  <a:gd name="connsiteY18" fmla="*/ 992513 h 1905000"/>
                  <a:gd name="connsiteX19" fmla="*/ 786191 w 882194"/>
                  <a:gd name="connsiteY19" fmla="*/ 1073565 h 1905000"/>
                  <a:gd name="connsiteX20" fmla="*/ 798719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4125 w 882194"/>
                  <a:gd name="connsiteY31" fmla="*/ 1487902 h 1905000"/>
                  <a:gd name="connsiteX32" fmla="*/ 671891 w 882194"/>
                  <a:gd name="connsiteY32" fmla="*/ 1518480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69110 w 882194"/>
                  <a:gd name="connsiteY13" fmla="*/ 714397 h 1905000"/>
                  <a:gd name="connsiteX14" fmla="*/ 766731 w 882194"/>
                  <a:gd name="connsiteY14" fmla="*/ 781051 h 1905000"/>
                  <a:gd name="connsiteX15" fmla="*/ 773825 w 882194"/>
                  <a:gd name="connsiteY15" fmla="*/ 835819 h 1905000"/>
                  <a:gd name="connsiteX16" fmla="*/ 762000 w 882194"/>
                  <a:gd name="connsiteY16" fmla="*/ 892969 h 1905000"/>
                  <a:gd name="connsiteX17" fmla="*/ 773906 w 882194"/>
                  <a:gd name="connsiteY17" fmla="*/ 992513 h 1905000"/>
                  <a:gd name="connsiteX18" fmla="*/ 786191 w 882194"/>
                  <a:gd name="connsiteY18" fmla="*/ 1073565 h 1905000"/>
                  <a:gd name="connsiteX19" fmla="*/ 798719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69110 w 882194"/>
                  <a:gd name="connsiteY13" fmla="*/ 714397 h 1905000"/>
                  <a:gd name="connsiteX14" fmla="*/ 766731 w 882194"/>
                  <a:gd name="connsiteY14" fmla="*/ 781051 h 1905000"/>
                  <a:gd name="connsiteX15" fmla="*/ 773825 w 882194"/>
                  <a:gd name="connsiteY15" fmla="*/ 835819 h 1905000"/>
                  <a:gd name="connsiteX16" fmla="*/ 769095 w 882194"/>
                  <a:gd name="connsiteY16" fmla="*/ 897689 h 1905000"/>
                  <a:gd name="connsiteX17" fmla="*/ 773906 w 882194"/>
                  <a:gd name="connsiteY17" fmla="*/ 992513 h 1905000"/>
                  <a:gd name="connsiteX18" fmla="*/ 786191 w 882194"/>
                  <a:gd name="connsiteY18" fmla="*/ 1073565 h 1905000"/>
                  <a:gd name="connsiteX19" fmla="*/ 798719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69110 w 882194"/>
                  <a:gd name="connsiteY13" fmla="*/ 714397 h 1905000"/>
                  <a:gd name="connsiteX14" fmla="*/ 766731 w 882194"/>
                  <a:gd name="connsiteY14" fmla="*/ 781051 h 1905000"/>
                  <a:gd name="connsiteX15" fmla="*/ 769095 w 882194"/>
                  <a:gd name="connsiteY15" fmla="*/ 826378 h 1905000"/>
                  <a:gd name="connsiteX16" fmla="*/ 769095 w 882194"/>
                  <a:gd name="connsiteY16" fmla="*/ 897689 h 1905000"/>
                  <a:gd name="connsiteX17" fmla="*/ 773906 w 882194"/>
                  <a:gd name="connsiteY17" fmla="*/ 992513 h 1905000"/>
                  <a:gd name="connsiteX18" fmla="*/ 786191 w 882194"/>
                  <a:gd name="connsiteY18" fmla="*/ 1073565 h 1905000"/>
                  <a:gd name="connsiteX19" fmla="*/ 798719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69110 w 882194"/>
                  <a:gd name="connsiteY13" fmla="*/ 714397 h 1905000"/>
                  <a:gd name="connsiteX14" fmla="*/ 773826 w 882194"/>
                  <a:gd name="connsiteY14" fmla="*/ 771610 h 1905000"/>
                  <a:gd name="connsiteX15" fmla="*/ 769095 w 882194"/>
                  <a:gd name="connsiteY15" fmla="*/ 826378 h 1905000"/>
                  <a:gd name="connsiteX16" fmla="*/ 769095 w 882194"/>
                  <a:gd name="connsiteY16" fmla="*/ 897689 h 1905000"/>
                  <a:gd name="connsiteX17" fmla="*/ 773906 w 882194"/>
                  <a:gd name="connsiteY17" fmla="*/ 992513 h 1905000"/>
                  <a:gd name="connsiteX18" fmla="*/ 786191 w 882194"/>
                  <a:gd name="connsiteY18" fmla="*/ 1073565 h 1905000"/>
                  <a:gd name="connsiteX19" fmla="*/ 798719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69095 w 882194"/>
                  <a:gd name="connsiteY15" fmla="*/ 826378 h 1905000"/>
                  <a:gd name="connsiteX16" fmla="*/ 769095 w 882194"/>
                  <a:gd name="connsiteY16" fmla="*/ 897689 h 1905000"/>
                  <a:gd name="connsiteX17" fmla="*/ 773906 w 882194"/>
                  <a:gd name="connsiteY17" fmla="*/ 992513 h 1905000"/>
                  <a:gd name="connsiteX18" fmla="*/ 786191 w 882194"/>
                  <a:gd name="connsiteY18" fmla="*/ 1073565 h 1905000"/>
                  <a:gd name="connsiteX19" fmla="*/ 798719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69095 w 882194"/>
                  <a:gd name="connsiteY15" fmla="*/ 826378 h 1905000"/>
                  <a:gd name="connsiteX16" fmla="*/ 769095 w 882194"/>
                  <a:gd name="connsiteY16" fmla="*/ 897689 h 1905000"/>
                  <a:gd name="connsiteX17" fmla="*/ 773906 w 882194"/>
                  <a:gd name="connsiteY17" fmla="*/ 992513 h 1905000"/>
                  <a:gd name="connsiteX18" fmla="*/ 793286 w 882194"/>
                  <a:gd name="connsiteY18" fmla="*/ 1075925 h 1905000"/>
                  <a:gd name="connsiteX19" fmla="*/ 798719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69095 w 882194"/>
                  <a:gd name="connsiteY15" fmla="*/ 826378 h 1905000"/>
                  <a:gd name="connsiteX16" fmla="*/ 769095 w 882194"/>
                  <a:gd name="connsiteY16" fmla="*/ 897689 h 1905000"/>
                  <a:gd name="connsiteX17" fmla="*/ 773906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69095 w 882194"/>
                  <a:gd name="connsiteY15" fmla="*/ 826378 h 1905000"/>
                  <a:gd name="connsiteX16" fmla="*/ 769095 w 882194"/>
                  <a:gd name="connsiteY16" fmla="*/ 897689 h 1905000"/>
                  <a:gd name="connsiteX17" fmla="*/ 776272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9962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69095 w 882194"/>
                  <a:gd name="connsiteY15" fmla="*/ 826378 h 1905000"/>
                  <a:gd name="connsiteX16" fmla="*/ 769095 w 882194"/>
                  <a:gd name="connsiteY16" fmla="*/ 897689 h 1905000"/>
                  <a:gd name="connsiteX17" fmla="*/ 776272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0078 w 882194"/>
                  <a:gd name="connsiteY5" fmla="*/ 164265 h 1905000"/>
                  <a:gd name="connsiteX6" fmla="*/ 557212 w 882194"/>
                  <a:gd name="connsiteY6" fmla="*/ 199962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69095 w 882194"/>
                  <a:gd name="connsiteY15" fmla="*/ 826378 h 1905000"/>
                  <a:gd name="connsiteX16" fmla="*/ 769095 w 882194"/>
                  <a:gd name="connsiteY16" fmla="*/ 897689 h 1905000"/>
                  <a:gd name="connsiteX17" fmla="*/ 776272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0078 w 882194"/>
                  <a:gd name="connsiteY5" fmla="*/ 164265 h 1905000"/>
                  <a:gd name="connsiteX6" fmla="*/ 557212 w 882194"/>
                  <a:gd name="connsiteY6" fmla="*/ 199962 h 1905000"/>
                  <a:gd name="connsiteX7" fmla="*/ 621506 w 882194"/>
                  <a:gd name="connsiteY7" fmla="*/ 252413 h 1905000"/>
                  <a:gd name="connsiteX8" fmla="*/ 678656 w 882194"/>
                  <a:gd name="connsiteY8" fmla="*/ 31668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69095 w 882194"/>
                  <a:gd name="connsiteY15" fmla="*/ 826378 h 1905000"/>
                  <a:gd name="connsiteX16" fmla="*/ 769095 w 882194"/>
                  <a:gd name="connsiteY16" fmla="*/ 897689 h 1905000"/>
                  <a:gd name="connsiteX17" fmla="*/ 776272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0078 w 882194"/>
                  <a:gd name="connsiteY5" fmla="*/ 164265 h 1905000"/>
                  <a:gd name="connsiteX6" fmla="*/ 557212 w 882194"/>
                  <a:gd name="connsiteY6" fmla="*/ 199962 h 1905000"/>
                  <a:gd name="connsiteX7" fmla="*/ 621506 w 882194"/>
                  <a:gd name="connsiteY7" fmla="*/ 252413 h 1905000"/>
                  <a:gd name="connsiteX8" fmla="*/ 678656 w 882194"/>
                  <a:gd name="connsiteY8" fmla="*/ 31668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69095 w 882194"/>
                  <a:gd name="connsiteY15" fmla="*/ 826378 h 1905000"/>
                  <a:gd name="connsiteX16" fmla="*/ 769095 w 882194"/>
                  <a:gd name="connsiteY16" fmla="*/ 897689 h 1905000"/>
                  <a:gd name="connsiteX17" fmla="*/ 776272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0078 w 882194"/>
                  <a:gd name="connsiteY5" fmla="*/ 164265 h 1905000"/>
                  <a:gd name="connsiteX6" fmla="*/ 557212 w 882194"/>
                  <a:gd name="connsiteY6" fmla="*/ 199962 h 1905000"/>
                  <a:gd name="connsiteX7" fmla="*/ 621506 w 882194"/>
                  <a:gd name="connsiteY7" fmla="*/ 252413 h 1905000"/>
                  <a:gd name="connsiteX8" fmla="*/ 678656 w 882194"/>
                  <a:gd name="connsiteY8" fmla="*/ 31668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73826 w 882194"/>
                  <a:gd name="connsiteY15" fmla="*/ 831098 h 1905000"/>
                  <a:gd name="connsiteX16" fmla="*/ 769095 w 882194"/>
                  <a:gd name="connsiteY16" fmla="*/ 897689 h 1905000"/>
                  <a:gd name="connsiteX17" fmla="*/ 776272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0078 w 882194"/>
                  <a:gd name="connsiteY5" fmla="*/ 164265 h 1905000"/>
                  <a:gd name="connsiteX6" fmla="*/ 557212 w 882194"/>
                  <a:gd name="connsiteY6" fmla="*/ 199962 h 1905000"/>
                  <a:gd name="connsiteX7" fmla="*/ 621506 w 882194"/>
                  <a:gd name="connsiteY7" fmla="*/ 252413 h 1905000"/>
                  <a:gd name="connsiteX8" fmla="*/ 678656 w 882194"/>
                  <a:gd name="connsiteY8" fmla="*/ 31668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73826 w 882194"/>
                  <a:gd name="connsiteY15" fmla="*/ 831098 h 1905000"/>
                  <a:gd name="connsiteX16" fmla="*/ 771460 w 882194"/>
                  <a:gd name="connsiteY16" fmla="*/ 911851 h 1905000"/>
                  <a:gd name="connsiteX17" fmla="*/ 776272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0078 w 882194"/>
                  <a:gd name="connsiteY5" fmla="*/ 164265 h 1905000"/>
                  <a:gd name="connsiteX6" fmla="*/ 557212 w 882194"/>
                  <a:gd name="connsiteY6" fmla="*/ 199962 h 1905000"/>
                  <a:gd name="connsiteX7" fmla="*/ 621506 w 882194"/>
                  <a:gd name="connsiteY7" fmla="*/ 252413 h 1905000"/>
                  <a:gd name="connsiteX8" fmla="*/ 678656 w 882194"/>
                  <a:gd name="connsiteY8" fmla="*/ 31668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73826 w 882194"/>
                  <a:gd name="connsiteY15" fmla="*/ 831098 h 1905000"/>
                  <a:gd name="connsiteX16" fmla="*/ 771460 w 882194"/>
                  <a:gd name="connsiteY16" fmla="*/ 911851 h 1905000"/>
                  <a:gd name="connsiteX17" fmla="*/ 776272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6259 w 882194"/>
                  <a:gd name="connsiteY38" fmla="*/ 181693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0078 w 882194"/>
                  <a:gd name="connsiteY5" fmla="*/ 164265 h 1905000"/>
                  <a:gd name="connsiteX6" fmla="*/ 557212 w 882194"/>
                  <a:gd name="connsiteY6" fmla="*/ 199962 h 1905000"/>
                  <a:gd name="connsiteX7" fmla="*/ 621506 w 882194"/>
                  <a:gd name="connsiteY7" fmla="*/ 252413 h 1905000"/>
                  <a:gd name="connsiteX8" fmla="*/ 678656 w 882194"/>
                  <a:gd name="connsiteY8" fmla="*/ 31668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73826 w 882194"/>
                  <a:gd name="connsiteY15" fmla="*/ 831098 h 1905000"/>
                  <a:gd name="connsiteX16" fmla="*/ 771460 w 882194"/>
                  <a:gd name="connsiteY16" fmla="*/ 911851 h 1905000"/>
                  <a:gd name="connsiteX17" fmla="*/ 776272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85719 w 882194"/>
                  <a:gd name="connsiteY38" fmla="*/ 181693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0078 w 882194"/>
                  <a:gd name="connsiteY5" fmla="*/ 164265 h 1905000"/>
                  <a:gd name="connsiteX6" fmla="*/ 557212 w 882194"/>
                  <a:gd name="connsiteY6" fmla="*/ 199962 h 1905000"/>
                  <a:gd name="connsiteX7" fmla="*/ 621506 w 882194"/>
                  <a:gd name="connsiteY7" fmla="*/ 252413 h 1905000"/>
                  <a:gd name="connsiteX8" fmla="*/ 678656 w 882194"/>
                  <a:gd name="connsiteY8" fmla="*/ 31668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73826 w 882194"/>
                  <a:gd name="connsiteY15" fmla="*/ 831098 h 1905000"/>
                  <a:gd name="connsiteX16" fmla="*/ 771460 w 882194"/>
                  <a:gd name="connsiteY16" fmla="*/ 911851 h 1905000"/>
                  <a:gd name="connsiteX17" fmla="*/ 776272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9580 w 882194"/>
                  <a:gd name="connsiteY37" fmla="*/ 1764506 h 1905000"/>
                  <a:gd name="connsiteX38" fmla="*/ 685719 w 882194"/>
                  <a:gd name="connsiteY38" fmla="*/ 1816937 h 1905000"/>
                  <a:gd name="connsiteX39" fmla="*/ 676275 w 882194"/>
                  <a:gd name="connsiteY39" fmla="*/ 1883569 h 1905000"/>
                  <a:gd name="connsiteX40" fmla="*/ 681037 w 882194"/>
                  <a:gd name="connsiteY40" fmla="*/ 1905000 h 1905000"/>
                  <a:gd name="connsiteX0" fmla="*/ 0 w 881944"/>
                  <a:gd name="connsiteY0" fmla="*/ 0 h 1905000"/>
                  <a:gd name="connsiteX1" fmla="*/ 119062 w 881944"/>
                  <a:gd name="connsiteY1" fmla="*/ 26194 h 1905000"/>
                  <a:gd name="connsiteX2" fmla="*/ 228600 w 881944"/>
                  <a:gd name="connsiteY2" fmla="*/ 57150 h 1905000"/>
                  <a:gd name="connsiteX3" fmla="*/ 323850 w 881944"/>
                  <a:gd name="connsiteY3" fmla="*/ 83344 h 1905000"/>
                  <a:gd name="connsiteX4" fmla="*/ 409575 w 881944"/>
                  <a:gd name="connsiteY4" fmla="*/ 116681 h 1905000"/>
                  <a:gd name="connsiteX5" fmla="*/ 500078 w 881944"/>
                  <a:gd name="connsiteY5" fmla="*/ 164265 h 1905000"/>
                  <a:gd name="connsiteX6" fmla="*/ 557212 w 881944"/>
                  <a:gd name="connsiteY6" fmla="*/ 199962 h 1905000"/>
                  <a:gd name="connsiteX7" fmla="*/ 621506 w 881944"/>
                  <a:gd name="connsiteY7" fmla="*/ 252413 h 1905000"/>
                  <a:gd name="connsiteX8" fmla="*/ 678656 w 881944"/>
                  <a:gd name="connsiteY8" fmla="*/ 316685 h 1905000"/>
                  <a:gd name="connsiteX9" fmla="*/ 709612 w 881944"/>
                  <a:gd name="connsiteY9" fmla="*/ 369094 h 1905000"/>
                  <a:gd name="connsiteX10" fmla="*/ 735806 w 881944"/>
                  <a:gd name="connsiteY10" fmla="*/ 431006 h 1905000"/>
                  <a:gd name="connsiteX11" fmla="*/ 762000 w 881944"/>
                  <a:gd name="connsiteY11" fmla="*/ 519113 h 1905000"/>
                  <a:gd name="connsiteX12" fmla="*/ 773858 w 881944"/>
                  <a:gd name="connsiteY12" fmla="*/ 616723 h 1905000"/>
                  <a:gd name="connsiteX13" fmla="*/ 773840 w 881944"/>
                  <a:gd name="connsiteY13" fmla="*/ 697875 h 1905000"/>
                  <a:gd name="connsiteX14" fmla="*/ 773826 w 881944"/>
                  <a:gd name="connsiteY14" fmla="*/ 771610 h 1905000"/>
                  <a:gd name="connsiteX15" fmla="*/ 773826 w 881944"/>
                  <a:gd name="connsiteY15" fmla="*/ 831098 h 1905000"/>
                  <a:gd name="connsiteX16" fmla="*/ 771460 w 881944"/>
                  <a:gd name="connsiteY16" fmla="*/ 911851 h 1905000"/>
                  <a:gd name="connsiteX17" fmla="*/ 776272 w 881944"/>
                  <a:gd name="connsiteY17" fmla="*/ 992513 h 1905000"/>
                  <a:gd name="connsiteX18" fmla="*/ 793286 w 881944"/>
                  <a:gd name="connsiteY18" fmla="*/ 1075925 h 1905000"/>
                  <a:gd name="connsiteX19" fmla="*/ 805813 w 881944"/>
                  <a:gd name="connsiteY19" fmla="*/ 1131093 h 1905000"/>
                  <a:gd name="connsiteX20" fmla="*/ 819149 w 881944"/>
                  <a:gd name="connsiteY20" fmla="*/ 1183481 h 1905000"/>
                  <a:gd name="connsiteX21" fmla="*/ 840581 w 881944"/>
                  <a:gd name="connsiteY21" fmla="*/ 1238250 h 1905000"/>
                  <a:gd name="connsiteX22" fmla="*/ 872023 w 881944"/>
                  <a:gd name="connsiteY22" fmla="*/ 1307776 h 1905000"/>
                  <a:gd name="connsiteX23" fmla="*/ 881820 w 881944"/>
                  <a:gd name="connsiteY23" fmla="*/ 1345695 h 1905000"/>
                  <a:gd name="connsiteX24" fmla="*/ 866775 w 881944"/>
                  <a:gd name="connsiteY24" fmla="*/ 1376363 h 1905000"/>
                  <a:gd name="connsiteX25" fmla="*/ 833437 w 881944"/>
                  <a:gd name="connsiteY25" fmla="*/ 1393789 h 1905000"/>
                  <a:gd name="connsiteX26" fmla="*/ 783431 w 881944"/>
                  <a:gd name="connsiteY26" fmla="*/ 1395413 h 1905000"/>
                  <a:gd name="connsiteX27" fmla="*/ 728662 w 881944"/>
                  <a:gd name="connsiteY27" fmla="*/ 1397794 h 1905000"/>
                  <a:gd name="connsiteX28" fmla="*/ 692944 w 881944"/>
                  <a:gd name="connsiteY28" fmla="*/ 1414463 h 1905000"/>
                  <a:gd name="connsiteX29" fmla="*/ 669131 w 881944"/>
                  <a:gd name="connsiteY29" fmla="*/ 1447800 h 1905000"/>
                  <a:gd name="connsiteX30" fmla="*/ 664125 w 881944"/>
                  <a:gd name="connsiteY30" fmla="*/ 1487902 h 1905000"/>
                  <a:gd name="connsiteX31" fmla="*/ 671891 w 881944"/>
                  <a:gd name="connsiteY31" fmla="*/ 1518480 h 1905000"/>
                  <a:gd name="connsiteX32" fmla="*/ 686377 w 881944"/>
                  <a:gd name="connsiteY32" fmla="*/ 1551060 h 1905000"/>
                  <a:gd name="connsiteX33" fmla="*/ 705896 w 881944"/>
                  <a:gd name="connsiteY33" fmla="*/ 1581439 h 1905000"/>
                  <a:gd name="connsiteX34" fmla="*/ 721518 w 881944"/>
                  <a:gd name="connsiteY34" fmla="*/ 1609725 h 1905000"/>
                  <a:gd name="connsiteX35" fmla="*/ 739703 w 881944"/>
                  <a:gd name="connsiteY35" fmla="*/ 1665829 h 1905000"/>
                  <a:gd name="connsiteX36" fmla="*/ 733425 w 881944"/>
                  <a:gd name="connsiteY36" fmla="*/ 1707356 h 1905000"/>
                  <a:gd name="connsiteX37" fmla="*/ 709580 w 881944"/>
                  <a:gd name="connsiteY37" fmla="*/ 1764506 h 1905000"/>
                  <a:gd name="connsiteX38" fmla="*/ 685719 w 881944"/>
                  <a:gd name="connsiteY38" fmla="*/ 1816937 h 1905000"/>
                  <a:gd name="connsiteX39" fmla="*/ 676275 w 881944"/>
                  <a:gd name="connsiteY39" fmla="*/ 1883569 h 1905000"/>
                  <a:gd name="connsiteX40" fmla="*/ 681037 w 881944"/>
                  <a:gd name="connsiteY40" fmla="*/ 1905000 h 1905000"/>
                  <a:gd name="connsiteX0" fmla="*/ 0 w 881944"/>
                  <a:gd name="connsiteY0" fmla="*/ 0 h 1905000"/>
                  <a:gd name="connsiteX1" fmla="*/ 119062 w 881944"/>
                  <a:gd name="connsiteY1" fmla="*/ 28554 h 1905000"/>
                  <a:gd name="connsiteX2" fmla="*/ 228600 w 881944"/>
                  <a:gd name="connsiteY2" fmla="*/ 57150 h 1905000"/>
                  <a:gd name="connsiteX3" fmla="*/ 323850 w 881944"/>
                  <a:gd name="connsiteY3" fmla="*/ 83344 h 1905000"/>
                  <a:gd name="connsiteX4" fmla="*/ 409575 w 881944"/>
                  <a:gd name="connsiteY4" fmla="*/ 116681 h 1905000"/>
                  <a:gd name="connsiteX5" fmla="*/ 500078 w 881944"/>
                  <a:gd name="connsiteY5" fmla="*/ 164265 h 1905000"/>
                  <a:gd name="connsiteX6" fmla="*/ 557212 w 881944"/>
                  <a:gd name="connsiteY6" fmla="*/ 199962 h 1905000"/>
                  <a:gd name="connsiteX7" fmla="*/ 621506 w 881944"/>
                  <a:gd name="connsiteY7" fmla="*/ 252413 h 1905000"/>
                  <a:gd name="connsiteX8" fmla="*/ 678656 w 881944"/>
                  <a:gd name="connsiteY8" fmla="*/ 316685 h 1905000"/>
                  <a:gd name="connsiteX9" fmla="*/ 709612 w 881944"/>
                  <a:gd name="connsiteY9" fmla="*/ 369094 h 1905000"/>
                  <a:gd name="connsiteX10" fmla="*/ 735806 w 881944"/>
                  <a:gd name="connsiteY10" fmla="*/ 431006 h 1905000"/>
                  <a:gd name="connsiteX11" fmla="*/ 762000 w 881944"/>
                  <a:gd name="connsiteY11" fmla="*/ 519113 h 1905000"/>
                  <a:gd name="connsiteX12" fmla="*/ 773858 w 881944"/>
                  <a:gd name="connsiteY12" fmla="*/ 616723 h 1905000"/>
                  <a:gd name="connsiteX13" fmla="*/ 773840 w 881944"/>
                  <a:gd name="connsiteY13" fmla="*/ 697875 h 1905000"/>
                  <a:gd name="connsiteX14" fmla="*/ 773826 w 881944"/>
                  <a:gd name="connsiteY14" fmla="*/ 771610 h 1905000"/>
                  <a:gd name="connsiteX15" fmla="*/ 773826 w 881944"/>
                  <a:gd name="connsiteY15" fmla="*/ 831098 h 1905000"/>
                  <a:gd name="connsiteX16" fmla="*/ 771460 w 881944"/>
                  <a:gd name="connsiteY16" fmla="*/ 911851 h 1905000"/>
                  <a:gd name="connsiteX17" fmla="*/ 776272 w 881944"/>
                  <a:gd name="connsiteY17" fmla="*/ 992513 h 1905000"/>
                  <a:gd name="connsiteX18" fmla="*/ 793286 w 881944"/>
                  <a:gd name="connsiteY18" fmla="*/ 1075925 h 1905000"/>
                  <a:gd name="connsiteX19" fmla="*/ 805813 w 881944"/>
                  <a:gd name="connsiteY19" fmla="*/ 1131093 h 1905000"/>
                  <a:gd name="connsiteX20" fmla="*/ 819149 w 881944"/>
                  <a:gd name="connsiteY20" fmla="*/ 1183481 h 1905000"/>
                  <a:gd name="connsiteX21" fmla="*/ 840581 w 881944"/>
                  <a:gd name="connsiteY21" fmla="*/ 1238250 h 1905000"/>
                  <a:gd name="connsiteX22" fmla="*/ 872023 w 881944"/>
                  <a:gd name="connsiteY22" fmla="*/ 1307776 h 1905000"/>
                  <a:gd name="connsiteX23" fmla="*/ 881820 w 881944"/>
                  <a:gd name="connsiteY23" fmla="*/ 1345695 h 1905000"/>
                  <a:gd name="connsiteX24" fmla="*/ 866775 w 881944"/>
                  <a:gd name="connsiteY24" fmla="*/ 1376363 h 1905000"/>
                  <a:gd name="connsiteX25" fmla="*/ 833437 w 881944"/>
                  <a:gd name="connsiteY25" fmla="*/ 1393789 h 1905000"/>
                  <a:gd name="connsiteX26" fmla="*/ 783431 w 881944"/>
                  <a:gd name="connsiteY26" fmla="*/ 1395413 h 1905000"/>
                  <a:gd name="connsiteX27" fmla="*/ 728662 w 881944"/>
                  <a:gd name="connsiteY27" fmla="*/ 1397794 h 1905000"/>
                  <a:gd name="connsiteX28" fmla="*/ 692944 w 881944"/>
                  <a:gd name="connsiteY28" fmla="*/ 1414463 h 1905000"/>
                  <a:gd name="connsiteX29" fmla="*/ 669131 w 881944"/>
                  <a:gd name="connsiteY29" fmla="*/ 1447800 h 1905000"/>
                  <a:gd name="connsiteX30" fmla="*/ 664125 w 881944"/>
                  <a:gd name="connsiteY30" fmla="*/ 1487902 h 1905000"/>
                  <a:gd name="connsiteX31" fmla="*/ 671891 w 881944"/>
                  <a:gd name="connsiteY31" fmla="*/ 1518480 h 1905000"/>
                  <a:gd name="connsiteX32" fmla="*/ 686377 w 881944"/>
                  <a:gd name="connsiteY32" fmla="*/ 1551060 h 1905000"/>
                  <a:gd name="connsiteX33" fmla="*/ 705896 w 881944"/>
                  <a:gd name="connsiteY33" fmla="*/ 1581439 h 1905000"/>
                  <a:gd name="connsiteX34" fmla="*/ 721518 w 881944"/>
                  <a:gd name="connsiteY34" fmla="*/ 1609725 h 1905000"/>
                  <a:gd name="connsiteX35" fmla="*/ 739703 w 881944"/>
                  <a:gd name="connsiteY35" fmla="*/ 1665829 h 1905000"/>
                  <a:gd name="connsiteX36" fmla="*/ 733425 w 881944"/>
                  <a:gd name="connsiteY36" fmla="*/ 1707356 h 1905000"/>
                  <a:gd name="connsiteX37" fmla="*/ 709580 w 881944"/>
                  <a:gd name="connsiteY37" fmla="*/ 1764506 h 1905000"/>
                  <a:gd name="connsiteX38" fmla="*/ 685719 w 881944"/>
                  <a:gd name="connsiteY38" fmla="*/ 1816937 h 1905000"/>
                  <a:gd name="connsiteX39" fmla="*/ 676275 w 881944"/>
                  <a:gd name="connsiteY39" fmla="*/ 1883569 h 1905000"/>
                  <a:gd name="connsiteX40" fmla="*/ 681037 w 881944"/>
                  <a:gd name="connsiteY40" fmla="*/ 1905000 h 1905000"/>
                  <a:gd name="connsiteX0" fmla="*/ 0 w 877214"/>
                  <a:gd name="connsiteY0" fmla="*/ 0 h 1902640"/>
                  <a:gd name="connsiteX1" fmla="*/ 114332 w 877214"/>
                  <a:gd name="connsiteY1" fmla="*/ 26194 h 1902640"/>
                  <a:gd name="connsiteX2" fmla="*/ 223870 w 877214"/>
                  <a:gd name="connsiteY2" fmla="*/ 54790 h 1902640"/>
                  <a:gd name="connsiteX3" fmla="*/ 319120 w 877214"/>
                  <a:gd name="connsiteY3" fmla="*/ 80984 h 1902640"/>
                  <a:gd name="connsiteX4" fmla="*/ 404845 w 877214"/>
                  <a:gd name="connsiteY4" fmla="*/ 114321 h 1902640"/>
                  <a:gd name="connsiteX5" fmla="*/ 495348 w 877214"/>
                  <a:gd name="connsiteY5" fmla="*/ 161905 h 1902640"/>
                  <a:gd name="connsiteX6" fmla="*/ 552482 w 877214"/>
                  <a:gd name="connsiteY6" fmla="*/ 197602 h 1902640"/>
                  <a:gd name="connsiteX7" fmla="*/ 616776 w 877214"/>
                  <a:gd name="connsiteY7" fmla="*/ 250053 h 1902640"/>
                  <a:gd name="connsiteX8" fmla="*/ 673926 w 877214"/>
                  <a:gd name="connsiteY8" fmla="*/ 314325 h 1902640"/>
                  <a:gd name="connsiteX9" fmla="*/ 704882 w 877214"/>
                  <a:gd name="connsiteY9" fmla="*/ 366734 h 1902640"/>
                  <a:gd name="connsiteX10" fmla="*/ 731076 w 877214"/>
                  <a:gd name="connsiteY10" fmla="*/ 428646 h 1902640"/>
                  <a:gd name="connsiteX11" fmla="*/ 757270 w 877214"/>
                  <a:gd name="connsiteY11" fmla="*/ 516753 h 1902640"/>
                  <a:gd name="connsiteX12" fmla="*/ 769128 w 877214"/>
                  <a:gd name="connsiteY12" fmla="*/ 614363 h 1902640"/>
                  <a:gd name="connsiteX13" fmla="*/ 769110 w 877214"/>
                  <a:gd name="connsiteY13" fmla="*/ 695515 h 1902640"/>
                  <a:gd name="connsiteX14" fmla="*/ 769096 w 877214"/>
                  <a:gd name="connsiteY14" fmla="*/ 769250 h 1902640"/>
                  <a:gd name="connsiteX15" fmla="*/ 769096 w 877214"/>
                  <a:gd name="connsiteY15" fmla="*/ 828738 h 1902640"/>
                  <a:gd name="connsiteX16" fmla="*/ 766730 w 877214"/>
                  <a:gd name="connsiteY16" fmla="*/ 909491 h 1902640"/>
                  <a:gd name="connsiteX17" fmla="*/ 771542 w 877214"/>
                  <a:gd name="connsiteY17" fmla="*/ 990153 h 1902640"/>
                  <a:gd name="connsiteX18" fmla="*/ 788556 w 877214"/>
                  <a:gd name="connsiteY18" fmla="*/ 1073565 h 1902640"/>
                  <a:gd name="connsiteX19" fmla="*/ 801083 w 877214"/>
                  <a:gd name="connsiteY19" fmla="*/ 1128733 h 1902640"/>
                  <a:gd name="connsiteX20" fmla="*/ 814419 w 877214"/>
                  <a:gd name="connsiteY20" fmla="*/ 1181121 h 1902640"/>
                  <a:gd name="connsiteX21" fmla="*/ 835851 w 877214"/>
                  <a:gd name="connsiteY21" fmla="*/ 1235890 h 1902640"/>
                  <a:gd name="connsiteX22" fmla="*/ 867293 w 877214"/>
                  <a:gd name="connsiteY22" fmla="*/ 1305416 h 1902640"/>
                  <a:gd name="connsiteX23" fmla="*/ 877090 w 877214"/>
                  <a:gd name="connsiteY23" fmla="*/ 1343335 h 1902640"/>
                  <a:gd name="connsiteX24" fmla="*/ 862045 w 877214"/>
                  <a:gd name="connsiteY24" fmla="*/ 1374003 h 1902640"/>
                  <a:gd name="connsiteX25" fmla="*/ 828707 w 877214"/>
                  <a:gd name="connsiteY25" fmla="*/ 1391429 h 1902640"/>
                  <a:gd name="connsiteX26" fmla="*/ 778701 w 877214"/>
                  <a:gd name="connsiteY26" fmla="*/ 1393053 h 1902640"/>
                  <a:gd name="connsiteX27" fmla="*/ 723932 w 877214"/>
                  <a:gd name="connsiteY27" fmla="*/ 1395434 h 1902640"/>
                  <a:gd name="connsiteX28" fmla="*/ 688214 w 877214"/>
                  <a:gd name="connsiteY28" fmla="*/ 1412103 h 1902640"/>
                  <a:gd name="connsiteX29" fmla="*/ 664401 w 877214"/>
                  <a:gd name="connsiteY29" fmla="*/ 1445440 h 1902640"/>
                  <a:gd name="connsiteX30" fmla="*/ 659395 w 877214"/>
                  <a:gd name="connsiteY30" fmla="*/ 1485542 h 1902640"/>
                  <a:gd name="connsiteX31" fmla="*/ 667161 w 877214"/>
                  <a:gd name="connsiteY31" fmla="*/ 1516120 h 1902640"/>
                  <a:gd name="connsiteX32" fmla="*/ 681647 w 877214"/>
                  <a:gd name="connsiteY32" fmla="*/ 1548700 h 1902640"/>
                  <a:gd name="connsiteX33" fmla="*/ 701166 w 877214"/>
                  <a:gd name="connsiteY33" fmla="*/ 1579079 h 1902640"/>
                  <a:gd name="connsiteX34" fmla="*/ 716788 w 877214"/>
                  <a:gd name="connsiteY34" fmla="*/ 1607365 h 1902640"/>
                  <a:gd name="connsiteX35" fmla="*/ 734973 w 877214"/>
                  <a:gd name="connsiteY35" fmla="*/ 1663469 h 1902640"/>
                  <a:gd name="connsiteX36" fmla="*/ 728695 w 877214"/>
                  <a:gd name="connsiteY36" fmla="*/ 1704996 h 1902640"/>
                  <a:gd name="connsiteX37" fmla="*/ 704850 w 877214"/>
                  <a:gd name="connsiteY37" fmla="*/ 1762146 h 1902640"/>
                  <a:gd name="connsiteX38" fmla="*/ 680989 w 877214"/>
                  <a:gd name="connsiteY38" fmla="*/ 1814577 h 1902640"/>
                  <a:gd name="connsiteX39" fmla="*/ 671545 w 877214"/>
                  <a:gd name="connsiteY39" fmla="*/ 1881209 h 1902640"/>
                  <a:gd name="connsiteX40" fmla="*/ 676307 w 877214"/>
                  <a:gd name="connsiteY40" fmla="*/ 1902640 h 1902640"/>
                  <a:gd name="connsiteX0" fmla="*/ 0 w 877214"/>
                  <a:gd name="connsiteY0" fmla="*/ 0 h 1895559"/>
                  <a:gd name="connsiteX1" fmla="*/ 114332 w 877214"/>
                  <a:gd name="connsiteY1" fmla="*/ 19113 h 1895559"/>
                  <a:gd name="connsiteX2" fmla="*/ 223870 w 877214"/>
                  <a:gd name="connsiteY2" fmla="*/ 47709 h 1895559"/>
                  <a:gd name="connsiteX3" fmla="*/ 319120 w 877214"/>
                  <a:gd name="connsiteY3" fmla="*/ 73903 h 1895559"/>
                  <a:gd name="connsiteX4" fmla="*/ 404845 w 877214"/>
                  <a:gd name="connsiteY4" fmla="*/ 107240 h 1895559"/>
                  <a:gd name="connsiteX5" fmla="*/ 495348 w 877214"/>
                  <a:gd name="connsiteY5" fmla="*/ 154824 h 1895559"/>
                  <a:gd name="connsiteX6" fmla="*/ 552482 w 877214"/>
                  <a:gd name="connsiteY6" fmla="*/ 190521 h 1895559"/>
                  <a:gd name="connsiteX7" fmla="*/ 616776 w 877214"/>
                  <a:gd name="connsiteY7" fmla="*/ 242972 h 1895559"/>
                  <a:gd name="connsiteX8" fmla="*/ 673926 w 877214"/>
                  <a:gd name="connsiteY8" fmla="*/ 307244 h 1895559"/>
                  <a:gd name="connsiteX9" fmla="*/ 704882 w 877214"/>
                  <a:gd name="connsiteY9" fmla="*/ 359653 h 1895559"/>
                  <a:gd name="connsiteX10" fmla="*/ 731076 w 877214"/>
                  <a:gd name="connsiteY10" fmla="*/ 421565 h 1895559"/>
                  <a:gd name="connsiteX11" fmla="*/ 757270 w 877214"/>
                  <a:gd name="connsiteY11" fmla="*/ 509672 h 1895559"/>
                  <a:gd name="connsiteX12" fmla="*/ 769128 w 877214"/>
                  <a:gd name="connsiteY12" fmla="*/ 607282 h 1895559"/>
                  <a:gd name="connsiteX13" fmla="*/ 769110 w 877214"/>
                  <a:gd name="connsiteY13" fmla="*/ 688434 h 1895559"/>
                  <a:gd name="connsiteX14" fmla="*/ 769096 w 877214"/>
                  <a:gd name="connsiteY14" fmla="*/ 762169 h 1895559"/>
                  <a:gd name="connsiteX15" fmla="*/ 769096 w 877214"/>
                  <a:gd name="connsiteY15" fmla="*/ 821657 h 1895559"/>
                  <a:gd name="connsiteX16" fmla="*/ 766730 w 877214"/>
                  <a:gd name="connsiteY16" fmla="*/ 902410 h 1895559"/>
                  <a:gd name="connsiteX17" fmla="*/ 771542 w 877214"/>
                  <a:gd name="connsiteY17" fmla="*/ 983072 h 1895559"/>
                  <a:gd name="connsiteX18" fmla="*/ 788556 w 877214"/>
                  <a:gd name="connsiteY18" fmla="*/ 1066484 h 1895559"/>
                  <a:gd name="connsiteX19" fmla="*/ 801083 w 877214"/>
                  <a:gd name="connsiteY19" fmla="*/ 1121652 h 1895559"/>
                  <a:gd name="connsiteX20" fmla="*/ 814419 w 877214"/>
                  <a:gd name="connsiteY20" fmla="*/ 1174040 h 1895559"/>
                  <a:gd name="connsiteX21" fmla="*/ 835851 w 877214"/>
                  <a:gd name="connsiteY21" fmla="*/ 1228809 h 1895559"/>
                  <a:gd name="connsiteX22" fmla="*/ 867293 w 877214"/>
                  <a:gd name="connsiteY22" fmla="*/ 1298335 h 1895559"/>
                  <a:gd name="connsiteX23" fmla="*/ 877090 w 877214"/>
                  <a:gd name="connsiteY23" fmla="*/ 1336254 h 1895559"/>
                  <a:gd name="connsiteX24" fmla="*/ 862045 w 877214"/>
                  <a:gd name="connsiteY24" fmla="*/ 1366922 h 1895559"/>
                  <a:gd name="connsiteX25" fmla="*/ 828707 w 877214"/>
                  <a:gd name="connsiteY25" fmla="*/ 1384348 h 1895559"/>
                  <a:gd name="connsiteX26" fmla="*/ 778701 w 877214"/>
                  <a:gd name="connsiteY26" fmla="*/ 1385972 h 1895559"/>
                  <a:gd name="connsiteX27" fmla="*/ 723932 w 877214"/>
                  <a:gd name="connsiteY27" fmla="*/ 1388353 h 1895559"/>
                  <a:gd name="connsiteX28" fmla="*/ 688214 w 877214"/>
                  <a:gd name="connsiteY28" fmla="*/ 1405022 h 1895559"/>
                  <a:gd name="connsiteX29" fmla="*/ 664401 w 877214"/>
                  <a:gd name="connsiteY29" fmla="*/ 1438359 h 1895559"/>
                  <a:gd name="connsiteX30" fmla="*/ 659395 w 877214"/>
                  <a:gd name="connsiteY30" fmla="*/ 1478461 h 1895559"/>
                  <a:gd name="connsiteX31" fmla="*/ 667161 w 877214"/>
                  <a:gd name="connsiteY31" fmla="*/ 1509039 h 1895559"/>
                  <a:gd name="connsiteX32" fmla="*/ 681647 w 877214"/>
                  <a:gd name="connsiteY32" fmla="*/ 1541619 h 1895559"/>
                  <a:gd name="connsiteX33" fmla="*/ 701166 w 877214"/>
                  <a:gd name="connsiteY33" fmla="*/ 1571998 h 1895559"/>
                  <a:gd name="connsiteX34" fmla="*/ 716788 w 877214"/>
                  <a:gd name="connsiteY34" fmla="*/ 1600284 h 1895559"/>
                  <a:gd name="connsiteX35" fmla="*/ 734973 w 877214"/>
                  <a:gd name="connsiteY35" fmla="*/ 1656388 h 1895559"/>
                  <a:gd name="connsiteX36" fmla="*/ 728695 w 877214"/>
                  <a:gd name="connsiteY36" fmla="*/ 1697915 h 1895559"/>
                  <a:gd name="connsiteX37" fmla="*/ 704850 w 877214"/>
                  <a:gd name="connsiteY37" fmla="*/ 1755065 h 1895559"/>
                  <a:gd name="connsiteX38" fmla="*/ 680989 w 877214"/>
                  <a:gd name="connsiteY38" fmla="*/ 1807496 h 1895559"/>
                  <a:gd name="connsiteX39" fmla="*/ 671545 w 877214"/>
                  <a:gd name="connsiteY39" fmla="*/ 1874128 h 1895559"/>
                  <a:gd name="connsiteX40" fmla="*/ 676307 w 877214"/>
                  <a:gd name="connsiteY40" fmla="*/ 1895559 h 189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77214" h="1895559">
                    <a:moveTo>
                      <a:pt x="0" y="0"/>
                    </a:moveTo>
                    <a:lnTo>
                      <a:pt x="114332" y="19113"/>
                    </a:lnTo>
                    <a:lnTo>
                      <a:pt x="223870" y="47709"/>
                    </a:lnTo>
                    <a:lnTo>
                      <a:pt x="319120" y="73903"/>
                    </a:lnTo>
                    <a:lnTo>
                      <a:pt x="404845" y="107240"/>
                    </a:lnTo>
                    <a:lnTo>
                      <a:pt x="495348" y="154824"/>
                    </a:lnTo>
                    <a:cubicBezTo>
                      <a:pt x="519954" y="167524"/>
                      <a:pt x="532244" y="175830"/>
                      <a:pt x="552482" y="190521"/>
                    </a:cubicBezTo>
                    <a:cubicBezTo>
                      <a:pt x="572720" y="205212"/>
                      <a:pt x="596535" y="222731"/>
                      <a:pt x="616776" y="242972"/>
                    </a:cubicBezTo>
                    <a:cubicBezTo>
                      <a:pt x="637017" y="263213"/>
                      <a:pt x="659242" y="287797"/>
                      <a:pt x="673926" y="307244"/>
                    </a:cubicBezTo>
                    <a:cubicBezTo>
                      <a:pt x="688610" y="326691"/>
                      <a:pt x="695357" y="340206"/>
                      <a:pt x="704882" y="359653"/>
                    </a:cubicBezTo>
                    <a:lnTo>
                      <a:pt x="731076" y="421565"/>
                    </a:lnTo>
                    <a:cubicBezTo>
                      <a:pt x="739807" y="446568"/>
                      <a:pt x="750928" y="478719"/>
                      <a:pt x="757270" y="509672"/>
                    </a:cubicBezTo>
                    <a:cubicBezTo>
                      <a:pt x="763612" y="540625"/>
                      <a:pt x="768731" y="574341"/>
                      <a:pt x="769128" y="607282"/>
                    </a:cubicBezTo>
                    <a:cubicBezTo>
                      <a:pt x="771509" y="637445"/>
                      <a:pt x="769115" y="662620"/>
                      <a:pt x="769110" y="688434"/>
                    </a:cubicBezTo>
                    <a:cubicBezTo>
                      <a:pt x="769105" y="714248"/>
                      <a:pt x="771477" y="739547"/>
                      <a:pt x="769096" y="762169"/>
                    </a:cubicBezTo>
                    <a:lnTo>
                      <a:pt x="769096" y="821657"/>
                    </a:lnTo>
                    <a:cubicBezTo>
                      <a:pt x="765154" y="840707"/>
                      <a:pt x="766322" y="875508"/>
                      <a:pt x="766730" y="902410"/>
                    </a:cubicBezTo>
                    <a:cubicBezTo>
                      <a:pt x="767138" y="929312"/>
                      <a:pt x="767904" y="955726"/>
                      <a:pt x="771542" y="983072"/>
                    </a:cubicBezTo>
                    <a:cubicBezTo>
                      <a:pt x="775180" y="1010418"/>
                      <a:pt x="784587" y="1042275"/>
                      <a:pt x="788556" y="1066484"/>
                    </a:cubicBezTo>
                    <a:cubicBezTo>
                      <a:pt x="792525" y="1090693"/>
                      <a:pt x="796773" y="1103726"/>
                      <a:pt x="801083" y="1121652"/>
                    </a:cubicBezTo>
                    <a:cubicBezTo>
                      <a:pt x="805393" y="1139578"/>
                      <a:pt x="807275" y="1156181"/>
                      <a:pt x="814419" y="1174040"/>
                    </a:cubicBezTo>
                    <a:lnTo>
                      <a:pt x="835851" y="1228809"/>
                    </a:lnTo>
                    <a:cubicBezTo>
                      <a:pt x="846170" y="1250637"/>
                      <a:pt x="860420" y="1280428"/>
                      <a:pt x="867293" y="1298335"/>
                    </a:cubicBezTo>
                    <a:cubicBezTo>
                      <a:pt x="874166" y="1316242"/>
                      <a:pt x="877965" y="1324823"/>
                      <a:pt x="877090" y="1336254"/>
                    </a:cubicBezTo>
                    <a:cubicBezTo>
                      <a:pt x="876215" y="1347685"/>
                      <a:pt x="870776" y="1357794"/>
                      <a:pt x="862045" y="1366922"/>
                    </a:cubicBezTo>
                    <a:cubicBezTo>
                      <a:pt x="853314" y="1376050"/>
                      <a:pt x="842598" y="1381173"/>
                      <a:pt x="828707" y="1384348"/>
                    </a:cubicBezTo>
                    <a:cubicBezTo>
                      <a:pt x="814816" y="1387523"/>
                      <a:pt x="796163" y="1385972"/>
                      <a:pt x="778701" y="1385972"/>
                    </a:cubicBezTo>
                    <a:cubicBezTo>
                      <a:pt x="760445" y="1386766"/>
                      <a:pt x="739013" y="1385178"/>
                      <a:pt x="723932" y="1388353"/>
                    </a:cubicBezTo>
                    <a:cubicBezTo>
                      <a:pt x="708851" y="1391528"/>
                      <a:pt x="698136" y="1396688"/>
                      <a:pt x="688214" y="1405022"/>
                    </a:cubicBezTo>
                    <a:cubicBezTo>
                      <a:pt x="678292" y="1413356"/>
                      <a:pt x="669204" y="1426119"/>
                      <a:pt x="664401" y="1438359"/>
                    </a:cubicBezTo>
                    <a:cubicBezTo>
                      <a:pt x="659598" y="1450599"/>
                      <a:pt x="658935" y="1466681"/>
                      <a:pt x="659395" y="1478461"/>
                    </a:cubicBezTo>
                    <a:cubicBezTo>
                      <a:pt x="659855" y="1490241"/>
                      <a:pt x="664572" y="1498846"/>
                      <a:pt x="667161" y="1509039"/>
                    </a:cubicBezTo>
                    <a:cubicBezTo>
                      <a:pt x="669145" y="1518564"/>
                      <a:pt x="675980" y="1531126"/>
                      <a:pt x="681647" y="1541619"/>
                    </a:cubicBezTo>
                    <a:cubicBezTo>
                      <a:pt x="687314" y="1552112"/>
                      <a:pt x="694419" y="1560886"/>
                      <a:pt x="701166" y="1571998"/>
                    </a:cubicBezTo>
                    <a:lnTo>
                      <a:pt x="716788" y="1600284"/>
                    </a:lnTo>
                    <a:cubicBezTo>
                      <a:pt x="723535" y="1614571"/>
                      <a:pt x="732989" y="1640116"/>
                      <a:pt x="734973" y="1656388"/>
                    </a:cubicBezTo>
                    <a:cubicBezTo>
                      <a:pt x="736957" y="1672660"/>
                      <a:pt x="735839" y="1681246"/>
                      <a:pt x="728695" y="1697915"/>
                    </a:cubicBezTo>
                    <a:lnTo>
                      <a:pt x="704850" y="1755065"/>
                    </a:lnTo>
                    <a:cubicBezTo>
                      <a:pt x="694928" y="1774115"/>
                      <a:pt x="686540" y="1787652"/>
                      <a:pt x="680989" y="1807496"/>
                    </a:cubicBezTo>
                    <a:cubicBezTo>
                      <a:pt x="675438" y="1827340"/>
                      <a:pt x="670355" y="1860238"/>
                      <a:pt x="671545" y="1874128"/>
                    </a:cubicBezTo>
                    <a:lnTo>
                      <a:pt x="676307" y="1895559"/>
                    </a:lnTo>
                  </a:path>
                </a:pathLst>
              </a:custGeom>
              <a:noFill/>
              <a:ln w="85725" cap="rnd"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Freeform 26"/>
              <p:cNvSpPr/>
              <p:nvPr/>
            </p:nvSpPr>
            <p:spPr>
              <a:xfrm>
                <a:off x="1369492" y="2400188"/>
                <a:ext cx="643677" cy="267677"/>
              </a:xfrm>
              <a:custGeom>
                <a:avLst/>
                <a:gdLst>
                  <a:gd name="connsiteX0" fmla="*/ 1490663 w 1524000"/>
                  <a:gd name="connsiteY0" fmla="*/ 0 h 631031"/>
                  <a:gd name="connsiteX1" fmla="*/ 1524000 w 1524000"/>
                  <a:gd name="connsiteY1" fmla="*/ 130968 h 631031"/>
                  <a:gd name="connsiteX2" fmla="*/ 1509713 w 1524000"/>
                  <a:gd name="connsiteY2" fmla="*/ 228600 h 631031"/>
                  <a:gd name="connsiteX3" fmla="*/ 1481138 w 1524000"/>
                  <a:gd name="connsiteY3" fmla="*/ 304800 h 631031"/>
                  <a:gd name="connsiteX4" fmla="*/ 1407319 w 1524000"/>
                  <a:gd name="connsiteY4" fmla="*/ 395287 h 631031"/>
                  <a:gd name="connsiteX5" fmla="*/ 1316831 w 1524000"/>
                  <a:gd name="connsiteY5" fmla="*/ 438150 h 631031"/>
                  <a:gd name="connsiteX6" fmla="*/ 1233488 w 1524000"/>
                  <a:gd name="connsiteY6" fmla="*/ 461962 h 631031"/>
                  <a:gd name="connsiteX7" fmla="*/ 1143000 w 1524000"/>
                  <a:gd name="connsiteY7" fmla="*/ 478631 h 631031"/>
                  <a:gd name="connsiteX8" fmla="*/ 1143000 w 1524000"/>
                  <a:gd name="connsiteY8" fmla="*/ 478631 h 631031"/>
                  <a:gd name="connsiteX9" fmla="*/ 1014413 w 1524000"/>
                  <a:gd name="connsiteY9" fmla="*/ 492918 h 631031"/>
                  <a:gd name="connsiteX10" fmla="*/ 769144 w 1524000"/>
                  <a:gd name="connsiteY10" fmla="*/ 533400 h 631031"/>
                  <a:gd name="connsiteX11" fmla="*/ 485775 w 1524000"/>
                  <a:gd name="connsiteY11" fmla="*/ 571500 h 631031"/>
                  <a:gd name="connsiteX12" fmla="*/ 226219 w 1524000"/>
                  <a:gd name="connsiteY12" fmla="*/ 607218 h 631031"/>
                  <a:gd name="connsiteX13" fmla="*/ 30956 w 1524000"/>
                  <a:gd name="connsiteY13" fmla="*/ 631031 h 631031"/>
                  <a:gd name="connsiteX14" fmla="*/ 0 w 1524000"/>
                  <a:gd name="connsiteY14" fmla="*/ 616743 h 631031"/>
                  <a:gd name="connsiteX0" fmla="*/ 1459707 w 1493044"/>
                  <a:gd name="connsiteY0" fmla="*/ 0 h 631031"/>
                  <a:gd name="connsiteX1" fmla="*/ 1493044 w 1493044"/>
                  <a:gd name="connsiteY1" fmla="*/ 130968 h 631031"/>
                  <a:gd name="connsiteX2" fmla="*/ 1478757 w 1493044"/>
                  <a:gd name="connsiteY2" fmla="*/ 228600 h 631031"/>
                  <a:gd name="connsiteX3" fmla="*/ 1450182 w 1493044"/>
                  <a:gd name="connsiteY3" fmla="*/ 304800 h 631031"/>
                  <a:gd name="connsiteX4" fmla="*/ 1376363 w 1493044"/>
                  <a:gd name="connsiteY4" fmla="*/ 395287 h 631031"/>
                  <a:gd name="connsiteX5" fmla="*/ 1285875 w 1493044"/>
                  <a:gd name="connsiteY5" fmla="*/ 438150 h 631031"/>
                  <a:gd name="connsiteX6" fmla="*/ 1202532 w 1493044"/>
                  <a:gd name="connsiteY6" fmla="*/ 461962 h 631031"/>
                  <a:gd name="connsiteX7" fmla="*/ 1112044 w 1493044"/>
                  <a:gd name="connsiteY7" fmla="*/ 478631 h 631031"/>
                  <a:gd name="connsiteX8" fmla="*/ 1112044 w 1493044"/>
                  <a:gd name="connsiteY8" fmla="*/ 478631 h 631031"/>
                  <a:gd name="connsiteX9" fmla="*/ 983457 w 1493044"/>
                  <a:gd name="connsiteY9" fmla="*/ 492918 h 631031"/>
                  <a:gd name="connsiteX10" fmla="*/ 738188 w 1493044"/>
                  <a:gd name="connsiteY10" fmla="*/ 533400 h 631031"/>
                  <a:gd name="connsiteX11" fmla="*/ 454819 w 1493044"/>
                  <a:gd name="connsiteY11" fmla="*/ 571500 h 631031"/>
                  <a:gd name="connsiteX12" fmla="*/ 195263 w 1493044"/>
                  <a:gd name="connsiteY12" fmla="*/ 607218 h 631031"/>
                  <a:gd name="connsiteX13" fmla="*/ 0 w 1493044"/>
                  <a:gd name="connsiteY13" fmla="*/ 631031 h 631031"/>
                  <a:gd name="connsiteX0" fmla="*/ 1459707 w 1493634"/>
                  <a:gd name="connsiteY0" fmla="*/ 0 h 631031"/>
                  <a:gd name="connsiteX1" fmla="*/ 1493044 w 1493634"/>
                  <a:gd name="connsiteY1" fmla="*/ 130968 h 631031"/>
                  <a:gd name="connsiteX2" fmla="*/ 1478757 w 1493634"/>
                  <a:gd name="connsiteY2" fmla="*/ 228600 h 631031"/>
                  <a:gd name="connsiteX3" fmla="*/ 1450182 w 1493634"/>
                  <a:gd name="connsiteY3" fmla="*/ 304800 h 631031"/>
                  <a:gd name="connsiteX4" fmla="*/ 1376363 w 1493634"/>
                  <a:gd name="connsiteY4" fmla="*/ 395287 h 631031"/>
                  <a:gd name="connsiteX5" fmla="*/ 1285875 w 1493634"/>
                  <a:gd name="connsiteY5" fmla="*/ 438150 h 631031"/>
                  <a:gd name="connsiteX6" fmla="*/ 1202532 w 1493634"/>
                  <a:gd name="connsiteY6" fmla="*/ 461962 h 631031"/>
                  <a:gd name="connsiteX7" fmla="*/ 1112044 w 1493634"/>
                  <a:gd name="connsiteY7" fmla="*/ 478631 h 631031"/>
                  <a:gd name="connsiteX8" fmla="*/ 1112044 w 1493634"/>
                  <a:gd name="connsiteY8" fmla="*/ 478631 h 631031"/>
                  <a:gd name="connsiteX9" fmla="*/ 983457 w 1493634"/>
                  <a:gd name="connsiteY9" fmla="*/ 492918 h 631031"/>
                  <a:gd name="connsiteX10" fmla="*/ 738188 w 1493634"/>
                  <a:gd name="connsiteY10" fmla="*/ 533400 h 631031"/>
                  <a:gd name="connsiteX11" fmla="*/ 454819 w 1493634"/>
                  <a:gd name="connsiteY11" fmla="*/ 571500 h 631031"/>
                  <a:gd name="connsiteX12" fmla="*/ 195263 w 1493634"/>
                  <a:gd name="connsiteY12" fmla="*/ 607218 h 631031"/>
                  <a:gd name="connsiteX13" fmla="*/ 0 w 1493634"/>
                  <a:gd name="connsiteY13" fmla="*/ 631031 h 631031"/>
                  <a:gd name="connsiteX0" fmla="*/ 1459707 w 1493634"/>
                  <a:gd name="connsiteY0" fmla="*/ 0 h 631031"/>
                  <a:gd name="connsiteX1" fmla="*/ 1493044 w 1493634"/>
                  <a:gd name="connsiteY1" fmla="*/ 130968 h 631031"/>
                  <a:gd name="connsiteX2" fmla="*/ 1478757 w 1493634"/>
                  <a:gd name="connsiteY2" fmla="*/ 228600 h 631031"/>
                  <a:gd name="connsiteX3" fmla="*/ 1450182 w 1493634"/>
                  <a:gd name="connsiteY3" fmla="*/ 304800 h 631031"/>
                  <a:gd name="connsiteX4" fmla="*/ 1376363 w 1493634"/>
                  <a:gd name="connsiteY4" fmla="*/ 395287 h 631031"/>
                  <a:gd name="connsiteX5" fmla="*/ 1285875 w 1493634"/>
                  <a:gd name="connsiteY5" fmla="*/ 438150 h 631031"/>
                  <a:gd name="connsiteX6" fmla="*/ 1202532 w 1493634"/>
                  <a:gd name="connsiteY6" fmla="*/ 461962 h 631031"/>
                  <a:gd name="connsiteX7" fmla="*/ 1112044 w 1493634"/>
                  <a:gd name="connsiteY7" fmla="*/ 478631 h 631031"/>
                  <a:gd name="connsiteX8" fmla="*/ 1112044 w 1493634"/>
                  <a:gd name="connsiteY8" fmla="*/ 478631 h 631031"/>
                  <a:gd name="connsiteX9" fmla="*/ 983457 w 1493634"/>
                  <a:gd name="connsiteY9" fmla="*/ 492918 h 631031"/>
                  <a:gd name="connsiteX10" fmla="*/ 738188 w 1493634"/>
                  <a:gd name="connsiteY10" fmla="*/ 533400 h 631031"/>
                  <a:gd name="connsiteX11" fmla="*/ 454819 w 1493634"/>
                  <a:gd name="connsiteY11" fmla="*/ 571500 h 631031"/>
                  <a:gd name="connsiteX12" fmla="*/ 195263 w 1493634"/>
                  <a:gd name="connsiteY12" fmla="*/ 607218 h 631031"/>
                  <a:gd name="connsiteX13" fmla="*/ 0 w 1493634"/>
                  <a:gd name="connsiteY13" fmla="*/ 631031 h 631031"/>
                  <a:gd name="connsiteX0" fmla="*/ 1459707 w 1493634"/>
                  <a:gd name="connsiteY0" fmla="*/ 0 h 631031"/>
                  <a:gd name="connsiteX1" fmla="*/ 1493044 w 1493634"/>
                  <a:gd name="connsiteY1" fmla="*/ 130968 h 631031"/>
                  <a:gd name="connsiteX2" fmla="*/ 1478757 w 1493634"/>
                  <a:gd name="connsiteY2" fmla="*/ 228600 h 631031"/>
                  <a:gd name="connsiteX3" fmla="*/ 1450182 w 1493634"/>
                  <a:gd name="connsiteY3" fmla="*/ 304800 h 631031"/>
                  <a:gd name="connsiteX4" fmla="*/ 1376363 w 1493634"/>
                  <a:gd name="connsiteY4" fmla="*/ 395287 h 631031"/>
                  <a:gd name="connsiteX5" fmla="*/ 1285875 w 1493634"/>
                  <a:gd name="connsiteY5" fmla="*/ 438150 h 631031"/>
                  <a:gd name="connsiteX6" fmla="*/ 1202532 w 1493634"/>
                  <a:gd name="connsiteY6" fmla="*/ 461962 h 631031"/>
                  <a:gd name="connsiteX7" fmla="*/ 1112044 w 1493634"/>
                  <a:gd name="connsiteY7" fmla="*/ 478631 h 631031"/>
                  <a:gd name="connsiteX8" fmla="*/ 1112044 w 1493634"/>
                  <a:gd name="connsiteY8" fmla="*/ 478631 h 631031"/>
                  <a:gd name="connsiteX9" fmla="*/ 983457 w 1493634"/>
                  <a:gd name="connsiteY9" fmla="*/ 490536 h 631031"/>
                  <a:gd name="connsiteX10" fmla="*/ 738188 w 1493634"/>
                  <a:gd name="connsiteY10" fmla="*/ 533400 h 631031"/>
                  <a:gd name="connsiteX11" fmla="*/ 454819 w 1493634"/>
                  <a:gd name="connsiteY11" fmla="*/ 571500 h 631031"/>
                  <a:gd name="connsiteX12" fmla="*/ 195263 w 1493634"/>
                  <a:gd name="connsiteY12" fmla="*/ 607218 h 631031"/>
                  <a:gd name="connsiteX13" fmla="*/ 0 w 1493634"/>
                  <a:gd name="connsiteY13" fmla="*/ 631031 h 631031"/>
                  <a:gd name="connsiteX0" fmla="*/ 1459707 w 1493634"/>
                  <a:gd name="connsiteY0" fmla="*/ 0 h 631031"/>
                  <a:gd name="connsiteX1" fmla="*/ 1493044 w 1493634"/>
                  <a:gd name="connsiteY1" fmla="*/ 130968 h 631031"/>
                  <a:gd name="connsiteX2" fmla="*/ 1478757 w 1493634"/>
                  <a:gd name="connsiteY2" fmla="*/ 228600 h 631031"/>
                  <a:gd name="connsiteX3" fmla="*/ 1450182 w 1493634"/>
                  <a:gd name="connsiteY3" fmla="*/ 304800 h 631031"/>
                  <a:gd name="connsiteX4" fmla="*/ 1376363 w 1493634"/>
                  <a:gd name="connsiteY4" fmla="*/ 395287 h 631031"/>
                  <a:gd name="connsiteX5" fmla="*/ 1285875 w 1493634"/>
                  <a:gd name="connsiteY5" fmla="*/ 438150 h 631031"/>
                  <a:gd name="connsiteX6" fmla="*/ 1202532 w 1493634"/>
                  <a:gd name="connsiteY6" fmla="*/ 461962 h 631031"/>
                  <a:gd name="connsiteX7" fmla="*/ 1112044 w 1493634"/>
                  <a:gd name="connsiteY7" fmla="*/ 478631 h 631031"/>
                  <a:gd name="connsiteX8" fmla="*/ 1112044 w 1493634"/>
                  <a:gd name="connsiteY8" fmla="*/ 478631 h 631031"/>
                  <a:gd name="connsiteX9" fmla="*/ 981075 w 1493634"/>
                  <a:gd name="connsiteY9" fmla="*/ 497679 h 631031"/>
                  <a:gd name="connsiteX10" fmla="*/ 738188 w 1493634"/>
                  <a:gd name="connsiteY10" fmla="*/ 533400 h 631031"/>
                  <a:gd name="connsiteX11" fmla="*/ 454819 w 1493634"/>
                  <a:gd name="connsiteY11" fmla="*/ 571500 h 631031"/>
                  <a:gd name="connsiteX12" fmla="*/ 195263 w 1493634"/>
                  <a:gd name="connsiteY12" fmla="*/ 607218 h 631031"/>
                  <a:gd name="connsiteX13" fmla="*/ 0 w 1493634"/>
                  <a:gd name="connsiteY13" fmla="*/ 631031 h 631031"/>
                  <a:gd name="connsiteX0" fmla="*/ 1493044 w 1526971"/>
                  <a:gd name="connsiteY0" fmla="*/ 0 h 631031"/>
                  <a:gd name="connsiteX1" fmla="*/ 1526381 w 1526971"/>
                  <a:gd name="connsiteY1" fmla="*/ 130968 h 631031"/>
                  <a:gd name="connsiteX2" fmla="*/ 1512094 w 1526971"/>
                  <a:gd name="connsiteY2" fmla="*/ 228600 h 631031"/>
                  <a:gd name="connsiteX3" fmla="*/ 1483519 w 1526971"/>
                  <a:gd name="connsiteY3" fmla="*/ 304800 h 631031"/>
                  <a:gd name="connsiteX4" fmla="*/ 1409700 w 1526971"/>
                  <a:gd name="connsiteY4" fmla="*/ 395287 h 631031"/>
                  <a:gd name="connsiteX5" fmla="*/ 1319212 w 1526971"/>
                  <a:gd name="connsiteY5" fmla="*/ 438150 h 631031"/>
                  <a:gd name="connsiteX6" fmla="*/ 1235869 w 1526971"/>
                  <a:gd name="connsiteY6" fmla="*/ 461962 h 631031"/>
                  <a:gd name="connsiteX7" fmla="*/ 1145381 w 1526971"/>
                  <a:gd name="connsiteY7" fmla="*/ 478631 h 631031"/>
                  <a:gd name="connsiteX8" fmla="*/ 1145381 w 1526971"/>
                  <a:gd name="connsiteY8" fmla="*/ 478631 h 631031"/>
                  <a:gd name="connsiteX9" fmla="*/ 1014412 w 1526971"/>
                  <a:gd name="connsiteY9" fmla="*/ 497679 h 631031"/>
                  <a:gd name="connsiteX10" fmla="*/ 771525 w 1526971"/>
                  <a:gd name="connsiteY10" fmla="*/ 533400 h 631031"/>
                  <a:gd name="connsiteX11" fmla="*/ 488156 w 1526971"/>
                  <a:gd name="connsiteY11" fmla="*/ 571500 h 631031"/>
                  <a:gd name="connsiteX12" fmla="*/ 228600 w 1526971"/>
                  <a:gd name="connsiteY12" fmla="*/ 607218 h 631031"/>
                  <a:gd name="connsiteX13" fmla="*/ 0 w 1526971"/>
                  <a:gd name="connsiteY13" fmla="*/ 631031 h 631031"/>
                  <a:gd name="connsiteX0" fmla="*/ 1493044 w 1526971"/>
                  <a:gd name="connsiteY0" fmla="*/ 0 h 631031"/>
                  <a:gd name="connsiteX1" fmla="*/ 1526381 w 1526971"/>
                  <a:gd name="connsiteY1" fmla="*/ 130968 h 631031"/>
                  <a:gd name="connsiteX2" fmla="*/ 1512094 w 1526971"/>
                  <a:gd name="connsiteY2" fmla="*/ 228600 h 631031"/>
                  <a:gd name="connsiteX3" fmla="*/ 1483519 w 1526971"/>
                  <a:gd name="connsiteY3" fmla="*/ 304800 h 631031"/>
                  <a:gd name="connsiteX4" fmla="*/ 1409700 w 1526971"/>
                  <a:gd name="connsiteY4" fmla="*/ 395287 h 631031"/>
                  <a:gd name="connsiteX5" fmla="*/ 1319212 w 1526971"/>
                  <a:gd name="connsiteY5" fmla="*/ 438150 h 631031"/>
                  <a:gd name="connsiteX6" fmla="*/ 1235869 w 1526971"/>
                  <a:gd name="connsiteY6" fmla="*/ 461962 h 631031"/>
                  <a:gd name="connsiteX7" fmla="*/ 1145381 w 1526971"/>
                  <a:gd name="connsiteY7" fmla="*/ 478631 h 631031"/>
                  <a:gd name="connsiteX8" fmla="*/ 1145381 w 1526971"/>
                  <a:gd name="connsiteY8" fmla="*/ 478631 h 631031"/>
                  <a:gd name="connsiteX9" fmla="*/ 1014412 w 1526971"/>
                  <a:gd name="connsiteY9" fmla="*/ 497679 h 631031"/>
                  <a:gd name="connsiteX10" fmla="*/ 771525 w 1526971"/>
                  <a:gd name="connsiteY10" fmla="*/ 533400 h 631031"/>
                  <a:gd name="connsiteX11" fmla="*/ 488156 w 1526971"/>
                  <a:gd name="connsiteY11" fmla="*/ 571500 h 631031"/>
                  <a:gd name="connsiteX12" fmla="*/ 228600 w 1526971"/>
                  <a:gd name="connsiteY12" fmla="*/ 607218 h 631031"/>
                  <a:gd name="connsiteX13" fmla="*/ 0 w 1526971"/>
                  <a:gd name="connsiteY13" fmla="*/ 631031 h 631031"/>
                  <a:gd name="connsiteX0" fmla="*/ 1493044 w 1520467"/>
                  <a:gd name="connsiteY0" fmla="*/ 0 h 631031"/>
                  <a:gd name="connsiteX1" fmla="*/ 1519237 w 1520467"/>
                  <a:gd name="connsiteY1" fmla="*/ 135731 h 631031"/>
                  <a:gd name="connsiteX2" fmla="*/ 1512094 w 1520467"/>
                  <a:gd name="connsiteY2" fmla="*/ 228600 h 631031"/>
                  <a:gd name="connsiteX3" fmla="*/ 1483519 w 1520467"/>
                  <a:gd name="connsiteY3" fmla="*/ 304800 h 631031"/>
                  <a:gd name="connsiteX4" fmla="*/ 1409700 w 1520467"/>
                  <a:gd name="connsiteY4" fmla="*/ 395287 h 631031"/>
                  <a:gd name="connsiteX5" fmla="*/ 1319212 w 1520467"/>
                  <a:gd name="connsiteY5" fmla="*/ 438150 h 631031"/>
                  <a:gd name="connsiteX6" fmla="*/ 1235869 w 1520467"/>
                  <a:gd name="connsiteY6" fmla="*/ 461962 h 631031"/>
                  <a:gd name="connsiteX7" fmla="*/ 1145381 w 1520467"/>
                  <a:gd name="connsiteY7" fmla="*/ 478631 h 631031"/>
                  <a:gd name="connsiteX8" fmla="*/ 1145381 w 1520467"/>
                  <a:gd name="connsiteY8" fmla="*/ 478631 h 631031"/>
                  <a:gd name="connsiteX9" fmla="*/ 1014412 w 1520467"/>
                  <a:gd name="connsiteY9" fmla="*/ 497679 h 631031"/>
                  <a:gd name="connsiteX10" fmla="*/ 771525 w 1520467"/>
                  <a:gd name="connsiteY10" fmla="*/ 533400 h 631031"/>
                  <a:gd name="connsiteX11" fmla="*/ 488156 w 1520467"/>
                  <a:gd name="connsiteY11" fmla="*/ 571500 h 631031"/>
                  <a:gd name="connsiteX12" fmla="*/ 228600 w 1520467"/>
                  <a:gd name="connsiteY12" fmla="*/ 607218 h 631031"/>
                  <a:gd name="connsiteX13" fmla="*/ 0 w 1520467"/>
                  <a:gd name="connsiteY13" fmla="*/ 631031 h 631031"/>
                  <a:gd name="connsiteX0" fmla="*/ 1493044 w 1520467"/>
                  <a:gd name="connsiteY0" fmla="*/ 0 h 631031"/>
                  <a:gd name="connsiteX1" fmla="*/ 1519237 w 1520467"/>
                  <a:gd name="connsiteY1" fmla="*/ 135731 h 631031"/>
                  <a:gd name="connsiteX2" fmla="*/ 1512094 w 1520467"/>
                  <a:gd name="connsiteY2" fmla="*/ 228600 h 631031"/>
                  <a:gd name="connsiteX3" fmla="*/ 1483519 w 1520467"/>
                  <a:gd name="connsiteY3" fmla="*/ 304800 h 631031"/>
                  <a:gd name="connsiteX4" fmla="*/ 1409700 w 1520467"/>
                  <a:gd name="connsiteY4" fmla="*/ 395287 h 631031"/>
                  <a:gd name="connsiteX5" fmla="*/ 1319212 w 1520467"/>
                  <a:gd name="connsiteY5" fmla="*/ 438150 h 631031"/>
                  <a:gd name="connsiteX6" fmla="*/ 1235869 w 1520467"/>
                  <a:gd name="connsiteY6" fmla="*/ 461962 h 631031"/>
                  <a:gd name="connsiteX7" fmla="*/ 1145381 w 1520467"/>
                  <a:gd name="connsiteY7" fmla="*/ 478631 h 631031"/>
                  <a:gd name="connsiteX8" fmla="*/ 1145381 w 1520467"/>
                  <a:gd name="connsiteY8" fmla="*/ 478631 h 631031"/>
                  <a:gd name="connsiteX9" fmla="*/ 1014412 w 1520467"/>
                  <a:gd name="connsiteY9" fmla="*/ 497679 h 631031"/>
                  <a:gd name="connsiteX10" fmla="*/ 771526 w 1520467"/>
                  <a:gd name="connsiteY10" fmla="*/ 527787 h 631031"/>
                  <a:gd name="connsiteX11" fmla="*/ 488156 w 1520467"/>
                  <a:gd name="connsiteY11" fmla="*/ 571500 h 631031"/>
                  <a:gd name="connsiteX12" fmla="*/ 228600 w 1520467"/>
                  <a:gd name="connsiteY12" fmla="*/ 607218 h 631031"/>
                  <a:gd name="connsiteX13" fmla="*/ 0 w 1520467"/>
                  <a:gd name="connsiteY13" fmla="*/ 631031 h 631031"/>
                  <a:gd name="connsiteX0" fmla="*/ 1493044 w 1520467"/>
                  <a:gd name="connsiteY0" fmla="*/ 0 h 631031"/>
                  <a:gd name="connsiteX1" fmla="*/ 1519237 w 1520467"/>
                  <a:gd name="connsiteY1" fmla="*/ 135731 h 631031"/>
                  <a:gd name="connsiteX2" fmla="*/ 1512094 w 1520467"/>
                  <a:gd name="connsiteY2" fmla="*/ 228600 h 631031"/>
                  <a:gd name="connsiteX3" fmla="*/ 1483519 w 1520467"/>
                  <a:gd name="connsiteY3" fmla="*/ 304800 h 631031"/>
                  <a:gd name="connsiteX4" fmla="*/ 1409700 w 1520467"/>
                  <a:gd name="connsiteY4" fmla="*/ 395287 h 631031"/>
                  <a:gd name="connsiteX5" fmla="*/ 1319212 w 1520467"/>
                  <a:gd name="connsiteY5" fmla="*/ 438150 h 631031"/>
                  <a:gd name="connsiteX6" fmla="*/ 1235869 w 1520467"/>
                  <a:gd name="connsiteY6" fmla="*/ 461962 h 631031"/>
                  <a:gd name="connsiteX7" fmla="*/ 1145381 w 1520467"/>
                  <a:gd name="connsiteY7" fmla="*/ 478631 h 631031"/>
                  <a:gd name="connsiteX8" fmla="*/ 1145381 w 1520467"/>
                  <a:gd name="connsiteY8" fmla="*/ 478631 h 631031"/>
                  <a:gd name="connsiteX9" fmla="*/ 1014412 w 1520467"/>
                  <a:gd name="connsiteY9" fmla="*/ 497679 h 631031"/>
                  <a:gd name="connsiteX10" fmla="*/ 771526 w 1520467"/>
                  <a:gd name="connsiteY10" fmla="*/ 527787 h 631031"/>
                  <a:gd name="connsiteX11" fmla="*/ 493781 w 1520467"/>
                  <a:gd name="connsiteY11" fmla="*/ 565888 h 631031"/>
                  <a:gd name="connsiteX12" fmla="*/ 228600 w 1520467"/>
                  <a:gd name="connsiteY12" fmla="*/ 607218 h 631031"/>
                  <a:gd name="connsiteX13" fmla="*/ 0 w 1520467"/>
                  <a:gd name="connsiteY13" fmla="*/ 631031 h 631031"/>
                  <a:gd name="connsiteX0" fmla="*/ 1493044 w 1520467"/>
                  <a:gd name="connsiteY0" fmla="*/ 0 h 631031"/>
                  <a:gd name="connsiteX1" fmla="*/ 1519237 w 1520467"/>
                  <a:gd name="connsiteY1" fmla="*/ 135731 h 631031"/>
                  <a:gd name="connsiteX2" fmla="*/ 1512094 w 1520467"/>
                  <a:gd name="connsiteY2" fmla="*/ 228600 h 631031"/>
                  <a:gd name="connsiteX3" fmla="*/ 1483519 w 1520467"/>
                  <a:gd name="connsiteY3" fmla="*/ 304800 h 631031"/>
                  <a:gd name="connsiteX4" fmla="*/ 1409700 w 1520467"/>
                  <a:gd name="connsiteY4" fmla="*/ 395287 h 631031"/>
                  <a:gd name="connsiteX5" fmla="*/ 1319212 w 1520467"/>
                  <a:gd name="connsiteY5" fmla="*/ 438150 h 631031"/>
                  <a:gd name="connsiteX6" fmla="*/ 1235869 w 1520467"/>
                  <a:gd name="connsiteY6" fmla="*/ 461962 h 631031"/>
                  <a:gd name="connsiteX7" fmla="*/ 1145381 w 1520467"/>
                  <a:gd name="connsiteY7" fmla="*/ 478631 h 631031"/>
                  <a:gd name="connsiteX8" fmla="*/ 1145381 w 1520467"/>
                  <a:gd name="connsiteY8" fmla="*/ 478631 h 631031"/>
                  <a:gd name="connsiteX9" fmla="*/ 1014412 w 1520467"/>
                  <a:gd name="connsiteY9" fmla="*/ 497679 h 631031"/>
                  <a:gd name="connsiteX10" fmla="*/ 771526 w 1520467"/>
                  <a:gd name="connsiteY10" fmla="*/ 527787 h 631031"/>
                  <a:gd name="connsiteX11" fmla="*/ 493781 w 1520467"/>
                  <a:gd name="connsiteY11" fmla="*/ 565888 h 631031"/>
                  <a:gd name="connsiteX12" fmla="*/ 228600 w 1520467"/>
                  <a:gd name="connsiteY12" fmla="*/ 607218 h 631031"/>
                  <a:gd name="connsiteX13" fmla="*/ 0 w 1520467"/>
                  <a:gd name="connsiteY13" fmla="*/ 631031 h 631031"/>
                  <a:gd name="connsiteX0" fmla="*/ 1493044 w 1520467"/>
                  <a:gd name="connsiteY0" fmla="*/ 0 h 631031"/>
                  <a:gd name="connsiteX1" fmla="*/ 1519237 w 1520467"/>
                  <a:gd name="connsiteY1" fmla="*/ 135731 h 631031"/>
                  <a:gd name="connsiteX2" fmla="*/ 1512094 w 1520467"/>
                  <a:gd name="connsiteY2" fmla="*/ 228600 h 631031"/>
                  <a:gd name="connsiteX3" fmla="*/ 1483519 w 1520467"/>
                  <a:gd name="connsiteY3" fmla="*/ 304800 h 631031"/>
                  <a:gd name="connsiteX4" fmla="*/ 1409700 w 1520467"/>
                  <a:gd name="connsiteY4" fmla="*/ 395287 h 631031"/>
                  <a:gd name="connsiteX5" fmla="*/ 1319212 w 1520467"/>
                  <a:gd name="connsiteY5" fmla="*/ 438150 h 631031"/>
                  <a:gd name="connsiteX6" fmla="*/ 1235869 w 1520467"/>
                  <a:gd name="connsiteY6" fmla="*/ 461962 h 631031"/>
                  <a:gd name="connsiteX7" fmla="*/ 1145381 w 1520467"/>
                  <a:gd name="connsiteY7" fmla="*/ 478631 h 631031"/>
                  <a:gd name="connsiteX8" fmla="*/ 1145381 w 1520467"/>
                  <a:gd name="connsiteY8" fmla="*/ 478631 h 631031"/>
                  <a:gd name="connsiteX9" fmla="*/ 1014412 w 1520467"/>
                  <a:gd name="connsiteY9" fmla="*/ 497679 h 631031"/>
                  <a:gd name="connsiteX10" fmla="*/ 771526 w 1520467"/>
                  <a:gd name="connsiteY10" fmla="*/ 527787 h 631031"/>
                  <a:gd name="connsiteX11" fmla="*/ 493781 w 1520467"/>
                  <a:gd name="connsiteY11" fmla="*/ 565888 h 631031"/>
                  <a:gd name="connsiteX12" fmla="*/ 239849 w 1520467"/>
                  <a:gd name="connsiteY12" fmla="*/ 595990 h 631031"/>
                  <a:gd name="connsiteX13" fmla="*/ 0 w 1520467"/>
                  <a:gd name="connsiteY13" fmla="*/ 631031 h 63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0467" h="631031">
                    <a:moveTo>
                      <a:pt x="1493044" y="0"/>
                    </a:moveTo>
                    <a:cubicBezTo>
                      <a:pt x="1504156" y="43656"/>
                      <a:pt x="1516062" y="97631"/>
                      <a:pt x="1519237" y="135731"/>
                    </a:cubicBezTo>
                    <a:cubicBezTo>
                      <a:pt x="1522412" y="173831"/>
                      <a:pt x="1519238" y="199628"/>
                      <a:pt x="1512094" y="228600"/>
                    </a:cubicBezTo>
                    <a:lnTo>
                      <a:pt x="1483519" y="304800"/>
                    </a:lnTo>
                    <a:cubicBezTo>
                      <a:pt x="1473994" y="330200"/>
                      <a:pt x="1437084" y="373062"/>
                      <a:pt x="1409700" y="395287"/>
                    </a:cubicBezTo>
                    <a:cubicBezTo>
                      <a:pt x="1382316" y="417512"/>
                      <a:pt x="1348184" y="427038"/>
                      <a:pt x="1319212" y="438150"/>
                    </a:cubicBezTo>
                    <a:lnTo>
                      <a:pt x="1235869" y="461962"/>
                    </a:lnTo>
                    <a:lnTo>
                      <a:pt x="1145381" y="478631"/>
                    </a:lnTo>
                    <a:lnTo>
                      <a:pt x="1145381" y="478631"/>
                    </a:lnTo>
                    <a:lnTo>
                      <a:pt x="1014412" y="497679"/>
                    </a:lnTo>
                    <a:lnTo>
                      <a:pt x="771526" y="527787"/>
                    </a:lnTo>
                    <a:lnTo>
                      <a:pt x="493781" y="565888"/>
                    </a:lnTo>
                    <a:lnTo>
                      <a:pt x="239849" y="595990"/>
                    </a:lnTo>
                    <a:cubicBezTo>
                      <a:pt x="157552" y="606847"/>
                      <a:pt x="76200" y="623093"/>
                      <a:pt x="0" y="631031"/>
                    </a:cubicBezTo>
                  </a:path>
                </a:pathLst>
              </a:custGeom>
              <a:noFill/>
              <a:ln w="85725" cap="flat"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39" name="bcgIcons_MagnifyingGlassSearch">
            <a:extLst>
              <a:ext uri="{FF2B5EF4-FFF2-40B4-BE49-F238E27FC236}">
                <a16:creationId xmlns:a16="http://schemas.microsoft.com/office/drawing/2014/main" id="{4F099AF5-3F1F-442A-8164-40E1EF5790A0}"/>
              </a:ext>
            </a:extLst>
          </p:cNvPr>
          <p:cNvGrpSpPr>
            <a:grpSpLocks noChangeAspect="1"/>
          </p:cNvGrpSpPr>
          <p:nvPr/>
        </p:nvGrpSpPr>
        <p:grpSpPr bwMode="auto">
          <a:xfrm>
            <a:off x="11156349" y="2404413"/>
            <a:ext cx="822960" cy="823723"/>
            <a:chOff x="1682" y="0"/>
            <a:chExt cx="4316" cy="4320"/>
          </a:xfrm>
        </p:grpSpPr>
        <p:sp>
          <p:nvSpPr>
            <p:cNvPr id="40" name="AutoShape 8">
              <a:extLst>
                <a:ext uri="{FF2B5EF4-FFF2-40B4-BE49-F238E27FC236}">
                  <a16:creationId xmlns:a16="http://schemas.microsoft.com/office/drawing/2014/main" id="{D00C3367-A1F1-486E-869A-AE901B8222B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0">
              <a:extLst>
                <a:ext uri="{FF2B5EF4-FFF2-40B4-BE49-F238E27FC236}">
                  <a16:creationId xmlns:a16="http://schemas.microsoft.com/office/drawing/2014/main" id="{2427C64B-B531-4BD9-B3E5-B07257186B30}"/>
                </a:ext>
              </a:extLst>
            </p:cNvPr>
            <p:cNvSpPr>
              <a:spLocks noEditPoints="1"/>
            </p:cNvSpPr>
            <p:nvPr/>
          </p:nvSpPr>
          <p:spPr bwMode="auto">
            <a:xfrm>
              <a:off x="3280" y="703"/>
              <a:ext cx="1821" cy="1802"/>
            </a:xfrm>
            <a:custGeom>
              <a:avLst/>
              <a:gdLst>
                <a:gd name="T0" fmla="*/ 748 w 972"/>
                <a:gd name="T1" fmla="*/ 142 h 961"/>
                <a:gd name="T2" fmla="*/ 145 w 972"/>
                <a:gd name="T3" fmla="*/ 223 h 961"/>
                <a:gd name="T4" fmla="*/ 225 w 972"/>
                <a:gd name="T5" fmla="*/ 818 h 961"/>
                <a:gd name="T6" fmla="*/ 827 w 972"/>
                <a:gd name="T7" fmla="*/ 738 h 961"/>
                <a:gd name="T8" fmla="*/ 748 w 972"/>
                <a:gd name="T9" fmla="*/ 142 h 961"/>
                <a:gd name="T10" fmla="*/ 777 w 972"/>
                <a:gd name="T11" fmla="*/ 700 h 961"/>
                <a:gd name="T12" fmla="*/ 701 w 972"/>
                <a:gd name="T13" fmla="*/ 774 h 961"/>
                <a:gd name="T14" fmla="*/ 688 w 972"/>
                <a:gd name="T15" fmla="*/ 778 h 961"/>
                <a:gd name="T16" fmla="*/ 670 w 972"/>
                <a:gd name="T17" fmla="*/ 769 h 961"/>
                <a:gd name="T18" fmla="*/ 675 w 972"/>
                <a:gd name="T19" fmla="*/ 738 h 961"/>
                <a:gd name="T20" fmla="*/ 742 w 972"/>
                <a:gd name="T21" fmla="*/ 673 h 961"/>
                <a:gd name="T22" fmla="*/ 806 w 972"/>
                <a:gd name="T23" fmla="*/ 438 h 961"/>
                <a:gd name="T24" fmla="*/ 683 w 972"/>
                <a:gd name="T25" fmla="*/ 227 h 961"/>
                <a:gd name="T26" fmla="*/ 641 w 972"/>
                <a:gd name="T27" fmla="*/ 200 h 961"/>
                <a:gd name="T28" fmla="*/ 632 w 972"/>
                <a:gd name="T29" fmla="*/ 170 h 961"/>
                <a:gd name="T30" fmla="*/ 661 w 972"/>
                <a:gd name="T31" fmla="*/ 161 h 961"/>
                <a:gd name="T32" fmla="*/ 709 w 972"/>
                <a:gd name="T33" fmla="*/ 192 h 961"/>
                <a:gd name="T34" fmla="*/ 850 w 972"/>
                <a:gd name="T35" fmla="*/ 432 h 961"/>
                <a:gd name="T36" fmla="*/ 777 w 972"/>
                <a:gd name="T37" fmla="*/ 70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2" h="961">
                  <a:moveTo>
                    <a:pt x="748" y="142"/>
                  </a:moveTo>
                  <a:cubicBezTo>
                    <a:pt x="560" y="0"/>
                    <a:pt x="290" y="36"/>
                    <a:pt x="145" y="223"/>
                  </a:cubicBezTo>
                  <a:cubicBezTo>
                    <a:pt x="0" y="409"/>
                    <a:pt x="35" y="676"/>
                    <a:pt x="225" y="818"/>
                  </a:cubicBezTo>
                  <a:cubicBezTo>
                    <a:pt x="413" y="961"/>
                    <a:pt x="683" y="925"/>
                    <a:pt x="827" y="738"/>
                  </a:cubicBezTo>
                  <a:cubicBezTo>
                    <a:pt x="972" y="551"/>
                    <a:pt x="936" y="285"/>
                    <a:pt x="748" y="142"/>
                  </a:cubicBezTo>
                  <a:close/>
                  <a:moveTo>
                    <a:pt x="777" y="700"/>
                  </a:moveTo>
                  <a:cubicBezTo>
                    <a:pt x="755" y="729"/>
                    <a:pt x="730" y="753"/>
                    <a:pt x="701" y="774"/>
                  </a:cubicBezTo>
                  <a:cubicBezTo>
                    <a:pt x="697" y="777"/>
                    <a:pt x="692" y="778"/>
                    <a:pt x="688" y="778"/>
                  </a:cubicBezTo>
                  <a:cubicBezTo>
                    <a:pt x="681" y="778"/>
                    <a:pt x="674" y="775"/>
                    <a:pt x="670" y="769"/>
                  </a:cubicBezTo>
                  <a:cubicBezTo>
                    <a:pt x="663" y="759"/>
                    <a:pt x="665" y="746"/>
                    <a:pt x="675" y="738"/>
                  </a:cubicBezTo>
                  <a:cubicBezTo>
                    <a:pt x="700" y="720"/>
                    <a:pt x="723" y="698"/>
                    <a:pt x="742" y="673"/>
                  </a:cubicBezTo>
                  <a:cubicBezTo>
                    <a:pt x="795" y="606"/>
                    <a:pt x="817" y="522"/>
                    <a:pt x="806" y="438"/>
                  </a:cubicBezTo>
                  <a:cubicBezTo>
                    <a:pt x="795" y="353"/>
                    <a:pt x="751" y="279"/>
                    <a:pt x="683" y="227"/>
                  </a:cubicBezTo>
                  <a:cubicBezTo>
                    <a:pt x="669" y="217"/>
                    <a:pt x="655" y="208"/>
                    <a:pt x="641" y="200"/>
                  </a:cubicBezTo>
                  <a:cubicBezTo>
                    <a:pt x="630" y="194"/>
                    <a:pt x="626" y="181"/>
                    <a:pt x="632" y="170"/>
                  </a:cubicBezTo>
                  <a:cubicBezTo>
                    <a:pt x="637" y="159"/>
                    <a:pt x="651" y="155"/>
                    <a:pt x="661" y="161"/>
                  </a:cubicBezTo>
                  <a:cubicBezTo>
                    <a:pt x="678" y="170"/>
                    <a:pt x="694" y="180"/>
                    <a:pt x="709" y="192"/>
                  </a:cubicBezTo>
                  <a:cubicBezTo>
                    <a:pt x="787" y="251"/>
                    <a:pt x="837" y="336"/>
                    <a:pt x="850" y="432"/>
                  </a:cubicBezTo>
                  <a:cubicBezTo>
                    <a:pt x="862" y="528"/>
                    <a:pt x="837" y="623"/>
                    <a:pt x="777" y="7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1">
              <a:extLst>
                <a:ext uri="{FF2B5EF4-FFF2-40B4-BE49-F238E27FC236}">
                  <a16:creationId xmlns:a16="http://schemas.microsoft.com/office/drawing/2014/main" id="{1173B41E-AE04-4090-AE4B-50B33B897C30}"/>
                </a:ext>
              </a:extLst>
            </p:cNvPr>
            <p:cNvSpPr>
              <a:spLocks noEditPoints="1"/>
            </p:cNvSpPr>
            <p:nvPr/>
          </p:nvSpPr>
          <p:spPr bwMode="auto">
            <a:xfrm>
              <a:off x="2422" y="465"/>
              <a:ext cx="2904" cy="3306"/>
            </a:xfrm>
            <a:custGeom>
              <a:avLst/>
              <a:gdLst>
                <a:gd name="T0" fmla="*/ 1270 w 1550"/>
                <a:gd name="T1" fmla="*/ 179 h 1763"/>
                <a:gd name="T2" fmla="*/ 517 w 1550"/>
                <a:gd name="T3" fmla="*/ 280 h 1763"/>
                <a:gd name="T4" fmla="*/ 545 w 1550"/>
                <a:gd name="T5" fmla="*/ 965 h 1763"/>
                <a:gd name="T6" fmla="*/ 437 w 1550"/>
                <a:gd name="T7" fmla="*/ 1107 h 1763"/>
                <a:gd name="T8" fmla="*/ 587 w 1550"/>
                <a:gd name="T9" fmla="*/ 1222 h 1763"/>
                <a:gd name="T10" fmla="*/ 694 w 1550"/>
                <a:gd name="T11" fmla="*/ 1082 h 1763"/>
                <a:gd name="T12" fmla="*/ 1370 w 1550"/>
                <a:gd name="T13" fmla="*/ 933 h 1763"/>
                <a:gd name="T14" fmla="*/ 1270 w 1550"/>
                <a:gd name="T15" fmla="*/ 179 h 1763"/>
                <a:gd name="T16" fmla="*/ 1317 w 1550"/>
                <a:gd name="T17" fmla="*/ 892 h 1763"/>
                <a:gd name="T18" fmla="*/ 701 w 1550"/>
                <a:gd name="T19" fmla="*/ 1009 h 1763"/>
                <a:gd name="T20" fmla="*/ 658 w 1550"/>
                <a:gd name="T21" fmla="*/ 980 h 1763"/>
                <a:gd name="T22" fmla="*/ 614 w 1550"/>
                <a:gd name="T23" fmla="*/ 941 h 1763"/>
                <a:gd name="T24" fmla="*/ 570 w 1550"/>
                <a:gd name="T25" fmla="*/ 320 h 1763"/>
                <a:gd name="T26" fmla="*/ 1229 w 1550"/>
                <a:gd name="T27" fmla="*/ 233 h 1763"/>
                <a:gd name="T28" fmla="*/ 1317 w 1550"/>
                <a:gd name="T29" fmla="*/ 892 h 1763"/>
                <a:gd name="T30" fmla="*/ 181 w 1550"/>
                <a:gd name="T31" fmla="*/ 1763 h 1763"/>
                <a:gd name="T32" fmla="*/ 162 w 1550"/>
                <a:gd name="T33" fmla="*/ 1761 h 1763"/>
                <a:gd name="T34" fmla="*/ 83 w 1550"/>
                <a:gd name="T35" fmla="*/ 1724 h 1763"/>
                <a:gd name="T36" fmla="*/ 27 w 1550"/>
                <a:gd name="T37" fmla="*/ 1584 h 1763"/>
                <a:gd name="T38" fmla="*/ 367 w 1550"/>
                <a:gd name="T39" fmla="*/ 1136 h 1763"/>
                <a:gd name="T40" fmla="*/ 382 w 1550"/>
                <a:gd name="T41" fmla="*/ 1128 h 1763"/>
                <a:gd name="T42" fmla="*/ 398 w 1550"/>
                <a:gd name="T43" fmla="*/ 1132 h 1763"/>
                <a:gd name="T44" fmla="*/ 568 w 1550"/>
                <a:gd name="T45" fmla="*/ 1263 h 1763"/>
                <a:gd name="T46" fmla="*/ 572 w 1550"/>
                <a:gd name="T47" fmla="*/ 1294 h 1763"/>
                <a:gd name="T48" fmla="*/ 233 w 1550"/>
                <a:gd name="T49" fmla="*/ 1740 h 1763"/>
                <a:gd name="T50" fmla="*/ 181 w 1550"/>
                <a:gd name="T51" fmla="*/ 1763 h 1763"/>
                <a:gd name="T52" fmla="*/ 389 w 1550"/>
                <a:gd name="T53" fmla="*/ 1181 h 1763"/>
                <a:gd name="T54" fmla="*/ 62 w 1550"/>
                <a:gd name="T55" fmla="*/ 1610 h 1763"/>
                <a:gd name="T56" fmla="*/ 109 w 1550"/>
                <a:gd name="T57" fmla="*/ 1689 h 1763"/>
                <a:gd name="T58" fmla="*/ 170 w 1550"/>
                <a:gd name="T59" fmla="*/ 1718 h 1763"/>
                <a:gd name="T60" fmla="*/ 198 w 1550"/>
                <a:gd name="T61" fmla="*/ 1714 h 1763"/>
                <a:gd name="T62" fmla="*/ 524 w 1550"/>
                <a:gd name="T63" fmla="*/ 1284 h 1763"/>
                <a:gd name="T64" fmla="*/ 389 w 1550"/>
                <a:gd name="T65" fmla="*/ 1181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50" h="1763">
                  <a:moveTo>
                    <a:pt x="1270" y="179"/>
                  </a:moveTo>
                  <a:cubicBezTo>
                    <a:pt x="1034" y="0"/>
                    <a:pt x="697" y="45"/>
                    <a:pt x="517" y="280"/>
                  </a:cubicBezTo>
                  <a:cubicBezTo>
                    <a:pt x="358" y="488"/>
                    <a:pt x="375" y="777"/>
                    <a:pt x="545" y="965"/>
                  </a:cubicBezTo>
                  <a:cubicBezTo>
                    <a:pt x="466" y="1068"/>
                    <a:pt x="444" y="1098"/>
                    <a:pt x="437" y="1107"/>
                  </a:cubicBezTo>
                  <a:cubicBezTo>
                    <a:pt x="587" y="1222"/>
                    <a:pt x="587" y="1222"/>
                    <a:pt x="587" y="1222"/>
                  </a:cubicBezTo>
                  <a:cubicBezTo>
                    <a:pt x="694" y="1082"/>
                    <a:pt x="694" y="1082"/>
                    <a:pt x="694" y="1082"/>
                  </a:cubicBezTo>
                  <a:cubicBezTo>
                    <a:pt x="921" y="1201"/>
                    <a:pt x="1209" y="1143"/>
                    <a:pt x="1370" y="933"/>
                  </a:cubicBezTo>
                  <a:cubicBezTo>
                    <a:pt x="1550" y="697"/>
                    <a:pt x="1505" y="360"/>
                    <a:pt x="1270" y="179"/>
                  </a:cubicBezTo>
                  <a:close/>
                  <a:moveTo>
                    <a:pt x="1317" y="892"/>
                  </a:moveTo>
                  <a:cubicBezTo>
                    <a:pt x="1170" y="1084"/>
                    <a:pt x="903" y="1131"/>
                    <a:pt x="701" y="1009"/>
                  </a:cubicBezTo>
                  <a:cubicBezTo>
                    <a:pt x="686" y="1000"/>
                    <a:pt x="672" y="990"/>
                    <a:pt x="658" y="980"/>
                  </a:cubicBezTo>
                  <a:cubicBezTo>
                    <a:pt x="643" y="968"/>
                    <a:pt x="628" y="955"/>
                    <a:pt x="614" y="941"/>
                  </a:cubicBezTo>
                  <a:cubicBezTo>
                    <a:pt x="447" y="778"/>
                    <a:pt x="425" y="511"/>
                    <a:pt x="570" y="320"/>
                  </a:cubicBezTo>
                  <a:cubicBezTo>
                    <a:pt x="728" y="114"/>
                    <a:pt x="1023" y="75"/>
                    <a:pt x="1229" y="233"/>
                  </a:cubicBezTo>
                  <a:cubicBezTo>
                    <a:pt x="1435" y="390"/>
                    <a:pt x="1474" y="686"/>
                    <a:pt x="1317" y="892"/>
                  </a:cubicBezTo>
                  <a:close/>
                  <a:moveTo>
                    <a:pt x="181" y="1763"/>
                  </a:moveTo>
                  <a:cubicBezTo>
                    <a:pt x="175" y="1763"/>
                    <a:pt x="169" y="1762"/>
                    <a:pt x="162" y="1761"/>
                  </a:cubicBezTo>
                  <a:cubicBezTo>
                    <a:pt x="137" y="1757"/>
                    <a:pt x="108" y="1743"/>
                    <a:pt x="83" y="1724"/>
                  </a:cubicBezTo>
                  <a:cubicBezTo>
                    <a:pt x="24" y="1679"/>
                    <a:pt x="0" y="1619"/>
                    <a:pt x="27" y="1584"/>
                  </a:cubicBezTo>
                  <a:cubicBezTo>
                    <a:pt x="367" y="1136"/>
                    <a:pt x="367" y="1136"/>
                    <a:pt x="367" y="1136"/>
                  </a:cubicBezTo>
                  <a:cubicBezTo>
                    <a:pt x="371" y="1132"/>
                    <a:pt x="376" y="1129"/>
                    <a:pt x="382" y="1128"/>
                  </a:cubicBezTo>
                  <a:cubicBezTo>
                    <a:pt x="387" y="1127"/>
                    <a:pt x="393" y="1129"/>
                    <a:pt x="398" y="1132"/>
                  </a:cubicBezTo>
                  <a:cubicBezTo>
                    <a:pt x="568" y="1263"/>
                    <a:pt x="568" y="1263"/>
                    <a:pt x="568" y="1263"/>
                  </a:cubicBezTo>
                  <a:cubicBezTo>
                    <a:pt x="578" y="1270"/>
                    <a:pt x="579" y="1284"/>
                    <a:pt x="572" y="1294"/>
                  </a:cubicBezTo>
                  <a:cubicBezTo>
                    <a:pt x="233" y="1740"/>
                    <a:pt x="233" y="1740"/>
                    <a:pt x="233" y="1740"/>
                  </a:cubicBezTo>
                  <a:cubicBezTo>
                    <a:pt x="221" y="1755"/>
                    <a:pt x="203" y="1763"/>
                    <a:pt x="181" y="1763"/>
                  </a:cubicBezTo>
                  <a:close/>
                  <a:moveTo>
                    <a:pt x="389" y="1181"/>
                  </a:moveTo>
                  <a:cubicBezTo>
                    <a:pt x="62" y="1610"/>
                    <a:pt x="62" y="1610"/>
                    <a:pt x="62" y="1610"/>
                  </a:cubicBezTo>
                  <a:cubicBezTo>
                    <a:pt x="54" y="1621"/>
                    <a:pt x="69" y="1658"/>
                    <a:pt x="109" y="1689"/>
                  </a:cubicBezTo>
                  <a:cubicBezTo>
                    <a:pt x="129" y="1704"/>
                    <a:pt x="151" y="1714"/>
                    <a:pt x="170" y="1718"/>
                  </a:cubicBezTo>
                  <a:cubicBezTo>
                    <a:pt x="183" y="1720"/>
                    <a:pt x="194" y="1718"/>
                    <a:pt x="198" y="1714"/>
                  </a:cubicBezTo>
                  <a:cubicBezTo>
                    <a:pt x="524" y="1284"/>
                    <a:pt x="524" y="1284"/>
                    <a:pt x="524" y="1284"/>
                  </a:cubicBezTo>
                  <a:lnTo>
                    <a:pt x="389" y="118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3" name="Group 42"/>
          <p:cNvGrpSpPr>
            <a:grpSpLocks noChangeAspect="1"/>
          </p:cNvGrpSpPr>
          <p:nvPr/>
        </p:nvGrpSpPr>
        <p:grpSpPr>
          <a:xfrm>
            <a:off x="6699934" y="2413527"/>
            <a:ext cx="789477" cy="789477"/>
            <a:chOff x="6299993" y="2600325"/>
            <a:chExt cx="1657350" cy="1657350"/>
          </a:xfrm>
        </p:grpSpPr>
        <p:sp>
          <p:nvSpPr>
            <p:cNvPr id="44" name="AutoShape 9"/>
            <p:cNvSpPr>
              <a:spLocks noChangeAspect="1" noChangeArrowheads="1" noTextEdit="1"/>
            </p:cNvSpPr>
            <p:nvPr/>
          </p:nvSpPr>
          <p:spPr bwMode="auto">
            <a:xfrm>
              <a:off x="6299993" y="2600325"/>
              <a:ext cx="16573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44"/>
            <p:cNvSpPr>
              <a:spLocks/>
            </p:cNvSpPr>
            <p:nvPr/>
          </p:nvSpPr>
          <p:spPr bwMode="auto">
            <a:xfrm>
              <a:off x="6471443" y="2771775"/>
              <a:ext cx="1314451" cy="1082675"/>
            </a:xfrm>
            <a:custGeom>
              <a:avLst/>
              <a:gdLst>
                <a:gd name="connsiteX0" fmla="*/ 589643 w 1314451"/>
                <a:gd name="connsiteY0" fmla="*/ 765175 h 1082675"/>
                <a:gd name="connsiteX1" fmla="*/ 602602 w 1314451"/>
                <a:gd name="connsiteY1" fmla="*/ 811972 h 1082675"/>
                <a:gd name="connsiteX2" fmla="*/ 514768 w 1314451"/>
                <a:gd name="connsiteY2" fmla="*/ 917086 h 1082675"/>
                <a:gd name="connsiteX3" fmla="*/ 233986 w 1314451"/>
                <a:gd name="connsiteY3" fmla="*/ 1016439 h 1082675"/>
                <a:gd name="connsiteX4" fmla="*/ 47517 w 1314451"/>
                <a:gd name="connsiteY4" fmla="*/ 1016439 h 1082675"/>
                <a:gd name="connsiteX5" fmla="*/ 31678 w 1314451"/>
                <a:gd name="connsiteY5" fmla="*/ 1033718 h 1082675"/>
                <a:gd name="connsiteX6" fmla="*/ 47517 w 1314451"/>
                <a:gd name="connsiteY6" fmla="*/ 1050997 h 1082675"/>
                <a:gd name="connsiteX7" fmla="*/ 233986 w 1314451"/>
                <a:gd name="connsiteY7" fmla="*/ 1050997 h 1082675"/>
                <a:gd name="connsiteX8" fmla="*/ 534207 w 1314451"/>
                <a:gd name="connsiteY8" fmla="*/ 944444 h 1082675"/>
                <a:gd name="connsiteX9" fmla="*/ 617721 w 1314451"/>
                <a:gd name="connsiteY9" fmla="*/ 849410 h 1082675"/>
                <a:gd name="connsiteX10" fmla="*/ 631400 w 1314451"/>
                <a:gd name="connsiteY10" fmla="*/ 876048 h 1082675"/>
                <a:gd name="connsiteX11" fmla="*/ 635000 w 1314451"/>
                <a:gd name="connsiteY11" fmla="*/ 881088 h 1082675"/>
                <a:gd name="connsiteX12" fmla="*/ 554365 w 1314451"/>
                <a:gd name="connsiteY12" fmla="*/ 968922 h 1082675"/>
                <a:gd name="connsiteX13" fmla="*/ 233986 w 1314451"/>
                <a:gd name="connsiteY13" fmla="*/ 1082675 h 1082675"/>
                <a:gd name="connsiteX14" fmla="*/ 47517 w 1314451"/>
                <a:gd name="connsiteY14" fmla="*/ 1082675 h 1082675"/>
                <a:gd name="connsiteX15" fmla="*/ 0 w 1314451"/>
                <a:gd name="connsiteY15" fmla="*/ 1033718 h 1082675"/>
                <a:gd name="connsiteX16" fmla="*/ 47517 w 1314451"/>
                <a:gd name="connsiteY16" fmla="*/ 984761 h 1082675"/>
                <a:gd name="connsiteX17" fmla="*/ 233986 w 1314451"/>
                <a:gd name="connsiteY17" fmla="*/ 984761 h 1082675"/>
                <a:gd name="connsiteX18" fmla="*/ 494609 w 1314451"/>
                <a:gd name="connsiteY18" fmla="*/ 892607 h 1082675"/>
                <a:gd name="connsiteX19" fmla="*/ 589643 w 1314451"/>
                <a:gd name="connsiteY19" fmla="*/ 765175 h 1082675"/>
                <a:gd name="connsiteX20" fmla="*/ 1031098 w 1314451"/>
                <a:gd name="connsiteY20" fmla="*/ 0 h 1082675"/>
                <a:gd name="connsiteX21" fmla="*/ 1064180 w 1314451"/>
                <a:gd name="connsiteY21" fmla="*/ 13671 h 1082675"/>
                <a:gd name="connsiteX22" fmla="*/ 1300068 w 1314451"/>
                <a:gd name="connsiteY22" fmla="*/ 245369 h 1082675"/>
                <a:gd name="connsiteX23" fmla="*/ 1300068 w 1314451"/>
                <a:gd name="connsiteY23" fmla="*/ 246089 h 1082675"/>
                <a:gd name="connsiteX24" fmla="*/ 1302225 w 1314451"/>
                <a:gd name="connsiteY24" fmla="*/ 248247 h 1082675"/>
                <a:gd name="connsiteX25" fmla="*/ 1303664 w 1314451"/>
                <a:gd name="connsiteY25" fmla="*/ 249687 h 1082675"/>
                <a:gd name="connsiteX26" fmla="*/ 1305102 w 1314451"/>
                <a:gd name="connsiteY26" fmla="*/ 251845 h 1082675"/>
                <a:gd name="connsiteX27" fmla="*/ 1305821 w 1314451"/>
                <a:gd name="connsiteY27" fmla="*/ 253284 h 1082675"/>
                <a:gd name="connsiteX28" fmla="*/ 1307979 w 1314451"/>
                <a:gd name="connsiteY28" fmla="*/ 256882 h 1082675"/>
                <a:gd name="connsiteX29" fmla="*/ 1308698 w 1314451"/>
                <a:gd name="connsiteY29" fmla="*/ 257602 h 1082675"/>
                <a:gd name="connsiteX30" fmla="*/ 1314451 w 1314451"/>
                <a:gd name="connsiteY30" fmla="*/ 281347 h 1082675"/>
                <a:gd name="connsiteX31" fmla="*/ 1308698 w 1314451"/>
                <a:gd name="connsiteY31" fmla="*/ 304373 h 1082675"/>
                <a:gd name="connsiteX32" fmla="*/ 1307979 w 1314451"/>
                <a:gd name="connsiteY32" fmla="*/ 305812 h 1082675"/>
                <a:gd name="connsiteX33" fmla="*/ 1305821 w 1314451"/>
                <a:gd name="connsiteY33" fmla="*/ 308690 h 1082675"/>
                <a:gd name="connsiteX34" fmla="*/ 1305102 w 1314451"/>
                <a:gd name="connsiteY34" fmla="*/ 310129 h 1082675"/>
                <a:gd name="connsiteX35" fmla="*/ 1303664 w 1314451"/>
                <a:gd name="connsiteY35" fmla="*/ 312288 h 1082675"/>
                <a:gd name="connsiteX36" fmla="*/ 1302225 w 1314451"/>
                <a:gd name="connsiteY36" fmla="*/ 313727 h 1082675"/>
                <a:gd name="connsiteX37" fmla="*/ 1300068 w 1314451"/>
                <a:gd name="connsiteY37" fmla="*/ 315886 h 1082675"/>
                <a:gd name="connsiteX38" fmla="*/ 1300068 w 1314451"/>
                <a:gd name="connsiteY38" fmla="*/ 316605 h 1082675"/>
                <a:gd name="connsiteX39" fmla="*/ 1064180 w 1314451"/>
                <a:gd name="connsiteY39" fmla="*/ 548303 h 1082675"/>
                <a:gd name="connsiteX40" fmla="*/ 1031098 w 1314451"/>
                <a:gd name="connsiteY40" fmla="*/ 561975 h 1082675"/>
                <a:gd name="connsiteX41" fmla="*/ 997297 w 1314451"/>
                <a:gd name="connsiteY41" fmla="*/ 546864 h 1082675"/>
                <a:gd name="connsiteX42" fmla="*/ 998736 w 1314451"/>
                <a:gd name="connsiteY42" fmla="*/ 477787 h 1082675"/>
                <a:gd name="connsiteX43" fmla="*/ 1149042 w 1314451"/>
                <a:gd name="connsiteY43" fmla="*/ 330277 h 1082675"/>
                <a:gd name="connsiteX44" fmla="*/ 1065618 w 1314451"/>
                <a:gd name="connsiteY44" fmla="*/ 330277 h 1082675"/>
                <a:gd name="connsiteX45" fmla="*/ 850587 w 1314451"/>
                <a:gd name="connsiteY45" fmla="*/ 391440 h 1082675"/>
                <a:gd name="connsiteX46" fmla="*/ 721136 w 1314451"/>
                <a:gd name="connsiteY46" fmla="*/ 547584 h 1082675"/>
                <a:gd name="connsiteX47" fmla="*/ 706033 w 1314451"/>
                <a:gd name="connsiteY47" fmla="*/ 500812 h 1082675"/>
                <a:gd name="connsiteX48" fmla="*/ 833326 w 1314451"/>
                <a:gd name="connsiteY48" fmla="*/ 364816 h 1082675"/>
                <a:gd name="connsiteX49" fmla="*/ 1065618 w 1314451"/>
                <a:gd name="connsiteY49" fmla="*/ 298617 h 1082675"/>
                <a:gd name="connsiteX50" fmla="*/ 1149042 w 1314451"/>
                <a:gd name="connsiteY50" fmla="*/ 298617 h 1082675"/>
                <a:gd name="connsiteX51" fmla="*/ 1177809 w 1314451"/>
                <a:gd name="connsiteY51" fmla="*/ 318045 h 1082675"/>
                <a:gd name="connsiteX52" fmla="*/ 1170617 w 1314451"/>
                <a:gd name="connsiteY52" fmla="*/ 352583 h 1082675"/>
                <a:gd name="connsiteX53" fmla="*/ 1021030 w 1314451"/>
                <a:gd name="connsiteY53" fmla="*/ 500093 h 1082675"/>
                <a:gd name="connsiteX54" fmla="*/ 1020311 w 1314451"/>
                <a:gd name="connsiteY54" fmla="*/ 525277 h 1082675"/>
                <a:gd name="connsiteX55" fmla="*/ 1031098 w 1314451"/>
                <a:gd name="connsiteY55" fmla="*/ 530314 h 1082675"/>
                <a:gd name="connsiteX56" fmla="*/ 1041886 w 1314451"/>
                <a:gd name="connsiteY56" fmla="*/ 525997 h 1082675"/>
                <a:gd name="connsiteX57" fmla="*/ 1277054 w 1314451"/>
                <a:gd name="connsiteY57" fmla="*/ 294299 h 1082675"/>
                <a:gd name="connsiteX58" fmla="*/ 1277774 w 1314451"/>
                <a:gd name="connsiteY58" fmla="*/ 293580 h 1082675"/>
                <a:gd name="connsiteX59" fmla="*/ 1278493 w 1314451"/>
                <a:gd name="connsiteY59" fmla="*/ 293580 h 1082675"/>
                <a:gd name="connsiteX60" fmla="*/ 1278493 w 1314451"/>
                <a:gd name="connsiteY60" fmla="*/ 292860 h 1082675"/>
                <a:gd name="connsiteX61" fmla="*/ 1279212 w 1314451"/>
                <a:gd name="connsiteY61" fmla="*/ 292141 h 1082675"/>
                <a:gd name="connsiteX62" fmla="*/ 1279212 w 1314451"/>
                <a:gd name="connsiteY62" fmla="*/ 291421 h 1082675"/>
                <a:gd name="connsiteX63" fmla="*/ 1279931 w 1314451"/>
                <a:gd name="connsiteY63" fmla="*/ 290701 h 1082675"/>
                <a:gd name="connsiteX64" fmla="*/ 1280650 w 1314451"/>
                <a:gd name="connsiteY64" fmla="*/ 289982 h 1082675"/>
                <a:gd name="connsiteX65" fmla="*/ 1280650 w 1314451"/>
                <a:gd name="connsiteY65" fmla="*/ 289262 h 1082675"/>
                <a:gd name="connsiteX66" fmla="*/ 1282808 w 1314451"/>
                <a:gd name="connsiteY66" fmla="*/ 281347 h 1082675"/>
                <a:gd name="connsiteX67" fmla="*/ 1280650 w 1314451"/>
                <a:gd name="connsiteY67" fmla="*/ 272712 h 1082675"/>
                <a:gd name="connsiteX68" fmla="*/ 1280650 w 1314451"/>
                <a:gd name="connsiteY68" fmla="*/ 271993 h 1082675"/>
                <a:gd name="connsiteX69" fmla="*/ 1279931 w 1314451"/>
                <a:gd name="connsiteY69" fmla="*/ 271273 h 1082675"/>
                <a:gd name="connsiteX70" fmla="*/ 1279212 w 1314451"/>
                <a:gd name="connsiteY70" fmla="*/ 270554 h 1082675"/>
                <a:gd name="connsiteX71" fmla="*/ 1279212 w 1314451"/>
                <a:gd name="connsiteY71" fmla="*/ 269834 h 1082675"/>
                <a:gd name="connsiteX72" fmla="*/ 1278493 w 1314451"/>
                <a:gd name="connsiteY72" fmla="*/ 269115 h 1082675"/>
                <a:gd name="connsiteX73" fmla="*/ 1277774 w 1314451"/>
                <a:gd name="connsiteY73" fmla="*/ 268395 h 1082675"/>
                <a:gd name="connsiteX74" fmla="*/ 1277054 w 1314451"/>
                <a:gd name="connsiteY74" fmla="*/ 267676 h 1082675"/>
                <a:gd name="connsiteX75" fmla="*/ 1041886 w 1314451"/>
                <a:gd name="connsiteY75" fmla="*/ 35978 h 1082675"/>
                <a:gd name="connsiteX76" fmla="*/ 1031098 w 1314451"/>
                <a:gd name="connsiteY76" fmla="*/ 31660 h 1082675"/>
                <a:gd name="connsiteX77" fmla="*/ 1020311 w 1314451"/>
                <a:gd name="connsiteY77" fmla="*/ 36697 h 1082675"/>
                <a:gd name="connsiteX78" fmla="*/ 1021030 w 1314451"/>
                <a:gd name="connsiteY78" fmla="*/ 61882 h 1082675"/>
                <a:gd name="connsiteX79" fmla="*/ 1170617 w 1314451"/>
                <a:gd name="connsiteY79" fmla="*/ 209391 h 1082675"/>
                <a:gd name="connsiteX80" fmla="*/ 1177809 w 1314451"/>
                <a:gd name="connsiteY80" fmla="*/ 243930 h 1082675"/>
                <a:gd name="connsiteX81" fmla="*/ 1149042 w 1314451"/>
                <a:gd name="connsiteY81" fmla="*/ 264078 h 1082675"/>
                <a:gd name="connsiteX82" fmla="*/ 1065618 w 1314451"/>
                <a:gd name="connsiteY82" fmla="*/ 264078 h 1082675"/>
                <a:gd name="connsiteX83" fmla="*/ 817505 w 1314451"/>
                <a:gd name="connsiteY83" fmla="*/ 334594 h 1082675"/>
                <a:gd name="connsiteX84" fmla="*/ 689492 w 1314451"/>
                <a:gd name="connsiteY84" fmla="*/ 464115 h 1082675"/>
                <a:gd name="connsiteX85" fmla="*/ 671513 w 1314451"/>
                <a:gd name="connsiteY85" fmla="*/ 433174 h 1082675"/>
                <a:gd name="connsiteX86" fmla="*/ 800245 w 1314451"/>
                <a:gd name="connsiteY86" fmla="*/ 307971 h 1082675"/>
                <a:gd name="connsiteX87" fmla="*/ 1065618 w 1314451"/>
                <a:gd name="connsiteY87" fmla="*/ 232417 h 1082675"/>
                <a:gd name="connsiteX88" fmla="*/ 1149042 w 1314451"/>
                <a:gd name="connsiteY88" fmla="*/ 232417 h 1082675"/>
                <a:gd name="connsiteX89" fmla="*/ 998736 w 1314451"/>
                <a:gd name="connsiteY89" fmla="*/ 84188 h 1082675"/>
                <a:gd name="connsiteX90" fmla="*/ 997297 w 1314451"/>
                <a:gd name="connsiteY90" fmla="*/ 15111 h 1082675"/>
                <a:gd name="connsiteX91" fmla="*/ 1031098 w 1314451"/>
                <a:gd name="connsiteY91" fmla="*/ 0 h 108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314451" h="1082675">
                  <a:moveTo>
                    <a:pt x="589643" y="765175"/>
                  </a:moveTo>
                  <a:cubicBezTo>
                    <a:pt x="593243" y="781014"/>
                    <a:pt x="597563" y="796133"/>
                    <a:pt x="602602" y="811972"/>
                  </a:cubicBezTo>
                  <a:cubicBezTo>
                    <a:pt x="581724" y="850850"/>
                    <a:pt x="552205" y="886128"/>
                    <a:pt x="514768" y="917086"/>
                  </a:cubicBezTo>
                  <a:cubicBezTo>
                    <a:pt x="437733" y="981162"/>
                    <a:pt x="337659" y="1016439"/>
                    <a:pt x="233986" y="1016439"/>
                  </a:cubicBezTo>
                  <a:cubicBezTo>
                    <a:pt x="233986" y="1016439"/>
                    <a:pt x="233986" y="1016439"/>
                    <a:pt x="47517" y="1016439"/>
                  </a:cubicBezTo>
                  <a:cubicBezTo>
                    <a:pt x="38878" y="1016439"/>
                    <a:pt x="31678" y="1024359"/>
                    <a:pt x="31678" y="1033718"/>
                  </a:cubicBezTo>
                  <a:cubicBezTo>
                    <a:pt x="31678" y="1043798"/>
                    <a:pt x="38878" y="1050997"/>
                    <a:pt x="47517" y="1050997"/>
                  </a:cubicBezTo>
                  <a:cubicBezTo>
                    <a:pt x="47517" y="1050997"/>
                    <a:pt x="47517" y="1050997"/>
                    <a:pt x="233986" y="1050997"/>
                  </a:cubicBezTo>
                  <a:cubicBezTo>
                    <a:pt x="344859" y="1050997"/>
                    <a:pt x="451412" y="1013559"/>
                    <a:pt x="534207" y="944444"/>
                  </a:cubicBezTo>
                  <a:cubicBezTo>
                    <a:pt x="568044" y="916366"/>
                    <a:pt x="596123" y="883968"/>
                    <a:pt x="617721" y="849410"/>
                  </a:cubicBezTo>
                  <a:cubicBezTo>
                    <a:pt x="622041" y="858049"/>
                    <a:pt x="627081" y="867409"/>
                    <a:pt x="631400" y="876048"/>
                  </a:cubicBezTo>
                  <a:cubicBezTo>
                    <a:pt x="632840" y="877488"/>
                    <a:pt x="633560" y="879648"/>
                    <a:pt x="635000" y="881088"/>
                  </a:cubicBezTo>
                  <a:cubicBezTo>
                    <a:pt x="612682" y="913486"/>
                    <a:pt x="586043" y="942284"/>
                    <a:pt x="554365" y="968922"/>
                  </a:cubicBezTo>
                  <a:cubicBezTo>
                    <a:pt x="465811" y="1042358"/>
                    <a:pt x="352058" y="1082675"/>
                    <a:pt x="233986" y="1082675"/>
                  </a:cubicBezTo>
                  <a:cubicBezTo>
                    <a:pt x="233986" y="1082675"/>
                    <a:pt x="233986" y="1082675"/>
                    <a:pt x="47517" y="1082675"/>
                  </a:cubicBezTo>
                  <a:cubicBezTo>
                    <a:pt x="21599" y="1082675"/>
                    <a:pt x="0" y="1061077"/>
                    <a:pt x="0" y="1033718"/>
                  </a:cubicBezTo>
                  <a:cubicBezTo>
                    <a:pt x="0" y="1007080"/>
                    <a:pt x="21599" y="984761"/>
                    <a:pt x="47517" y="984761"/>
                  </a:cubicBezTo>
                  <a:cubicBezTo>
                    <a:pt x="47517" y="984761"/>
                    <a:pt x="47517" y="984761"/>
                    <a:pt x="233986" y="984761"/>
                  </a:cubicBezTo>
                  <a:cubicBezTo>
                    <a:pt x="330459" y="984761"/>
                    <a:pt x="423334" y="952363"/>
                    <a:pt x="494609" y="892607"/>
                  </a:cubicBezTo>
                  <a:cubicBezTo>
                    <a:pt x="539246" y="855889"/>
                    <a:pt x="570924" y="813412"/>
                    <a:pt x="589643" y="765175"/>
                  </a:cubicBezTo>
                  <a:close/>
                  <a:moveTo>
                    <a:pt x="1031098" y="0"/>
                  </a:moveTo>
                  <a:cubicBezTo>
                    <a:pt x="1043324" y="0"/>
                    <a:pt x="1054831" y="4317"/>
                    <a:pt x="1064180" y="13671"/>
                  </a:cubicBezTo>
                  <a:cubicBezTo>
                    <a:pt x="1064180" y="13671"/>
                    <a:pt x="1064180" y="13671"/>
                    <a:pt x="1300068" y="245369"/>
                  </a:cubicBezTo>
                  <a:cubicBezTo>
                    <a:pt x="1300068" y="246089"/>
                    <a:pt x="1300068" y="246089"/>
                    <a:pt x="1300068" y="246089"/>
                  </a:cubicBezTo>
                  <a:cubicBezTo>
                    <a:pt x="1300787" y="246808"/>
                    <a:pt x="1301506" y="247528"/>
                    <a:pt x="1302225" y="248247"/>
                  </a:cubicBezTo>
                  <a:cubicBezTo>
                    <a:pt x="1302225" y="248967"/>
                    <a:pt x="1302944" y="248967"/>
                    <a:pt x="1303664" y="249687"/>
                  </a:cubicBezTo>
                  <a:cubicBezTo>
                    <a:pt x="1303664" y="250406"/>
                    <a:pt x="1304383" y="251126"/>
                    <a:pt x="1305102" y="251845"/>
                  </a:cubicBezTo>
                  <a:cubicBezTo>
                    <a:pt x="1305102" y="252565"/>
                    <a:pt x="1305821" y="253284"/>
                    <a:pt x="1305821" y="253284"/>
                  </a:cubicBezTo>
                  <a:cubicBezTo>
                    <a:pt x="1306540" y="254723"/>
                    <a:pt x="1307260" y="255443"/>
                    <a:pt x="1307979" y="256882"/>
                  </a:cubicBezTo>
                  <a:cubicBezTo>
                    <a:pt x="1307979" y="256882"/>
                    <a:pt x="1308698" y="256882"/>
                    <a:pt x="1308698" y="257602"/>
                  </a:cubicBezTo>
                  <a:cubicBezTo>
                    <a:pt x="1312294" y="264797"/>
                    <a:pt x="1314451" y="272712"/>
                    <a:pt x="1314451" y="281347"/>
                  </a:cubicBezTo>
                  <a:cubicBezTo>
                    <a:pt x="1314451" y="289982"/>
                    <a:pt x="1312294" y="297897"/>
                    <a:pt x="1308698" y="304373"/>
                  </a:cubicBezTo>
                  <a:cubicBezTo>
                    <a:pt x="1308698" y="305093"/>
                    <a:pt x="1307979" y="305093"/>
                    <a:pt x="1307979" y="305812"/>
                  </a:cubicBezTo>
                  <a:cubicBezTo>
                    <a:pt x="1307260" y="306532"/>
                    <a:pt x="1306540" y="307971"/>
                    <a:pt x="1305821" y="308690"/>
                  </a:cubicBezTo>
                  <a:cubicBezTo>
                    <a:pt x="1305821" y="309410"/>
                    <a:pt x="1305102" y="309410"/>
                    <a:pt x="1305102" y="310129"/>
                  </a:cubicBezTo>
                  <a:cubicBezTo>
                    <a:pt x="1304383" y="310849"/>
                    <a:pt x="1303664" y="311569"/>
                    <a:pt x="1303664" y="312288"/>
                  </a:cubicBezTo>
                  <a:cubicBezTo>
                    <a:pt x="1302944" y="313008"/>
                    <a:pt x="1302225" y="313727"/>
                    <a:pt x="1302225" y="313727"/>
                  </a:cubicBezTo>
                  <a:cubicBezTo>
                    <a:pt x="1301506" y="314447"/>
                    <a:pt x="1300787" y="315166"/>
                    <a:pt x="1300068" y="315886"/>
                  </a:cubicBezTo>
                  <a:cubicBezTo>
                    <a:pt x="1300068" y="315886"/>
                    <a:pt x="1300068" y="316605"/>
                    <a:pt x="1300068" y="316605"/>
                  </a:cubicBezTo>
                  <a:cubicBezTo>
                    <a:pt x="1300068" y="316605"/>
                    <a:pt x="1300068" y="316605"/>
                    <a:pt x="1064180" y="548303"/>
                  </a:cubicBezTo>
                  <a:cubicBezTo>
                    <a:pt x="1054831" y="557657"/>
                    <a:pt x="1043324" y="561975"/>
                    <a:pt x="1031098" y="561975"/>
                  </a:cubicBezTo>
                  <a:cubicBezTo>
                    <a:pt x="1018872" y="561975"/>
                    <a:pt x="1006646" y="556938"/>
                    <a:pt x="997297" y="546864"/>
                  </a:cubicBezTo>
                  <a:cubicBezTo>
                    <a:pt x="979318" y="527436"/>
                    <a:pt x="980037" y="496495"/>
                    <a:pt x="998736" y="477787"/>
                  </a:cubicBezTo>
                  <a:cubicBezTo>
                    <a:pt x="998736" y="477787"/>
                    <a:pt x="998736" y="477787"/>
                    <a:pt x="1149042" y="330277"/>
                  </a:cubicBezTo>
                  <a:cubicBezTo>
                    <a:pt x="1149042" y="330277"/>
                    <a:pt x="1149042" y="330277"/>
                    <a:pt x="1065618" y="330277"/>
                  </a:cubicBezTo>
                  <a:cubicBezTo>
                    <a:pt x="987948" y="330277"/>
                    <a:pt x="913154" y="351144"/>
                    <a:pt x="850587" y="391440"/>
                  </a:cubicBezTo>
                  <a:cubicBezTo>
                    <a:pt x="785861" y="432454"/>
                    <a:pt x="742711" y="484263"/>
                    <a:pt x="721136" y="547584"/>
                  </a:cubicBezTo>
                  <a:cubicBezTo>
                    <a:pt x="716821" y="531753"/>
                    <a:pt x="711787" y="515923"/>
                    <a:pt x="706033" y="500812"/>
                  </a:cubicBezTo>
                  <a:cubicBezTo>
                    <a:pt x="732643" y="447565"/>
                    <a:pt x="775074" y="401513"/>
                    <a:pt x="833326" y="364816"/>
                  </a:cubicBezTo>
                  <a:cubicBezTo>
                    <a:pt x="901648" y="320923"/>
                    <a:pt x="981476" y="298617"/>
                    <a:pt x="1065618" y="298617"/>
                  </a:cubicBezTo>
                  <a:cubicBezTo>
                    <a:pt x="1065618" y="298617"/>
                    <a:pt x="1065618" y="298617"/>
                    <a:pt x="1149042" y="298617"/>
                  </a:cubicBezTo>
                  <a:cubicBezTo>
                    <a:pt x="1161268" y="298617"/>
                    <a:pt x="1173494" y="305812"/>
                    <a:pt x="1177809" y="318045"/>
                  </a:cubicBezTo>
                  <a:cubicBezTo>
                    <a:pt x="1182843" y="329558"/>
                    <a:pt x="1179966" y="343229"/>
                    <a:pt x="1170617" y="352583"/>
                  </a:cubicBezTo>
                  <a:cubicBezTo>
                    <a:pt x="1170617" y="352583"/>
                    <a:pt x="1170617" y="352583"/>
                    <a:pt x="1021030" y="500093"/>
                  </a:cubicBezTo>
                  <a:cubicBezTo>
                    <a:pt x="1013838" y="507288"/>
                    <a:pt x="1013838" y="518801"/>
                    <a:pt x="1020311" y="525277"/>
                  </a:cubicBezTo>
                  <a:cubicBezTo>
                    <a:pt x="1023187" y="528875"/>
                    <a:pt x="1027502" y="530314"/>
                    <a:pt x="1031098" y="530314"/>
                  </a:cubicBezTo>
                  <a:cubicBezTo>
                    <a:pt x="1033975" y="530314"/>
                    <a:pt x="1038290" y="529595"/>
                    <a:pt x="1041886" y="525997"/>
                  </a:cubicBezTo>
                  <a:cubicBezTo>
                    <a:pt x="1041886" y="525997"/>
                    <a:pt x="1041886" y="525997"/>
                    <a:pt x="1277054" y="294299"/>
                  </a:cubicBezTo>
                  <a:cubicBezTo>
                    <a:pt x="1277054" y="294299"/>
                    <a:pt x="1277054" y="294299"/>
                    <a:pt x="1277774" y="293580"/>
                  </a:cubicBezTo>
                  <a:cubicBezTo>
                    <a:pt x="1277774" y="293580"/>
                    <a:pt x="1277774" y="293580"/>
                    <a:pt x="1278493" y="293580"/>
                  </a:cubicBezTo>
                  <a:cubicBezTo>
                    <a:pt x="1278493" y="293580"/>
                    <a:pt x="1278493" y="293580"/>
                    <a:pt x="1278493" y="292860"/>
                  </a:cubicBezTo>
                  <a:cubicBezTo>
                    <a:pt x="1278493" y="292860"/>
                    <a:pt x="1278493" y="292860"/>
                    <a:pt x="1279212" y="292141"/>
                  </a:cubicBezTo>
                  <a:cubicBezTo>
                    <a:pt x="1279212" y="292141"/>
                    <a:pt x="1279212" y="292141"/>
                    <a:pt x="1279212" y="291421"/>
                  </a:cubicBezTo>
                  <a:cubicBezTo>
                    <a:pt x="1279931" y="291421"/>
                    <a:pt x="1279931" y="291421"/>
                    <a:pt x="1279931" y="290701"/>
                  </a:cubicBezTo>
                  <a:cubicBezTo>
                    <a:pt x="1279931" y="290701"/>
                    <a:pt x="1279931" y="290701"/>
                    <a:pt x="1280650" y="289982"/>
                  </a:cubicBezTo>
                  <a:cubicBezTo>
                    <a:pt x="1280650" y="289982"/>
                    <a:pt x="1280650" y="289262"/>
                    <a:pt x="1280650" y="289262"/>
                  </a:cubicBezTo>
                  <a:cubicBezTo>
                    <a:pt x="1282089" y="286384"/>
                    <a:pt x="1282808" y="284225"/>
                    <a:pt x="1282808" y="281347"/>
                  </a:cubicBezTo>
                  <a:cubicBezTo>
                    <a:pt x="1282808" y="278469"/>
                    <a:pt x="1282089" y="275591"/>
                    <a:pt x="1280650" y="272712"/>
                  </a:cubicBezTo>
                  <a:cubicBezTo>
                    <a:pt x="1280650" y="272712"/>
                    <a:pt x="1280650" y="271993"/>
                    <a:pt x="1280650" y="271993"/>
                  </a:cubicBezTo>
                  <a:cubicBezTo>
                    <a:pt x="1279931" y="271993"/>
                    <a:pt x="1279931" y="271273"/>
                    <a:pt x="1279931" y="271273"/>
                  </a:cubicBezTo>
                  <a:cubicBezTo>
                    <a:pt x="1279931" y="271273"/>
                    <a:pt x="1279931" y="270554"/>
                    <a:pt x="1279212" y="270554"/>
                  </a:cubicBezTo>
                  <a:cubicBezTo>
                    <a:pt x="1279212" y="269834"/>
                    <a:pt x="1279212" y="269834"/>
                    <a:pt x="1279212" y="269834"/>
                  </a:cubicBezTo>
                  <a:cubicBezTo>
                    <a:pt x="1279212" y="269834"/>
                    <a:pt x="1279212" y="269834"/>
                    <a:pt x="1278493" y="269115"/>
                  </a:cubicBezTo>
                  <a:cubicBezTo>
                    <a:pt x="1277774" y="268395"/>
                    <a:pt x="1277774" y="268395"/>
                    <a:pt x="1277774" y="268395"/>
                  </a:cubicBezTo>
                  <a:cubicBezTo>
                    <a:pt x="1277054" y="268395"/>
                    <a:pt x="1277054" y="267676"/>
                    <a:pt x="1277054" y="267676"/>
                  </a:cubicBezTo>
                  <a:cubicBezTo>
                    <a:pt x="1277054" y="267676"/>
                    <a:pt x="1277054" y="267676"/>
                    <a:pt x="1041886" y="35978"/>
                  </a:cubicBezTo>
                  <a:cubicBezTo>
                    <a:pt x="1038290" y="32380"/>
                    <a:pt x="1033975" y="31660"/>
                    <a:pt x="1031098" y="31660"/>
                  </a:cubicBezTo>
                  <a:cubicBezTo>
                    <a:pt x="1027502" y="31660"/>
                    <a:pt x="1023187" y="33100"/>
                    <a:pt x="1020311" y="36697"/>
                  </a:cubicBezTo>
                  <a:cubicBezTo>
                    <a:pt x="1013838" y="43893"/>
                    <a:pt x="1013838" y="55406"/>
                    <a:pt x="1021030" y="61882"/>
                  </a:cubicBezTo>
                  <a:cubicBezTo>
                    <a:pt x="1021030" y="61882"/>
                    <a:pt x="1021030" y="61882"/>
                    <a:pt x="1170617" y="209391"/>
                  </a:cubicBezTo>
                  <a:cubicBezTo>
                    <a:pt x="1179966" y="218746"/>
                    <a:pt x="1182843" y="232417"/>
                    <a:pt x="1177809" y="243930"/>
                  </a:cubicBezTo>
                  <a:cubicBezTo>
                    <a:pt x="1173494" y="256163"/>
                    <a:pt x="1161268" y="264078"/>
                    <a:pt x="1149042" y="264078"/>
                  </a:cubicBezTo>
                  <a:cubicBezTo>
                    <a:pt x="1149042" y="264078"/>
                    <a:pt x="1149042" y="264078"/>
                    <a:pt x="1065618" y="264078"/>
                  </a:cubicBezTo>
                  <a:cubicBezTo>
                    <a:pt x="976441" y="264078"/>
                    <a:pt x="890141" y="288543"/>
                    <a:pt x="817505" y="334594"/>
                  </a:cubicBezTo>
                  <a:cubicBezTo>
                    <a:pt x="762129" y="369853"/>
                    <a:pt x="718978" y="413746"/>
                    <a:pt x="689492" y="464115"/>
                  </a:cubicBezTo>
                  <a:cubicBezTo>
                    <a:pt x="683739" y="454041"/>
                    <a:pt x="677986" y="443248"/>
                    <a:pt x="671513" y="433174"/>
                  </a:cubicBezTo>
                  <a:cubicBezTo>
                    <a:pt x="703157" y="384964"/>
                    <a:pt x="746307" y="342510"/>
                    <a:pt x="800245" y="307971"/>
                  </a:cubicBezTo>
                  <a:cubicBezTo>
                    <a:pt x="878634" y="258321"/>
                    <a:pt x="969969" y="232417"/>
                    <a:pt x="1065618" y="232417"/>
                  </a:cubicBezTo>
                  <a:cubicBezTo>
                    <a:pt x="1065618" y="232417"/>
                    <a:pt x="1065618" y="232417"/>
                    <a:pt x="1149042" y="232417"/>
                  </a:cubicBezTo>
                  <a:cubicBezTo>
                    <a:pt x="1149042" y="232417"/>
                    <a:pt x="1149042" y="232417"/>
                    <a:pt x="998736" y="84188"/>
                  </a:cubicBezTo>
                  <a:cubicBezTo>
                    <a:pt x="980037" y="65480"/>
                    <a:pt x="979318" y="34539"/>
                    <a:pt x="997297" y="15111"/>
                  </a:cubicBezTo>
                  <a:cubicBezTo>
                    <a:pt x="1006646" y="5037"/>
                    <a:pt x="1018872" y="0"/>
                    <a:pt x="1031098"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6" name="Freeform 13"/>
            <p:cNvSpPr>
              <a:spLocks/>
            </p:cNvSpPr>
            <p:nvPr/>
          </p:nvSpPr>
          <p:spPr bwMode="auto">
            <a:xfrm>
              <a:off x="6471443" y="3005138"/>
              <a:ext cx="1314450" cy="1082675"/>
            </a:xfrm>
            <a:custGeom>
              <a:avLst/>
              <a:gdLst>
                <a:gd name="T0" fmla="*/ 1820 w 1828"/>
                <a:gd name="T1" fmla="*/ 1082 h 1505"/>
                <a:gd name="T2" fmla="*/ 1819 w 1828"/>
                <a:gd name="T3" fmla="*/ 1080 h 1505"/>
                <a:gd name="T4" fmla="*/ 1816 w 1828"/>
                <a:gd name="T5" fmla="*/ 1076 h 1505"/>
                <a:gd name="T6" fmla="*/ 1815 w 1828"/>
                <a:gd name="T7" fmla="*/ 1074 h 1505"/>
                <a:gd name="T8" fmla="*/ 1813 w 1828"/>
                <a:gd name="T9" fmla="*/ 1071 h 1505"/>
                <a:gd name="T10" fmla="*/ 1811 w 1828"/>
                <a:gd name="T11" fmla="*/ 1069 h 1505"/>
                <a:gd name="T12" fmla="*/ 1808 w 1828"/>
                <a:gd name="T13" fmla="*/ 1066 h 1505"/>
                <a:gd name="T14" fmla="*/ 1808 w 1828"/>
                <a:gd name="T15" fmla="*/ 1065 h 1505"/>
                <a:gd name="T16" fmla="*/ 1480 w 1828"/>
                <a:gd name="T17" fmla="*/ 743 h 1505"/>
                <a:gd name="T18" fmla="*/ 1434 w 1828"/>
                <a:gd name="T19" fmla="*/ 724 h 1505"/>
                <a:gd name="T20" fmla="*/ 1387 w 1828"/>
                <a:gd name="T21" fmla="*/ 745 h 1505"/>
                <a:gd name="T22" fmla="*/ 1389 w 1828"/>
                <a:gd name="T23" fmla="*/ 841 h 1505"/>
                <a:gd name="T24" fmla="*/ 1598 w 1828"/>
                <a:gd name="T25" fmla="*/ 1046 h 1505"/>
                <a:gd name="T26" fmla="*/ 1482 w 1828"/>
                <a:gd name="T27" fmla="*/ 1046 h 1505"/>
                <a:gd name="T28" fmla="*/ 1183 w 1828"/>
                <a:gd name="T29" fmla="*/ 961 h 1505"/>
                <a:gd name="T30" fmla="*/ 980 w 1828"/>
                <a:gd name="T31" fmla="*/ 602 h 1505"/>
                <a:gd name="T32" fmla="*/ 980 w 1828"/>
                <a:gd name="T33" fmla="*/ 591 h 1505"/>
                <a:gd name="T34" fmla="*/ 957 w 1828"/>
                <a:gd name="T35" fmla="*/ 436 h 1505"/>
                <a:gd name="T36" fmla="*/ 933 w 1828"/>
                <a:gd name="T37" fmla="*/ 372 h 1505"/>
                <a:gd name="T38" fmla="*/ 908 w 1828"/>
                <a:gd name="T39" fmla="*/ 322 h 1505"/>
                <a:gd name="T40" fmla="*/ 770 w 1828"/>
                <a:gd name="T41" fmla="*/ 158 h 1505"/>
                <a:gd name="T42" fmla="*/ 325 w 1828"/>
                <a:gd name="T43" fmla="*/ 0 h 1505"/>
                <a:gd name="T44" fmla="*/ 66 w 1828"/>
                <a:gd name="T45" fmla="*/ 0 h 1505"/>
                <a:gd name="T46" fmla="*/ 0 w 1828"/>
                <a:gd name="T47" fmla="*/ 68 h 1505"/>
                <a:gd name="T48" fmla="*/ 66 w 1828"/>
                <a:gd name="T49" fmla="*/ 136 h 1505"/>
                <a:gd name="T50" fmla="*/ 325 w 1828"/>
                <a:gd name="T51" fmla="*/ 136 h 1505"/>
                <a:gd name="T52" fmla="*/ 687 w 1828"/>
                <a:gd name="T53" fmla="*/ 264 h 1505"/>
                <a:gd name="T54" fmla="*/ 848 w 1828"/>
                <a:gd name="T55" fmla="*/ 591 h 1505"/>
                <a:gd name="T56" fmla="*/ 848 w 1828"/>
                <a:gd name="T57" fmla="*/ 602 h 1505"/>
                <a:gd name="T58" fmla="*/ 865 w 1828"/>
                <a:gd name="T59" fmla="*/ 744 h 1505"/>
                <a:gd name="T60" fmla="*/ 885 w 1828"/>
                <a:gd name="T61" fmla="*/ 809 h 1505"/>
                <a:gd name="T62" fmla="*/ 908 w 1828"/>
                <a:gd name="T63" fmla="*/ 860 h 1505"/>
                <a:gd name="T64" fmla="*/ 1113 w 1828"/>
                <a:gd name="T65" fmla="*/ 1077 h 1505"/>
                <a:gd name="T66" fmla="*/ 1482 w 1828"/>
                <a:gd name="T67" fmla="*/ 1182 h 1505"/>
                <a:gd name="T68" fmla="*/ 1598 w 1828"/>
                <a:gd name="T69" fmla="*/ 1182 h 1505"/>
                <a:gd name="T70" fmla="*/ 1389 w 1828"/>
                <a:gd name="T71" fmla="*/ 1388 h 1505"/>
                <a:gd name="T72" fmla="*/ 1387 w 1828"/>
                <a:gd name="T73" fmla="*/ 1484 h 1505"/>
                <a:gd name="T74" fmla="*/ 1434 w 1828"/>
                <a:gd name="T75" fmla="*/ 1505 h 1505"/>
                <a:gd name="T76" fmla="*/ 1480 w 1828"/>
                <a:gd name="T77" fmla="*/ 1486 h 1505"/>
                <a:gd name="T78" fmla="*/ 1808 w 1828"/>
                <a:gd name="T79" fmla="*/ 1164 h 1505"/>
                <a:gd name="T80" fmla="*/ 1808 w 1828"/>
                <a:gd name="T81" fmla="*/ 1163 h 1505"/>
                <a:gd name="T82" fmla="*/ 1811 w 1828"/>
                <a:gd name="T83" fmla="*/ 1160 h 1505"/>
                <a:gd name="T84" fmla="*/ 1813 w 1828"/>
                <a:gd name="T85" fmla="*/ 1158 h 1505"/>
                <a:gd name="T86" fmla="*/ 1815 w 1828"/>
                <a:gd name="T87" fmla="*/ 1155 h 1505"/>
                <a:gd name="T88" fmla="*/ 1816 w 1828"/>
                <a:gd name="T89" fmla="*/ 1153 h 1505"/>
                <a:gd name="T90" fmla="*/ 1819 w 1828"/>
                <a:gd name="T91" fmla="*/ 1148 h 1505"/>
                <a:gd name="T92" fmla="*/ 1820 w 1828"/>
                <a:gd name="T93" fmla="*/ 1147 h 1505"/>
                <a:gd name="T94" fmla="*/ 1828 w 1828"/>
                <a:gd name="T95" fmla="*/ 1114 h 1505"/>
                <a:gd name="T96" fmla="*/ 1820 w 1828"/>
                <a:gd name="T97" fmla="*/ 1082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28" h="1505">
                  <a:moveTo>
                    <a:pt x="1820" y="1082"/>
                  </a:moveTo>
                  <a:cubicBezTo>
                    <a:pt x="1820" y="1081"/>
                    <a:pt x="1819" y="1081"/>
                    <a:pt x="1819" y="1080"/>
                  </a:cubicBezTo>
                  <a:cubicBezTo>
                    <a:pt x="1818" y="1079"/>
                    <a:pt x="1817" y="1077"/>
                    <a:pt x="1816" y="1076"/>
                  </a:cubicBezTo>
                  <a:cubicBezTo>
                    <a:pt x="1816" y="1075"/>
                    <a:pt x="1815" y="1075"/>
                    <a:pt x="1815" y="1074"/>
                  </a:cubicBezTo>
                  <a:cubicBezTo>
                    <a:pt x="1814" y="1073"/>
                    <a:pt x="1813" y="1072"/>
                    <a:pt x="1813" y="1071"/>
                  </a:cubicBezTo>
                  <a:cubicBezTo>
                    <a:pt x="1812" y="1070"/>
                    <a:pt x="1811" y="1069"/>
                    <a:pt x="1811" y="1069"/>
                  </a:cubicBezTo>
                  <a:cubicBezTo>
                    <a:pt x="1810" y="1068"/>
                    <a:pt x="1809" y="1067"/>
                    <a:pt x="1808" y="1066"/>
                  </a:cubicBezTo>
                  <a:cubicBezTo>
                    <a:pt x="1808" y="1066"/>
                    <a:pt x="1808" y="1065"/>
                    <a:pt x="1808" y="1065"/>
                  </a:cubicBezTo>
                  <a:cubicBezTo>
                    <a:pt x="1480" y="743"/>
                    <a:pt x="1480" y="743"/>
                    <a:pt x="1480" y="743"/>
                  </a:cubicBezTo>
                  <a:cubicBezTo>
                    <a:pt x="1467" y="730"/>
                    <a:pt x="1451" y="724"/>
                    <a:pt x="1434" y="724"/>
                  </a:cubicBezTo>
                  <a:cubicBezTo>
                    <a:pt x="1417" y="724"/>
                    <a:pt x="1400" y="731"/>
                    <a:pt x="1387" y="745"/>
                  </a:cubicBezTo>
                  <a:cubicBezTo>
                    <a:pt x="1362" y="772"/>
                    <a:pt x="1363" y="815"/>
                    <a:pt x="1389" y="841"/>
                  </a:cubicBezTo>
                  <a:cubicBezTo>
                    <a:pt x="1598" y="1046"/>
                    <a:pt x="1598" y="1046"/>
                    <a:pt x="1598" y="1046"/>
                  </a:cubicBezTo>
                  <a:cubicBezTo>
                    <a:pt x="1482" y="1046"/>
                    <a:pt x="1482" y="1046"/>
                    <a:pt x="1482" y="1046"/>
                  </a:cubicBezTo>
                  <a:cubicBezTo>
                    <a:pt x="1374" y="1046"/>
                    <a:pt x="1270" y="1017"/>
                    <a:pt x="1183" y="961"/>
                  </a:cubicBezTo>
                  <a:cubicBezTo>
                    <a:pt x="1048" y="876"/>
                    <a:pt x="980" y="755"/>
                    <a:pt x="980" y="602"/>
                  </a:cubicBezTo>
                  <a:cubicBezTo>
                    <a:pt x="980" y="598"/>
                    <a:pt x="980" y="595"/>
                    <a:pt x="980" y="591"/>
                  </a:cubicBezTo>
                  <a:cubicBezTo>
                    <a:pt x="979" y="537"/>
                    <a:pt x="971" y="485"/>
                    <a:pt x="957" y="436"/>
                  </a:cubicBezTo>
                  <a:cubicBezTo>
                    <a:pt x="950" y="414"/>
                    <a:pt x="942" y="393"/>
                    <a:pt x="933" y="372"/>
                  </a:cubicBezTo>
                  <a:cubicBezTo>
                    <a:pt x="926" y="355"/>
                    <a:pt x="918" y="339"/>
                    <a:pt x="908" y="322"/>
                  </a:cubicBezTo>
                  <a:cubicBezTo>
                    <a:pt x="874" y="261"/>
                    <a:pt x="828" y="206"/>
                    <a:pt x="770" y="158"/>
                  </a:cubicBezTo>
                  <a:cubicBezTo>
                    <a:pt x="647" y="56"/>
                    <a:pt x="489" y="0"/>
                    <a:pt x="325" y="0"/>
                  </a:cubicBezTo>
                  <a:cubicBezTo>
                    <a:pt x="66" y="0"/>
                    <a:pt x="66" y="0"/>
                    <a:pt x="66" y="0"/>
                  </a:cubicBezTo>
                  <a:cubicBezTo>
                    <a:pt x="30" y="0"/>
                    <a:pt x="0" y="30"/>
                    <a:pt x="0" y="68"/>
                  </a:cubicBezTo>
                  <a:cubicBezTo>
                    <a:pt x="0" y="105"/>
                    <a:pt x="30" y="136"/>
                    <a:pt x="66" y="136"/>
                  </a:cubicBezTo>
                  <a:cubicBezTo>
                    <a:pt x="325" y="136"/>
                    <a:pt x="325" y="136"/>
                    <a:pt x="325" y="136"/>
                  </a:cubicBezTo>
                  <a:cubicBezTo>
                    <a:pt x="459" y="136"/>
                    <a:pt x="588" y="181"/>
                    <a:pt x="687" y="264"/>
                  </a:cubicBezTo>
                  <a:cubicBezTo>
                    <a:pt x="791" y="350"/>
                    <a:pt x="845" y="460"/>
                    <a:pt x="848" y="591"/>
                  </a:cubicBezTo>
                  <a:cubicBezTo>
                    <a:pt x="848" y="595"/>
                    <a:pt x="848" y="598"/>
                    <a:pt x="848" y="602"/>
                  </a:cubicBezTo>
                  <a:cubicBezTo>
                    <a:pt x="848" y="652"/>
                    <a:pt x="854" y="699"/>
                    <a:pt x="865" y="744"/>
                  </a:cubicBezTo>
                  <a:cubicBezTo>
                    <a:pt x="870" y="766"/>
                    <a:pt x="877" y="788"/>
                    <a:pt x="885" y="809"/>
                  </a:cubicBezTo>
                  <a:cubicBezTo>
                    <a:pt x="892" y="826"/>
                    <a:pt x="900" y="843"/>
                    <a:pt x="908" y="860"/>
                  </a:cubicBezTo>
                  <a:cubicBezTo>
                    <a:pt x="953" y="945"/>
                    <a:pt x="1022" y="1019"/>
                    <a:pt x="1113" y="1077"/>
                  </a:cubicBezTo>
                  <a:cubicBezTo>
                    <a:pt x="1222" y="1146"/>
                    <a:pt x="1349" y="1182"/>
                    <a:pt x="1482" y="1182"/>
                  </a:cubicBezTo>
                  <a:cubicBezTo>
                    <a:pt x="1598" y="1182"/>
                    <a:pt x="1598" y="1182"/>
                    <a:pt x="1598" y="1182"/>
                  </a:cubicBezTo>
                  <a:cubicBezTo>
                    <a:pt x="1389" y="1388"/>
                    <a:pt x="1389" y="1388"/>
                    <a:pt x="1389" y="1388"/>
                  </a:cubicBezTo>
                  <a:cubicBezTo>
                    <a:pt x="1363" y="1414"/>
                    <a:pt x="1362" y="1457"/>
                    <a:pt x="1387" y="1484"/>
                  </a:cubicBezTo>
                  <a:cubicBezTo>
                    <a:pt x="1400" y="1498"/>
                    <a:pt x="1417" y="1505"/>
                    <a:pt x="1434" y="1505"/>
                  </a:cubicBezTo>
                  <a:cubicBezTo>
                    <a:pt x="1451" y="1505"/>
                    <a:pt x="1467" y="1499"/>
                    <a:pt x="1480" y="1486"/>
                  </a:cubicBezTo>
                  <a:cubicBezTo>
                    <a:pt x="1808" y="1164"/>
                    <a:pt x="1808" y="1164"/>
                    <a:pt x="1808" y="1164"/>
                  </a:cubicBezTo>
                  <a:cubicBezTo>
                    <a:pt x="1808" y="1163"/>
                    <a:pt x="1808" y="1163"/>
                    <a:pt x="1808" y="1163"/>
                  </a:cubicBezTo>
                  <a:cubicBezTo>
                    <a:pt x="1809" y="1162"/>
                    <a:pt x="1810" y="1161"/>
                    <a:pt x="1811" y="1160"/>
                  </a:cubicBezTo>
                  <a:cubicBezTo>
                    <a:pt x="1811" y="1159"/>
                    <a:pt x="1812" y="1159"/>
                    <a:pt x="1813" y="1158"/>
                  </a:cubicBezTo>
                  <a:cubicBezTo>
                    <a:pt x="1813" y="1157"/>
                    <a:pt x="1814" y="1156"/>
                    <a:pt x="1815" y="1155"/>
                  </a:cubicBezTo>
                  <a:cubicBezTo>
                    <a:pt x="1815" y="1154"/>
                    <a:pt x="1816" y="1153"/>
                    <a:pt x="1816" y="1153"/>
                  </a:cubicBezTo>
                  <a:cubicBezTo>
                    <a:pt x="1817" y="1151"/>
                    <a:pt x="1818" y="1150"/>
                    <a:pt x="1819" y="1148"/>
                  </a:cubicBezTo>
                  <a:cubicBezTo>
                    <a:pt x="1819" y="1148"/>
                    <a:pt x="1820" y="1148"/>
                    <a:pt x="1820" y="1147"/>
                  </a:cubicBezTo>
                  <a:cubicBezTo>
                    <a:pt x="1825" y="1137"/>
                    <a:pt x="1828" y="1126"/>
                    <a:pt x="1828" y="1114"/>
                  </a:cubicBezTo>
                  <a:cubicBezTo>
                    <a:pt x="1828" y="1102"/>
                    <a:pt x="1825" y="1091"/>
                    <a:pt x="1820" y="108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7" name="Group 46"/>
          <p:cNvGrpSpPr>
            <a:grpSpLocks noChangeAspect="1"/>
          </p:cNvGrpSpPr>
          <p:nvPr/>
        </p:nvGrpSpPr>
        <p:grpSpPr>
          <a:xfrm>
            <a:off x="8889642" y="4509198"/>
            <a:ext cx="822198" cy="822960"/>
            <a:chOff x="5273803" y="2606040"/>
            <a:chExt cx="1644396" cy="1645920"/>
          </a:xfrm>
        </p:grpSpPr>
        <p:sp>
          <p:nvSpPr>
            <p:cNvPr id="48" name="AutoShape 13">
              <a:extLst>
                <a:ext uri="{FF2B5EF4-FFF2-40B4-BE49-F238E27FC236}">
                  <a16:creationId xmlns:a16="http://schemas.microsoft.com/office/drawing/2014/main" id="{29016D3E-1273-434F-90D5-5078F0FBBC01}"/>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9" name="Group 48"/>
            <p:cNvGrpSpPr/>
            <p:nvPr/>
          </p:nvGrpSpPr>
          <p:grpSpPr>
            <a:xfrm>
              <a:off x="5478781" y="2773299"/>
              <a:ext cx="1233297" cy="1272159"/>
              <a:chOff x="5478781" y="2773299"/>
              <a:chExt cx="1233297" cy="1272159"/>
            </a:xfrm>
          </p:grpSpPr>
          <p:sp>
            <p:nvSpPr>
              <p:cNvPr id="50" name="Freeform 49">
                <a:extLst>
                  <a:ext uri="{FF2B5EF4-FFF2-40B4-BE49-F238E27FC236}">
                    <a16:creationId xmlns:a16="http://schemas.microsoft.com/office/drawing/2014/main" id="{AE388F92-54E0-4BC0-9CBC-2CF2AB0B27C8}"/>
                  </a:ext>
                </a:extLst>
              </p:cNvPr>
              <p:cNvSpPr>
                <a:spLocks noEditPoints="1"/>
              </p:cNvSpPr>
              <p:nvPr/>
            </p:nvSpPr>
            <p:spPr bwMode="auto">
              <a:xfrm>
                <a:off x="5541265" y="2773299"/>
                <a:ext cx="1107948" cy="1209294"/>
              </a:xfrm>
              <a:custGeom>
                <a:avLst/>
                <a:gdLst>
                  <a:gd name="T0" fmla="*/ 1072 w 1552"/>
                  <a:gd name="T1" fmla="*/ 421 h 1693"/>
                  <a:gd name="T2" fmla="*/ 1072 w 1552"/>
                  <a:gd name="T3" fmla="*/ 420 h 1693"/>
                  <a:gd name="T4" fmla="*/ 1037 w 1552"/>
                  <a:gd name="T5" fmla="*/ 469 h 1693"/>
                  <a:gd name="T6" fmla="*/ 1014 w 1552"/>
                  <a:gd name="T7" fmla="*/ 469 h 1693"/>
                  <a:gd name="T8" fmla="*/ 1011 w 1552"/>
                  <a:gd name="T9" fmla="*/ 238 h 1693"/>
                  <a:gd name="T10" fmla="*/ 608 w 1552"/>
                  <a:gd name="T11" fmla="*/ 252 h 1693"/>
                  <a:gd name="T12" fmla="*/ 532 w 1552"/>
                  <a:gd name="T13" fmla="*/ 465 h 1693"/>
                  <a:gd name="T14" fmla="*/ 512 w 1552"/>
                  <a:gd name="T15" fmla="*/ 463 h 1693"/>
                  <a:gd name="T16" fmla="*/ 481 w 1552"/>
                  <a:gd name="T17" fmla="*/ 424 h 1693"/>
                  <a:gd name="T18" fmla="*/ 481 w 1552"/>
                  <a:gd name="T19" fmla="*/ 424 h 1693"/>
                  <a:gd name="T20" fmla="*/ 469 w 1552"/>
                  <a:gd name="T21" fmla="*/ 314 h 1693"/>
                  <a:gd name="T22" fmla="*/ 776 w 1552"/>
                  <a:gd name="T23" fmla="*/ 0 h 1693"/>
                  <a:gd name="T24" fmla="*/ 1083 w 1552"/>
                  <a:gd name="T25" fmla="*/ 314 h 1693"/>
                  <a:gd name="T26" fmla="*/ 1072 w 1552"/>
                  <a:gd name="T27" fmla="*/ 421 h 1693"/>
                  <a:gd name="T28" fmla="*/ 848 w 1552"/>
                  <a:gd name="T29" fmla="*/ 1124 h 1693"/>
                  <a:gd name="T30" fmla="*/ 803 w 1552"/>
                  <a:gd name="T31" fmla="*/ 992 h 1693"/>
                  <a:gd name="T32" fmla="*/ 803 w 1552"/>
                  <a:gd name="T33" fmla="*/ 987 h 1693"/>
                  <a:gd name="T34" fmla="*/ 845 w 1552"/>
                  <a:gd name="T35" fmla="*/ 921 h 1693"/>
                  <a:gd name="T36" fmla="*/ 841 w 1552"/>
                  <a:gd name="T37" fmla="*/ 912 h 1693"/>
                  <a:gd name="T38" fmla="*/ 778 w 1552"/>
                  <a:gd name="T39" fmla="*/ 903 h 1693"/>
                  <a:gd name="T40" fmla="*/ 712 w 1552"/>
                  <a:gd name="T41" fmla="*/ 912 h 1693"/>
                  <a:gd name="T42" fmla="*/ 708 w 1552"/>
                  <a:gd name="T43" fmla="*/ 922 h 1693"/>
                  <a:gd name="T44" fmla="*/ 749 w 1552"/>
                  <a:gd name="T45" fmla="*/ 987 h 1693"/>
                  <a:gd name="T46" fmla="*/ 750 w 1552"/>
                  <a:gd name="T47" fmla="*/ 992 h 1693"/>
                  <a:gd name="T48" fmla="*/ 701 w 1552"/>
                  <a:gd name="T49" fmla="*/ 1124 h 1693"/>
                  <a:gd name="T50" fmla="*/ 707 w 1552"/>
                  <a:gd name="T51" fmla="*/ 1132 h 1693"/>
                  <a:gd name="T52" fmla="*/ 841 w 1552"/>
                  <a:gd name="T53" fmla="*/ 1132 h 1693"/>
                  <a:gd name="T54" fmla="*/ 848 w 1552"/>
                  <a:gd name="T55" fmla="*/ 1124 h 1693"/>
                  <a:gd name="T56" fmla="*/ 636 w 1552"/>
                  <a:gd name="T57" fmla="*/ 1693 h 1693"/>
                  <a:gd name="T58" fmla="*/ 911 w 1552"/>
                  <a:gd name="T59" fmla="*/ 1693 h 1693"/>
                  <a:gd name="T60" fmla="*/ 921 w 1552"/>
                  <a:gd name="T61" fmla="*/ 1683 h 1693"/>
                  <a:gd name="T62" fmla="*/ 921 w 1552"/>
                  <a:gd name="T63" fmla="*/ 1580 h 1693"/>
                  <a:gd name="T64" fmla="*/ 911 w 1552"/>
                  <a:gd name="T65" fmla="*/ 1570 h 1693"/>
                  <a:gd name="T66" fmla="*/ 636 w 1552"/>
                  <a:gd name="T67" fmla="*/ 1570 h 1693"/>
                  <a:gd name="T68" fmla="*/ 626 w 1552"/>
                  <a:gd name="T69" fmla="*/ 1580 h 1693"/>
                  <a:gd name="T70" fmla="*/ 626 w 1552"/>
                  <a:gd name="T71" fmla="*/ 1683 h 1693"/>
                  <a:gd name="T72" fmla="*/ 636 w 1552"/>
                  <a:gd name="T73" fmla="*/ 1693 h 1693"/>
                  <a:gd name="T74" fmla="*/ 1267 w 1552"/>
                  <a:gd name="T75" fmla="*/ 1693 h 1693"/>
                  <a:gd name="T76" fmla="*/ 1542 w 1552"/>
                  <a:gd name="T77" fmla="*/ 1693 h 1693"/>
                  <a:gd name="T78" fmla="*/ 1552 w 1552"/>
                  <a:gd name="T79" fmla="*/ 1683 h 1693"/>
                  <a:gd name="T80" fmla="*/ 1552 w 1552"/>
                  <a:gd name="T81" fmla="*/ 1580 h 1693"/>
                  <a:gd name="T82" fmla="*/ 1542 w 1552"/>
                  <a:gd name="T83" fmla="*/ 1570 h 1693"/>
                  <a:gd name="T84" fmla="*/ 1267 w 1552"/>
                  <a:gd name="T85" fmla="*/ 1570 h 1693"/>
                  <a:gd name="T86" fmla="*/ 1257 w 1552"/>
                  <a:gd name="T87" fmla="*/ 1580 h 1693"/>
                  <a:gd name="T88" fmla="*/ 1257 w 1552"/>
                  <a:gd name="T89" fmla="*/ 1683 h 1693"/>
                  <a:gd name="T90" fmla="*/ 1267 w 1552"/>
                  <a:gd name="T91" fmla="*/ 1693 h 1693"/>
                  <a:gd name="T92" fmla="*/ 10 w 1552"/>
                  <a:gd name="T93" fmla="*/ 1693 h 1693"/>
                  <a:gd name="T94" fmla="*/ 285 w 1552"/>
                  <a:gd name="T95" fmla="*/ 1693 h 1693"/>
                  <a:gd name="T96" fmla="*/ 295 w 1552"/>
                  <a:gd name="T97" fmla="*/ 1683 h 1693"/>
                  <a:gd name="T98" fmla="*/ 295 w 1552"/>
                  <a:gd name="T99" fmla="*/ 1580 h 1693"/>
                  <a:gd name="T100" fmla="*/ 285 w 1552"/>
                  <a:gd name="T101" fmla="*/ 1570 h 1693"/>
                  <a:gd name="T102" fmla="*/ 10 w 1552"/>
                  <a:gd name="T103" fmla="*/ 1570 h 1693"/>
                  <a:gd name="T104" fmla="*/ 0 w 1552"/>
                  <a:gd name="T105" fmla="*/ 1580 h 1693"/>
                  <a:gd name="T106" fmla="*/ 0 w 1552"/>
                  <a:gd name="T107" fmla="*/ 1683 h 1693"/>
                  <a:gd name="T108" fmla="*/ 10 w 1552"/>
                  <a:gd name="T109" fmla="*/ 1693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52" h="1693">
                    <a:moveTo>
                      <a:pt x="1072" y="421"/>
                    </a:moveTo>
                    <a:cubicBezTo>
                      <a:pt x="1072" y="420"/>
                      <a:pt x="1072" y="420"/>
                      <a:pt x="1072" y="420"/>
                    </a:cubicBezTo>
                    <a:cubicBezTo>
                      <a:pt x="1071" y="420"/>
                      <a:pt x="1066" y="436"/>
                      <a:pt x="1037" y="469"/>
                    </a:cubicBezTo>
                    <a:cubicBezTo>
                      <a:pt x="1037" y="469"/>
                      <a:pt x="1037" y="469"/>
                      <a:pt x="1014" y="469"/>
                    </a:cubicBezTo>
                    <a:cubicBezTo>
                      <a:pt x="1014" y="469"/>
                      <a:pt x="1014" y="458"/>
                      <a:pt x="1011" y="238"/>
                    </a:cubicBezTo>
                    <a:cubicBezTo>
                      <a:pt x="977" y="414"/>
                      <a:pt x="608" y="252"/>
                      <a:pt x="608" y="252"/>
                    </a:cubicBezTo>
                    <a:cubicBezTo>
                      <a:pt x="516" y="280"/>
                      <a:pt x="532" y="465"/>
                      <a:pt x="532" y="465"/>
                    </a:cubicBezTo>
                    <a:cubicBezTo>
                      <a:pt x="532" y="465"/>
                      <a:pt x="532" y="465"/>
                      <a:pt x="512" y="463"/>
                    </a:cubicBezTo>
                    <a:cubicBezTo>
                      <a:pt x="512" y="463"/>
                      <a:pt x="512" y="452"/>
                      <a:pt x="481" y="424"/>
                    </a:cubicBezTo>
                    <a:cubicBezTo>
                      <a:pt x="481" y="424"/>
                      <a:pt x="481" y="424"/>
                      <a:pt x="481" y="424"/>
                    </a:cubicBezTo>
                    <a:cubicBezTo>
                      <a:pt x="469" y="390"/>
                      <a:pt x="469" y="353"/>
                      <a:pt x="469" y="314"/>
                    </a:cubicBezTo>
                    <a:cubicBezTo>
                      <a:pt x="469" y="140"/>
                      <a:pt x="602" y="0"/>
                      <a:pt x="776" y="0"/>
                    </a:cubicBezTo>
                    <a:cubicBezTo>
                      <a:pt x="950" y="0"/>
                      <a:pt x="1083" y="140"/>
                      <a:pt x="1083" y="314"/>
                    </a:cubicBezTo>
                    <a:cubicBezTo>
                      <a:pt x="1083" y="351"/>
                      <a:pt x="1084" y="387"/>
                      <a:pt x="1072" y="421"/>
                    </a:cubicBezTo>
                    <a:close/>
                    <a:moveTo>
                      <a:pt x="848" y="1124"/>
                    </a:moveTo>
                    <a:cubicBezTo>
                      <a:pt x="803" y="992"/>
                      <a:pt x="803" y="992"/>
                      <a:pt x="803" y="992"/>
                    </a:cubicBezTo>
                    <a:cubicBezTo>
                      <a:pt x="802" y="990"/>
                      <a:pt x="802" y="988"/>
                      <a:pt x="803" y="987"/>
                    </a:cubicBezTo>
                    <a:cubicBezTo>
                      <a:pt x="845" y="921"/>
                      <a:pt x="845" y="921"/>
                      <a:pt x="845" y="921"/>
                    </a:cubicBezTo>
                    <a:cubicBezTo>
                      <a:pt x="847" y="918"/>
                      <a:pt x="845" y="913"/>
                      <a:pt x="841" y="912"/>
                    </a:cubicBezTo>
                    <a:cubicBezTo>
                      <a:pt x="827" y="909"/>
                      <a:pt x="800" y="903"/>
                      <a:pt x="778" y="903"/>
                    </a:cubicBezTo>
                    <a:cubicBezTo>
                      <a:pt x="756" y="903"/>
                      <a:pt x="726" y="909"/>
                      <a:pt x="712" y="912"/>
                    </a:cubicBezTo>
                    <a:cubicBezTo>
                      <a:pt x="707" y="913"/>
                      <a:pt x="705" y="918"/>
                      <a:pt x="708" y="922"/>
                    </a:cubicBezTo>
                    <a:cubicBezTo>
                      <a:pt x="749" y="987"/>
                      <a:pt x="749" y="987"/>
                      <a:pt x="749" y="987"/>
                    </a:cubicBezTo>
                    <a:cubicBezTo>
                      <a:pt x="750" y="989"/>
                      <a:pt x="750" y="991"/>
                      <a:pt x="750" y="992"/>
                    </a:cubicBezTo>
                    <a:cubicBezTo>
                      <a:pt x="701" y="1124"/>
                      <a:pt x="701" y="1124"/>
                      <a:pt x="701" y="1124"/>
                    </a:cubicBezTo>
                    <a:cubicBezTo>
                      <a:pt x="700" y="1128"/>
                      <a:pt x="703" y="1132"/>
                      <a:pt x="707" y="1132"/>
                    </a:cubicBezTo>
                    <a:cubicBezTo>
                      <a:pt x="841" y="1132"/>
                      <a:pt x="841" y="1132"/>
                      <a:pt x="841" y="1132"/>
                    </a:cubicBezTo>
                    <a:cubicBezTo>
                      <a:pt x="846" y="1132"/>
                      <a:pt x="849" y="1128"/>
                      <a:pt x="848" y="1124"/>
                    </a:cubicBezTo>
                    <a:close/>
                    <a:moveTo>
                      <a:pt x="636" y="1693"/>
                    </a:moveTo>
                    <a:cubicBezTo>
                      <a:pt x="911" y="1693"/>
                      <a:pt x="911" y="1693"/>
                      <a:pt x="911" y="1693"/>
                    </a:cubicBezTo>
                    <a:cubicBezTo>
                      <a:pt x="917" y="1693"/>
                      <a:pt x="921" y="1689"/>
                      <a:pt x="921" y="1683"/>
                    </a:cubicBezTo>
                    <a:cubicBezTo>
                      <a:pt x="921" y="1580"/>
                      <a:pt x="921" y="1580"/>
                      <a:pt x="921" y="1580"/>
                    </a:cubicBezTo>
                    <a:cubicBezTo>
                      <a:pt x="921" y="1575"/>
                      <a:pt x="917" y="1570"/>
                      <a:pt x="911" y="1570"/>
                    </a:cubicBezTo>
                    <a:cubicBezTo>
                      <a:pt x="636" y="1570"/>
                      <a:pt x="636" y="1570"/>
                      <a:pt x="636" y="1570"/>
                    </a:cubicBezTo>
                    <a:cubicBezTo>
                      <a:pt x="630" y="1570"/>
                      <a:pt x="626" y="1575"/>
                      <a:pt x="626" y="1580"/>
                    </a:cubicBezTo>
                    <a:cubicBezTo>
                      <a:pt x="626" y="1683"/>
                      <a:pt x="626" y="1683"/>
                      <a:pt x="626" y="1683"/>
                    </a:cubicBezTo>
                    <a:cubicBezTo>
                      <a:pt x="626" y="1689"/>
                      <a:pt x="630" y="1693"/>
                      <a:pt x="636" y="1693"/>
                    </a:cubicBezTo>
                    <a:close/>
                    <a:moveTo>
                      <a:pt x="1267" y="1693"/>
                    </a:moveTo>
                    <a:cubicBezTo>
                      <a:pt x="1542" y="1693"/>
                      <a:pt x="1542" y="1693"/>
                      <a:pt x="1542" y="1693"/>
                    </a:cubicBezTo>
                    <a:cubicBezTo>
                      <a:pt x="1548" y="1693"/>
                      <a:pt x="1552" y="1689"/>
                      <a:pt x="1552" y="1683"/>
                    </a:cubicBezTo>
                    <a:cubicBezTo>
                      <a:pt x="1552" y="1580"/>
                      <a:pt x="1552" y="1580"/>
                      <a:pt x="1552" y="1580"/>
                    </a:cubicBezTo>
                    <a:cubicBezTo>
                      <a:pt x="1552" y="1575"/>
                      <a:pt x="1548" y="1570"/>
                      <a:pt x="1542" y="1570"/>
                    </a:cubicBezTo>
                    <a:cubicBezTo>
                      <a:pt x="1267" y="1570"/>
                      <a:pt x="1267" y="1570"/>
                      <a:pt x="1267" y="1570"/>
                    </a:cubicBezTo>
                    <a:cubicBezTo>
                      <a:pt x="1261" y="1570"/>
                      <a:pt x="1257" y="1575"/>
                      <a:pt x="1257" y="1580"/>
                    </a:cubicBezTo>
                    <a:cubicBezTo>
                      <a:pt x="1257" y="1683"/>
                      <a:pt x="1257" y="1683"/>
                      <a:pt x="1257" y="1683"/>
                    </a:cubicBezTo>
                    <a:cubicBezTo>
                      <a:pt x="1257" y="1689"/>
                      <a:pt x="1261" y="1693"/>
                      <a:pt x="1267" y="1693"/>
                    </a:cubicBezTo>
                    <a:close/>
                    <a:moveTo>
                      <a:pt x="10" y="1693"/>
                    </a:moveTo>
                    <a:cubicBezTo>
                      <a:pt x="285" y="1693"/>
                      <a:pt x="285" y="1693"/>
                      <a:pt x="285" y="1693"/>
                    </a:cubicBezTo>
                    <a:cubicBezTo>
                      <a:pt x="291" y="1693"/>
                      <a:pt x="295" y="1689"/>
                      <a:pt x="295" y="1683"/>
                    </a:cubicBezTo>
                    <a:cubicBezTo>
                      <a:pt x="295" y="1580"/>
                      <a:pt x="295" y="1580"/>
                      <a:pt x="295" y="1580"/>
                    </a:cubicBezTo>
                    <a:cubicBezTo>
                      <a:pt x="295" y="1575"/>
                      <a:pt x="291" y="1570"/>
                      <a:pt x="285" y="1570"/>
                    </a:cubicBezTo>
                    <a:cubicBezTo>
                      <a:pt x="10" y="1570"/>
                      <a:pt x="10" y="1570"/>
                      <a:pt x="10" y="1570"/>
                    </a:cubicBezTo>
                    <a:cubicBezTo>
                      <a:pt x="4" y="1570"/>
                      <a:pt x="0" y="1575"/>
                      <a:pt x="0" y="1580"/>
                    </a:cubicBezTo>
                    <a:cubicBezTo>
                      <a:pt x="0" y="1683"/>
                      <a:pt x="0" y="1683"/>
                      <a:pt x="0" y="1683"/>
                    </a:cubicBezTo>
                    <a:cubicBezTo>
                      <a:pt x="0" y="1689"/>
                      <a:pt x="4" y="1693"/>
                      <a:pt x="10" y="169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50">
                <a:extLst>
                  <a:ext uri="{FF2B5EF4-FFF2-40B4-BE49-F238E27FC236}">
                    <a16:creationId xmlns:a16="http://schemas.microsoft.com/office/drawing/2014/main" id="{A5761825-B54E-4FE3-84C3-C3D05FA5B40E}"/>
                  </a:ext>
                </a:extLst>
              </p:cNvPr>
              <p:cNvSpPr>
                <a:spLocks noEditPoints="1"/>
              </p:cNvSpPr>
              <p:nvPr/>
            </p:nvSpPr>
            <p:spPr bwMode="auto">
              <a:xfrm>
                <a:off x="5478781" y="3106674"/>
                <a:ext cx="1233297" cy="938784"/>
              </a:xfrm>
              <a:custGeom>
                <a:avLst/>
                <a:gdLst>
                  <a:gd name="T0" fmla="*/ 280 w 1728"/>
                  <a:gd name="T1" fmla="*/ 646 h 1314"/>
                  <a:gd name="T2" fmla="*/ 669 w 1728"/>
                  <a:gd name="T3" fmla="*/ 397 h 1314"/>
                  <a:gd name="T4" fmla="*/ 734 w 1728"/>
                  <a:gd name="T5" fmla="*/ 657 h 1314"/>
                  <a:gd name="T6" fmla="*/ 294 w 1728"/>
                  <a:gd name="T7" fmla="*/ 665 h 1314"/>
                  <a:gd name="T8" fmla="*/ 1448 w 1728"/>
                  <a:gd name="T9" fmla="*/ 646 h 1314"/>
                  <a:gd name="T10" fmla="*/ 1059 w 1728"/>
                  <a:gd name="T11" fmla="*/ 397 h 1314"/>
                  <a:gd name="T12" fmla="*/ 994 w 1728"/>
                  <a:gd name="T13" fmla="*/ 657 h 1314"/>
                  <a:gd name="T14" fmla="*/ 1434 w 1728"/>
                  <a:gd name="T15" fmla="*/ 665 h 1314"/>
                  <a:gd name="T16" fmla="*/ 693 w 1728"/>
                  <a:gd name="T17" fmla="*/ 282 h 1314"/>
                  <a:gd name="T18" fmla="*/ 703 w 1728"/>
                  <a:gd name="T19" fmla="*/ 361 h 1314"/>
                  <a:gd name="T20" fmla="*/ 747 w 1728"/>
                  <a:gd name="T21" fmla="*/ 406 h 1314"/>
                  <a:gd name="T22" fmla="*/ 864 w 1728"/>
                  <a:gd name="T23" fmla="*/ 365 h 1314"/>
                  <a:gd name="T24" fmla="*/ 981 w 1728"/>
                  <a:gd name="T25" fmla="*/ 406 h 1314"/>
                  <a:gd name="T26" fmla="*/ 1025 w 1728"/>
                  <a:gd name="T27" fmla="*/ 361 h 1314"/>
                  <a:gd name="T28" fmla="*/ 1035 w 1728"/>
                  <a:gd name="T29" fmla="*/ 282 h 1314"/>
                  <a:gd name="T30" fmla="*/ 1182 w 1728"/>
                  <a:gd name="T31" fmla="*/ 4 h 1314"/>
                  <a:gd name="T32" fmla="*/ 1127 w 1728"/>
                  <a:gd name="T33" fmla="*/ 27 h 1314"/>
                  <a:gd name="T34" fmla="*/ 1097 w 1728"/>
                  <a:gd name="T35" fmla="*/ 56 h 1314"/>
                  <a:gd name="T36" fmla="*/ 864 w 1728"/>
                  <a:gd name="T37" fmla="*/ 321 h 1314"/>
                  <a:gd name="T38" fmla="*/ 631 w 1728"/>
                  <a:gd name="T39" fmla="*/ 56 h 1314"/>
                  <a:gd name="T40" fmla="*/ 600 w 1728"/>
                  <a:gd name="T41" fmla="*/ 25 h 1314"/>
                  <a:gd name="T42" fmla="*/ 546 w 1728"/>
                  <a:gd name="T43" fmla="*/ 5 h 1314"/>
                  <a:gd name="T44" fmla="*/ 1728 w 1728"/>
                  <a:gd name="T45" fmla="*/ 1037 h 1314"/>
                  <a:gd name="T46" fmla="*/ 1706 w 1728"/>
                  <a:gd name="T47" fmla="*/ 1314 h 1314"/>
                  <a:gd name="T48" fmla="*/ 1257 w 1728"/>
                  <a:gd name="T49" fmla="*/ 1292 h 1314"/>
                  <a:gd name="T50" fmla="*/ 1279 w 1728"/>
                  <a:gd name="T51" fmla="*/ 1015 h 1314"/>
                  <a:gd name="T52" fmla="*/ 1471 w 1728"/>
                  <a:gd name="T53" fmla="*/ 883 h 1314"/>
                  <a:gd name="T54" fmla="*/ 884 w 1728"/>
                  <a:gd name="T55" fmla="*/ 1015 h 1314"/>
                  <a:gd name="T56" fmla="*/ 1097 w 1728"/>
                  <a:gd name="T57" fmla="*/ 1037 h 1314"/>
                  <a:gd name="T58" fmla="*/ 1075 w 1728"/>
                  <a:gd name="T59" fmla="*/ 1314 h 1314"/>
                  <a:gd name="T60" fmla="*/ 626 w 1728"/>
                  <a:gd name="T61" fmla="*/ 1292 h 1314"/>
                  <a:gd name="T62" fmla="*/ 648 w 1728"/>
                  <a:gd name="T63" fmla="*/ 1015 h 1314"/>
                  <a:gd name="T64" fmla="*/ 840 w 1728"/>
                  <a:gd name="T65" fmla="*/ 883 h 1314"/>
                  <a:gd name="T66" fmla="*/ 257 w 1728"/>
                  <a:gd name="T67" fmla="*/ 1015 h 1314"/>
                  <a:gd name="T68" fmla="*/ 471 w 1728"/>
                  <a:gd name="T69" fmla="*/ 1037 h 1314"/>
                  <a:gd name="T70" fmla="*/ 449 w 1728"/>
                  <a:gd name="T71" fmla="*/ 1314 h 1314"/>
                  <a:gd name="T72" fmla="*/ 0 w 1728"/>
                  <a:gd name="T73" fmla="*/ 1292 h 1314"/>
                  <a:gd name="T74" fmla="*/ 22 w 1728"/>
                  <a:gd name="T75" fmla="*/ 1015 h 1314"/>
                  <a:gd name="T76" fmla="*/ 213 w 1728"/>
                  <a:gd name="T77" fmla="*/ 861 h 1314"/>
                  <a:gd name="T78" fmla="*/ 840 w 1728"/>
                  <a:gd name="T79" fmla="*/ 839 h 1314"/>
                  <a:gd name="T80" fmla="*/ 884 w 1728"/>
                  <a:gd name="T81" fmla="*/ 709 h 1314"/>
                  <a:gd name="T82" fmla="*/ 1493 w 1728"/>
                  <a:gd name="T83" fmla="*/ 839 h 1314"/>
                  <a:gd name="T84" fmla="*/ 1515 w 1728"/>
                  <a:gd name="T85" fmla="*/ 1015 h 1314"/>
                  <a:gd name="T86" fmla="*/ 1728 w 1728"/>
                  <a:gd name="T87" fmla="*/ 1037 h 1314"/>
                  <a:gd name="T88" fmla="*/ 44 w 1728"/>
                  <a:gd name="T89" fmla="*/ 1270 h 1314"/>
                  <a:gd name="T90" fmla="*/ 427 w 1728"/>
                  <a:gd name="T91" fmla="*/ 1059 h 1314"/>
                  <a:gd name="T92" fmla="*/ 670 w 1728"/>
                  <a:gd name="T93" fmla="*/ 1059 h 1314"/>
                  <a:gd name="T94" fmla="*/ 1053 w 1728"/>
                  <a:gd name="T95" fmla="*/ 1270 h 1314"/>
                  <a:gd name="T96" fmla="*/ 670 w 1728"/>
                  <a:gd name="T97" fmla="*/ 1059 h 1314"/>
                  <a:gd name="T98" fmla="*/ 1301 w 1728"/>
                  <a:gd name="T99" fmla="*/ 1059 h 1314"/>
                  <a:gd name="T100" fmla="*/ 1684 w 1728"/>
                  <a:gd name="T101" fmla="*/ 1270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28" h="1314">
                    <a:moveTo>
                      <a:pt x="294" y="665"/>
                    </a:moveTo>
                    <a:cubicBezTo>
                      <a:pt x="284" y="665"/>
                      <a:pt x="277" y="655"/>
                      <a:pt x="280" y="646"/>
                    </a:cubicBezTo>
                    <a:cubicBezTo>
                      <a:pt x="298" y="598"/>
                      <a:pt x="350" y="472"/>
                      <a:pt x="422" y="440"/>
                    </a:cubicBezTo>
                    <a:cubicBezTo>
                      <a:pt x="501" y="403"/>
                      <a:pt x="640" y="398"/>
                      <a:pt x="669" y="397"/>
                    </a:cubicBezTo>
                    <a:cubicBezTo>
                      <a:pt x="672" y="397"/>
                      <a:pt x="674" y="399"/>
                      <a:pt x="675" y="402"/>
                    </a:cubicBezTo>
                    <a:cubicBezTo>
                      <a:pt x="734" y="657"/>
                      <a:pt x="734" y="657"/>
                      <a:pt x="734" y="657"/>
                    </a:cubicBezTo>
                    <a:cubicBezTo>
                      <a:pt x="735" y="661"/>
                      <a:pt x="732" y="665"/>
                      <a:pt x="728" y="665"/>
                    </a:cubicBezTo>
                    <a:lnTo>
                      <a:pt x="294" y="665"/>
                    </a:lnTo>
                    <a:close/>
                    <a:moveTo>
                      <a:pt x="1434" y="665"/>
                    </a:moveTo>
                    <a:cubicBezTo>
                      <a:pt x="1444" y="665"/>
                      <a:pt x="1451" y="655"/>
                      <a:pt x="1448" y="646"/>
                    </a:cubicBezTo>
                    <a:cubicBezTo>
                      <a:pt x="1430" y="598"/>
                      <a:pt x="1378" y="472"/>
                      <a:pt x="1306" y="440"/>
                    </a:cubicBezTo>
                    <a:cubicBezTo>
                      <a:pt x="1227" y="403"/>
                      <a:pt x="1088" y="398"/>
                      <a:pt x="1059" y="397"/>
                    </a:cubicBezTo>
                    <a:cubicBezTo>
                      <a:pt x="1056" y="397"/>
                      <a:pt x="1054" y="399"/>
                      <a:pt x="1053" y="402"/>
                    </a:cubicBezTo>
                    <a:cubicBezTo>
                      <a:pt x="994" y="657"/>
                      <a:pt x="994" y="657"/>
                      <a:pt x="994" y="657"/>
                    </a:cubicBezTo>
                    <a:cubicBezTo>
                      <a:pt x="993" y="661"/>
                      <a:pt x="996" y="665"/>
                      <a:pt x="1000" y="665"/>
                    </a:cubicBezTo>
                    <a:lnTo>
                      <a:pt x="1434" y="665"/>
                    </a:lnTo>
                    <a:close/>
                    <a:moveTo>
                      <a:pt x="593" y="79"/>
                    </a:moveTo>
                    <a:cubicBezTo>
                      <a:pt x="612" y="129"/>
                      <a:pt x="665" y="257"/>
                      <a:pt x="693" y="282"/>
                    </a:cubicBezTo>
                    <a:cubicBezTo>
                      <a:pt x="696" y="284"/>
                      <a:pt x="699" y="287"/>
                      <a:pt x="703" y="290"/>
                    </a:cubicBezTo>
                    <a:cubicBezTo>
                      <a:pt x="703" y="361"/>
                      <a:pt x="703" y="361"/>
                      <a:pt x="703" y="361"/>
                    </a:cubicBezTo>
                    <a:cubicBezTo>
                      <a:pt x="710" y="371"/>
                      <a:pt x="710" y="371"/>
                      <a:pt x="710" y="371"/>
                    </a:cubicBezTo>
                    <a:cubicBezTo>
                      <a:pt x="711" y="372"/>
                      <a:pt x="723" y="389"/>
                      <a:pt x="747" y="406"/>
                    </a:cubicBezTo>
                    <a:cubicBezTo>
                      <a:pt x="747" y="321"/>
                      <a:pt x="747" y="321"/>
                      <a:pt x="747" y="321"/>
                    </a:cubicBezTo>
                    <a:cubicBezTo>
                      <a:pt x="783" y="343"/>
                      <a:pt x="828" y="365"/>
                      <a:pt x="864" y="365"/>
                    </a:cubicBezTo>
                    <a:cubicBezTo>
                      <a:pt x="900" y="365"/>
                      <a:pt x="945" y="343"/>
                      <a:pt x="981" y="320"/>
                    </a:cubicBezTo>
                    <a:cubicBezTo>
                      <a:pt x="981" y="406"/>
                      <a:pt x="981" y="406"/>
                      <a:pt x="981" y="406"/>
                    </a:cubicBezTo>
                    <a:cubicBezTo>
                      <a:pt x="1005" y="389"/>
                      <a:pt x="1017" y="372"/>
                      <a:pt x="1018" y="371"/>
                    </a:cubicBezTo>
                    <a:cubicBezTo>
                      <a:pt x="1025" y="361"/>
                      <a:pt x="1025" y="361"/>
                      <a:pt x="1025" y="361"/>
                    </a:cubicBezTo>
                    <a:cubicBezTo>
                      <a:pt x="1025" y="290"/>
                      <a:pt x="1025" y="290"/>
                      <a:pt x="1025" y="290"/>
                    </a:cubicBezTo>
                    <a:cubicBezTo>
                      <a:pt x="1029" y="287"/>
                      <a:pt x="1032" y="284"/>
                      <a:pt x="1035" y="282"/>
                    </a:cubicBezTo>
                    <a:cubicBezTo>
                      <a:pt x="1063" y="257"/>
                      <a:pt x="1116" y="129"/>
                      <a:pt x="1135" y="79"/>
                    </a:cubicBezTo>
                    <a:cubicBezTo>
                      <a:pt x="1170" y="57"/>
                      <a:pt x="1179" y="20"/>
                      <a:pt x="1182" y="4"/>
                    </a:cubicBezTo>
                    <a:cubicBezTo>
                      <a:pt x="1182" y="3"/>
                      <a:pt x="1182" y="2"/>
                      <a:pt x="1182" y="1"/>
                    </a:cubicBezTo>
                    <a:cubicBezTo>
                      <a:pt x="1127" y="27"/>
                      <a:pt x="1127" y="27"/>
                      <a:pt x="1127" y="27"/>
                    </a:cubicBezTo>
                    <a:cubicBezTo>
                      <a:pt x="1122" y="34"/>
                      <a:pt x="1116" y="40"/>
                      <a:pt x="1107" y="44"/>
                    </a:cubicBezTo>
                    <a:cubicBezTo>
                      <a:pt x="1103" y="47"/>
                      <a:pt x="1099" y="51"/>
                      <a:pt x="1097" y="56"/>
                    </a:cubicBezTo>
                    <a:cubicBezTo>
                      <a:pt x="1065" y="138"/>
                      <a:pt x="1020" y="236"/>
                      <a:pt x="1006" y="249"/>
                    </a:cubicBezTo>
                    <a:cubicBezTo>
                      <a:pt x="978" y="273"/>
                      <a:pt x="903" y="321"/>
                      <a:pt x="864" y="321"/>
                    </a:cubicBezTo>
                    <a:cubicBezTo>
                      <a:pt x="824" y="321"/>
                      <a:pt x="750" y="273"/>
                      <a:pt x="722" y="249"/>
                    </a:cubicBezTo>
                    <a:cubicBezTo>
                      <a:pt x="707" y="236"/>
                      <a:pt x="663" y="138"/>
                      <a:pt x="631" y="56"/>
                    </a:cubicBezTo>
                    <a:cubicBezTo>
                      <a:pt x="629" y="51"/>
                      <a:pt x="625" y="47"/>
                      <a:pt x="620" y="44"/>
                    </a:cubicBezTo>
                    <a:cubicBezTo>
                      <a:pt x="611" y="39"/>
                      <a:pt x="604" y="33"/>
                      <a:pt x="600" y="25"/>
                    </a:cubicBezTo>
                    <a:cubicBezTo>
                      <a:pt x="546" y="0"/>
                      <a:pt x="546" y="0"/>
                      <a:pt x="546" y="0"/>
                    </a:cubicBezTo>
                    <a:cubicBezTo>
                      <a:pt x="546" y="2"/>
                      <a:pt x="546" y="4"/>
                      <a:pt x="546" y="5"/>
                    </a:cubicBezTo>
                    <a:cubicBezTo>
                      <a:pt x="550" y="25"/>
                      <a:pt x="560" y="59"/>
                      <a:pt x="593" y="79"/>
                    </a:cubicBezTo>
                    <a:close/>
                    <a:moveTo>
                      <a:pt x="1728" y="1037"/>
                    </a:moveTo>
                    <a:cubicBezTo>
                      <a:pt x="1728" y="1292"/>
                      <a:pt x="1728" y="1292"/>
                      <a:pt x="1728" y="1292"/>
                    </a:cubicBezTo>
                    <a:cubicBezTo>
                      <a:pt x="1728" y="1304"/>
                      <a:pt x="1718" y="1314"/>
                      <a:pt x="1706" y="1314"/>
                    </a:cubicBezTo>
                    <a:cubicBezTo>
                      <a:pt x="1279" y="1314"/>
                      <a:pt x="1279" y="1314"/>
                      <a:pt x="1279" y="1314"/>
                    </a:cubicBezTo>
                    <a:cubicBezTo>
                      <a:pt x="1267" y="1314"/>
                      <a:pt x="1257" y="1304"/>
                      <a:pt x="1257" y="1292"/>
                    </a:cubicBezTo>
                    <a:cubicBezTo>
                      <a:pt x="1257" y="1037"/>
                      <a:pt x="1257" y="1037"/>
                      <a:pt x="1257" y="1037"/>
                    </a:cubicBezTo>
                    <a:cubicBezTo>
                      <a:pt x="1257" y="1025"/>
                      <a:pt x="1267" y="1015"/>
                      <a:pt x="1279" y="1015"/>
                    </a:cubicBezTo>
                    <a:cubicBezTo>
                      <a:pt x="1471" y="1015"/>
                      <a:pt x="1471" y="1015"/>
                      <a:pt x="1471" y="1015"/>
                    </a:cubicBezTo>
                    <a:cubicBezTo>
                      <a:pt x="1471" y="883"/>
                      <a:pt x="1471" y="883"/>
                      <a:pt x="1471" y="883"/>
                    </a:cubicBezTo>
                    <a:cubicBezTo>
                      <a:pt x="884" y="883"/>
                      <a:pt x="884" y="883"/>
                      <a:pt x="884" y="883"/>
                    </a:cubicBezTo>
                    <a:cubicBezTo>
                      <a:pt x="884" y="1015"/>
                      <a:pt x="884" y="1015"/>
                      <a:pt x="884" y="1015"/>
                    </a:cubicBezTo>
                    <a:cubicBezTo>
                      <a:pt x="1075" y="1015"/>
                      <a:pt x="1075" y="1015"/>
                      <a:pt x="1075" y="1015"/>
                    </a:cubicBezTo>
                    <a:cubicBezTo>
                      <a:pt x="1087" y="1015"/>
                      <a:pt x="1097" y="1025"/>
                      <a:pt x="1097" y="1037"/>
                    </a:cubicBezTo>
                    <a:cubicBezTo>
                      <a:pt x="1097" y="1292"/>
                      <a:pt x="1097" y="1292"/>
                      <a:pt x="1097" y="1292"/>
                    </a:cubicBezTo>
                    <a:cubicBezTo>
                      <a:pt x="1097" y="1304"/>
                      <a:pt x="1087" y="1314"/>
                      <a:pt x="1075" y="1314"/>
                    </a:cubicBezTo>
                    <a:cubicBezTo>
                      <a:pt x="648" y="1314"/>
                      <a:pt x="648" y="1314"/>
                      <a:pt x="648" y="1314"/>
                    </a:cubicBezTo>
                    <a:cubicBezTo>
                      <a:pt x="636" y="1314"/>
                      <a:pt x="626" y="1304"/>
                      <a:pt x="626" y="1292"/>
                    </a:cubicBezTo>
                    <a:cubicBezTo>
                      <a:pt x="626" y="1037"/>
                      <a:pt x="626" y="1037"/>
                      <a:pt x="626" y="1037"/>
                    </a:cubicBezTo>
                    <a:cubicBezTo>
                      <a:pt x="626" y="1025"/>
                      <a:pt x="636" y="1015"/>
                      <a:pt x="648" y="1015"/>
                    </a:cubicBezTo>
                    <a:cubicBezTo>
                      <a:pt x="840" y="1015"/>
                      <a:pt x="840" y="1015"/>
                      <a:pt x="840" y="1015"/>
                    </a:cubicBezTo>
                    <a:cubicBezTo>
                      <a:pt x="840" y="883"/>
                      <a:pt x="840" y="883"/>
                      <a:pt x="840" y="883"/>
                    </a:cubicBezTo>
                    <a:cubicBezTo>
                      <a:pt x="257" y="883"/>
                      <a:pt x="257" y="883"/>
                      <a:pt x="257" y="883"/>
                    </a:cubicBezTo>
                    <a:cubicBezTo>
                      <a:pt x="257" y="1015"/>
                      <a:pt x="257" y="1015"/>
                      <a:pt x="257" y="1015"/>
                    </a:cubicBezTo>
                    <a:cubicBezTo>
                      <a:pt x="449" y="1015"/>
                      <a:pt x="449" y="1015"/>
                      <a:pt x="449" y="1015"/>
                    </a:cubicBezTo>
                    <a:cubicBezTo>
                      <a:pt x="461" y="1015"/>
                      <a:pt x="471" y="1025"/>
                      <a:pt x="471" y="1037"/>
                    </a:cubicBezTo>
                    <a:cubicBezTo>
                      <a:pt x="471" y="1292"/>
                      <a:pt x="471" y="1292"/>
                      <a:pt x="471" y="1292"/>
                    </a:cubicBezTo>
                    <a:cubicBezTo>
                      <a:pt x="471" y="1304"/>
                      <a:pt x="461" y="1314"/>
                      <a:pt x="449" y="1314"/>
                    </a:cubicBezTo>
                    <a:cubicBezTo>
                      <a:pt x="22" y="1314"/>
                      <a:pt x="22" y="1314"/>
                      <a:pt x="22" y="1314"/>
                    </a:cubicBezTo>
                    <a:cubicBezTo>
                      <a:pt x="10" y="1314"/>
                      <a:pt x="0" y="1304"/>
                      <a:pt x="0" y="1292"/>
                    </a:cubicBezTo>
                    <a:cubicBezTo>
                      <a:pt x="0" y="1037"/>
                      <a:pt x="0" y="1037"/>
                      <a:pt x="0" y="1037"/>
                    </a:cubicBezTo>
                    <a:cubicBezTo>
                      <a:pt x="0" y="1025"/>
                      <a:pt x="10" y="1015"/>
                      <a:pt x="22" y="1015"/>
                    </a:cubicBezTo>
                    <a:cubicBezTo>
                      <a:pt x="213" y="1015"/>
                      <a:pt x="213" y="1015"/>
                      <a:pt x="213" y="1015"/>
                    </a:cubicBezTo>
                    <a:cubicBezTo>
                      <a:pt x="213" y="861"/>
                      <a:pt x="213" y="861"/>
                      <a:pt x="213" y="861"/>
                    </a:cubicBezTo>
                    <a:cubicBezTo>
                      <a:pt x="213" y="849"/>
                      <a:pt x="223" y="839"/>
                      <a:pt x="235" y="839"/>
                    </a:cubicBezTo>
                    <a:cubicBezTo>
                      <a:pt x="840" y="839"/>
                      <a:pt x="840" y="839"/>
                      <a:pt x="840" y="839"/>
                    </a:cubicBezTo>
                    <a:cubicBezTo>
                      <a:pt x="840" y="709"/>
                      <a:pt x="840" y="709"/>
                      <a:pt x="840" y="709"/>
                    </a:cubicBezTo>
                    <a:cubicBezTo>
                      <a:pt x="884" y="709"/>
                      <a:pt x="884" y="709"/>
                      <a:pt x="884" y="709"/>
                    </a:cubicBezTo>
                    <a:cubicBezTo>
                      <a:pt x="884" y="839"/>
                      <a:pt x="884" y="839"/>
                      <a:pt x="884" y="839"/>
                    </a:cubicBezTo>
                    <a:cubicBezTo>
                      <a:pt x="1493" y="839"/>
                      <a:pt x="1493" y="839"/>
                      <a:pt x="1493" y="839"/>
                    </a:cubicBezTo>
                    <a:cubicBezTo>
                      <a:pt x="1505" y="839"/>
                      <a:pt x="1515" y="849"/>
                      <a:pt x="1515" y="861"/>
                    </a:cubicBezTo>
                    <a:cubicBezTo>
                      <a:pt x="1515" y="1015"/>
                      <a:pt x="1515" y="1015"/>
                      <a:pt x="1515" y="1015"/>
                    </a:cubicBezTo>
                    <a:cubicBezTo>
                      <a:pt x="1706" y="1015"/>
                      <a:pt x="1706" y="1015"/>
                      <a:pt x="1706" y="1015"/>
                    </a:cubicBezTo>
                    <a:cubicBezTo>
                      <a:pt x="1718" y="1015"/>
                      <a:pt x="1728" y="1025"/>
                      <a:pt x="1728" y="1037"/>
                    </a:cubicBezTo>
                    <a:close/>
                    <a:moveTo>
                      <a:pt x="44" y="1059"/>
                    </a:moveTo>
                    <a:cubicBezTo>
                      <a:pt x="44" y="1270"/>
                      <a:pt x="44" y="1270"/>
                      <a:pt x="44" y="1270"/>
                    </a:cubicBezTo>
                    <a:cubicBezTo>
                      <a:pt x="427" y="1270"/>
                      <a:pt x="427" y="1270"/>
                      <a:pt x="427" y="1270"/>
                    </a:cubicBezTo>
                    <a:cubicBezTo>
                      <a:pt x="427" y="1059"/>
                      <a:pt x="427" y="1059"/>
                      <a:pt x="427" y="1059"/>
                    </a:cubicBezTo>
                    <a:lnTo>
                      <a:pt x="44" y="1059"/>
                    </a:lnTo>
                    <a:close/>
                    <a:moveTo>
                      <a:pt x="670" y="1059"/>
                    </a:moveTo>
                    <a:cubicBezTo>
                      <a:pt x="670" y="1270"/>
                      <a:pt x="670" y="1270"/>
                      <a:pt x="670" y="1270"/>
                    </a:cubicBezTo>
                    <a:cubicBezTo>
                      <a:pt x="1053" y="1270"/>
                      <a:pt x="1053" y="1270"/>
                      <a:pt x="1053" y="1270"/>
                    </a:cubicBezTo>
                    <a:cubicBezTo>
                      <a:pt x="1053" y="1059"/>
                      <a:pt x="1053" y="1059"/>
                      <a:pt x="1053" y="1059"/>
                    </a:cubicBezTo>
                    <a:lnTo>
                      <a:pt x="670" y="1059"/>
                    </a:lnTo>
                    <a:close/>
                    <a:moveTo>
                      <a:pt x="1684" y="1059"/>
                    </a:moveTo>
                    <a:cubicBezTo>
                      <a:pt x="1301" y="1059"/>
                      <a:pt x="1301" y="1059"/>
                      <a:pt x="1301" y="1059"/>
                    </a:cubicBezTo>
                    <a:cubicBezTo>
                      <a:pt x="1301" y="1270"/>
                      <a:pt x="1301" y="1270"/>
                      <a:pt x="1301" y="1270"/>
                    </a:cubicBezTo>
                    <a:cubicBezTo>
                      <a:pt x="1684" y="1270"/>
                      <a:pt x="1684" y="1270"/>
                      <a:pt x="1684" y="1270"/>
                    </a:cubicBezTo>
                    <a:lnTo>
                      <a:pt x="1684" y="10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58" name="Group 57"/>
          <p:cNvGrpSpPr>
            <a:grpSpLocks noChangeAspect="1"/>
          </p:cNvGrpSpPr>
          <p:nvPr/>
        </p:nvGrpSpPr>
        <p:grpSpPr>
          <a:xfrm>
            <a:off x="8858216" y="661422"/>
            <a:ext cx="822200" cy="822960"/>
            <a:chOff x="5273801" y="2606040"/>
            <a:chExt cx="1644397" cy="1645920"/>
          </a:xfrm>
        </p:grpSpPr>
        <p:sp>
          <p:nvSpPr>
            <p:cNvPr id="59" name="AutoShape 12">
              <a:extLst>
                <a:ext uri="{FF2B5EF4-FFF2-40B4-BE49-F238E27FC236}">
                  <a16:creationId xmlns:a16="http://schemas.microsoft.com/office/drawing/2014/main" id="{0404F15B-46A3-46E4-8085-74FF02B2D88D}"/>
                </a:ext>
              </a:extLst>
            </p:cNvPr>
            <p:cNvSpPr>
              <a:spLocks noChangeAspect="1" noChangeArrowheads="1" noTextEdit="1"/>
            </p:cNvSpPr>
            <p:nvPr/>
          </p:nvSpPr>
          <p:spPr bwMode="auto">
            <a:xfrm>
              <a:off x="5273801"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0" name="Group 59"/>
            <p:cNvGrpSpPr/>
            <p:nvPr/>
          </p:nvGrpSpPr>
          <p:grpSpPr>
            <a:xfrm>
              <a:off x="5370956" y="3056763"/>
              <a:ext cx="1448944" cy="745998"/>
              <a:chOff x="5370956" y="3056763"/>
              <a:chExt cx="1448944" cy="745998"/>
            </a:xfrm>
          </p:grpSpPr>
          <p:sp>
            <p:nvSpPr>
              <p:cNvPr id="61" name="Freeform 14">
                <a:extLst>
                  <a:ext uri="{FF2B5EF4-FFF2-40B4-BE49-F238E27FC236}">
                    <a16:creationId xmlns:a16="http://schemas.microsoft.com/office/drawing/2014/main" id="{F2E1839F-95BE-4872-A2D3-2F7CE08805C1}"/>
                  </a:ext>
                </a:extLst>
              </p:cNvPr>
              <p:cNvSpPr>
                <a:spLocks noEditPoints="1"/>
              </p:cNvSpPr>
              <p:nvPr/>
            </p:nvSpPr>
            <p:spPr bwMode="auto">
              <a:xfrm>
                <a:off x="5829680" y="3161919"/>
                <a:ext cx="534543" cy="535686"/>
              </a:xfrm>
              <a:custGeom>
                <a:avLst/>
                <a:gdLst>
                  <a:gd name="T0" fmla="*/ 375 w 749"/>
                  <a:gd name="T1" fmla="*/ 0 h 750"/>
                  <a:gd name="T2" fmla="*/ 0 w 749"/>
                  <a:gd name="T3" fmla="*/ 375 h 750"/>
                  <a:gd name="T4" fmla="*/ 375 w 749"/>
                  <a:gd name="T5" fmla="*/ 750 h 750"/>
                  <a:gd name="T6" fmla="*/ 749 w 749"/>
                  <a:gd name="T7" fmla="*/ 375 h 750"/>
                  <a:gd name="T8" fmla="*/ 375 w 749"/>
                  <a:gd name="T9" fmla="*/ 0 h 750"/>
                  <a:gd name="T10" fmla="*/ 375 w 749"/>
                  <a:gd name="T11" fmla="*/ 549 h 750"/>
                  <a:gd name="T12" fmla="*/ 200 w 749"/>
                  <a:gd name="T13" fmla="*/ 375 h 750"/>
                  <a:gd name="T14" fmla="*/ 375 w 749"/>
                  <a:gd name="T15" fmla="*/ 201 h 750"/>
                  <a:gd name="T16" fmla="*/ 549 w 749"/>
                  <a:gd name="T17" fmla="*/ 375 h 750"/>
                  <a:gd name="T18" fmla="*/ 375 w 749"/>
                  <a:gd name="T19" fmla="*/ 549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9" h="750">
                    <a:moveTo>
                      <a:pt x="375" y="0"/>
                    </a:moveTo>
                    <a:cubicBezTo>
                      <a:pt x="167" y="0"/>
                      <a:pt x="0" y="169"/>
                      <a:pt x="0" y="375"/>
                    </a:cubicBezTo>
                    <a:cubicBezTo>
                      <a:pt x="0" y="582"/>
                      <a:pt x="167" y="750"/>
                      <a:pt x="375" y="750"/>
                    </a:cubicBezTo>
                    <a:cubicBezTo>
                      <a:pt x="582" y="750"/>
                      <a:pt x="749" y="582"/>
                      <a:pt x="749" y="375"/>
                    </a:cubicBezTo>
                    <a:cubicBezTo>
                      <a:pt x="749" y="169"/>
                      <a:pt x="582" y="0"/>
                      <a:pt x="375" y="0"/>
                    </a:cubicBezTo>
                    <a:close/>
                    <a:moveTo>
                      <a:pt x="375" y="549"/>
                    </a:moveTo>
                    <a:cubicBezTo>
                      <a:pt x="279" y="549"/>
                      <a:pt x="200" y="472"/>
                      <a:pt x="200" y="375"/>
                    </a:cubicBezTo>
                    <a:cubicBezTo>
                      <a:pt x="200" y="279"/>
                      <a:pt x="279" y="201"/>
                      <a:pt x="375" y="201"/>
                    </a:cubicBezTo>
                    <a:cubicBezTo>
                      <a:pt x="471" y="201"/>
                      <a:pt x="549" y="279"/>
                      <a:pt x="549" y="375"/>
                    </a:cubicBezTo>
                    <a:cubicBezTo>
                      <a:pt x="549" y="472"/>
                      <a:pt x="471" y="549"/>
                      <a:pt x="375" y="5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5">
                <a:extLst>
                  <a:ext uri="{FF2B5EF4-FFF2-40B4-BE49-F238E27FC236}">
                    <a16:creationId xmlns:a16="http://schemas.microsoft.com/office/drawing/2014/main" id="{4595F452-7D04-4C9E-B982-85F70F8BEB0E}"/>
                  </a:ext>
                </a:extLst>
              </p:cNvPr>
              <p:cNvSpPr>
                <a:spLocks noEditPoints="1"/>
              </p:cNvSpPr>
              <p:nvPr/>
            </p:nvSpPr>
            <p:spPr bwMode="auto">
              <a:xfrm>
                <a:off x="5370956" y="3056763"/>
                <a:ext cx="1448944" cy="745998"/>
              </a:xfrm>
              <a:custGeom>
                <a:avLst/>
                <a:gdLst>
                  <a:gd name="T0" fmla="*/ 1012 w 2030"/>
                  <a:gd name="T1" fmla="*/ 1044 h 1044"/>
                  <a:gd name="T2" fmla="*/ 293 w 2030"/>
                  <a:gd name="T3" fmla="*/ 790 h 1044"/>
                  <a:gd name="T4" fmla="*/ 7 w 2030"/>
                  <a:gd name="T5" fmla="*/ 536 h 1044"/>
                  <a:gd name="T6" fmla="*/ 7 w 2030"/>
                  <a:gd name="T7" fmla="*/ 508 h 1044"/>
                  <a:gd name="T8" fmla="*/ 295 w 2030"/>
                  <a:gd name="T9" fmla="*/ 254 h 1044"/>
                  <a:gd name="T10" fmla="*/ 1018 w 2030"/>
                  <a:gd name="T11" fmla="*/ 0 h 1044"/>
                  <a:gd name="T12" fmla="*/ 1737 w 2030"/>
                  <a:gd name="T13" fmla="*/ 254 h 1044"/>
                  <a:gd name="T14" fmla="*/ 2023 w 2030"/>
                  <a:gd name="T15" fmla="*/ 508 h 1044"/>
                  <a:gd name="T16" fmla="*/ 2023 w 2030"/>
                  <a:gd name="T17" fmla="*/ 536 h 1044"/>
                  <a:gd name="T18" fmla="*/ 1735 w 2030"/>
                  <a:gd name="T19" fmla="*/ 790 h 1044"/>
                  <a:gd name="T20" fmla="*/ 1012 w 2030"/>
                  <a:gd name="T21" fmla="*/ 1044 h 1044"/>
                  <a:gd name="T22" fmla="*/ 53 w 2030"/>
                  <a:gd name="T23" fmla="*/ 522 h 1044"/>
                  <a:gd name="T24" fmla="*/ 319 w 2030"/>
                  <a:gd name="T25" fmla="*/ 755 h 1044"/>
                  <a:gd name="T26" fmla="*/ 1012 w 2030"/>
                  <a:gd name="T27" fmla="*/ 1000 h 1044"/>
                  <a:gd name="T28" fmla="*/ 1709 w 2030"/>
                  <a:gd name="T29" fmla="*/ 754 h 1044"/>
                  <a:gd name="T30" fmla="*/ 1977 w 2030"/>
                  <a:gd name="T31" fmla="*/ 522 h 1044"/>
                  <a:gd name="T32" fmla="*/ 1711 w 2030"/>
                  <a:gd name="T33" fmla="*/ 289 h 1044"/>
                  <a:gd name="T34" fmla="*/ 1018 w 2030"/>
                  <a:gd name="T35" fmla="*/ 44 h 1044"/>
                  <a:gd name="T36" fmla="*/ 321 w 2030"/>
                  <a:gd name="T37" fmla="*/ 290 h 1044"/>
                  <a:gd name="T38" fmla="*/ 53 w 2030"/>
                  <a:gd name="T39" fmla="*/ 522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30" h="1044">
                    <a:moveTo>
                      <a:pt x="1012" y="1044"/>
                    </a:moveTo>
                    <a:cubicBezTo>
                      <a:pt x="714" y="1044"/>
                      <a:pt x="456" y="906"/>
                      <a:pt x="293" y="790"/>
                    </a:cubicBezTo>
                    <a:cubicBezTo>
                      <a:pt x="116" y="665"/>
                      <a:pt x="11" y="541"/>
                      <a:pt x="7" y="536"/>
                    </a:cubicBezTo>
                    <a:cubicBezTo>
                      <a:pt x="0" y="528"/>
                      <a:pt x="0" y="516"/>
                      <a:pt x="7" y="508"/>
                    </a:cubicBezTo>
                    <a:cubicBezTo>
                      <a:pt x="11" y="503"/>
                      <a:pt x="117" y="379"/>
                      <a:pt x="295" y="254"/>
                    </a:cubicBezTo>
                    <a:cubicBezTo>
                      <a:pt x="460" y="138"/>
                      <a:pt x="719" y="0"/>
                      <a:pt x="1018" y="0"/>
                    </a:cubicBezTo>
                    <a:cubicBezTo>
                      <a:pt x="1316" y="0"/>
                      <a:pt x="1574" y="138"/>
                      <a:pt x="1737" y="254"/>
                    </a:cubicBezTo>
                    <a:cubicBezTo>
                      <a:pt x="1914" y="379"/>
                      <a:pt x="2019" y="503"/>
                      <a:pt x="2023" y="508"/>
                    </a:cubicBezTo>
                    <a:cubicBezTo>
                      <a:pt x="2030" y="516"/>
                      <a:pt x="2030" y="528"/>
                      <a:pt x="2023" y="536"/>
                    </a:cubicBezTo>
                    <a:cubicBezTo>
                      <a:pt x="2019" y="541"/>
                      <a:pt x="1912" y="665"/>
                      <a:pt x="1735" y="790"/>
                    </a:cubicBezTo>
                    <a:cubicBezTo>
                      <a:pt x="1570" y="906"/>
                      <a:pt x="1311" y="1044"/>
                      <a:pt x="1012" y="1044"/>
                    </a:cubicBezTo>
                    <a:close/>
                    <a:moveTo>
                      <a:pt x="53" y="522"/>
                    </a:moveTo>
                    <a:cubicBezTo>
                      <a:pt x="86" y="558"/>
                      <a:pt x="181" y="657"/>
                      <a:pt x="319" y="755"/>
                    </a:cubicBezTo>
                    <a:cubicBezTo>
                      <a:pt x="477" y="867"/>
                      <a:pt x="726" y="1000"/>
                      <a:pt x="1012" y="1000"/>
                    </a:cubicBezTo>
                    <a:cubicBezTo>
                      <a:pt x="1299" y="1000"/>
                      <a:pt x="1550" y="866"/>
                      <a:pt x="1709" y="754"/>
                    </a:cubicBezTo>
                    <a:cubicBezTo>
                      <a:pt x="1848" y="656"/>
                      <a:pt x="1944" y="558"/>
                      <a:pt x="1977" y="522"/>
                    </a:cubicBezTo>
                    <a:cubicBezTo>
                      <a:pt x="1944" y="486"/>
                      <a:pt x="1849" y="387"/>
                      <a:pt x="1711" y="289"/>
                    </a:cubicBezTo>
                    <a:cubicBezTo>
                      <a:pt x="1553" y="177"/>
                      <a:pt x="1304" y="44"/>
                      <a:pt x="1018" y="44"/>
                    </a:cubicBezTo>
                    <a:cubicBezTo>
                      <a:pt x="731" y="44"/>
                      <a:pt x="480" y="178"/>
                      <a:pt x="321" y="290"/>
                    </a:cubicBezTo>
                    <a:cubicBezTo>
                      <a:pt x="182" y="388"/>
                      <a:pt x="86" y="486"/>
                      <a:pt x="53" y="52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71" name="TextBox 70"/>
          <p:cNvSpPr txBox="1"/>
          <p:nvPr/>
        </p:nvSpPr>
        <p:spPr>
          <a:xfrm>
            <a:off x="4350439" y="3430276"/>
            <a:ext cx="1830925" cy="7010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286">
              <a:defRPr/>
            </a:pPr>
            <a:r>
              <a:rPr lang="en-US" sz="2100" dirty="0">
                <a:solidFill>
                  <a:srgbClr val="29BA74"/>
                </a:solidFill>
                <a:sym typeface="Trebuchet MS" panose="020B0603020202020204" pitchFamily="34" charset="0"/>
              </a:rPr>
              <a:t>ENVISION THE FUTURE AND FOCUS ON THE BIG ROCKS</a:t>
            </a:r>
          </a:p>
        </p:txBody>
      </p:sp>
      <p:sp>
        <p:nvSpPr>
          <p:cNvPr id="3" name="Rectangle 2"/>
          <p:cNvSpPr/>
          <p:nvPr/>
        </p:nvSpPr>
        <p:spPr>
          <a:xfrm>
            <a:off x="4259811" y="6303221"/>
            <a:ext cx="1420582" cy="246221"/>
          </a:xfrm>
          <a:prstGeom prst="rect">
            <a:avLst/>
          </a:prstGeom>
        </p:spPr>
        <p:txBody>
          <a:bodyPr wrap="none">
            <a:spAutoFit/>
          </a:bodyPr>
          <a:lstStyle/>
          <a:p>
            <a:r>
              <a:rPr lang="en-US" sz="1000" dirty="0">
                <a:solidFill>
                  <a:schemeClr val="bg1">
                    <a:lumMod val="50000"/>
                  </a:schemeClr>
                </a:solidFill>
                <a:latin typeface="Trebuchet MS" panose="020B0603020202020204" pitchFamily="34" charset="0"/>
                <a:cs typeface="Arial" pitchFamily="34" charset="0"/>
              </a:rPr>
              <a:t>Source: BCG analysis.</a:t>
            </a:r>
          </a:p>
        </p:txBody>
      </p:sp>
    </p:spTree>
    <p:custDataLst>
      <p:tags r:id="rId2"/>
    </p:custDataLst>
    <p:extLst>
      <p:ext uri="{BB962C8B-B14F-4D97-AF65-F5344CB8AC3E}">
        <p14:creationId xmlns:p14="http://schemas.microsoft.com/office/powerpoint/2010/main" val="1559840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26232" y="2118"/>
          <a:ext cx="1586" cy="2116"/>
        </p:xfrm>
        <a:graphic>
          <a:graphicData uri="http://schemas.openxmlformats.org/presentationml/2006/ole">
            <mc:AlternateContent xmlns:mc="http://schemas.openxmlformats.org/markup-compatibility/2006">
              <mc:Choice xmlns:v="urn:schemas-microsoft-com:vml" Requires="v">
                <p:oleObj spid="_x0000_s99373"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6232" y="2118"/>
                        <a:ext cx="158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 name="Title 18"/>
          <p:cNvSpPr>
            <a:spLocks noGrp="1"/>
          </p:cNvSpPr>
          <p:nvPr>
            <p:ph type="title"/>
          </p:nvPr>
        </p:nvSpPr>
        <p:spPr>
          <a:xfrm>
            <a:off x="630000" y="622800"/>
            <a:ext cx="10933200" cy="470898"/>
          </a:xfrm>
        </p:spPr>
        <p:txBody>
          <a:bodyPr/>
          <a:lstStyle/>
          <a:p>
            <a:pPr lvl="0"/>
            <a:r>
              <a:rPr lang="en-GB" dirty="0"/>
              <a:t>Holistic Transformation Program</a:t>
            </a:r>
          </a:p>
        </p:txBody>
      </p:sp>
      <p:sp>
        <p:nvSpPr>
          <p:cNvPr id="5" name="TextBox 4"/>
          <p:cNvSpPr txBox="1"/>
          <p:nvPr/>
        </p:nvSpPr>
        <p:spPr>
          <a:xfrm>
            <a:off x="11353800" y="0"/>
            <a:ext cx="838199" cy="2476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Microsoft</a:t>
            </a:r>
          </a:p>
        </p:txBody>
      </p:sp>
      <p:grpSp>
        <p:nvGrpSpPr>
          <p:cNvPr id="8" name="Group 7"/>
          <p:cNvGrpSpPr/>
          <p:nvPr/>
        </p:nvGrpSpPr>
        <p:grpSpPr>
          <a:xfrm>
            <a:off x="598003" y="2467212"/>
            <a:ext cx="10996594" cy="2463979"/>
            <a:chOff x="598003" y="2289516"/>
            <a:chExt cx="10996594" cy="2463979"/>
          </a:xfrm>
        </p:grpSpPr>
        <p:sp>
          <p:nvSpPr>
            <p:cNvPr id="39" name="ee4pHeader2"/>
            <p:cNvSpPr txBox="1"/>
            <p:nvPr/>
          </p:nvSpPr>
          <p:spPr>
            <a:xfrm>
              <a:off x="2500441" y="3993895"/>
              <a:ext cx="1580399" cy="759600"/>
            </a:xfrm>
            <a:prstGeom prst="rect">
              <a:avLst/>
            </a:prstGeom>
            <a:noFill/>
            <a:ln cap="rnd">
              <a:noFill/>
            </a:ln>
          </p:spPr>
          <p:txBody>
            <a:bodyPr wrap="square" lIns="0" tIns="0" rIns="0" bIns="0" rtlCol="0" anchor="t" anchorCtr="0">
              <a:noAutofit/>
            </a:bodyPr>
            <a:lstStyle/>
            <a:p>
              <a:pPr marL="0" lvl="3" algn="ctr"/>
              <a:r>
                <a:rPr lang="en-US" sz="2000" dirty="0">
                  <a:solidFill>
                    <a:schemeClr val="tx2"/>
                  </a:solidFill>
                </a:rPr>
                <a:t>Strategy</a:t>
              </a:r>
            </a:p>
          </p:txBody>
        </p:sp>
        <p:grpSp>
          <p:nvGrpSpPr>
            <p:cNvPr id="56" name="bcgIcons_Strategy">
              <a:extLst>
                <a:ext uri="{FF2B5EF4-FFF2-40B4-BE49-F238E27FC236}">
                  <a16:creationId xmlns:a16="http://schemas.microsoft.com/office/drawing/2014/main" id="{96F9A4AA-6DEE-48E2-9143-67EB34511180}"/>
                </a:ext>
              </a:extLst>
            </p:cNvPr>
            <p:cNvGrpSpPr>
              <a:grpSpLocks noChangeAspect="1"/>
            </p:cNvGrpSpPr>
            <p:nvPr/>
          </p:nvGrpSpPr>
          <p:grpSpPr bwMode="auto">
            <a:xfrm>
              <a:off x="2468443" y="2289516"/>
              <a:ext cx="1644396" cy="1645920"/>
              <a:chOff x="1682" y="0"/>
              <a:chExt cx="4316" cy="4320"/>
            </a:xfrm>
          </p:grpSpPr>
          <p:sp>
            <p:nvSpPr>
              <p:cNvPr id="57" name="AutoShape 3">
                <a:extLst>
                  <a:ext uri="{FF2B5EF4-FFF2-40B4-BE49-F238E27FC236}">
                    <a16:creationId xmlns:a16="http://schemas.microsoft.com/office/drawing/2014/main" id="{C21EBBEA-EEAE-42D4-BEE2-E587BE61EE1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5">
                <a:extLst>
                  <a:ext uri="{FF2B5EF4-FFF2-40B4-BE49-F238E27FC236}">
                    <a16:creationId xmlns:a16="http://schemas.microsoft.com/office/drawing/2014/main" id="{C43E2BA7-091D-471D-B076-85B282692BD3}"/>
                  </a:ext>
                </a:extLst>
              </p:cNvPr>
              <p:cNvSpPr>
                <a:spLocks noEditPoints="1"/>
              </p:cNvSpPr>
              <p:nvPr/>
            </p:nvSpPr>
            <p:spPr bwMode="auto">
              <a:xfrm>
                <a:off x="2120" y="932"/>
                <a:ext cx="3436" cy="2452"/>
              </a:xfrm>
              <a:custGeom>
                <a:avLst/>
                <a:gdLst>
                  <a:gd name="T0" fmla="*/ 1790 w 1834"/>
                  <a:gd name="T1" fmla="*/ 1308 h 1308"/>
                  <a:gd name="T2" fmla="*/ 44 w 1834"/>
                  <a:gd name="T3" fmla="*/ 1308 h 1308"/>
                  <a:gd name="T4" fmla="*/ 0 w 1834"/>
                  <a:gd name="T5" fmla="*/ 1264 h 1308"/>
                  <a:gd name="T6" fmla="*/ 0 w 1834"/>
                  <a:gd name="T7" fmla="*/ 44 h 1308"/>
                  <a:gd name="T8" fmla="*/ 44 w 1834"/>
                  <a:gd name="T9" fmla="*/ 0 h 1308"/>
                  <a:gd name="T10" fmla="*/ 1790 w 1834"/>
                  <a:gd name="T11" fmla="*/ 0 h 1308"/>
                  <a:gd name="T12" fmla="*/ 1834 w 1834"/>
                  <a:gd name="T13" fmla="*/ 44 h 1308"/>
                  <a:gd name="T14" fmla="*/ 1834 w 1834"/>
                  <a:gd name="T15" fmla="*/ 1264 h 1308"/>
                  <a:gd name="T16" fmla="*/ 1790 w 1834"/>
                  <a:gd name="T17" fmla="*/ 1308 h 1308"/>
                  <a:gd name="T18" fmla="*/ 44 w 1834"/>
                  <a:gd name="T19" fmla="*/ 44 h 1308"/>
                  <a:gd name="T20" fmla="*/ 44 w 1834"/>
                  <a:gd name="T21" fmla="*/ 1264 h 1308"/>
                  <a:gd name="T22" fmla="*/ 1790 w 1834"/>
                  <a:gd name="T23" fmla="*/ 1264 h 1308"/>
                  <a:gd name="T24" fmla="*/ 1790 w 1834"/>
                  <a:gd name="T25" fmla="*/ 44 h 1308"/>
                  <a:gd name="T26" fmla="*/ 44 w 1834"/>
                  <a:gd name="T27" fmla="*/ 44 h 1308"/>
                  <a:gd name="T28" fmla="*/ 539 w 1834"/>
                  <a:gd name="T29" fmla="*/ 270 h 1308"/>
                  <a:gd name="T30" fmla="*/ 453 w 1834"/>
                  <a:gd name="T31" fmla="*/ 356 h 1308"/>
                  <a:gd name="T32" fmla="*/ 539 w 1834"/>
                  <a:gd name="T33" fmla="*/ 442 h 1308"/>
                  <a:gd name="T34" fmla="*/ 625 w 1834"/>
                  <a:gd name="T35" fmla="*/ 356 h 1308"/>
                  <a:gd name="T36" fmla="*/ 539 w 1834"/>
                  <a:gd name="T37" fmla="*/ 270 h 1308"/>
                  <a:gd name="T38" fmla="*/ 988 w 1834"/>
                  <a:gd name="T39" fmla="*/ 906 h 1308"/>
                  <a:gd name="T40" fmla="*/ 917 w 1834"/>
                  <a:gd name="T41" fmla="*/ 943 h 1308"/>
                  <a:gd name="T42" fmla="*/ 939 w 1834"/>
                  <a:gd name="T43" fmla="*/ 1063 h 1308"/>
                  <a:gd name="T44" fmla="*/ 1059 w 1834"/>
                  <a:gd name="T45" fmla="*/ 1040 h 1308"/>
                  <a:gd name="T46" fmla="*/ 1036 w 1834"/>
                  <a:gd name="T47" fmla="*/ 921 h 1308"/>
                  <a:gd name="T48" fmla="*/ 988 w 1834"/>
                  <a:gd name="T49" fmla="*/ 906 h 1308"/>
                  <a:gd name="T50" fmla="*/ 1540 w 1834"/>
                  <a:gd name="T51" fmla="*/ 402 h 1308"/>
                  <a:gd name="T52" fmla="*/ 1469 w 1834"/>
                  <a:gd name="T53" fmla="*/ 439 h 1308"/>
                  <a:gd name="T54" fmla="*/ 1491 w 1834"/>
                  <a:gd name="T55" fmla="*/ 559 h 1308"/>
                  <a:gd name="T56" fmla="*/ 1611 w 1834"/>
                  <a:gd name="T57" fmla="*/ 536 h 1308"/>
                  <a:gd name="T58" fmla="*/ 1588 w 1834"/>
                  <a:gd name="T59" fmla="*/ 417 h 1308"/>
                  <a:gd name="T60" fmla="*/ 1540 w 1834"/>
                  <a:gd name="T61" fmla="*/ 402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4" h="1308">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6">
                <a:extLst>
                  <a:ext uri="{FF2B5EF4-FFF2-40B4-BE49-F238E27FC236}">
                    <a16:creationId xmlns:a16="http://schemas.microsoft.com/office/drawing/2014/main" id="{1EED96BB-9979-4401-8F8F-43D515C4599E}"/>
                  </a:ext>
                </a:extLst>
              </p:cNvPr>
              <p:cNvSpPr>
                <a:spLocks noEditPoints="1"/>
              </p:cNvSpPr>
              <p:nvPr/>
            </p:nvSpPr>
            <p:spPr bwMode="auto">
              <a:xfrm>
                <a:off x="2321" y="1131"/>
                <a:ext cx="3034" cy="2055"/>
              </a:xfrm>
              <a:custGeom>
                <a:avLst/>
                <a:gdLst>
                  <a:gd name="T0" fmla="*/ 10 w 1620"/>
                  <a:gd name="T1" fmla="*/ 0 h 1096"/>
                  <a:gd name="T2" fmla="*/ 0 w 1620"/>
                  <a:gd name="T3" fmla="*/ 1086 h 1096"/>
                  <a:gd name="T4" fmla="*/ 1610 w 1620"/>
                  <a:gd name="T5" fmla="*/ 1096 h 1096"/>
                  <a:gd name="T6" fmla="*/ 1620 w 1620"/>
                  <a:gd name="T7" fmla="*/ 10 h 1096"/>
                  <a:gd name="T8" fmla="*/ 816 w 1620"/>
                  <a:gd name="T9" fmla="*/ 150 h 1096"/>
                  <a:gd name="T10" fmla="*/ 848 w 1620"/>
                  <a:gd name="T11" fmla="*/ 118 h 1096"/>
                  <a:gd name="T12" fmla="*/ 940 w 1620"/>
                  <a:gd name="T13" fmla="*/ 118 h 1096"/>
                  <a:gd name="T14" fmla="*/ 972 w 1620"/>
                  <a:gd name="T15" fmla="*/ 150 h 1096"/>
                  <a:gd name="T16" fmla="*/ 972 w 1620"/>
                  <a:gd name="T17" fmla="*/ 242 h 1096"/>
                  <a:gd name="T18" fmla="*/ 956 w 1620"/>
                  <a:gd name="T19" fmla="*/ 280 h 1096"/>
                  <a:gd name="T20" fmla="*/ 894 w 1620"/>
                  <a:gd name="T21" fmla="*/ 227 h 1096"/>
                  <a:gd name="T22" fmla="*/ 832 w 1620"/>
                  <a:gd name="T23" fmla="*/ 280 h 1096"/>
                  <a:gd name="T24" fmla="*/ 816 w 1620"/>
                  <a:gd name="T25" fmla="*/ 242 h 1096"/>
                  <a:gd name="T26" fmla="*/ 816 w 1620"/>
                  <a:gd name="T27" fmla="*/ 150 h 1096"/>
                  <a:gd name="T28" fmla="*/ 260 w 1620"/>
                  <a:gd name="T29" fmla="*/ 724 h 1096"/>
                  <a:gd name="T30" fmla="*/ 228 w 1620"/>
                  <a:gd name="T31" fmla="*/ 724 h 1096"/>
                  <a:gd name="T32" fmla="*/ 136 w 1620"/>
                  <a:gd name="T33" fmla="*/ 724 h 1096"/>
                  <a:gd name="T34" fmla="*/ 104 w 1620"/>
                  <a:gd name="T35" fmla="*/ 724 h 1096"/>
                  <a:gd name="T36" fmla="*/ 151 w 1620"/>
                  <a:gd name="T37" fmla="*/ 646 h 1096"/>
                  <a:gd name="T38" fmla="*/ 104 w 1620"/>
                  <a:gd name="T39" fmla="*/ 568 h 1096"/>
                  <a:gd name="T40" fmla="*/ 182 w 1620"/>
                  <a:gd name="T41" fmla="*/ 615 h 1096"/>
                  <a:gd name="T42" fmla="*/ 260 w 1620"/>
                  <a:gd name="T43" fmla="*/ 568 h 1096"/>
                  <a:gd name="T44" fmla="*/ 213 w 1620"/>
                  <a:gd name="T45" fmla="*/ 646 h 1096"/>
                  <a:gd name="T46" fmla="*/ 641 w 1620"/>
                  <a:gd name="T47" fmla="*/ 585 h 1096"/>
                  <a:gd name="T48" fmla="*/ 549 w 1620"/>
                  <a:gd name="T49" fmla="*/ 890 h 1096"/>
                  <a:gd name="T50" fmla="*/ 546 w 1620"/>
                  <a:gd name="T51" fmla="*/ 933 h 1096"/>
                  <a:gd name="T52" fmla="*/ 406 w 1620"/>
                  <a:gd name="T53" fmla="*/ 915 h 1096"/>
                  <a:gd name="T54" fmla="*/ 405 w 1620"/>
                  <a:gd name="T55" fmla="*/ 753 h 1096"/>
                  <a:gd name="T56" fmla="*/ 448 w 1620"/>
                  <a:gd name="T57" fmla="*/ 759 h 1096"/>
                  <a:gd name="T58" fmla="*/ 597 w 1620"/>
                  <a:gd name="T59" fmla="*/ 583 h 1096"/>
                  <a:gd name="T60" fmla="*/ 432 w 1620"/>
                  <a:gd name="T61" fmla="*/ 380 h 1096"/>
                  <a:gd name="T62" fmla="*/ 432 w 1620"/>
                  <a:gd name="T63" fmla="*/ 120 h 1096"/>
                  <a:gd name="T64" fmla="*/ 540 w 1620"/>
                  <a:gd name="T65" fmla="*/ 322 h 1096"/>
                  <a:gd name="T66" fmla="*/ 1279 w 1620"/>
                  <a:gd name="T67" fmla="*/ 382 h 1096"/>
                  <a:gd name="T68" fmla="*/ 1171 w 1620"/>
                  <a:gd name="T69" fmla="*/ 493 h 1096"/>
                  <a:gd name="T70" fmla="*/ 1154 w 1620"/>
                  <a:gd name="T71" fmla="*/ 456 h 1096"/>
                  <a:gd name="T72" fmla="*/ 932 w 1620"/>
                  <a:gd name="T73" fmla="*/ 518 h 1096"/>
                  <a:gd name="T74" fmla="*/ 954 w 1620"/>
                  <a:gd name="T75" fmla="*/ 778 h 1096"/>
                  <a:gd name="T76" fmla="*/ 988 w 1620"/>
                  <a:gd name="T77" fmla="*/ 959 h 1096"/>
                  <a:gd name="T78" fmla="*/ 807 w 1620"/>
                  <a:gd name="T79" fmla="*/ 993 h 1096"/>
                  <a:gd name="T80" fmla="*/ 831 w 1620"/>
                  <a:gd name="T81" fmla="*/ 766 h 1096"/>
                  <a:gd name="T82" fmla="*/ 1205 w 1620"/>
                  <a:gd name="T83" fmla="*/ 345 h 1096"/>
                  <a:gd name="T84" fmla="*/ 1143 w 1620"/>
                  <a:gd name="T85" fmla="*/ 261 h 1096"/>
                  <a:gd name="T86" fmla="*/ 1278 w 1620"/>
                  <a:gd name="T87" fmla="*/ 351 h 1096"/>
                  <a:gd name="T88" fmla="*/ 1279 w 1620"/>
                  <a:gd name="T89" fmla="*/ 382 h 1096"/>
                  <a:gd name="T90" fmla="*/ 1433 w 1620"/>
                  <a:gd name="T91" fmla="*/ 512 h 1096"/>
                  <a:gd name="T92" fmla="*/ 1325 w 1620"/>
                  <a:gd name="T93" fmla="*/ 308 h 1096"/>
                  <a:gd name="T94" fmla="*/ 1560 w 1620"/>
                  <a:gd name="T95" fmla="*/ 358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20" h="1096">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3" name="ee4pHeader4"/>
            <p:cNvSpPr txBox="1"/>
            <p:nvPr/>
          </p:nvSpPr>
          <p:spPr>
            <a:xfrm>
              <a:off x="6241321" y="3993895"/>
              <a:ext cx="1580399" cy="759600"/>
            </a:xfrm>
            <a:prstGeom prst="rect">
              <a:avLst/>
            </a:prstGeom>
            <a:noFill/>
            <a:ln cap="rnd">
              <a:noFill/>
            </a:ln>
          </p:spPr>
          <p:txBody>
            <a:bodyPr wrap="square" lIns="0" tIns="0" rIns="0" bIns="0" rtlCol="0" anchor="t" anchorCtr="0">
              <a:noAutofit/>
            </a:bodyPr>
            <a:lstStyle/>
            <a:p>
              <a:pPr marL="0" lvl="3" algn="ctr"/>
              <a:r>
                <a:rPr lang="en-US" sz="2000" dirty="0">
                  <a:solidFill>
                    <a:schemeClr val="tx2"/>
                  </a:solidFill>
                </a:rPr>
                <a:t>Go to market</a:t>
              </a:r>
            </a:p>
          </p:txBody>
        </p:sp>
        <p:grpSp>
          <p:nvGrpSpPr>
            <p:cNvPr id="64" name="bcgIcons_GoToMarket">
              <a:extLst>
                <a:ext uri="{FF2B5EF4-FFF2-40B4-BE49-F238E27FC236}">
                  <a16:creationId xmlns:a16="http://schemas.microsoft.com/office/drawing/2014/main" id="{80DCD6BF-47C8-41B6-935A-8B6D6CCE7BFE}"/>
                </a:ext>
              </a:extLst>
            </p:cNvPr>
            <p:cNvGrpSpPr>
              <a:grpSpLocks noChangeAspect="1"/>
            </p:cNvGrpSpPr>
            <p:nvPr/>
          </p:nvGrpSpPr>
          <p:grpSpPr bwMode="auto">
            <a:xfrm>
              <a:off x="6209323" y="2289516"/>
              <a:ext cx="1644396" cy="1645920"/>
              <a:chOff x="1682" y="0"/>
              <a:chExt cx="4316" cy="4320"/>
            </a:xfrm>
          </p:grpSpPr>
          <p:sp>
            <p:nvSpPr>
              <p:cNvPr id="65" name="AutoShape 14">
                <a:extLst>
                  <a:ext uri="{FF2B5EF4-FFF2-40B4-BE49-F238E27FC236}">
                    <a16:creationId xmlns:a16="http://schemas.microsoft.com/office/drawing/2014/main" id="{6B6264DF-7B72-47C2-A253-60D979D85B1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6">
                <a:extLst>
                  <a:ext uri="{FF2B5EF4-FFF2-40B4-BE49-F238E27FC236}">
                    <a16:creationId xmlns:a16="http://schemas.microsoft.com/office/drawing/2014/main" id="{FF46FB5E-9D6C-47F1-A06B-2A72B07FF12A}"/>
                  </a:ext>
                </a:extLst>
              </p:cNvPr>
              <p:cNvSpPr>
                <a:spLocks noEditPoints="1"/>
              </p:cNvSpPr>
              <p:nvPr/>
            </p:nvSpPr>
            <p:spPr bwMode="auto">
              <a:xfrm>
                <a:off x="2574" y="296"/>
                <a:ext cx="2605" cy="2697"/>
              </a:xfrm>
              <a:custGeom>
                <a:avLst/>
                <a:gdLst>
                  <a:gd name="T0" fmla="*/ 540 w 1391"/>
                  <a:gd name="T1" fmla="*/ 461 h 1438"/>
                  <a:gd name="T2" fmla="*/ 144 w 1391"/>
                  <a:gd name="T3" fmla="*/ 866 h 1438"/>
                  <a:gd name="T4" fmla="*/ 204 w 1391"/>
                  <a:gd name="T5" fmla="*/ 1230 h 1438"/>
                  <a:gd name="T6" fmla="*/ 235 w 1391"/>
                  <a:gd name="T7" fmla="*/ 1261 h 1438"/>
                  <a:gd name="T8" fmla="*/ 122 w 1391"/>
                  <a:gd name="T9" fmla="*/ 1364 h 1438"/>
                  <a:gd name="T10" fmla="*/ 121 w 1391"/>
                  <a:gd name="T11" fmla="*/ 1364 h 1438"/>
                  <a:gd name="T12" fmla="*/ 8 w 1391"/>
                  <a:gd name="T13" fmla="*/ 1258 h 1438"/>
                  <a:gd name="T14" fmla="*/ 40 w 1391"/>
                  <a:gd name="T15" fmla="*/ 1228 h 1438"/>
                  <a:gd name="T16" fmla="*/ 100 w 1391"/>
                  <a:gd name="T17" fmla="*/ 857 h 1438"/>
                  <a:gd name="T18" fmla="*/ 496 w 1391"/>
                  <a:gd name="T19" fmla="*/ 452 h 1438"/>
                  <a:gd name="T20" fmla="*/ 518 w 1391"/>
                  <a:gd name="T21" fmla="*/ 0 h 1438"/>
                  <a:gd name="T22" fmla="*/ 758 w 1391"/>
                  <a:gd name="T23" fmla="*/ 746 h 1438"/>
                  <a:gd name="T24" fmla="*/ 699 w 1391"/>
                  <a:gd name="T25" fmla="*/ 22 h 1438"/>
                  <a:gd name="T26" fmla="*/ 655 w 1391"/>
                  <a:gd name="T27" fmla="*/ 22 h 1438"/>
                  <a:gd name="T28" fmla="*/ 594 w 1391"/>
                  <a:gd name="T29" fmla="*/ 744 h 1438"/>
                  <a:gd name="T30" fmla="*/ 562 w 1391"/>
                  <a:gd name="T31" fmla="*/ 775 h 1438"/>
                  <a:gd name="T32" fmla="*/ 674 w 1391"/>
                  <a:gd name="T33" fmla="*/ 880 h 1438"/>
                  <a:gd name="T34" fmla="*/ 690 w 1391"/>
                  <a:gd name="T35" fmla="*/ 874 h 1438"/>
                  <a:gd name="T36" fmla="*/ 790 w 1391"/>
                  <a:gd name="T37" fmla="*/ 747 h 1438"/>
                  <a:gd name="T38" fmla="*/ 1111 w 1391"/>
                  <a:gd name="T39" fmla="*/ 886 h 1438"/>
                  <a:gd name="T40" fmla="*/ 1051 w 1391"/>
                  <a:gd name="T41" fmla="*/ 726 h 1438"/>
                  <a:gd name="T42" fmla="*/ 858 w 1391"/>
                  <a:gd name="T43" fmla="*/ 524 h 1438"/>
                  <a:gd name="T44" fmla="*/ 836 w 1391"/>
                  <a:gd name="T45" fmla="*/ 0 h 1438"/>
                  <a:gd name="T46" fmla="*/ 814 w 1391"/>
                  <a:gd name="T47" fmla="*/ 533 h 1438"/>
                  <a:gd name="T48" fmla="*/ 1007 w 1391"/>
                  <a:gd name="T49" fmla="*/ 735 h 1438"/>
                  <a:gd name="T50" fmla="*/ 947 w 1391"/>
                  <a:gd name="T51" fmla="*/ 884 h 1438"/>
                  <a:gd name="T52" fmla="*/ 915 w 1391"/>
                  <a:gd name="T53" fmla="*/ 915 h 1438"/>
                  <a:gd name="T54" fmla="*/ 1027 w 1391"/>
                  <a:gd name="T55" fmla="*/ 1021 h 1438"/>
                  <a:gd name="T56" fmla="*/ 1043 w 1391"/>
                  <a:gd name="T57" fmla="*/ 1014 h 1438"/>
                  <a:gd name="T58" fmla="*/ 1142 w 1391"/>
                  <a:gd name="T59" fmla="*/ 887 h 1438"/>
                  <a:gd name="T60" fmla="*/ 1383 w 1391"/>
                  <a:gd name="T61" fmla="*/ 1304 h 1438"/>
                  <a:gd name="T62" fmla="*/ 1291 w 1391"/>
                  <a:gd name="T63" fmla="*/ 1362 h 1438"/>
                  <a:gd name="T64" fmla="*/ 1285 w 1391"/>
                  <a:gd name="T65" fmla="*/ 618 h 1438"/>
                  <a:gd name="T66" fmla="*/ 1016 w 1391"/>
                  <a:gd name="T67" fmla="*/ 22 h 1438"/>
                  <a:gd name="T68" fmla="*/ 972 w 1391"/>
                  <a:gd name="T69" fmla="*/ 22 h 1438"/>
                  <a:gd name="T70" fmla="*/ 979 w 1391"/>
                  <a:gd name="T71" fmla="*/ 373 h 1438"/>
                  <a:gd name="T72" fmla="*/ 1247 w 1391"/>
                  <a:gd name="T73" fmla="*/ 1363 h 1438"/>
                  <a:gd name="T74" fmla="*/ 1156 w 1391"/>
                  <a:gd name="T75" fmla="*/ 1301 h 1438"/>
                  <a:gd name="T76" fmla="*/ 1252 w 1391"/>
                  <a:gd name="T77" fmla="*/ 1431 h 1438"/>
                  <a:gd name="T78" fmla="*/ 1268 w 1391"/>
                  <a:gd name="T79" fmla="*/ 1438 h 1438"/>
                  <a:gd name="T80" fmla="*/ 1288 w 1391"/>
                  <a:gd name="T81" fmla="*/ 1427 h 1438"/>
                  <a:gd name="T82" fmla="*/ 1383 w 1391"/>
                  <a:gd name="T83" fmla="*/ 1304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91" h="1438">
                    <a:moveTo>
                      <a:pt x="540" y="22"/>
                    </a:moveTo>
                    <a:cubicBezTo>
                      <a:pt x="540" y="461"/>
                      <a:pt x="540" y="461"/>
                      <a:pt x="540" y="461"/>
                    </a:cubicBezTo>
                    <a:cubicBezTo>
                      <a:pt x="540" y="467"/>
                      <a:pt x="538" y="472"/>
                      <a:pt x="534" y="476"/>
                    </a:cubicBezTo>
                    <a:cubicBezTo>
                      <a:pt x="144" y="866"/>
                      <a:pt x="144" y="866"/>
                      <a:pt x="144" y="866"/>
                    </a:cubicBezTo>
                    <a:cubicBezTo>
                      <a:pt x="144" y="1289"/>
                      <a:pt x="144" y="1289"/>
                      <a:pt x="144" y="1289"/>
                    </a:cubicBezTo>
                    <a:cubicBezTo>
                      <a:pt x="204" y="1230"/>
                      <a:pt x="204" y="1230"/>
                      <a:pt x="204" y="1230"/>
                    </a:cubicBezTo>
                    <a:cubicBezTo>
                      <a:pt x="213" y="1221"/>
                      <a:pt x="227" y="1221"/>
                      <a:pt x="235" y="1230"/>
                    </a:cubicBezTo>
                    <a:cubicBezTo>
                      <a:pt x="244" y="1239"/>
                      <a:pt x="244" y="1253"/>
                      <a:pt x="235" y="1261"/>
                    </a:cubicBezTo>
                    <a:cubicBezTo>
                      <a:pt x="141" y="1353"/>
                      <a:pt x="141" y="1353"/>
                      <a:pt x="141" y="1353"/>
                    </a:cubicBezTo>
                    <a:cubicBezTo>
                      <a:pt x="137" y="1360"/>
                      <a:pt x="130" y="1364"/>
                      <a:pt x="122" y="1364"/>
                    </a:cubicBezTo>
                    <a:cubicBezTo>
                      <a:pt x="122" y="1364"/>
                      <a:pt x="121" y="1364"/>
                      <a:pt x="121" y="1364"/>
                    </a:cubicBezTo>
                    <a:cubicBezTo>
                      <a:pt x="121" y="1364"/>
                      <a:pt x="121" y="1364"/>
                      <a:pt x="121" y="1364"/>
                    </a:cubicBezTo>
                    <a:cubicBezTo>
                      <a:pt x="115" y="1364"/>
                      <a:pt x="109" y="1362"/>
                      <a:pt x="105" y="1357"/>
                    </a:cubicBezTo>
                    <a:cubicBezTo>
                      <a:pt x="8" y="1258"/>
                      <a:pt x="8" y="1258"/>
                      <a:pt x="8" y="1258"/>
                    </a:cubicBezTo>
                    <a:cubicBezTo>
                      <a:pt x="0" y="1250"/>
                      <a:pt x="0" y="1236"/>
                      <a:pt x="9" y="1227"/>
                    </a:cubicBezTo>
                    <a:cubicBezTo>
                      <a:pt x="18" y="1219"/>
                      <a:pt x="31" y="1219"/>
                      <a:pt x="40" y="1228"/>
                    </a:cubicBezTo>
                    <a:cubicBezTo>
                      <a:pt x="100" y="1289"/>
                      <a:pt x="100" y="1289"/>
                      <a:pt x="100" y="1289"/>
                    </a:cubicBezTo>
                    <a:cubicBezTo>
                      <a:pt x="100" y="857"/>
                      <a:pt x="100" y="857"/>
                      <a:pt x="100" y="857"/>
                    </a:cubicBezTo>
                    <a:cubicBezTo>
                      <a:pt x="100" y="851"/>
                      <a:pt x="102" y="846"/>
                      <a:pt x="106" y="842"/>
                    </a:cubicBezTo>
                    <a:cubicBezTo>
                      <a:pt x="496" y="452"/>
                      <a:pt x="496" y="452"/>
                      <a:pt x="496" y="452"/>
                    </a:cubicBezTo>
                    <a:cubicBezTo>
                      <a:pt x="496" y="22"/>
                      <a:pt x="496" y="22"/>
                      <a:pt x="496" y="22"/>
                    </a:cubicBezTo>
                    <a:cubicBezTo>
                      <a:pt x="496" y="10"/>
                      <a:pt x="506" y="0"/>
                      <a:pt x="518" y="0"/>
                    </a:cubicBezTo>
                    <a:cubicBezTo>
                      <a:pt x="531" y="0"/>
                      <a:pt x="540" y="10"/>
                      <a:pt x="540" y="22"/>
                    </a:cubicBezTo>
                    <a:close/>
                    <a:moveTo>
                      <a:pt x="758" y="746"/>
                    </a:moveTo>
                    <a:cubicBezTo>
                      <a:pt x="699" y="804"/>
                      <a:pt x="699" y="804"/>
                      <a:pt x="699" y="804"/>
                    </a:cubicBezTo>
                    <a:cubicBezTo>
                      <a:pt x="699" y="22"/>
                      <a:pt x="699" y="22"/>
                      <a:pt x="699" y="22"/>
                    </a:cubicBezTo>
                    <a:cubicBezTo>
                      <a:pt x="699" y="10"/>
                      <a:pt x="689" y="0"/>
                      <a:pt x="677" y="0"/>
                    </a:cubicBezTo>
                    <a:cubicBezTo>
                      <a:pt x="665" y="0"/>
                      <a:pt x="655" y="10"/>
                      <a:pt x="655" y="22"/>
                    </a:cubicBezTo>
                    <a:cubicBezTo>
                      <a:pt x="655" y="807"/>
                      <a:pt x="655" y="807"/>
                      <a:pt x="655" y="807"/>
                    </a:cubicBezTo>
                    <a:cubicBezTo>
                      <a:pt x="594" y="744"/>
                      <a:pt x="594" y="744"/>
                      <a:pt x="594" y="744"/>
                    </a:cubicBezTo>
                    <a:cubicBezTo>
                      <a:pt x="586" y="735"/>
                      <a:pt x="572" y="735"/>
                      <a:pt x="563" y="744"/>
                    </a:cubicBezTo>
                    <a:cubicBezTo>
                      <a:pt x="554" y="752"/>
                      <a:pt x="554" y="766"/>
                      <a:pt x="562" y="775"/>
                    </a:cubicBezTo>
                    <a:cubicBezTo>
                      <a:pt x="659" y="874"/>
                      <a:pt x="659" y="874"/>
                      <a:pt x="659" y="874"/>
                    </a:cubicBezTo>
                    <a:cubicBezTo>
                      <a:pt x="663" y="878"/>
                      <a:pt x="669" y="880"/>
                      <a:pt x="674" y="880"/>
                    </a:cubicBezTo>
                    <a:cubicBezTo>
                      <a:pt x="675" y="880"/>
                      <a:pt x="675" y="880"/>
                      <a:pt x="675" y="880"/>
                    </a:cubicBezTo>
                    <a:cubicBezTo>
                      <a:pt x="680" y="880"/>
                      <a:pt x="686" y="878"/>
                      <a:pt x="690" y="874"/>
                    </a:cubicBezTo>
                    <a:cubicBezTo>
                      <a:pt x="789" y="778"/>
                      <a:pt x="789" y="778"/>
                      <a:pt x="789" y="778"/>
                    </a:cubicBezTo>
                    <a:cubicBezTo>
                      <a:pt x="798" y="769"/>
                      <a:pt x="798" y="755"/>
                      <a:pt x="790" y="747"/>
                    </a:cubicBezTo>
                    <a:cubicBezTo>
                      <a:pt x="781" y="738"/>
                      <a:pt x="767" y="738"/>
                      <a:pt x="758" y="746"/>
                    </a:cubicBezTo>
                    <a:close/>
                    <a:moveTo>
                      <a:pt x="1111" y="886"/>
                    </a:moveTo>
                    <a:cubicBezTo>
                      <a:pt x="1051" y="945"/>
                      <a:pt x="1051" y="945"/>
                      <a:pt x="1051" y="945"/>
                    </a:cubicBezTo>
                    <a:cubicBezTo>
                      <a:pt x="1051" y="726"/>
                      <a:pt x="1051" y="726"/>
                      <a:pt x="1051" y="726"/>
                    </a:cubicBezTo>
                    <a:cubicBezTo>
                      <a:pt x="1051" y="720"/>
                      <a:pt x="1048" y="715"/>
                      <a:pt x="1044" y="710"/>
                    </a:cubicBezTo>
                    <a:cubicBezTo>
                      <a:pt x="858" y="524"/>
                      <a:pt x="858" y="524"/>
                      <a:pt x="858" y="524"/>
                    </a:cubicBezTo>
                    <a:cubicBezTo>
                      <a:pt x="858" y="22"/>
                      <a:pt x="858" y="22"/>
                      <a:pt x="858" y="22"/>
                    </a:cubicBezTo>
                    <a:cubicBezTo>
                      <a:pt x="858" y="10"/>
                      <a:pt x="848" y="0"/>
                      <a:pt x="836" y="0"/>
                    </a:cubicBezTo>
                    <a:cubicBezTo>
                      <a:pt x="823" y="0"/>
                      <a:pt x="814" y="10"/>
                      <a:pt x="814" y="22"/>
                    </a:cubicBezTo>
                    <a:cubicBezTo>
                      <a:pt x="814" y="533"/>
                      <a:pt x="814" y="533"/>
                      <a:pt x="814" y="533"/>
                    </a:cubicBezTo>
                    <a:cubicBezTo>
                      <a:pt x="814" y="539"/>
                      <a:pt x="816" y="545"/>
                      <a:pt x="820" y="549"/>
                    </a:cubicBezTo>
                    <a:cubicBezTo>
                      <a:pt x="1007" y="735"/>
                      <a:pt x="1007" y="735"/>
                      <a:pt x="1007" y="735"/>
                    </a:cubicBezTo>
                    <a:cubicBezTo>
                      <a:pt x="1007" y="946"/>
                      <a:pt x="1007" y="946"/>
                      <a:pt x="1007" y="946"/>
                    </a:cubicBezTo>
                    <a:cubicBezTo>
                      <a:pt x="947" y="884"/>
                      <a:pt x="947" y="884"/>
                      <a:pt x="947" y="884"/>
                    </a:cubicBezTo>
                    <a:cubicBezTo>
                      <a:pt x="938" y="875"/>
                      <a:pt x="924" y="875"/>
                      <a:pt x="916" y="884"/>
                    </a:cubicBezTo>
                    <a:cubicBezTo>
                      <a:pt x="907" y="892"/>
                      <a:pt x="907" y="906"/>
                      <a:pt x="915" y="915"/>
                    </a:cubicBezTo>
                    <a:cubicBezTo>
                      <a:pt x="1012" y="1014"/>
                      <a:pt x="1012" y="1014"/>
                      <a:pt x="1012" y="1014"/>
                    </a:cubicBezTo>
                    <a:cubicBezTo>
                      <a:pt x="1016" y="1018"/>
                      <a:pt x="1021" y="1020"/>
                      <a:pt x="1027" y="1021"/>
                    </a:cubicBezTo>
                    <a:cubicBezTo>
                      <a:pt x="1027" y="1021"/>
                      <a:pt x="1027" y="1021"/>
                      <a:pt x="1027" y="1021"/>
                    </a:cubicBezTo>
                    <a:cubicBezTo>
                      <a:pt x="1033" y="1021"/>
                      <a:pt x="1039" y="1018"/>
                      <a:pt x="1043" y="1014"/>
                    </a:cubicBezTo>
                    <a:cubicBezTo>
                      <a:pt x="1142" y="918"/>
                      <a:pt x="1142" y="918"/>
                      <a:pt x="1142" y="918"/>
                    </a:cubicBezTo>
                    <a:cubicBezTo>
                      <a:pt x="1151" y="909"/>
                      <a:pt x="1151" y="895"/>
                      <a:pt x="1142" y="887"/>
                    </a:cubicBezTo>
                    <a:cubicBezTo>
                      <a:pt x="1134" y="878"/>
                      <a:pt x="1120" y="878"/>
                      <a:pt x="1111" y="886"/>
                    </a:cubicBezTo>
                    <a:close/>
                    <a:moveTo>
                      <a:pt x="1383" y="1304"/>
                    </a:moveTo>
                    <a:cubicBezTo>
                      <a:pt x="1374" y="1295"/>
                      <a:pt x="1360" y="1295"/>
                      <a:pt x="1351" y="1304"/>
                    </a:cubicBezTo>
                    <a:cubicBezTo>
                      <a:pt x="1291" y="1362"/>
                      <a:pt x="1291" y="1362"/>
                      <a:pt x="1291" y="1362"/>
                    </a:cubicBezTo>
                    <a:cubicBezTo>
                      <a:pt x="1291" y="634"/>
                      <a:pt x="1291" y="634"/>
                      <a:pt x="1291" y="634"/>
                    </a:cubicBezTo>
                    <a:cubicBezTo>
                      <a:pt x="1291" y="628"/>
                      <a:pt x="1289" y="623"/>
                      <a:pt x="1285" y="618"/>
                    </a:cubicBezTo>
                    <a:cubicBezTo>
                      <a:pt x="1016" y="348"/>
                      <a:pt x="1016" y="348"/>
                      <a:pt x="1016" y="348"/>
                    </a:cubicBezTo>
                    <a:cubicBezTo>
                      <a:pt x="1016" y="22"/>
                      <a:pt x="1016" y="22"/>
                      <a:pt x="1016" y="22"/>
                    </a:cubicBezTo>
                    <a:cubicBezTo>
                      <a:pt x="1016" y="10"/>
                      <a:pt x="1006" y="0"/>
                      <a:pt x="994" y="0"/>
                    </a:cubicBezTo>
                    <a:cubicBezTo>
                      <a:pt x="982" y="0"/>
                      <a:pt x="972" y="10"/>
                      <a:pt x="972" y="22"/>
                    </a:cubicBezTo>
                    <a:cubicBezTo>
                      <a:pt x="972" y="357"/>
                      <a:pt x="972" y="357"/>
                      <a:pt x="972" y="357"/>
                    </a:cubicBezTo>
                    <a:cubicBezTo>
                      <a:pt x="972" y="363"/>
                      <a:pt x="975" y="368"/>
                      <a:pt x="979" y="373"/>
                    </a:cubicBezTo>
                    <a:cubicBezTo>
                      <a:pt x="1247" y="643"/>
                      <a:pt x="1247" y="643"/>
                      <a:pt x="1247" y="643"/>
                    </a:cubicBezTo>
                    <a:cubicBezTo>
                      <a:pt x="1247" y="1363"/>
                      <a:pt x="1247" y="1363"/>
                      <a:pt x="1247" y="1363"/>
                    </a:cubicBezTo>
                    <a:cubicBezTo>
                      <a:pt x="1187" y="1301"/>
                      <a:pt x="1187" y="1301"/>
                      <a:pt x="1187" y="1301"/>
                    </a:cubicBezTo>
                    <a:cubicBezTo>
                      <a:pt x="1179" y="1293"/>
                      <a:pt x="1165" y="1293"/>
                      <a:pt x="1156" y="1301"/>
                    </a:cubicBezTo>
                    <a:cubicBezTo>
                      <a:pt x="1147" y="1310"/>
                      <a:pt x="1147" y="1323"/>
                      <a:pt x="1155" y="1332"/>
                    </a:cubicBezTo>
                    <a:cubicBezTo>
                      <a:pt x="1252" y="1431"/>
                      <a:pt x="1252" y="1431"/>
                      <a:pt x="1252" y="1431"/>
                    </a:cubicBezTo>
                    <a:cubicBezTo>
                      <a:pt x="1256" y="1436"/>
                      <a:pt x="1262" y="1438"/>
                      <a:pt x="1268" y="1438"/>
                    </a:cubicBezTo>
                    <a:cubicBezTo>
                      <a:pt x="1268" y="1438"/>
                      <a:pt x="1268" y="1438"/>
                      <a:pt x="1268" y="1438"/>
                    </a:cubicBezTo>
                    <a:cubicBezTo>
                      <a:pt x="1268" y="1438"/>
                      <a:pt x="1269" y="1438"/>
                      <a:pt x="1269" y="1438"/>
                    </a:cubicBezTo>
                    <a:cubicBezTo>
                      <a:pt x="1277" y="1438"/>
                      <a:pt x="1284" y="1433"/>
                      <a:pt x="1288" y="1427"/>
                    </a:cubicBezTo>
                    <a:cubicBezTo>
                      <a:pt x="1382" y="1335"/>
                      <a:pt x="1382" y="1335"/>
                      <a:pt x="1382" y="1335"/>
                    </a:cubicBezTo>
                    <a:cubicBezTo>
                      <a:pt x="1391" y="1327"/>
                      <a:pt x="1391" y="1313"/>
                      <a:pt x="1383" y="130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7">
                <a:extLst>
                  <a:ext uri="{FF2B5EF4-FFF2-40B4-BE49-F238E27FC236}">
                    <a16:creationId xmlns:a16="http://schemas.microsoft.com/office/drawing/2014/main" id="{6B8AE4E4-9646-49AB-AFD2-4CB528364E93}"/>
                  </a:ext>
                </a:extLst>
              </p:cNvPr>
              <p:cNvSpPr>
                <a:spLocks noEditPoints="1"/>
              </p:cNvSpPr>
              <p:nvPr/>
            </p:nvSpPr>
            <p:spPr bwMode="auto">
              <a:xfrm>
                <a:off x="2317" y="2081"/>
                <a:ext cx="3125" cy="1986"/>
              </a:xfrm>
              <a:custGeom>
                <a:avLst/>
                <a:gdLst>
                  <a:gd name="T0" fmla="*/ 554 w 1668"/>
                  <a:gd name="T1" fmla="*/ 259 h 1059"/>
                  <a:gd name="T2" fmla="*/ 1072 w 1668"/>
                  <a:gd name="T3" fmla="*/ 259 h 1059"/>
                  <a:gd name="T4" fmla="*/ 956 w 1668"/>
                  <a:gd name="T5" fmla="*/ 273 h 1059"/>
                  <a:gd name="T6" fmla="*/ 927 w 1668"/>
                  <a:gd name="T7" fmla="*/ 331 h 1059"/>
                  <a:gd name="T8" fmla="*/ 917 w 1668"/>
                  <a:gd name="T9" fmla="*/ 367 h 1059"/>
                  <a:gd name="T10" fmla="*/ 856 w 1668"/>
                  <a:gd name="T11" fmla="*/ 423 h 1059"/>
                  <a:gd name="T12" fmla="*/ 848 w 1668"/>
                  <a:gd name="T13" fmla="*/ 431 h 1059"/>
                  <a:gd name="T14" fmla="*/ 724 w 1668"/>
                  <a:gd name="T15" fmla="*/ 403 h 1059"/>
                  <a:gd name="T16" fmla="*/ 679 w 1668"/>
                  <a:gd name="T17" fmla="*/ 168 h 1059"/>
                  <a:gd name="T18" fmla="*/ 940 w 1668"/>
                  <a:gd name="T19" fmla="*/ 107 h 1059"/>
                  <a:gd name="T20" fmla="*/ 918 w 1668"/>
                  <a:gd name="T21" fmla="*/ 152 h 1059"/>
                  <a:gd name="T22" fmla="*/ 919 w 1668"/>
                  <a:gd name="T23" fmla="*/ 186 h 1059"/>
                  <a:gd name="T24" fmla="*/ 927 w 1668"/>
                  <a:gd name="T25" fmla="*/ 218 h 1059"/>
                  <a:gd name="T26" fmla="*/ 942 w 1668"/>
                  <a:gd name="T27" fmla="*/ 246 h 1059"/>
                  <a:gd name="T28" fmla="*/ 1409 w 1668"/>
                  <a:gd name="T29" fmla="*/ 542 h 1059"/>
                  <a:gd name="T30" fmla="*/ 1409 w 1668"/>
                  <a:gd name="T31" fmla="*/ 1059 h 1059"/>
                  <a:gd name="T32" fmla="*/ 1409 w 1668"/>
                  <a:gd name="T33" fmla="*/ 542 h 1059"/>
                  <a:gd name="T34" fmla="*/ 1498 w 1668"/>
                  <a:gd name="T35" fmla="*/ 944 h 1059"/>
                  <a:gd name="T36" fmla="*/ 1374 w 1668"/>
                  <a:gd name="T37" fmla="*/ 972 h 1059"/>
                  <a:gd name="T38" fmla="*/ 1366 w 1668"/>
                  <a:gd name="T39" fmla="*/ 965 h 1059"/>
                  <a:gd name="T40" fmla="*/ 1305 w 1668"/>
                  <a:gd name="T41" fmla="*/ 909 h 1059"/>
                  <a:gd name="T42" fmla="*/ 1295 w 1668"/>
                  <a:gd name="T43" fmla="*/ 873 h 1059"/>
                  <a:gd name="T44" fmla="*/ 1266 w 1668"/>
                  <a:gd name="T45" fmla="*/ 815 h 1059"/>
                  <a:gd name="T46" fmla="*/ 1282 w 1668"/>
                  <a:gd name="T47" fmla="*/ 785 h 1059"/>
                  <a:gd name="T48" fmla="*/ 1298 w 1668"/>
                  <a:gd name="T49" fmla="*/ 747 h 1059"/>
                  <a:gd name="T50" fmla="*/ 1307 w 1668"/>
                  <a:gd name="T51" fmla="*/ 692 h 1059"/>
                  <a:gd name="T52" fmla="*/ 1303 w 1668"/>
                  <a:gd name="T53" fmla="*/ 692 h 1059"/>
                  <a:gd name="T54" fmla="*/ 1417 w 1668"/>
                  <a:gd name="T55" fmla="*/ 629 h 1059"/>
                  <a:gd name="T56" fmla="*/ 1498 w 1668"/>
                  <a:gd name="T57" fmla="*/ 868 h 1059"/>
                  <a:gd name="T58" fmla="*/ 0 w 1668"/>
                  <a:gd name="T59" fmla="*/ 721 h 1059"/>
                  <a:gd name="T60" fmla="*/ 518 w 1668"/>
                  <a:gd name="T61" fmla="*/ 721 h 1059"/>
                  <a:gd name="T62" fmla="*/ 406 w 1668"/>
                  <a:gd name="T63" fmla="*/ 737 h 1059"/>
                  <a:gd name="T64" fmla="*/ 376 w 1668"/>
                  <a:gd name="T65" fmla="*/ 775 h 1059"/>
                  <a:gd name="T66" fmla="*/ 327 w 1668"/>
                  <a:gd name="T67" fmla="*/ 826 h 1059"/>
                  <a:gd name="T68" fmla="*/ 304 w 1668"/>
                  <a:gd name="T69" fmla="*/ 882 h 1059"/>
                  <a:gd name="T70" fmla="*/ 289 w 1668"/>
                  <a:gd name="T71" fmla="*/ 890 h 1059"/>
                  <a:gd name="T72" fmla="*/ 202 w 1668"/>
                  <a:gd name="T73" fmla="*/ 863 h 1059"/>
                  <a:gd name="T74" fmla="*/ 132 w 1668"/>
                  <a:gd name="T75" fmla="*/ 627 h 1059"/>
                  <a:gd name="T76" fmla="*/ 371 w 1668"/>
                  <a:gd name="T77" fmla="*/ 606 h 1059"/>
                  <a:gd name="T78" fmla="*/ 377 w 1668"/>
                  <a:gd name="T79" fmla="*/ 654 h 1059"/>
                  <a:gd name="T80" fmla="*/ 394 w 1668"/>
                  <a:gd name="T81" fmla="*/ 70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8" h="1059">
                    <a:moveTo>
                      <a:pt x="813" y="0"/>
                    </a:moveTo>
                    <a:cubicBezTo>
                      <a:pt x="670" y="0"/>
                      <a:pt x="554" y="116"/>
                      <a:pt x="554" y="259"/>
                    </a:cubicBezTo>
                    <a:cubicBezTo>
                      <a:pt x="554" y="402"/>
                      <a:pt x="670" y="518"/>
                      <a:pt x="813" y="518"/>
                    </a:cubicBezTo>
                    <a:cubicBezTo>
                      <a:pt x="956" y="518"/>
                      <a:pt x="1072" y="402"/>
                      <a:pt x="1072" y="259"/>
                    </a:cubicBezTo>
                    <a:cubicBezTo>
                      <a:pt x="1072" y="116"/>
                      <a:pt x="956" y="0"/>
                      <a:pt x="813" y="0"/>
                    </a:cubicBezTo>
                    <a:close/>
                    <a:moveTo>
                      <a:pt x="956" y="273"/>
                    </a:moveTo>
                    <a:cubicBezTo>
                      <a:pt x="955" y="277"/>
                      <a:pt x="949" y="290"/>
                      <a:pt x="925" y="290"/>
                    </a:cubicBezTo>
                    <a:cubicBezTo>
                      <a:pt x="927" y="301"/>
                      <a:pt x="928" y="319"/>
                      <a:pt x="927" y="331"/>
                    </a:cubicBezTo>
                    <a:cubicBezTo>
                      <a:pt x="927" y="334"/>
                      <a:pt x="927" y="334"/>
                      <a:pt x="927" y="334"/>
                    </a:cubicBezTo>
                    <a:cubicBezTo>
                      <a:pt x="926" y="353"/>
                      <a:pt x="925" y="363"/>
                      <a:pt x="917" y="367"/>
                    </a:cubicBezTo>
                    <a:cubicBezTo>
                      <a:pt x="910" y="371"/>
                      <a:pt x="887" y="374"/>
                      <a:pt x="856" y="371"/>
                    </a:cubicBezTo>
                    <a:cubicBezTo>
                      <a:pt x="856" y="423"/>
                      <a:pt x="856" y="423"/>
                      <a:pt x="856" y="423"/>
                    </a:cubicBezTo>
                    <a:cubicBezTo>
                      <a:pt x="856" y="427"/>
                      <a:pt x="853" y="431"/>
                      <a:pt x="848" y="431"/>
                    </a:cubicBezTo>
                    <a:cubicBezTo>
                      <a:pt x="848" y="431"/>
                      <a:pt x="848" y="431"/>
                      <a:pt x="848" y="431"/>
                    </a:cubicBezTo>
                    <a:cubicBezTo>
                      <a:pt x="843" y="431"/>
                      <a:pt x="779" y="430"/>
                      <a:pt x="729" y="410"/>
                    </a:cubicBezTo>
                    <a:cubicBezTo>
                      <a:pt x="726" y="409"/>
                      <a:pt x="724" y="406"/>
                      <a:pt x="724" y="403"/>
                    </a:cubicBezTo>
                    <a:cubicBezTo>
                      <a:pt x="724" y="327"/>
                      <a:pt x="724" y="327"/>
                      <a:pt x="724" y="327"/>
                    </a:cubicBezTo>
                    <a:cubicBezTo>
                      <a:pt x="699" y="300"/>
                      <a:pt x="648" y="234"/>
                      <a:pt x="679" y="168"/>
                    </a:cubicBezTo>
                    <a:cubicBezTo>
                      <a:pt x="697" y="131"/>
                      <a:pt x="733" y="87"/>
                      <a:pt x="805" y="87"/>
                    </a:cubicBezTo>
                    <a:cubicBezTo>
                      <a:pt x="887" y="87"/>
                      <a:pt x="863" y="108"/>
                      <a:pt x="940" y="107"/>
                    </a:cubicBezTo>
                    <a:cubicBezTo>
                      <a:pt x="948" y="107"/>
                      <a:pt x="923" y="134"/>
                      <a:pt x="919" y="151"/>
                    </a:cubicBezTo>
                    <a:cubicBezTo>
                      <a:pt x="919" y="151"/>
                      <a:pt x="919" y="152"/>
                      <a:pt x="918" y="152"/>
                    </a:cubicBezTo>
                    <a:cubicBezTo>
                      <a:pt x="918" y="152"/>
                      <a:pt x="916" y="151"/>
                      <a:pt x="914" y="151"/>
                    </a:cubicBezTo>
                    <a:cubicBezTo>
                      <a:pt x="915" y="161"/>
                      <a:pt x="917" y="180"/>
                      <a:pt x="919" y="186"/>
                    </a:cubicBezTo>
                    <a:cubicBezTo>
                      <a:pt x="921" y="192"/>
                      <a:pt x="922" y="199"/>
                      <a:pt x="924" y="205"/>
                    </a:cubicBezTo>
                    <a:cubicBezTo>
                      <a:pt x="925" y="210"/>
                      <a:pt x="926" y="215"/>
                      <a:pt x="927" y="218"/>
                    </a:cubicBezTo>
                    <a:cubicBezTo>
                      <a:pt x="931" y="230"/>
                      <a:pt x="935" y="239"/>
                      <a:pt x="939" y="243"/>
                    </a:cubicBezTo>
                    <a:cubicBezTo>
                      <a:pt x="940" y="244"/>
                      <a:pt x="941" y="245"/>
                      <a:pt x="942" y="246"/>
                    </a:cubicBezTo>
                    <a:cubicBezTo>
                      <a:pt x="951" y="256"/>
                      <a:pt x="959" y="265"/>
                      <a:pt x="956" y="273"/>
                    </a:cubicBezTo>
                    <a:close/>
                    <a:moveTo>
                      <a:pt x="1409" y="542"/>
                    </a:moveTo>
                    <a:cubicBezTo>
                      <a:pt x="1266" y="542"/>
                      <a:pt x="1150" y="658"/>
                      <a:pt x="1150" y="800"/>
                    </a:cubicBezTo>
                    <a:cubicBezTo>
                      <a:pt x="1150" y="943"/>
                      <a:pt x="1266" y="1059"/>
                      <a:pt x="1409" y="1059"/>
                    </a:cubicBezTo>
                    <a:cubicBezTo>
                      <a:pt x="1552" y="1059"/>
                      <a:pt x="1668" y="943"/>
                      <a:pt x="1668" y="800"/>
                    </a:cubicBezTo>
                    <a:cubicBezTo>
                      <a:pt x="1668" y="658"/>
                      <a:pt x="1552" y="542"/>
                      <a:pt x="1409" y="542"/>
                    </a:cubicBezTo>
                    <a:close/>
                    <a:moveTo>
                      <a:pt x="1498" y="868"/>
                    </a:moveTo>
                    <a:cubicBezTo>
                      <a:pt x="1498" y="944"/>
                      <a:pt x="1498" y="944"/>
                      <a:pt x="1498" y="944"/>
                    </a:cubicBezTo>
                    <a:cubicBezTo>
                      <a:pt x="1498" y="947"/>
                      <a:pt x="1496" y="950"/>
                      <a:pt x="1493" y="951"/>
                    </a:cubicBezTo>
                    <a:cubicBezTo>
                      <a:pt x="1443" y="972"/>
                      <a:pt x="1379" y="972"/>
                      <a:pt x="1374" y="972"/>
                    </a:cubicBezTo>
                    <a:cubicBezTo>
                      <a:pt x="1373" y="972"/>
                      <a:pt x="1373" y="972"/>
                      <a:pt x="1373" y="972"/>
                    </a:cubicBezTo>
                    <a:cubicBezTo>
                      <a:pt x="1369" y="972"/>
                      <a:pt x="1366" y="969"/>
                      <a:pt x="1366" y="965"/>
                    </a:cubicBezTo>
                    <a:cubicBezTo>
                      <a:pt x="1366" y="912"/>
                      <a:pt x="1366" y="912"/>
                      <a:pt x="1366" y="912"/>
                    </a:cubicBezTo>
                    <a:cubicBezTo>
                      <a:pt x="1335" y="916"/>
                      <a:pt x="1311" y="912"/>
                      <a:pt x="1305" y="909"/>
                    </a:cubicBezTo>
                    <a:cubicBezTo>
                      <a:pt x="1297" y="905"/>
                      <a:pt x="1296" y="894"/>
                      <a:pt x="1295" y="875"/>
                    </a:cubicBezTo>
                    <a:cubicBezTo>
                      <a:pt x="1295" y="873"/>
                      <a:pt x="1295" y="873"/>
                      <a:pt x="1295" y="873"/>
                    </a:cubicBezTo>
                    <a:cubicBezTo>
                      <a:pt x="1294" y="861"/>
                      <a:pt x="1295" y="842"/>
                      <a:pt x="1296" y="832"/>
                    </a:cubicBezTo>
                    <a:cubicBezTo>
                      <a:pt x="1273" y="831"/>
                      <a:pt x="1267" y="819"/>
                      <a:pt x="1266" y="815"/>
                    </a:cubicBezTo>
                    <a:cubicBezTo>
                      <a:pt x="1263" y="806"/>
                      <a:pt x="1271" y="797"/>
                      <a:pt x="1280" y="788"/>
                    </a:cubicBezTo>
                    <a:cubicBezTo>
                      <a:pt x="1281" y="787"/>
                      <a:pt x="1282" y="786"/>
                      <a:pt x="1282" y="785"/>
                    </a:cubicBezTo>
                    <a:cubicBezTo>
                      <a:pt x="1286" y="780"/>
                      <a:pt x="1291" y="771"/>
                      <a:pt x="1295" y="760"/>
                    </a:cubicBezTo>
                    <a:cubicBezTo>
                      <a:pt x="1296" y="757"/>
                      <a:pt x="1297" y="752"/>
                      <a:pt x="1298" y="747"/>
                    </a:cubicBezTo>
                    <a:cubicBezTo>
                      <a:pt x="1300" y="740"/>
                      <a:pt x="1301" y="733"/>
                      <a:pt x="1303" y="728"/>
                    </a:cubicBezTo>
                    <a:cubicBezTo>
                      <a:pt x="1305" y="721"/>
                      <a:pt x="1307" y="702"/>
                      <a:pt x="1307" y="692"/>
                    </a:cubicBezTo>
                    <a:cubicBezTo>
                      <a:pt x="1306" y="692"/>
                      <a:pt x="1304" y="693"/>
                      <a:pt x="1303" y="693"/>
                    </a:cubicBezTo>
                    <a:cubicBezTo>
                      <a:pt x="1303" y="693"/>
                      <a:pt x="1303" y="693"/>
                      <a:pt x="1303" y="692"/>
                    </a:cubicBezTo>
                    <a:cubicBezTo>
                      <a:pt x="1299" y="675"/>
                      <a:pt x="1274" y="648"/>
                      <a:pt x="1282" y="648"/>
                    </a:cubicBezTo>
                    <a:cubicBezTo>
                      <a:pt x="1358" y="650"/>
                      <a:pt x="1334" y="629"/>
                      <a:pt x="1417" y="629"/>
                    </a:cubicBezTo>
                    <a:cubicBezTo>
                      <a:pt x="1489" y="629"/>
                      <a:pt x="1525" y="672"/>
                      <a:pt x="1543" y="709"/>
                    </a:cubicBezTo>
                    <a:cubicBezTo>
                      <a:pt x="1574" y="776"/>
                      <a:pt x="1523" y="842"/>
                      <a:pt x="1498" y="868"/>
                    </a:cubicBezTo>
                    <a:close/>
                    <a:moveTo>
                      <a:pt x="259" y="462"/>
                    </a:moveTo>
                    <a:cubicBezTo>
                      <a:pt x="116" y="462"/>
                      <a:pt x="0" y="578"/>
                      <a:pt x="0" y="721"/>
                    </a:cubicBezTo>
                    <a:cubicBezTo>
                      <a:pt x="0" y="864"/>
                      <a:pt x="116" y="980"/>
                      <a:pt x="259" y="980"/>
                    </a:cubicBezTo>
                    <a:cubicBezTo>
                      <a:pt x="402" y="980"/>
                      <a:pt x="518" y="864"/>
                      <a:pt x="518" y="721"/>
                    </a:cubicBezTo>
                    <a:cubicBezTo>
                      <a:pt x="518" y="578"/>
                      <a:pt x="402" y="462"/>
                      <a:pt x="259" y="462"/>
                    </a:cubicBezTo>
                    <a:close/>
                    <a:moveTo>
                      <a:pt x="406" y="737"/>
                    </a:moveTo>
                    <a:cubicBezTo>
                      <a:pt x="404" y="743"/>
                      <a:pt x="394" y="752"/>
                      <a:pt x="375" y="752"/>
                    </a:cubicBezTo>
                    <a:cubicBezTo>
                      <a:pt x="376" y="758"/>
                      <a:pt x="376" y="767"/>
                      <a:pt x="376" y="775"/>
                    </a:cubicBezTo>
                    <a:cubicBezTo>
                      <a:pt x="376" y="806"/>
                      <a:pt x="372" y="815"/>
                      <a:pt x="368" y="818"/>
                    </a:cubicBezTo>
                    <a:cubicBezTo>
                      <a:pt x="365" y="822"/>
                      <a:pt x="357" y="827"/>
                      <a:pt x="327" y="826"/>
                    </a:cubicBezTo>
                    <a:cubicBezTo>
                      <a:pt x="322" y="826"/>
                      <a:pt x="312" y="826"/>
                      <a:pt x="304" y="825"/>
                    </a:cubicBezTo>
                    <a:cubicBezTo>
                      <a:pt x="304" y="882"/>
                      <a:pt x="304" y="882"/>
                      <a:pt x="304" y="882"/>
                    </a:cubicBezTo>
                    <a:cubicBezTo>
                      <a:pt x="304" y="886"/>
                      <a:pt x="301" y="889"/>
                      <a:pt x="297" y="889"/>
                    </a:cubicBezTo>
                    <a:cubicBezTo>
                      <a:pt x="297" y="889"/>
                      <a:pt x="294" y="890"/>
                      <a:pt x="289" y="890"/>
                    </a:cubicBezTo>
                    <a:cubicBezTo>
                      <a:pt x="273" y="890"/>
                      <a:pt x="236" y="887"/>
                      <a:pt x="206" y="869"/>
                    </a:cubicBezTo>
                    <a:cubicBezTo>
                      <a:pt x="204" y="868"/>
                      <a:pt x="202" y="866"/>
                      <a:pt x="202" y="863"/>
                    </a:cubicBezTo>
                    <a:cubicBezTo>
                      <a:pt x="200" y="826"/>
                      <a:pt x="200" y="826"/>
                      <a:pt x="200" y="826"/>
                    </a:cubicBezTo>
                    <a:cubicBezTo>
                      <a:pt x="151" y="806"/>
                      <a:pt x="73" y="749"/>
                      <a:pt x="132" y="627"/>
                    </a:cubicBezTo>
                    <a:cubicBezTo>
                      <a:pt x="150" y="591"/>
                      <a:pt x="192" y="553"/>
                      <a:pt x="262" y="553"/>
                    </a:cubicBezTo>
                    <a:cubicBezTo>
                      <a:pt x="342" y="553"/>
                      <a:pt x="375" y="590"/>
                      <a:pt x="371" y="606"/>
                    </a:cubicBezTo>
                    <a:cubicBezTo>
                      <a:pt x="370" y="609"/>
                      <a:pt x="368" y="612"/>
                      <a:pt x="366" y="615"/>
                    </a:cubicBezTo>
                    <a:cubicBezTo>
                      <a:pt x="370" y="620"/>
                      <a:pt x="379" y="633"/>
                      <a:pt x="377" y="654"/>
                    </a:cubicBezTo>
                    <a:cubicBezTo>
                      <a:pt x="377" y="664"/>
                      <a:pt x="378" y="683"/>
                      <a:pt x="379" y="686"/>
                    </a:cubicBezTo>
                    <a:cubicBezTo>
                      <a:pt x="382" y="693"/>
                      <a:pt x="388" y="703"/>
                      <a:pt x="394" y="709"/>
                    </a:cubicBezTo>
                    <a:cubicBezTo>
                      <a:pt x="400" y="715"/>
                      <a:pt x="410" y="729"/>
                      <a:pt x="406" y="7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5" name="ee4pHeader6"/>
            <p:cNvSpPr txBox="1"/>
            <p:nvPr/>
          </p:nvSpPr>
          <p:spPr>
            <a:xfrm>
              <a:off x="9982200" y="3993895"/>
              <a:ext cx="1580399" cy="759600"/>
            </a:xfrm>
            <a:prstGeom prst="rect">
              <a:avLst/>
            </a:prstGeom>
            <a:noFill/>
            <a:ln cap="rnd">
              <a:noFill/>
            </a:ln>
          </p:spPr>
          <p:txBody>
            <a:bodyPr wrap="square" lIns="0" tIns="0" rIns="0" bIns="0" rtlCol="0" anchor="t" anchorCtr="0">
              <a:noAutofit/>
            </a:bodyPr>
            <a:lstStyle/>
            <a:p>
              <a:pPr marL="0" lvl="3" algn="ctr"/>
              <a:r>
                <a:rPr lang="en-US" sz="2000" dirty="0">
                  <a:solidFill>
                    <a:schemeClr val="tx2"/>
                  </a:solidFill>
                </a:rPr>
                <a:t>People</a:t>
              </a:r>
            </a:p>
          </p:txBody>
        </p:sp>
        <p:grpSp>
          <p:nvGrpSpPr>
            <p:cNvPr id="79" name="bcgIcons_PublicSector">
              <a:extLst>
                <a:ext uri="{FF2B5EF4-FFF2-40B4-BE49-F238E27FC236}">
                  <a16:creationId xmlns:a16="http://schemas.microsoft.com/office/drawing/2014/main" id="{DCC15F7D-CDC2-4E1F-A0B5-9B1EF884CF51}"/>
                </a:ext>
              </a:extLst>
            </p:cNvPr>
            <p:cNvGrpSpPr>
              <a:grpSpLocks noChangeAspect="1"/>
            </p:cNvGrpSpPr>
            <p:nvPr/>
          </p:nvGrpSpPr>
          <p:grpSpPr bwMode="auto">
            <a:xfrm>
              <a:off x="9950201" y="2289516"/>
              <a:ext cx="1644396" cy="1645920"/>
              <a:chOff x="1682" y="0"/>
              <a:chExt cx="4316" cy="4320"/>
            </a:xfrm>
          </p:grpSpPr>
          <p:sp>
            <p:nvSpPr>
              <p:cNvPr id="80" name="AutoShape 18">
                <a:extLst>
                  <a:ext uri="{FF2B5EF4-FFF2-40B4-BE49-F238E27FC236}">
                    <a16:creationId xmlns:a16="http://schemas.microsoft.com/office/drawing/2014/main" id="{575286B9-FCC8-4EFB-9834-BD5493C559C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20">
                <a:extLst>
                  <a:ext uri="{FF2B5EF4-FFF2-40B4-BE49-F238E27FC236}">
                    <a16:creationId xmlns:a16="http://schemas.microsoft.com/office/drawing/2014/main" id="{CEF9E0BC-00B7-4B29-B377-3473BD5B2EB2}"/>
                  </a:ext>
                </a:extLst>
              </p:cNvPr>
              <p:cNvSpPr>
                <a:spLocks noEditPoints="1"/>
              </p:cNvSpPr>
              <p:nvPr/>
            </p:nvSpPr>
            <p:spPr bwMode="auto">
              <a:xfrm>
                <a:off x="1847" y="431"/>
                <a:ext cx="3979" cy="344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21">
                <a:extLst>
                  <a:ext uri="{FF2B5EF4-FFF2-40B4-BE49-F238E27FC236}">
                    <a16:creationId xmlns:a16="http://schemas.microsoft.com/office/drawing/2014/main" id="{9A32768F-1F7B-41E4-AD1E-05F5E20985B3}"/>
                  </a:ext>
                </a:extLst>
              </p:cNvPr>
              <p:cNvSpPr>
                <a:spLocks noEditPoints="1"/>
              </p:cNvSpPr>
              <p:nvPr/>
            </p:nvSpPr>
            <p:spPr bwMode="auto">
              <a:xfrm>
                <a:off x="2383" y="1568"/>
                <a:ext cx="3019" cy="151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4" name="ee4pHeader5"/>
            <p:cNvSpPr txBox="1"/>
            <p:nvPr/>
          </p:nvSpPr>
          <p:spPr>
            <a:xfrm>
              <a:off x="8111762" y="3993895"/>
              <a:ext cx="1580399" cy="759600"/>
            </a:xfrm>
            <a:prstGeom prst="rect">
              <a:avLst/>
            </a:prstGeom>
            <a:noFill/>
            <a:ln cap="rnd">
              <a:noFill/>
            </a:ln>
          </p:spPr>
          <p:txBody>
            <a:bodyPr wrap="square" lIns="0" tIns="0" rIns="0" bIns="0" rtlCol="0" anchor="t" anchorCtr="0">
              <a:noAutofit/>
            </a:bodyPr>
            <a:lstStyle/>
            <a:p>
              <a:pPr marL="0" lvl="3" algn="ctr"/>
              <a:r>
                <a:rPr lang="en-US" sz="2000" dirty="0">
                  <a:solidFill>
                    <a:schemeClr val="tx2"/>
                  </a:solidFill>
                </a:rPr>
                <a:t>Corporate excellence</a:t>
              </a:r>
            </a:p>
          </p:txBody>
        </p:sp>
        <p:grpSp>
          <p:nvGrpSpPr>
            <p:cNvPr id="83" name="bcgIcons_BestInClassRibbon">
              <a:extLst>
                <a:ext uri="{FF2B5EF4-FFF2-40B4-BE49-F238E27FC236}">
                  <a16:creationId xmlns:a16="http://schemas.microsoft.com/office/drawing/2014/main" id="{74906F02-3947-49AE-81A6-BF5363B4C334}"/>
                </a:ext>
              </a:extLst>
            </p:cNvPr>
            <p:cNvGrpSpPr>
              <a:grpSpLocks noChangeAspect="1"/>
            </p:cNvGrpSpPr>
            <p:nvPr/>
          </p:nvGrpSpPr>
          <p:grpSpPr bwMode="auto">
            <a:xfrm>
              <a:off x="8079763" y="2289516"/>
              <a:ext cx="1644396" cy="1645920"/>
              <a:chOff x="1682" y="0"/>
              <a:chExt cx="4316" cy="4320"/>
            </a:xfrm>
          </p:grpSpPr>
          <p:sp>
            <p:nvSpPr>
              <p:cNvPr id="84" name="AutoShape 3">
                <a:extLst>
                  <a:ext uri="{FF2B5EF4-FFF2-40B4-BE49-F238E27FC236}">
                    <a16:creationId xmlns:a16="http://schemas.microsoft.com/office/drawing/2014/main" id="{A8A9996A-973F-4073-9BEA-40B7896C2E9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5">
                <a:extLst>
                  <a:ext uri="{FF2B5EF4-FFF2-40B4-BE49-F238E27FC236}">
                    <a16:creationId xmlns:a16="http://schemas.microsoft.com/office/drawing/2014/main" id="{62EF9EDF-64C0-45BF-96EF-0F4FD707EDCB}"/>
                  </a:ext>
                </a:extLst>
              </p:cNvPr>
              <p:cNvSpPr>
                <a:spLocks noEditPoints="1"/>
              </p:cNvSpPr>
              <p:nvPr/>
            </p:nvSpPr>
            <p:spPr bwMode="auto">
              <a:xfrm>
                <a:off x="2980" y="649"/>
                <a:ext cx="1716" cy="1674"/>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6">
                <a:extLst>
                  <a:ext uri="{FF2B5EF4-FFF2-40B4-BE49-F238E27FC236}">
                    <a16:creationId xmlns:a16="http://schemas.microsoft.com/office/drawing/2014/main" id="{C7E39B2D-E859-47DF-A497-A839EAF35F09}"/>
                  </a:ext>
                </a:extLst>
              </p:cNvPr>
              <p:cNvSpPr>
                <a:spLocks noEditPoints="1"/>
              </p:cNvSpPr>
              <p:nvPr/>
            </p:nvSpPr>
            <p:spPr bwMode="auto">
              <a:xfrm>
                <a:off x="2737" y="412"/>
                <a:ext cx="2203" cy="3486"/>
              </a:xfrm>
              <a:custGeom>
                <a:avLst/>
                <a:gdLst>
                  <a:gd name="T0" fmla="*/ 844 w 1176"/>
                  <a:gd name="T1" fmla="*/ 1847 h 1859"/>
                  <a:gd name="T2" fmla="*/ 588 w 1176"/>
                  <a:gd name="T3" fmla="*/ 1660 h 1859"/>
                  <a:gd name="T4" fmla="*/ 332 w 1176"/>
                  <a:gd name="T5" fmla="*/ 1847 h 1859"/>
                  <a:gd name="T6" fmla="*/ 433 w 1176"/>
                  <a:gd name="T7" fmla="*/ 1019 h 1859"/>
                  <a:gd name="T8" fmla="*/ 585 w 1176"/>
                  <a:gd name="T9" fmla="*/ 1185 h 1859"/>
                  <a:gd name="T10" fmla="*/ 638 w 1176"/>
                  <a:gd name="T11" fmla="*/ 1159 h 1859"/>
                  <a:gd name="T12" fmla="*/ 844 w 1176"/>
                  <a:gd name="T13" fmla="*/ 1053 h 1859"/>
                  <a:gd name="T14" fmla="*/ 726 w 1176"/>
                  <a:gd name="T15" fmla="*/ 970 h 1859"/>
                  <a:gd name="T16" fmla="*/ 950 w 1176"/>
                  <a:gd name="T17" fmla="*/ 1036 h 1859"/>
                  <a:gd name="T18" fmla="*/ 951 w 1176"/>
                  <a:gd name="T19" fmla="*/ 820 h 1859"/>
                  <a:gd name="T20" fmla="*/ 1174 w 1176"/>
                  <a:gd name="T21" fmla="*/ 749 h 1859"/>
                  <a:gd name="T22" fmla="*/ 1037 w 1176"/>
                  <a:gd name="T23" fmla="*/ 574 h 1859"/>
                  <a:gd name="T24" fmla="*/ 1174 w 1176"/>
                  <a:gd name="T25" fmla="*/ 395 h 1859"/>
                  <a:gd name="T26" fmla="*/ 951 w 1176"/>
                  <a:gd name="T27" fmla="*/ 327 h 1859"/>
                  <a:gd name="T28" fmla="*/ 950 w 1176"/>
                  <a:gd name="T29" fmla="*/ 110 h 1859"/>
                  <a:gd name="T30" fmla="*/ 726 w 1176"/>
                  <a:gd name="T31" fmla="*/ 175 h 1859"/>
                  <a:gd name="T32" fmla="*/ 585 w 1176"/>
                  <a:gd name="T33" fmla="*/ 0 h 1859"/>
                  <a:gd name="T34" fmla="*/ 568 w 1176"/>
                  <a:gd name="T35" fmla="*/ 9 h 1859"/>
                  <a:gd name="T36" fmla="*/ 245 w 1176"/>
                  <a:gd name="T37" fmla="*/ 106 h 1859"/>
                  <a:gd name="T38" fmla="*/ 216 w 1176"/>
                  <a:gd name="T39" fmla="*/ 128 h 1859"/>
                  <a:gd name="T40" fmla="*/ 17 w 1176"/>
                  <a:gd name="T41" fmla="*/ 380 h 1859"/>
                  <a:gd name="T42" fmla="*/ 6 w 1176"/>
                  <a:gd name="T43" fmla="*/ 415 h 1859"/>
                  <a:gd name="T44" fmla="*/ 6 w 1176"/>
                  <a:gd name="T45" fmla="*/ 728 h 1859"/>
                  <a:gd name="T46" fmla="*/ 17 w 1176"/>
                  <a:gd name="T47" fmla="*/ 763 h 1859"/>
                  <a:gd name="T48" fmla="*/ 216 w 1176"/>
                  <a:gd name="T49" fmla="*/ 1018 h 1859"/>
                  <a:gd name="T50" fmla="*/ 245 w 1176"/>
                  <a:gd name="T51" fmla="*/ 1039 h 1859"/>
                  <a:gd name="T52" fmla="*/ 568 w 1176"/>
                  <a:gd name="T53" fmla="*/ 1137 h 1859"/>
                  <a:gd name="T54" fmla="*/ 585 w 1176"/>
                  <a:gd name="T55" fmla="*/ 1146 h 1859"/>
                  <a:gd name="T56" fmla="*/ 449 w 1176"/>
                  <a:gd name="T57" fmla="*/ 924 h 1859"/>
                  <a:gd name="T58" fmla="*/ 266 w 1176"/>
                  <a:gd name="T59" fmla="*/ 804 h 1859"/>
                  <a:gd name="T60" fmla="*/ 62 w 1176"/>
                  <a:gd name="T61" fmla="*/ 730 h 1859"/>
                  <a:gd name="T62" fmla="*/ 182 w 1176"/>
                  <a:gd name="T63" fmla="*/ 560 h 1859"/>
                  <a:gd name="T64" fmla="*/ 250 w 1176"/>
                  <a:gd name="T65" fmla="*/ 365 h 1859"/>
                  <a:gd name="T66" fmla="*/ 261 w 1176"/>
                  <a:gd name="T67" fmla="*/ 158 h 1859"/>
                  <a:gd name="T68" fmla="*/ 474 w 1176"/>
                  <a:gd name="T69" fmla="*/ 214 h 1859"/>
                  <a:gd name="T70" fmla="*/ 700 w 1176"/>
                  <a:gd name="T71" fmla="*/ 214 h 1859"/>
                  <a:gd name="T72" fmla="*/ 914 w 1176"/>
                  <a:gd name="T73" fmla="*/ 158 h 1859"/>
                  <a:gd name="T74" fmla="*/ 923 w 1176"/>
                  <a:gd name="T75" fmla="*/ 365 h 1859"/>
                  <a:gd name="T76" fmla="*/ 992 w 1176"/>
                  <a:gd name="T77" fmla="*/ 560 h 1859"/>
                  <a:gd name="T78" fmla="*/ 1114 w 1176"/>
                  <a:gd name="T79" fmla="*/ 730 h 1859"/>
                  <a:gd name="T80" fmla="*/ 907 w 1176"/>
                  <a:gd name="T81" fmla="*/ 805 h 1859"/>
                  <a:gd name="T82" fmla="*/ 724 w 1176"/>
                  <a:gd name="T83" fmla="*/ 924 h 1859"/>
                  <a:gd name="T84" fmla="*/ 586 w 1176"/>
                  <a:gd name="T85" fmla="*/ 1086 h 1859"/>
                  <a:gd name="T86" fmla="*/ 456 w 1176"/>
                  <a:gd name="T87" fmla="*/ 922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76" h="1859">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0" name="ee4pHeader3"/>
            <p:cNvSpPr txBox="1"/>
            <p:nvPr/>
          </p:nvSpPr>
          <p:spPr>
            <a:xfrm>
              <a:off x="4370881" y="3993895"/>
              <a:ext cx="1580399" cy="759600"/>
            </a:xfrm>
            <a:prstGeom prst="rect">
              <a:avLst/>
            </a:prstGeom>
            <a:noFill/>
            <a:ln cap="rnd">
              <a:noFill/>
            </a:ln>
          </p:spPr>
          <p:txBody>
            <a:bodyPr wrap="square" lIns="0" tIns="0" rIns="0" bIns="0" rtlCol="0" anchor="t" anchorCtr="0">
              <a:noAutofit/>
            </a:bodyPr>
            <a:lstStyle/>
            <a:p>
              <a:pPr marL="0" lvl="3" algn="ctr"/>
              <a:r>
                <a:rPr lang="en-US" sz="2000" dirty="0">
                  <a:solidFill>
                    <a:schemeClr val="tx2"/>
                  </a:solidFill>
                </a:rPr>
                <a:t>Engineering</a:t>
              </a:r>
            </a:p>
          </p:txBody>
        </p:sp>
        <p:grpSp>
          <p:nvGrpSpPr>
            <p:cNvPr id="87" name="bcgIcons_DesignPencilRuler">
              <a:extLst>
                <a:ext uri="{FF2B5EF4-FFF2-40B4-BE49-F238E27FC236}">
                  <a16:creationId xmlns:a16="http://schemas.microsoft.com/office/drawing/2014/main" id="{0CE16797-1216-4F52-B090-DB4F5D91F2EC}"/>
                </a:ext>
              </a:extLst>
            </p:cNvPr>
            <p:cNvGrpSpPr>
              <a:grpSpLocks noChangeAspect="1"/>
            </p:cNvGrpSpPr>
            <p:nvPr/>
          </p:nvGrpSpPr>
          <p:grpSpPr bwMode="auto">
            <a:xfrm>
              <a:off x="4338883" y="2289516"/>
              <a:ext cx="1644396" cy="1645920"/>
              <a:chOff x="1682" y="0"/>
              <a:chExt cx="4316" cy="4320"/>
            </a:xfrm>
          </p:grpSpPr>
          <p:sp>
            <p:nvSpPr>
              <p:cNvPr id="88" name="AutoShape 13">
                <a:extLst>
                  <a:ext uri="{FF2B5EF4-FFF2-40B4-BE49-F238E27FC236}">
                    <a16:creationId xmlns:a16="http://schemas.microsoft.com/office/drawing/2014/main" id="{F3538C5A-8C11-45FA-9075-5BA7728BFE6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15">
                <a:extLst>
                  <a:ext uri="{FF2B5EF4-FFF2-40B4-BE49-F238E27FC236}">
                    <a16:creationId xmlns:a16="http://schemas.microsoft.com/office/drawing/2014/main" id="{B519A64B-E0EA-4E7D-A5DA-79FE837FA453}"/>
                  </a:ext>
                </a:extLst>
              </p:cNvPr>
              <p:cNvSpPr>
                <a:spLocks noEditPoints="1"/>
              </p:cNvSpPr>
              <p:nvPr/>
            </p:nvSpPr>
            <p:spPr bwMode="auto">
              <a:xfrm>
                <a:off x="2371" y="630"/>
                <a:ext cx="2936" cy="2944"/>
              </a:xfrm>
              <a:custGeom>
                <a:avLst/>
                <a:gdLst>
                  <a:gd name="T0" fmla="*/ 1372 w 1567"/>
                  <a:gd name="T1" fmla="*/ 436 h 1570"/>
                  <a:gd name="T2" fmla="*/ 1369 w 1567"/>
                  <a:gd name="T3" fmla="*/ 439 h 1570"/>
                  <a:gd name="T4" fmla="*/ 445 w 1567"/>
                  <a:gd name="T5" fmla="*/ 1363 h 1570"/>
                  <a:gd name="T6" fmla="*/ 439 w 1567"/>
                  <a:gd name="T7" fmla="*/ 1367 h 1570"/>
                  <a:gd name="T8" fmla="*/ 34 w 1567"/>
                  <a:gd name="T9" fmla="*/ 1567 h 1570"/>
                  <a:gd name="T10" fmla="*/ 24 w 1567"/>
                  <a:gd name="T11" fmla="*/ 1570 h 1570"/>
                  <a:gd name="T12" fmla="*/ 8 w 1567"/>
                  <a:gd name="T13" fmla="*/ 1563 h 1570"/>
                  <a:gd name="T14" fmla="*/ 4 w 1567"/>
                  <a:gd name="T15" fmla="*/ 1538 h 1570"/>
                  <a:gd name="T16" fmla="*/ 202 w 1567"/>
                  <a:gd name="T17" fmla="*/ 1130 h 1570"/>
                  <a:gd name="T18" fmla="*/ 206 w 1567"/>
                  <a:gd name="T19" fmla="*/ 1124 h 1570"/>
                  <a:gd name="T20" fmla="*/ 1130 w 1567"/>
                  <a:gd name="T21" fmla="*/ 200 h 1570"/>
                  <a:gd name="T22" fmla="*/ 1133 w 1567"/>
                  <a:gd name="T23" fmla="*/ 197 h 1570"/>
                  <a:gd name="T24" fmla="*/ 1164 w 1567"/>
                  <a:gd name="T25" fmla="*/ 228 h 1570"/>
                  <a:gd name="T26" fmla="*/ 1161 w 1567"/>
                  <a:gd name="T27" fmla="*/ 231 h 1570"/>
                  <a:gd name="T28" fmla="*/ 240 w 1567"/>
                  <a:gd name="T29" fmla="*/ 1152 h 1570"/>
                  <a:gd name="T30" fmla="*/ 118 w 1567"/>
                  <a:gd name="T31" fmla="*/ 1405 h 1570"/>
                  <a:gd name="T32" fmla="*/ 165 w 1567"/>
                  <a:gd name="T33" fmla="*/ 1453 h 1570"/>
                  <a:gd name="T34" fmla="*/ 417 w 1567"/>
                  <a:gd name="T35" fmla="*/ 1329 h 1570"/>
                  <a:gd name="T36" fmla="*/ 1338 w 1567"/>
                  <a:gd name="T37" fmla="*/ 408 h 1570"/>
                  <a:gd name="T38" fmla="*/ 1341 w 1567"/>
                  <a:gd name="T39" fmla="*/ 405 h 1570"/>
                  <a:gd name="T40" fmla="*/ 1372 w 1567"/>
                  <a:gd name="T41" fmla="*/ 436 h 1570"/>
                  <a:gd name="T42" fmla="*/ 1556 w 1567"/>
                  <a:gd name="T43" fmla="*/ 218 h 1570"/>
                  <a:gd name="T44" fmla="*/ 1349 w 1567"/>
                  <a:gd name="T45" fmla="*/ 11 h 1570"/>
                  <a:gd name="T46" fmla="*/ 1310 w 1567"/>
                  <a:gd name="T47" fmla="*/ 11 h 1570"/>
                  <a:gd name="T48" fmla="*/ 1160 w 1567"/>
                  <a:gd name="T49" fmla="*/ 161 h 1570"/>
                  <a:gd name="T50" fmla="*/ 1406 w 1567"/>
                  <a:gd name="T51" fmla="*/ 407 h 1570"/>
                  <a:gd name="T52" fmla="*/ 1556 w 1567"/>
                  <a:gd name="T53" fmla="*/ 257 h 1570"/>
                  <a:gd name="T54" fmla="*/ 1556 w 1567"/>
                  <a:gd name="T55" fmla="*/ 218 h 1570"/>
                  <a:gd name="T56" fmla="*/ 477 w 1567"/>
                  <a:gd name="T57" fmla="*/ 793 h 1570"/>
                  <a:gd name="T58" fmla="*/ 508 w 1567"/>
                  <a:gd name="T59" fmla="*/ 762 h 1570"/>
                  <a:gd name="T60" fmla="*/ 60 w 1567"/>
                  <a:gd name="T61" fmla="*/ 314 h 1570"/>
                  <a:gd name="T62" fmla="*/ 317 w 1567"/>
                  <a:gd name="T63" fmla="*/ 57 h 1570"/>
                  <a:gd name="T64" fmla="*/ 765 w 1567"/>
                  <a:gd name="T65" fmla="*/ 506 h 1570"/>
                  <a:gd name="T66" fmla="*/ 796 w 1567"/>
                  <a:gd name="T67" fmla="*/ 474 h 1570"/>
                  <a:gd name="T68" fmla="*/ 333 w 1567"/>
                  <a:gd name="T69" fmla="*/ 11 h 1570"/>
                  <a:gd name="T70" fmla="*/ 302 w 1567"/>
                  <a:gd name="T71" fmla="*/ 11 h 1570"/>
                  <a:gd name="T72" fmla="*/ 14 w 1567"/>
                  <a:gd name="T73" fmla="*/ 299 h 1570"/>
                  <a:gd name="T74" fmla="*/ 7 w 1567"/>
                  <a:gd name="T75" fmla="*/ 314 h 1570"/>
                  <a:gd name="T76" fmla="*/ 14 w 1567"/>
                  <a:gd name="T77" fmla="*/ 330 h 1570"/>
                  <a:gd name="T78" fmla="*/ 477 w 1567"/>
                  <a:gd name="T79" fmla="*/ 793 h 1570"/>
                  <a:gd name="T80" fmla="*/ 1558 w 1567"/>
                  <a:gd name="T81" fmla="*/ 1237 h 1570"/>
                  <a:gd name="T82" fmla="*/ 1095 w 1567"/>
                  <a:gd name="T83" fmla="*/ 773 h 1570"/>
                  <a:gd name="T84" fmla="*/ 1063 w 1567"/>
                  <a:gd name="T85" fmla="*/ 804 h 1570"/>
                  <a:gd name="T86" fmla="*/ 1512 w 1567"/>
                  <a:gd name="T87" fmla="*/ 1252 h 1570"/>
                  <a:gd name="T88" fmla="*/ 1255 w 1567"/>
                  <a:gd name="T89" fmla="*/ 1509 h 1570"/>
                  <a:gd name="T90" fmla="*/ 807 w 1567"/>
                  <a:gd name="T91" fmla="*/ 1061 h 1570"/>
                  <a:gd name="T92" fmla="*/ 776 w 1567"/>
                  <a:gd name="T93" fmla="*/ 1092 h 1570"/>
                  <a:gd name="T94" fmla="*/ 1239 w 1567"/>
                  <a:gd name="T95" fmla="*/ 1556 h 1570"/>
                  <a:gd name="T96" fmla="*/ 1255 w 1567"/>
                  <a:gd name="T97" fmla="*/ 1562 h 1570"/>
                  <a:gd name="T98" fmla="*/ 1271 w 1567"/>
                  <a:gd name="T99" fmla="*/ 1556 h 1570"/>
                  <a:gd name="T100" fmla="*/ 1558 w 1567"/>
                  <a:gd name="T101" fmla="*/ 1268 h 1570"/>
                  <a:gd name="T102" fmla="*/ 1565 w 1567"/>
                  <a:gd name="T103" fmla="*/ 1252 h 1570"/>
                  <a:gd name="T104" fmla="*/ 1558 w 1567"/>
                  <a:gd name="T105" fmla="*/ 1237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7" h="1570">
                    <a:moveTo>
                      <a:pt x="1372" y="436"/>
                    </a:moveTo>
                    <a:cubicBezTo>
                      <a:pt x="1371" y="437"/>
                      <a:pt x="1370" y="438"/>
                      <a:pt x="1369" y="439"/>
                    </a:cubicBezTo>
                    <a:cubicBezTo>
                      <a:pt x="445" y="1363"/>
                      <a:pt x="445" y="1363"/>
                      <a:pt x="445" y="1363"/>
                    </a:cubicBezTo>
                    <a:cubicBezTo>
                      <a:pt x="444" y="1364"/>
                      <a:pt x="442" y="1366"/>
                      <a:pt x="439" y="1367"/>
                    </a:cubicBezTo>
                    <a:cubicBezTo>
                      <a:pt x="34" y="1567"/>
                      <a:pt x="34" y="1567"/>
                      <a:pt x="34" y="1567"/>
                    </a:cubicBezTo>
                    <a:cubicBezTo>
                      <a:pt x="31" y="1569"/>
                      <a:pt x="27" y="1570"/>
                      <a:pt x="24" y="1570"/>
                    </a:cubicBezTo>
                    <a:cubicBezTo>
                      <a:pt x="18" y="1570"/>
                      <a:pt x="13" y="1567"/>
                      <a:pt x="8" y="1563"/>
                    </a:cubicBezTo>
                    <a:cubicBezTo>
                      <a:pt x="2" y="1557"/>
                      <a:pt x="0" y="1546"/>
                      <a:pt x="4" y="1538"/>
                    </a:cubicBezTo>
                    <a:cubicBezTo>
                      <a:pt x="202" y="1130"/>
                      <a:pt x="202" y="1130"/>
                      <a:pt x="202" y="1130"/>
                    </a:cubicBezTo>
                    <a:cubicBezTo>
                      <a:pt x="203" y="1128"/>
                      <a:pt x="205" y="1126"/>
                      <a:pt x="206" y="1124"/>
                    </a:cubicBezTo>
                    <a:cubicBezTo>
                      <a:pt x="1130" y="200"/>
                      <a:pt x="1130" y="200"/>
                      <a:pt x="1130" y="200"/>
                    </a:cubicBezTo>
                    <a:cubicBezTo>
                      <a:pt x="1131" y="199"/>
                      <a:pt x="1132" y="198"/>
                      <a:pt x="1133" y="197"/>
                    </a:cubicBezTo>
                    <a:cubicBezTo>
                      <a:pt x="1164" y="228"/>
                      <a:pt x="1164" y="228"/>
                      <a:pt x="1164" y="228"/>
                    </a:cubicBezTo>
                    <a:cubicBezTo>
                      <a:pt x="1163" y="229"/>
                      <a:pt x="1162" y="230"/>
                      <a:pt x="1161" y="231"/>
                    </a:cubicBezTo>
                    <a:cubicBezTo>
                      <a:pt x="240" y="1152"/>
                      <a:pt x="240" y="1152"/>
                      <a:pt x="240" y="1152"/>
                    </a:cubicBezTo>
                    <a:cubicBezTo>
                      <a:pt x="118" y="1405"/>
                      <a:pt x="118" y="1405"/>
                      <a:pt x="118" y="1405"/>
                    </a:cubicBezTo>
                    <a:cubicBezTo>
                      <a:pt x="165" y="1453"/>
                      <a:pt x="165" y="1453"/>
                      <a:pt x="165" y="1453"/>
                    </a:cubicBezTo>
                    <a:cubicBezTo>
                      <a:pt x="417" y="1329"/>
                      <a:pt x="417" y="1329"/>
                      <a:pt x="417" y="1329"/>
                    </a:cubicBezTo>
                    <a:cubicBezTo>
                      <a:pt x="1338" y="408"/>
                      <a:pt x="1338" y="408"/>
                      <a:pt x="1338" y="408"/>
                    </a:cubicBezTo>
                    <a:cubicBezTo>
                      <a:pt x="1339" y="407"/>
                      <a:pt x="1340" y="406"/>
                      <a:pt x="1341" y="405"/>
                    </a:cubicBezTo>
                    <a:lnTo>
                      <a:pt x="1372" y="436"/>
                    </a:lnTo>
                    <a:close/>
                    <a:moveTo>
                      <a:pt x="1556" y="218"/>
                    </a:moveTo>
                    <a:cubicBezTo>
                      <a:pt x="1349" y="11"/>
                      <a:pt x="1349" y="11"/>
                      <a:pt x="1349" y="11"/>
                    </a:cubicBezTo>
                    <a:cubicBezTo>
                      <a:pt x="1338" y="0"/>
                      <a:pt x="1321" y="0"/>
                      <a:pt x="1310" y="11"/>
                    </a:cubicBezTo>
                    <a:cubicBezTo>
                      <a:pt x="1160" y="161"/>
                      <a:pt x="1160" y="161"/>
                      <a:pt x="1160" y="161"/>
                    </a:cubicBezTo>
                    <a:cubicBezTo>
                      <a:pt x="1406" y="407"/>
                      <a:pt x="1406" y="407"/>
                      <a:pt x="1406" y="407"/>
                    </a:cubicBezTo>
                    <a:cubicBezTo>
                      <a:pt x="1556" y="257"/>
                      <a:pt x="1556" y="257"/>
                      <a:pt x="1556" y="257"/>
                    </a:cubicBezTo>
                    <a:cubicBezTo>
                      <a:pt x="1567" y="246"/>
                      <a:pt x="1567" y="229"/>
                      <a:pt x="1556" y="218"/>
                    </a:cubicBezTo>
                    <a:close/>
                    <a:moveTo>
                      <a:pt x="477" y="793"/>
                    </a:moveTo>
                    <a:cubicBezTo>
                      <a:pt x="508" y="762"/>
                      <a:pt x="508" y="762"/>
                      <a:pt x="508" y="762"/>
                    </a:cubicBezTo>
                    <a:cubicBezTo>
                      <a:pt x="60" y="314"/>
                      <a:pt x="60" y="314"/>
                      <a:pt x="60" y="314"/>
                    </a:cubicBezTo>
                    <a:cubicBezTo>
                      <a:pt x="317" y="57"/>
                      <a:pt x="317" y="57"/>
                      <a:pt x="317" y="57"/>
                    </a:cubicBezTo>
                    <a:cubicBezTo>
                      <a:pt x="765" y="506"/>
                      <a:pt x="765" y="506"/>
                      <a:pt x="765" y="506"/>
                    </a:cubicBezTo>
                    <a:cubicBezTo>
                      <a:pt x="796" y="474"/>
                      <a:pt x="796" y="474"/>
                      <a:pt x="796" y="474"/>
                    </a:cubicBezTo>
                    <a:cubicBezTo>
                      <a:pt x="333" y="11"/>
                      <a:pt x="333" y="11"/>
                      <a:pt x="333" y="11"/>
                    </a:cubicBezTo>
                    <a:cubicBezTo>
                      <a:pt x="324" y="2"/>
                      <a:pt x="310" y="2"/>
                      <a:pt x="302" y="11"/>
                    </a:cubicBezTo>
                    <a:cubicBezTo>
                      <a:pt x="14" y="299"/>
                      <a:pt x="14" y="299"/>
                      <a:pt x="14" y="299"/>
                    </a:cubicBezTo>
                    <a:cubicBezTo>
                      <a:pt x="10" y="303"/>
                      <a:pt x="7" y="308"/>
                      <a:pt x="7" y="314"/>
                    </a:cubicBezTo>
                    <a:cubicBezTo>
                      <a:pt x="7" y="320"/>
                      <a:pt x="10" y="326"/>
                      <a:pt x="14" y="330"/>
                    </a:cubicBezTo>
                    <a:lnTo>
                      <a:pt x="477" y="793"/>
                    </a:lnTo>
                    <a:close/>
                    <a:moveTo>
                      <a:pt x="1558" y="1237"/>
                    </a:moveTo>
                    <a:cubicBezTo>
                      <a:pt x="1095" y="773"/>
                      <a:pt x="1095" y="773"/>
                      <a:pt x="1095" y="773"/>
                    </a:cubicBezTo>
                    <a:cubicBezTo>
                      <a:pt x="1063" y="804"/>
                      <a:pt x="1063" y="804"/>
                      <a:pt x="1063" y="804"/>
                    </a:cubicBezTo>
                    <a:cubicBezTo>
                      <a:pt x="1512" y="1252"/>
                      <a:pt x="1512" y="1252"/>
                      <a:pt x="1512" y="1252"/>
                    </a:cubicBezTo>
                    <a:cubicBezTo>
                      <a:pt x="1255" y="1509"/>
                      <a:pt x="1255" y="1509"/>
                      <a:pt x="1255" y="1509"/>
                    </a:cubicBezTo>
                    <a:cubicBezTo>
                      <a:pt x="807" y="1061"/>
                      <a:pt x="807" y="1061"/>
                      <a:pt x="807" y="1061"/>
                    </a:cubicBezTo>
                    <a:cubicBezTo>
                      <a:pt x="776" y="1092"/>
                      <a:pt x="776" y="1092"/>
                      <a:pt x="776" y="1092"/>
                    </a:cubicBezTo>
                    <a:cubicBezTo>
                      <a:pt x="1239" y="1556"/>
                      <a:pt x="1239" y="1556"/>
                      <a:pt x="1239" y="1556"/>
                    </a:cubicBezTo>
                    <a:cubicBezTo>
                      <a:pt x="1244" y="1560"/>
                      <a:pt x="1249" y="1562"/>
                      <a:pt x="1255" y="1562"/>
                    </a:cubicBezTo>
                    <a:cubicBezTo>
                      <a:pt x="1261" y="1562"/>
                      <a:pt x="1266" y="1560"/>
                      <a:pt x="1271" y="1556"/>
                    </a:cubicBezTo>
                    <a:cubicBezTo>
                      <a:pt x="1558" y="1268"/>
                      <a:pt x="1558" y="1268"/>
                      <a:pt x="1558" y="1268"/>
                    </a:cubicBezTo>
                    <a:cubicBezTo>
                      <a:pt x="1563" y="1263"/>
                      <a:pt x="1565" y="1258"/>
                      <a:pt x="1565" y="1252"/>
                    </a:cubicBezTo>
                    <a:cubicBezTo>
                      <a:pt x="1565" y="1246"/>
                      <a:pt x="1563" y="1241"/>
                      <a:pt x="1558" y="12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16">
                <a:extLst>
                  <a:ext uri="{FF2B5EF4-FFF2-40B4-BE49-F238E27FC236}">
                    <a16:creationId xmlns:a16="http://schemas.microsoft.com/office/drawing/2014/main" id="{69CBE359-2A40-4EA4-AC36-28ACF232BFF0}"/>
                  </a:ext>
                </a:extLst>
              </p:cNvPr>
              <p:cNvSpPr>
                <a:spLocks noEditPoints="1"/>
              </p:cNvSpPr>
              <p:nvPr/>
            </p:nvSpPr>
            <p:spPr bwMode="auto">
              <a:xfrm>
                <a:off x="2596" y="855"/>
                <a:ext cx="2495" cy="2498"/>
              </a:xfrm>
              <a:custGeom>
                <a:avLst/>
                <a:gdLst>
                  <a:gd name="T0" fmla="*/ 543 w 2495"/>
                  <a:gd name="T1" fmla="*/ 2158 h 2498"/>
                  <a:gd name="T2" fmla="*/ 334 w 2495"/>
                  <a:gd name="T3" fmla="*/ 1948 h 2498"/>
                  <a:gd name="T4" fmla="*/ 2023 w 2495"/>
                  <a:gd name="T5" fmla="*/ 255 h 2498"/>
                  <a:gd name="T6" fmla="*/ 2235 w 2495"/>
                  <a:gd name="T7" fmla="*/ 467 h 2498"/>
                  <a:gd name="T8" fmla="*/ 543 w 2495"/>
                  <a:gd name="T9" fmla="*/ 2158 h 2498"/>
                  <a:gd name="T10" fmla="*/ 1150 w 2495"/>
                  <a:gd name="T11" fmla="*/ 782 h 2498"/>
                  <a:gd name="T12" fmla="*/ 1079 w 2495"/>
                  <a:gd name="T13" fmla="*/ 709 h 2498"/>
                  <a:gd name="T14" fmla="*/ 817 w 2495"/>
                  <a:gd name="T15" fmla="*/ 971 h 2498"/>
                  <a:gd name="T16" fmla="*/ 759 w 2495"/>
                  <a:gd name="T17" fmla="*/ 913 h 2498"/>
                  <a:gd name="T18" fmla="*/ 1021 w 2495"/>
                  <a:gd name="T19" fmla="*/ 651 h 2498"/>
                  <a:gd name="T20" fmla="*/ 940 w 2495"/>
                  <a:gd name="T21" fmla="*/ 570 h 2498"/>
                  <a:gd name="T22" fmla="*/ 748 w 2495"/>
                  <a:gd name="T23" fmla="*/ 763 h 2498"/>
                  <a:gd name="T24" fmla="*/ 689 w 2495"/>
                  <a:gd name="T25" fmla="*/ 705 h 2498"/>
                  <a:gd name="T26" fmla="*/ 882 w 2495"/>
                  <a:gd name="T27" fmla="*/ 512 h 2498"/>
                  <a:gd name="T28" fmla="*/ 800 w 2495"/>
                  <a:gd name="T29" fmla="*/ 431 h 2498"/>
                  <a:gd name="T30" fmla="*/ 538 w 2495"/>
                  <a:gd name="T31" fmla="*/ 694 h 2498"/>
                  <a:gd name="T32" fmla="*/ 480 w 2495"/>
                  <a:gd name="T33" fmla="*/ 636 h 2498"/>
                  <a:gd name="T34" fmla="*/ 742 w 2495"/>
                  <a:gd name="T35" fmla="*/ 373 h 2498"/>
                  <a:gd name="T36" fmla="*/ 661 w 2495"/>
                  <a:gd name="T37" fmla="*/ 291 h 2498"/>
                  <a:gd name="T38" fmla="*/ 468 w 2495"/>
                  <a:gd name="T39" fmla="*/ 484 h 2498"/>
                  <a:gd name="T40" fmla="*/ 410 w 2495"/>
                  <a:gd name="T41" fmla="*/ 426 h 2498"/>
                  <a:gd name="T42" fmla="*/ 603 w 2495"/>
                  <a:gd name="T43" fmla="*/ 233 h 2498"/>
                  <a:gd name="T44" fmla="*/ 523 w 2495"/>
                  <a:gd name="T45" fmla="*/ 152 h 2498"/>
                  <a:gd name="T46" fmla="*/ 261 w 2495"/>
                  <a:gd name="T47" fmla="*/ 414 h 2498"/>
                  <a:gd name="T48" fmla="*/ 201 w 2495"/>
                  <a:gd name="T49" fmla="*/ 356 h 2498"/>
                  <a:gd name="T50" fmla="*/ 463 w 2495"/>
                  <a:gd name="T51" fmla="*/ 94 h 2498"/>
                  <a:gd name="T52" fmla="*/ 369 w 2495"/>
                  <a:gd name="T53" fmla="*/ 0 h 2498"/>
                  <a:gd name="T54" fmla="*/ 0 w 2495"/>
                  <a:gd name="T55" fmla="*/ 369 h 2498"/>
                  <a:gd name="T56" fmla="*/ 781 w 2495"/>
                  <a:gd name="T57" fmla="*/ 1151 h 2498"/>
                  <a:gd name="T58" fmla="*/ 1150 w 2495"/>
                  <a:gd name="T59" fmla="*/ 782 h 2498"/>
                  <a:gd name="T60" fmla="*/ 2400 w 2495"/>
                  <a:gd name="T61" fmla="*/ 2033 h 2498"/>
                  <a:gd name="T62" fmla="*/ 2138 w 2495"/>
                  <a:gd name="T63" fmla="*/ 2295 h 2498"/>
                  <a:gd name="T64" fmla="*/ 2079 w 2495"/>
                  <a:gd name="T65" fmla="*/ 2237 h 2498"/>
                  <a:gd name="T66" fmla="*/ 2342 w 2495"/>
                  <a:gd name="T67" fmla="*/ 1974 h 2498"/>
                  <a:gd name="T68" fmla="*/ 2261 w 2495"/>
                  <a:gd name="T69" fmla="*/ 1892 h 2498"/>
                  <a:gd name="T70" fmla="*/ 2068 w 2495"/>
                  <a:gd name="T71" fmla="*/ 2085 h 2498"/>
                  <a:gd name="T72" fmla="*/ 2010 w 2495"/>
                  <a:gd name="T73" fmla="*/ 2027 h 2498"/>
                  <a:gd name="T74" fmla="*/ 2203 w 2495"/>
                  <a:gd name="T75" fmla="*/ 1834 h 2498"/>
                  <a:gd name="T76" fmla="*/ 2123 w 2495"/>
                  <a:gd name="T77" fmla="*/ 1753 h 2498"/>
                  <a:gd name="T78" fmla="*/ 1860 w 2495"/>
                  <a:gd name="T79" fmla="*/ 2016 h 2498"/>
                  <a:gd name="T80" fmla="*/ 1802 w 2495"/>
                  <a:gd name="T81" fmla="*/ 1958 h 2498"/>
                  <a:gd name="T82" fmla="*/ 2064 w 2495"/>
                  <a:gd name="T83" fmla="*/ 1695 h 2498"/>
                  <a:gd name="T84" fmla="*/ 1982 w 2495"/>
                  <a:gd name="T85" fmla="*/ 1614 h 2498"/>
                  <a:gd name="T86" fmla="*/ 1789 w 2495"/>
                  <a:gd name="T87" fmla="*/ 1808 h 2498"/>
                  <a:gd name="T88" fmla="*/ 1731 w 2495"/>
                  <a:gd name="T89" fmla="*/ 1748 h 2498"/>
                  <a:gd name="T90" fmla="*/ 1924 w 2495"/>
                  <a:gd name="T91" fmla="*/ 1554 h 2498"/>
                  <a:gd name="T92" fmla="*/ 1843 w 2495"/>
                  <a:gd name="T93" fmla="*/ 1474 h 2498"/>
                  <a:gd name="T94" fmla="*/ 1581 w 2495"/>
                  <a:gd name="T95" fmla="*/ 1736 h 2498"/>
                  <a:gd name="T96" fmla="*/ 1523 w 2495"/>
                  <a:gd name="T97" fmla="*/ 1678 h 2498"/>
                  <a:gd name="T98" fmla="*/ 1785 w 2495"/>
                  <a:gd name="T99" fmla="*/ 1416 h 2498"/>
                  <a:gd name="T100" fmla="*/ 1709 w 2495"/>
                  <a:gd name="T101" fmla="*/ 1341 h 2498"/>
                  <a:gd name="T102" fmla="*/ 1340 w 2495"/>
                  <a:gd name="T103" fmla="*/ 1710 h 2498"/>
                  <a:gd name="T104" fmla="*/ 2126 w 2495"/>
                  <a:gd name="T105" fmla="*/ 2498 h 2498"/>
                  <a:gd name="T106" fmla="*/ 2495 w 2495"/>
                  <a:gd name="T107" fmla="*/ 2128 h 2498"/>
                  <a:gd name="T108" fmla="*/ 2400 w 2495"/>
                  <a:gd name="T109" fmla="*/ 2033 h 2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5" h="2498">
                    <a:moveTo>
                      <a:pt x="543" y="2158"/>
                    </a:moveTo>
                    <a:lnTo>
                      <a:pt x="334" y="1948"/>
                    </a:lnTo>
                    <a:lnTo>
                      <a:pt x="2023" y="255"/>
                    </a:lnTo>
                    <a:lnTo>
                      <a:pt x="2235" y="467"/>
                    </a:lnTo>
                    <a:lnTo>
                      <a:pt x="543" y="2158"/>
                    </a:lnTo>
                    <a:close/>
                    <a:moveTo>
                      <a:pt x="1150" y="782"/>
                    </a:moveTo>
                    <a:lnTo>
                      <a:pt x="1079" y="709"/>
                    </a:lnTo>
                    <a:lnTo>
                      <a:pt x="817" y="971"/>
                    </a:lnTo>
                    <a:lnTo>
                      <a:pt x="759" y="913"/>
                    </a:lnTo>
                    <a:lnTo>
                      <a:pt x="1021" y="651"/>
                    </a:lnTo>
                    <a:lnTo>
                      <a:pt x="940" y="570"/>
                    </a:lnTo>
                    <a:lnTo>
                      <a:pt x="748" y="763"/>
                    </a:lnTo>
                    <a:lnTo>
                      <a:pt x="689" y="705"/>
                    </a:lnTo>
                    <a:lnTo>
                      <a:pt x="882" y="512"/>
                    </a:lnTo>
                    <a:lnTo>
                      <a:pt x="800" y="431"/>
                    </a:lnTo>
                    <a:lnTo>
                      <a:pt x="538" y="694"/>
                    </a:lnTo>
                    <a:lnTo>
                      <a:pt x="480" y="636"/>
                    </a:lnTo>
                    <a:lnTo>
                      <a:pt x="742" y="373"/>
                    </a:lnTo>
                    <a:lnTo>
                      <a:pt x="661" y="291"/>
                    </a:lnTo>
                    <a:lnTo>
                      <a:pt x="468" y="484"/>
                    </a:lnTo>
                    <a:lnTo>
                      <a:pt x="410" y="426"/>
                    </a:lnTo>
                    <a:lnTo>
                      <a:pt x="603" y="233"/>
                    </a:lnTo>
                    <a:lnTo>
                      <a:pt x="523" y="152"/>
                    </a:lnTo>
                    <a:lnTo>
                      <a:pt x="261" y="414"/>
                    </a:lnTo>
                    <a:lnTo>
                      <a:pt x="201" y="356"/>
                    </a:lnTo>
                    <a:lnTo>
                      <a:pt x="463" y="94"/>
                    </a:lnTo>
                    <a:lnTo>
                      <a:pt x="369" y="0"/>
                    </a:lnTo>
                    <a:lnTo>
                      <a:pt x="0" y="369"/>
                    </a:lnTo>
                    <a:lnTo>
                      <a:pt x="781" y="1151"/>
                    </a:lnTo>
                    <a:lnTo>
                      <a:pt x="1150" y="782"/>
                    </a:lnTo>
                    <a:close/>
                    <a:moveTo>
                      <a:pt x="2400" y="2033"/>
                    </a:moveTo>
                    <a:lnTo>
                      <a:pt x="2138" y="2295"/>
                    </a:lnTo>
                    <a:lnTo>
                      <a:pt x="2079" y="2237"/>
                    </a:lnTo>
                    <a:lnTo>
                      <a:pt x="2342" y="1974"/>
                    </a:lnTo>
                    <a:lnTo>
                      <a:pt x="2261" y="1892"/>
                    </a:lnTo>
                    <a:lnTo>
                      <a:pt x="2068" y="2085"/>
                    </a:lnTo>
                    <a:lnTo>
                      <a:pt x="2010" y="2027"/>
                    </a:lnTo>
                    <a:lnTo>
                      <a:pt x="2203" y="1834"/>
                    </a:lnTo>
                    <a:lnTo>
                      <a:pt x="2123" y="1753"/>
                    </a:lnTo>
                    <a:lnTo>
                      <a:pt x="1860" y="2016"/>
                    </a:lnTo>
                    <a:lnTo>
                      <a:pt x="1802" y="1958"/>
                    </a:lnTo>
                    <a:lnTo>
                      <a:pt x="2064" y="1695"/>
                    </a:lnTo>
                    <a:lnTo>
                      <a:pt x="1982" y="1614"/>
                    </a:lnTo>
                    <a:lnTo>
                      <a:pt x="1789" y="1808"/>
                    </a:lnTo>
                    <a:lnTo>
                      <a:pt x="1731" y="1748"/>
                    </a:lnTo>
                    <a:lnTo>
                      <a:pt x="1924" y="1554"/>
                    </a:lnTo>
                    <a:lnTo>
                      <a:pt x="1843" y="1474"/>
                    </a:lnTo>
                    <a:lnTo>
                      <a:pt x="1581" y="1736"/>
                    </a:lnTo>
                    <a:lnTo>
                      <a:pt x="1523" y="1678"/>
                    </a:lnTo>
                    <a:lnTo>
                      <a:pt x="1785" y="1416"/>
                    </a:lnTo>
                    <a:lnTo>
                      <a:pt x="1709" y="1341"/>
                    </a:lnTo>
                    <a:lnTo>
                      <a:pt x="1340" y="1710"/>
                    </a:lnTo>
                    <a:lnTo>
                      <a:pt x="2126" y="2498"/>
                    </a:lnTo>
                    <a:lnTo>
                      <a:pt x="2495" y="2128"/>
                    </a:lnTo>
                    <a:lnTo>
                      <a:pt x="2400" y="203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8" name="ee4pHeader1"/>
            <p:cNvSpPr txBox="1"/>
            <p:nvPr/>
          </p:nvSpPr>
          <p:spPr>
            <a:xfrm>
              <a:off x="630001" y="3993895"/>
              <a:ext cx="1580399" cy="759600"/>
            </a:xfrm>
            <a:prstGeom prst="rect">
              <a:avLst/>
            </a:prstGeom>
            <a:noFill/>
            <a:ln cap="rnd">
              <a:noFill/>
            </a:ln>
          </p:spPr>
          <p:txBody>
            <a:bodyPr wrap="square" lIns="0" tIns="0" rIns="0" bIns="0" rtlCol="0" anchor="t" anchorCtr="0">
              <a:noAutofit/>
            </a:bodyPr>
            <a:lstStyle/>
            <a:p>
              <a:pPr marL="0" lvl="3" algn="ctr"/>
              <a:r>
                <a:rPr lang="en-US" sz="2000" dirty="0">
                  <a:solidFill>
                    <a:schemeClr val="tx2"/>
                  </a:solidFill>
                </a:rPr>
                <a:t>Culture</a:t>
              </a:r>
            </a:p>
          </p:txBody>
        </p:sp>
        <p:grpSp>
          <p:nvGrpSpPr>
            <p:cNvPr id="91" name="Group 9">
              <a:extLst>
                <a:ext uri="{FF2B5EF4-FFF2-40B4-BE49-F238E27FC236}">
                  <a16:creationId xmlns:a16="http://schemas.microsoft.com/office/drawing/2014/main" id="{FF79E2A5-2F0A-4EED-A03B-7A5A78388DE5}"/>
                </a:ext>
              </a:extLst>
            </p:cNvPr>
            <p:cNvGrpSpPr>
              <a:grpSpLocks noChangeAspect="1"/>
            </p:cNvGrpSpPr>
            <p:nvPr/>
          </p:nvGrpSpPr>
          <p:grpSpPr bwMode="auto">
            <a:xfrm>
              <a:off x="598003" y="2289516"/>
              <a:ext cx="1644396" cy="1645920"/>
              <a:chOff x="1682" y="0"/>
              <a:chExt cx="4316" cy="4320"/>
            </a:xfrm>
          </p:grpSpPr>
          <p:sp>
            <p:nvSpPr>
              <p:cNvPr id="92" name="AutoShape 8">
                <a:extLst>
                  <a:ext uri="{FF2B5EF4-FFF2-40B4-BE49-F238E27FC236}">
                    <a16:creationId xmlns:a16="http://schemas.microsoft.com/office/drawing/2014/main" id="{78FC7EE5-8932-4C33-9719-CCEE0F5D2507}"/>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92">
                <a:extLst>
                  <a:ext uri="{FF2B5EF4-FFF2-40B4-BE49-F238E27FC236}">
                    <a16:creationId xmlns:a16="http://schemas.microsoft.com/office/drawing/2014/main" id="{4E22E056-DA42-491D-BC65-67488E5F1E02}"/>
                  </a:ext>
                </a:extLst>
              </p:cNvPr>
              <p:cNvSpPr>
                <a:spLocks noEditPoints="1"/>
              </p:cNvSpPr>
              <p:nvPr/>
            </p:nvSpPr>
            <p:spPr bwMode="auto">
              <a:xfrm>
                <a:off x="2819" y="613"/>
                <a:ext cx="2359" cy="2507"/>
              </a:xfrm>
              <a:custGeom>
                <a:avLst/>
                <a:gdLst>
                  <a:gd name="T0" fmla="*/ 1257 w 1259"/>
                  <a:gd name="T1" fmla="*/ 464 h 1337"/>
                  <a:gd name="T2" fmla="*/ 1203 w 1259"/>
                  <a:gd name="T3" fmla="*/ 584 h 1337"/>
                  <a:gd name="T4" fmla="*/ 861 w 1259"/>
                  <a:gd name="T5" fmla="*/ 822 h 1337"/>
                  <a:gd name="T6" fmla="*/ 515 w 1259"/>
                  <a:gd name="T7" fmla="*/ 880 h 1337"/>
                  <a:gd name="T8" fmla="*/ 157 w 1259"/>
                  <a:gd name="T9" fmla="*/ 735 h 1337"/>
                  <a:gd name="T10" fmla="*/ 216 w 1259"/>
                  <a:gd name="T11" fmla="*/ 718 h 1337"/>
                  <a:gd name="T12" fmla="*/ 297 w 1259"/>
                  <a:gd name="T13" fmla="*/ 680 h 1337"/>
                  <a:gd name="T14" fmla="*/ 363 w 1259"/>
                  <a:gd name="T15" fmla="*/ 625 h 1337"/>
                  <a:gd name="T16" fmla="*/ 414 w 1259"/>
                  <a:gd name="T17" fmla="*/ 552 h 1337"/>
                  <a:gd name="T18" fmla="*/ 452 w 1259"/>
                  <a:gd name="T19" fmla="*/ 472 h 1337"/>
                  <a:gd name="T20" fmla="*/ 414 w 1259"/>
                  <a:gd name="T21" fmla="*/ 419 h 1337"/>
                  <a:gd name="T22" fmla="*/ 494 w 1259"/>
                  <a:gd name="T23" fmla="*/ 407 h 1337"/>
                  <a:gd name="T24" fmla="*/ 547 w 1259"/>
                  <a:gd name="T25" fmla="*/ 398 h 1337"/>
                  <a:gd name="T26" fmla="*/ 622 w 1259"/>
                  <a:gd name="T27" fmla="*/ 430 h 1337"/>
                  <a:gd name="T28" fmla="*/ 687 w 1259"/>
                  <a:gd name="T29" fmla="*/ 411 h 1337"/>
                  <a:gd name="T30" fmla="*/ 691 w 1259"/>
                  <a:gd name="T31" fmla="*/ 409 h 1337"/>
                  <a:gd name="T32" fmla="*/ 750 w 1259"/>
                  <a:gd name="T33" fmla="*/ 374 h 1337"/>
                  <a:gd name="T34" fmla="*/ 778 w 1259"/>
                  <a:gd name="T35" fmla="*/ 297 h 1337"/>
                  <a:gd name="T36" fmla="*/ 819 w 1259"/>
                  <a:gd name="T37" fmla="*/ 266 h 1337"/>
                  <a:gd name="T38" fmla="*/ 1257 w 1259"/>
                  <a:gd name="T39" fmla="*/ 456 h 1337"/>
                  <a:gd name="T40" fmla="*/ 778 w 1259"/>
                  <a:gd name="T41" fmla="*/ 251 h 1337"/>
                  <a:gd name="T42" fmla="*/ 706 w 1259"/>
                  <a:gd name="T43" fmla="*/ 318 h 1337"/>
                  <a:gd name="T44" fmla="*/ 671 w 1259"/>
                  <a:gd name="T45" fmla="*/ 370 h 1337"/>
                  <a:gd name="T46" fmla="*/ 610 w 1259"/>
                  <a:gd name="T47" fmla="*/ 360 h 1337"/>
                  <a:gd name="T48" fmla="*/ 513 w 1259"/>
                  <a:gd name="T49" fmla="*/ 367 h 1337"/>
                  <a:gd name="T50" fmla="*/ 457 w 1259"/>
                  <a:gd name="T51" fmla="*/ 287 h 1337"/>
                  <a:gd name="T52" fmla="*/ 431 w 1259"/>
                  <a:gd name="T53" fmla="*/ 225 h 1337"/>
                  <a:gd name="T54" fmla="*/ 414 w 1259"/>
                  <a:gd name="T55" fmla="*/ 126 h 1337"/>
                  <a:gd name="T56" fmla="*/ 483 w 1259"/>
                  <a:gd name="T57" fmla="*/ 66 h 1337"/>
                  <a:gd name="T58" fmla="*/ 519 w 1259"/>
                  <a:gd name="T59" fmla="*/ 13 h 1337"/>
                  <a:gd name="T60" fmla="*/ 583 w 1259"/>
                  <a:gd name="T61" fmla="*/ 22 h 1337"/>
                  <a:gd name="T62" fmla="*/ 673 w 1259"/>
                  <a:gd name="T63" fmla="*/ 14 h 1337"/>
                  <a:gd name="T64" fmla="*/ 732 w 1259"/>
                  <a:gd name="T65" fmla="*/ 93 h 1337"/>
                  <a:gd name="T66" fmla="*/ 759 w 1259"/>
                  <a:gd name="T67" fmla="*/ 154 h 1337"/>
                  <a:gd name="T68" fmla="*/ 629 w 1259"/>
                  <a:gd name="T69" fmla="*/ 269 h 1337"/>
                  <a:gd name="T70" fmla="*/ 561 w 1259"/>
                  <a:gd name="T71" fmla="*/ 113 h 1337"/>
                  <a:gd name="T72" fmla="*/ 629 w 1259"/>
                  <a:gd name="T73" fmla="*/ 269 h 1337"/>
                  <a:gd name="T74" fmla="*/ 88 w 1259"/>
                  <a:gd name="T75" fmla="*/ 277 h 1337"/>
                  <a:gd name="T76" fmla="*/ 88 w 1259"/>
                  <a:gd name="T77" fmla="*/ 454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59" h="1337">
                    <a:moveTo>
                      <a:pt x="1257" y="456"/>
                    </a:moveTo>
                    <a:cubicBezTo>
                      <a:pt x="1257" y="464"/>
                      <a:pt x="1257" y="464"/>
                      <a:pt x="1257" y="464"/>
                    </a:cubicBezTo>
                    <a:cubicBezTo>
                      <a:pt x="1254" y="508"/>
                      <a:pt x="1235" y="547"/>
                      <a:pt x="1203" y="584"/>
                    </a:cubicBezTo>
                    <a:cubicBezTo>
                      <a:pt x="1203" y="584"/>
                      <a:pt x="1203" y="584"/>
                      <a:pt x="1203" y="584"/>
                    </a:cubicBezTo>
                    <a:cubicBezTo>
                      <a:pt x="1154" y="653"/>
                      <a:pt x="970" y="784"/>
                      <a:pt x="870" y="836"/>
                    </a:cubicBezTo>
                    <a:cubicBezTo>
                      <a:pt x="861" y="840"/>
                      <a:pt x="853" y="828"/>
                      <a:pt x="861" y="822"/>
                    </a:cubicBezTo>
                    <a:cubicBezTo>
                      <a:pt x="892" y="798"/>
                      <a:pt x="912" y="777"/>
                      <a:pt x="925" y="760"/>
                    </a:cubicBezTo>
                    <a:cubicBezTo>
                      <a:pt x="727" y="841"/>
                      <a:pt x="515" y="880"/>
                      <a:pt x="515" y="880"/>
                    </a:cubicBezTo>
                    <a:cubicBezTo>
                      <a:pt x="337" y="1058"/>
                      <a:pt x="559" y="1300"/>
                      <a:pt x="505" y="1324"/>
                    </a:cubicBezTo>
                    <a:cubicBezTo>
                      <a:pt x="476" y="1337"/>
                      <a:pt x="160" y="1067"/>
                      <a:pt x="157" y="735"/>
                    </a:cubicBezTo>
                    <a:cubicBezTo>
                      <a:pt x="170" y="732"/>
                      <a:pt x="170" y="732"/>
                      <a:pt x="170" y="732"/>
                    </a:cubicBezTo>
                    <a:cubicBezTo>
                      <a:pt x="192" y="727"/>
                      <a:pt x="215" y="718"/>
                      <a:pt x="216" y="718"/>
                    </a:cubicBezTo>
                    <a:cubicBezTo>
                      <a:pt x="218" y="717"/>
                      <a:pt x="241" y="709"/>
                      <a:pt x="261" y="698"/>
                    </a:cubicBezTo>
                    <a:cubicBezTo>
                      <a:pt x="297" y="680"/>
                      <a:pt x="297" y="680"/>
                      <a:pt x="297" y="680"/>
                    </a:cubicBezTo>
                    <a:cubicBezTo>
                      <a:pt x="298" y="614"/>
                      <a:pt x="298" y="614"/>
                      <a:pt x="298" y="614"/>
                    </a:cubicBezTo>
                    <a:cubicBezTo>
                      <a:pt x="363" y="625"/>
                      <a:pt x="363" y="625"/>
                      <a:pt x="363" y="625"/>
                    </a:cubicBezTo>
                    <a:cubicBezTo>
                      <a:pt x="387" y="593"/>
                      <a:pt x="387" y="593"/>
                      <a:pt x="387" y="593"/>
                    </a:cubicBezTo>
                    <a:cubicBezTo>
                      <a:pt x="400" y="576"/>
                      <a:pt x="412" y="555"/>
                      <a:pt x="414" y="552"/>
                    </a:cubicBezTo>
                    <a:cubicBezTo>
                      <a:pt x="415" y="550"/>
                      <a:pt x="427" y="529"/>
                      <a:pt x="436" y="509"/>
                    </a:cubicBezTo>
                    <a:cubicBezTo>
                      <a:pt x="452" y="472"/>
                      <a:pt x="452" y="472"/>
                      <a:pt x="452" y="472"/>
                    </a:cubicBezTo>
                    <a:cubicBezTo>
                      <a:pt x="413" y="424"/>
                      <a:pt x="413" y="424"/>
                      <a:pt x="413" y="424"/>
                    </a:cubicBezTo>
                    <a:cubicBezTo>
                      <a:pt x="413" y="422"/>
                      <a:pt x="413" y="420"/>
                      <a:pt x="414" y="419"/>
                    </a:cubicBezTo>
                    <a:cubicBezTo>
                      <a:pt x="464" y="389"/>
                      <a:pt x="464" y="389"/>
                      <a:pt x="464" y="389"/>
                    </a:cubicBezTo>
                    <a:cubicBezTo>
                      <a:pt x="473" y="395"/>
                      <a:pt x="483" y="401"/>
                      <a:pt x="494" y="407"/>
                    </a:cubicBezTo>
                    <a:cubicBezTo>
                      <a:pt x="515" y="417"/>
                      <a:pt x="515" y="417"/>
                      <a:pt x="515" y="417"/>
                    </a:cubicBezTo>
                    <a:cubicBezTo>
                      <a:pt x="547" y="398"/>
                      <a:pt x="547" y="398"/>
                      <a:pt x="547" y="398"/>
                    </a:cubicBezTo>
                    <a:cubicBezTo>
                      <a:pt x="562" y="402"/>
                      <a:pt x="578" y="404"/>
                      <a:pt x="593" y="404"/>
                    </a:cubicBezTo>
                    <a:cubicBezTo>
                      <a:pt x="622" y="430"/>
                      <a:pt x="622" y="430"/>
                      <a:pt x="622" y="430"/>
                    </a:cubicBezTo>
                    <a:cubicBezTo>
                      <a:pt x="644" y="424"/>
                      <a:pt x="644" y="424"/>
                      <a:pt x="644" y="424"/>
                    </a:cubicBezTo>
                    <a:cubicBezTo>
                      <a:pt x="659" y="421"/>
                      <a:pt x="674" y="416"/>
                      <a:pt x="687" y="411"/>
                    </a:cubicBezTo>
                    <a:cubicBezTo>
                      <a:pt x="689" y="410"/>
                      <a:pt x="689" y="410"/>
                      <a:pt x="689" y="410"/>
                    </a:cubicBezTo>
                    <a:cubicBezTo>
                      <a:pt x="691" y="409"/>
                      <a:pt x="691" y="409"/>
                      <a:pt x="691" y="409"/>
                    </a:cubicBezTo>
                    <a:cubicBezTo>
                      <a:pt x="704" y="403"/>
                      <a:pt x="717" y="396"/>
                      <a:pt x="730" y="387"/>
                    </a:cubicBezTo>
                    <a:cubicBezTo>
                      <a:pt x="750" y="374"/>
                      <a:pt x="750" y="374"/>
                      <a:pt x="750" y="374"/>
                    </a:cubicBezTo>
                    <a:cubicBezTo>
                      <a:pt x="750" y="336"/>
                      <a:pt x="750" y="336"/>
                      <a:pt x="750" y="336"/>
                    </a:cubicBezTo>
                    <a:cubicBezTo>
                      <a:pt x="761" y="324"/>
                      <a:pt x="770" y="311"/>
                      <a:pt x="778" y="297"/>
                    </a:cubicBezTo>
                    <a:cubicBezTo>
                      <a:pt x="812" y="287"/>
                      <a:pt x="812" y="287"/>
                      <a:pt x="812" y="287"/>
                    </a:cubicBezTo>
                    <a:cubicBezTo>
                      <a:pt x="819" y="266"/>
                      <a:pt x="819" y="266"/>
                      <a:pt x="819" y="266"/>
                    </a:cubicBezTo>
                    <a:cubicBezTo>
                      <a:pt x="826" y="246"/>
                      <a:pt x="830" y="225"/>
                      <a:pt x="831" y="204"/>
                    </a:cubicBezTo>
                    <a:cubicBezTo>
                      <a:pt x="1145" y="234"/>
                      <a:pt x="1259" y="383"/>
                      <a:pt x="1257" y="456"/>
                    </a:cubicBezTo>
                    <a:close/>
                    <a:moveTo>
                      <a:pt x="786" y="171"/>
                    </a:moveTo>
                    <a:cubicBezTo>
                      <a:pt x="789" y="198"/>
                      <a:pt x="786" y="226"/>
                      <a:pt x="778" y="251"/>
                    </a:cubicBezTo>
                    <a:cubicBezTo>
                      <a:pt x="778" y="251"/>
                      <a:pt x="778" y="251"/>
                      <a:pt x="748" y="261"/>
                    </a:cubicBezTo>
                    <a:cubicBezTo>
                      <a:pt x="738" y="282"/>
                      <a:pt x="724" y="302"/>
                      <a:pt x="706" y="318"/>
                    </a:cubicBezTo>
                    <a:cubicBezTo>
                      <a:pt x="706" y="318"/>
                      <a:pt x="706" y="318"/>
                      <a:pt x="706" y="350"/>
                    </a:cubicBezTo>
                    <a:cubicBezTo>
                      <a:pt x="695" y="357"/>
                      <a:pt x="683" y="364"/>
                      <a:pt x="671" y="370"/>
                    </a:cubicBezTo>
                    <a:cubicBezTo>
                      <a:pt x="659" y="375"/>
                      <a:pt x="646" y="379"/>
                      <a:pt x="634" y="382"/>
                    </a:cubicBezTo>
                    <a:cubicBezTo>
                      <a:pt x="634" y="382"/>
                      <a:pt x="634" y="382"/>
                      <a:pt x="610" y="360"/>
                    </a:cubicBezTo>
                    <a:cubicBezTo>
                      <a:pt x="586" y="362"/>
                      <a:pt x="563" y="359"/>
                      <a:pt x="541" y="351"/>
                    </a:cubicBezTo>
                    <a:cubicBezTo>
                      <a:pt x="541" y="351"/>
                      <a:pt x="541" y="351"/>
                      <a:pt x="513" y="367"/>
                    </a:cubicBezTo>
                    <a:cubicBezTo>
                      <a:pt x="489" y="355"/>
                      <a:pt x="468" y="339"/>
                      <a:pt x="449" y="318"/>
                    </a:cubicBezTo>
                    <a:cubicBezTo>
                      <a:pt x="449" y="318"/>
                      <a:pt x="449" y="318"/>
                      <a:pt x="457" y="287"/>
                    </a:cubicBezTo>
                    <a:cubicBezTo>
                      <a:pt x="451" y="278"/>
                      <a:pt x="446" y="268"/>
                      <a:pt x="442" y="258"/>
                    </a:cubicBezTo>
                    <a:cubicBezTo>
                      <a:pt x="436" y="247"/>
                      <a:pt x="433" y="235"/>
                      <a:pt x="431" y="225"/>
                    </a:cubicBezTo>
                    <a:cubicBezTo>
                      <a:pt x="431" y="225"/>
                      <a:pt x="431" y="225"/>
                      <a:pt x="403" y="209"/>
                    </a:cubicBezTo>
                    <a:cubicBezTo>
                      <a:pt x="401" y="180"/>
                      <a:pt x="405" y="152"/>
                      <a:pt x="414" y="126"/>
                    </a:cubicBezTo>
                    <a:cubicBezTo>
                      <a:pt x="414" y="126"/>
                      <a:pt x="414" y="126"/>
                      <a:pt x="445" y="116"/>
                    </a:cubicBezTo>
                    <a:cubicBezTo>
                      <a:pt x="454" y="97"/>
                      <a:pt x="467" y="81"/>
                      <a:pt x="483" y="66"/>
                    </a:cubicBezTo>
                    <a:cubicBezTo>
                      <a:pt x="483" y="66"/>
                      <a:pt x="483" y="66"/>
                      <a:pt x="483" y="33"/>
                    </a:cubicBezTo>
                    <a:cubicBezTo>
                      <a:pt x="494" y="25"/>
                      <a:pt x="506" y="18"/>
                      <a:pt x="519" y="13"/>
                    </a:cubicBezTo>
                    <a:cubicBezTo>
                      <a:pt x="532" y="7"/>
                      <a:pt x="546" y="3"/>
                      <a:pt x="558" y="0"/>
                    </a:cubicBezTo>
                    <a:cubicBezTo>
                      <a:pt x="558" y="0"/>
                      <a:pt x="558" y="0"/>
                      <a:pt x="583" y="22"/>
                    </a:cubicBezTo>
                    <a:cubicBezTo>
                      <a:pt x="604" y="21"/>
                      <a:pt x="624" y="23"/>
                      <a:pt x="644" y="30"/>
                    </a:cubicBezTo>
                    <a:cubicBezTo>
                      <a:pt x="644" y="30"/>
                      <a:pt x="644" y="30"/>
                      <a:pt x="673" y="14"/>
                    </a:cubicBezTo>
                    <a:cubicBezTo>
                      <a:pt x="697" y="24"/>
                      <a:pt x="720" y="41"/>
                      <a:pt x="738" y="62"/>
                    </a:cubicBezTo>
                    <a:cubicBezTo>
                      <a:pt x="738" y="62"/>
                      <a:pt x="738" y="62"/>
                      <a:pt x="732" y="93"/>
                    </a:cubicBezTo>
                    <a:cubicBezTo>
                      <a:pt x="738" y="103"/>
                      <a:pt x="744" y="113"/>
                      <a:pt x="749" y="124"/>
                    </a:cubicBezTo>
                    <a:cubicBezTo>
                      <a:pt x="753" y="134"/>
                      <a:pt x="756" y="144"/>
                      <a:pt x="759" y="154"/>
                    </a:cubicBezTo>
                    <a:cubicBezTo>
                      <a:pt x="759" y="154"/>
                      <a:pt x="759" y="154"/>
                      <a:pt x="786" y="171"/>
                    </a:cubicBezTo>
                    <a:close/>
                    <a:moveTo>
                      <a:pt x="629" y="269"/>
                    </a:moveTo>
                    <a:cubicBezTo>
                      <a:pt x="671" y="251"/>
                      <a:pt x="691" y="200"/>
                      <a:pt x="672" y="157"/>
                    </a:cubicBezTo>
                    <a:cubicBezTo>
                      <a:pt x="654" y="114"/>
                      <a:pt x="604" y="95"/>
                      <a:pt x="561" y="113"/>
                    </a:cubicBezTo>
                    <a:cubicBezTo>
                      <a:pt x="519" y="132"/>
                      <a:pt x="499" y="181"/>
                      <a:pt x="518" y="225"/>
                    </a:cubicBezTo>
                    <a:cubicBezTo>
                      <a:pt x="536" y="268"/>
                      <a:pt x="586" y="288"/>
                      <a:pt x="629" y="269"/>
                    </a:cubicBezTo>
                    <a:close/>
                    <a:moveTo>
                      <a:pt x="176" y="365"/>
                    </a:moveTo>
                    <a:cubicBezTo>
                      <a:pt x="176" y="316"/>
                      <a:pt x="137" y="277"/>
                      <a:pt x="88" y="277"/>
                    </a:cubicBezTo>
                    <a:cubicBezTo>
                      <a:pt x="39" y="277"/>
                      <a:pt x="0" y="316"/>
                      <a:pt x="0" y="365"/>
                    </a:cubicBezTo>
                    <a:cubicBezTo>
                      <a:pt x="0" y="414"/>
                      <a:pt x="39" y="454"/>
                      <a:pt x="88" y="454"/>
                    </a:cubicBezTo>
                    <a:cubicBezTo>
                      <a:pt x="137" y="454"/>
                      <a:pt x="176" y="414"/>
                      <a:pt x="176" y="36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93">
                <a:extLst>
                  <a:ext uri="{FF2B5EF4-FFF2-40B4-BE49-F238E27FC236}">
                    <a16:creationId xmlns:a16="http://schemas.microsoft.com/office/drawing/2014/main" id="{3CE734FB-781A-4E8F-A14E-B5890FC0EDC8}"/>
                  </a:ext>
                </a:extLst>
              </p:cNvPr>
              <p:cNvSpPr>
                <a:spLocks noEditPoints="1"/>
              </p:cNvSpPr>
              <p:nvPr/>
            </p:nvSpPr>
            <p:spPr bwMode="auto">
              <a:xfrm>
                <a:off x="2360" y="671"/>
                <a:ext cx="3069" cy="3186"/>
              </a:xfrm>
              <a:custGeom>
                <a:avLst/>
                <a:gdLst>
                  <a:gd name="T0" fmla="*/ 1490 w 1638"/>
                  <a:gd name="T1" fmla="*/ 1199 h 1699"/>
                  <a:gd name="T2" fmla="*/ 1167 w 1638"/>
                  <a:gd name="T3" fmla="*/ 1410 h 1699"/>
                  <a:gd name="T4" fmla="*/ 1104 w 1638"/>
                  <a:gd name="T5" fmla="*/ 1699 h 1699"/>
                  <a:gd name="T6" fmla="*/ 670 w 1638"/>
                  <a:gd name="T7" fmla="*/ 1298 h 1699"/>
                  <a:gd name="T8" fmla="*/ 1123 w 1638"/>
                  <a:gd name="T9" fmla="*/ 1655 h 1699"/>
                  <a:gd name="T10" fmla="*/ 1151 w 1638"/>
                  <a:gd name="T11" fmla="*/ 1364 h 1699"/>
                  <a:gd name="T12" fmla="*/ 1446 w 1638"/>
                  <a:gd name="T13" fmla="*/ 1200 h 1699"/>
                  <a:gd name="T14" fmla="*/ 1465 w 1638"/>
                  <a:gd name="T15" fmla="*/ 1039 h 1699"/>
                  <a:gd name="T16" fmla="*/ 1465 w 1638"/>
                  <a:gd name="T17" fmla="*/ 822 h 1699"/>
                  <a:gd name="T18" fmla="*/ 1447 w 1638"/>
                  <a:gd name="T19" fmla="*/ 617 h 1699"/>
                  <a:gd name="T20" fmla="*/ 1498 w 1638"/>
                  <a:gd name="T21" fmla="*/ 709 h 1699"/>
                  <a:gd name="T22" fmla="*/ 1626 w 1638"/>
                  <a:gd name="T23" fmla="*/ 1024 h 1699"/>
                  <a:gd name="T24" fmla="*/ 487 w 1638"/>
                  <a:gd name="T25" fmla="*/ 628 h 1699"/>
                  <a:gd name="T26" fmla="*/ 528 w 1638"/>
                  <a:gd name="T27" fmla="*/ 536 h 1699"/>
                  <a:gd name="T28" fmla="*/ 621 w 1638"/>
                  <a:gd name="T29" fmla="*/ 499 h 1699"/>
                  <a:gd name="T30" fmla="*/ 610 w 1638"/>
                  <a:gd name="T31" fmla="*/ 404 h 1699"/>
                  <a:gd name="T32" fmla="*/ 666 w 1638"/>
                  <a:gd name="T33" fmla="*/ 319 h 1699"/>
                  <a:gd name="T34" fmla="*/ 647 w 1638"/>
                  <a:gd name="T35" fmla="*/ 220 h 1699"/>
                  <a:gd name="T36" fmla="*/ 588 w 1638"/>
                  <a:gd name="T37" fmla="*/ 118 h 1699"/>
                  <a:gd name="T38" fmla="*/ 512 w 1638"/>
                  <a:gd name="T39" fmla="*/ 52 h 1699"/>
                  <a:gd name="T40" fmla="*/ 414 w 1638"/>
                  <a:gd name="T41" fmla="*/ 69 h 1699"/>
                  <a:gd name="T42" fmla="*/ 333 w 1638"/>
                  <a:gd name="T43" fmla="*/ 0 h 1699"/>
                  <a:gd name="T44" fmla="*/ 252 w 1638"/>
                  <a:gd name="T45" fmla="*/ 69 h 1699"/>
                  <a:gd name="T46" fmla="*/ 154 w 1638"/>
                  <a:gd name="T47" fmla="*/ 52 h 1699"/>
                  <a:gd name="T48" fmla="*/ 78 w 1638"/>
                  <a:gd name="T49" fmla="*/ 118 h 1699"/>
                  <a:gd name="T50" fmla="*/ 19 w 1638"/>
                  <a:gd name="T51" fmla="*/ 220 h 1699"/>
                  <a:gd name="T52" fmla="*/ 0 w 1638"/>
                  <a:gd name="T53" fmla="*/ 318 h 1699"/>
                  <a:gd name="T54" fmla="*/ 56 w 1638"/>
                  <a:gd name="T55" fmla="*/ 404 h 1699"/>
                  <a:gd name="T56" fmla="*/ 45 w 1638"/>
                  <a:gd name="T57" fmla="*/ 499 h 1699"/>
                  <a:gd name="T58" fmla="*/ 138 w 1638"/>
                  <a:gd name="T59" fmla="*/ 536 h 1699"/>
                  <a:gd name="T60" fmla="*/ 179 w 1638"/>
                  <a:gd name="T61" fmla="*/ 628 h 1699"/>
                  <a:gd name="T62" fmla="*/ 274 w 1638"/>
                  <a:gd name="T63" fmla="*/ 661 h 1699"/>
                  <a:gd name="T64" fmla="*/ 392 w 1638"/>
                  <a:gd name="T65" fmla="*/ 661 h 1699"/>
                  <a:gd name="T66" fmla="*/ 310 w 1638"/>
                  <a:gd name="T67" fmla="*/ 565 h 1699"/>
                  <a:gd name="T68" fmla="*/ 234 w 1638"/>
                  <a:gd name="T69" fmla="*/ 604 h 1699"/>
                  <a:gd name="T70" fmla="*/ 200 w 1638"/>
                  <a:gd name="T71" fmla="*/ 528 h 1699"/>
                  <a:gd name="T72" fmla="*/ 96 w 1638"/>
                  <a:gd name="T73" fmla="*/ 498 h 1699"/>
                  <a:gd name="T74" fmla="*/ 105 w 1638"/>
                  <a:gd name="T75" fmla="*/ 413 h 1699"/>
                  <a:gd name="T76" fmla="*/ 91 w 1638"/>
                  <a:gd name="T77" fmla="*/ 334 h 1699"/>
                  <a:gd name="T78" fmla="*/ 54 w 1638"/>
                  <a:gd name="T79" fmla="*/ 258 h 1699"/>
                  <a:gd name="T80" fmla="*/ 141 w 1638"/>
                  <a:gd name="T81" fmla="*/ 193 h 1699"/>
                  <a:gd name="T82" fmla="*/ 148 w 1638"/>
                  <a:gd name="T83" fmla="*/ 112 h 1699"/>
                  <a:gd name="T84" fmla="*/ 233 w 1638"/>
                  <a:gd name="T85" fmla="*/ 123 h 1699"/>
                  <a:gd name="T86" fmla="*/ 308 w 1638"/>
                  <a:gd name="T87" fmla="*/ 45 h 1699"/>
                  <a:gd name="T88" fmla="*/ 381 w 1638"/>
                  <a:gd name="T89" fmla="*/ 106 h 1699"/>
                  <a:gd name="T90" fmla="*/ 444 w 1638"/>
                  <a:gd name="T91" fmla="*/ 127 h 1699"/>
                  <a:gd name="T92" fmla="*/ 537 w 1638"/>
                  <a:gd name="T93" fmla="*/ 129 h 1699"/>
                  <a:gd name="T94" fmla="*/ 554 w 1638"/>
                  <a:gd name="T95" fmla="*/ 238 h 1699"/>
                  <a:gd name="T96" fmla="*/ 617 w 1638"/>
                  <a:gd name="T97" fmla="*/ 283 h 1699"/>
                  <a:gd name="T98" fmla="*/ 575 w 1638"/>
                  <a:gd name="T99" fmla="*/ 346 h 1699"/>
                  <a:gd name="T100" fmla="*/ 594 w 1638"/>
                  <a:gd name="T101" fmla="*/ 455 h 1699"/>
                  <a:gd name="T102" fmla="*/ 514 w 1638"/>
                  <a:gd name="T103" fmla="*/ 489 h 1699"/>
                  <a:gd name="T104" fmla="*/ 455 w 1638"/>
                  <a:gd name="T105" fmla="*/ 535 h 1699"/>
                  <a:gd name="T106" fmla="*/ 407 w 1638"/>
                  <a:gd name="T107" fmla="*/ 612 h 1699"/>
                  <a:gd name="T108" fmla="*/ 511 w 1638"/>
                  <a:gd name="T109" fmla="*/ 334 h 1699"/>
                  <a:gd name="T110" fmla="*/ 333 w 1638"/>
                  <a:gd name="T111" fmla="*/ 512 h 1699"/>
                  <a:gd name="T112" fmla="*/ 333 w 1638"/>
                  <a:gd name="T113" fmla="*/ 468 h 1699"/>
                  <a:gd name="T114" fmla="*/ 467 w 1638"/>
                  <a:gd name="T115" fmla="*/ 334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8" h="1699">
                    <a:moveTo>
                      <a:pt x="1626" y="1024"/>
                    </a:moveTo>
                    <a:cubicBezTo>
                      <a:pt x="1618" y="1042"/>
                      <a:pt x="1577" y="1086"/>
                      <a:pt x="1486" y="1084"/>
                    </a:cubicBezTo>
                    <a:cubicBezTo>
                      <a:pt x="1488" y="1111"/>
                      <a:pt x="1490" y="1154"/>
                      <a:pt x="1490" y="1199"/>
                    </a:cubicBezTo>
                    <a:cubicBezTo>
                      <a:pt x="1490" y="1335"/>
                      <a:pt x="1473" y="1369"/>
                      <a:pt x="1459" y="1384"/>
                    </a:cubicBezTo>
                    <a:cubicBezTo>
                      <a:pt x="1445" y="1398"/>
                      <a:pt x="1412" y="1417"/>
                      <a:pt x="1282" y="1416"/>
                    </a:cubicBezTo>
                    <a:cubicBezTo>
                      <a:pt x="1246" y="1415"/>
                      <a:pt x="1198" y="1413"/>
                      <a:pt x="1167" y="1410"/>
                    </a:cubicBezTo>
                    <a:cubicBezTo>
                      <a:pt x="1167" y="1676"/>
                      <a:pt x="1167" y="1676"/>
                      <a:pt x="1167" y="1676"/>
                    </a:cubicBezTo>
                    <a:cubicBezTo>
                      <a:pt x="1167" y="1688"/>
                      <a:pt x="1158" y="1698"/>
                      <a:pt x="1147" y="1698"/>
                    </a:cubicBezTo>
                    <a:cubicBezTo>
                      <a:pt x="1144" y="1698"/>
                      <a:pt x="1128" y="1699"/>
                      <a:pt x="1104" y="1699"/>
                    </a:cubicBezTo>
                    <a:cubicBezTo>
                      <a:pt x="1016" y="1699"/>
                      <a:pt x="813" y="1690"/>
                      <a:pt x="680" y="1609"/>
                    </a:cubicBezTo>
                    <a:cubicBezTo>
                      <a:pt x="674" y="1606"/>
                      <a:pt x="670" y="1598"/>
                      <a:pt x="670" y="1591"/>
                    </a:cubicBezTo>
                    <a:cubicBezTo>
                      <a:pt x="670" y="1298"/>
                      <a:pt x="670" y="1298"/>
                      <a:pt x="670" y="1298"/>
                    </a:cubicBezTo>
                    <a:cubicBezTo>
                      <a:pt x="686" y="1311"/>
                      <a:pt x="701" y="1321"/>
                      <a:pt x="714" y="1327"/>
                    </a:cubicBezTo>
                    <a:cubicBezTo>
                      <a:pt x="714" y="1578"/>
                      <a:pt x="714" y="1578"/>
                      <a:pt x="714" y="1578"/>
                    </a:cubicBezTo>
                    <a:cubicBezTo>
                      <a:pt x="848" y="1652"/>
                      <a:pt x="1057" y="1656"/>
                      <a:pt x="1123" y="1655"/>
                    </a:cubicBezTo>
                    <a:cubicBezTo>
                      <a:pt x="1123" y="1385"/>
                      <a:pt x="1123" y="1385"/>
                      <a:pt x="1123" y="1385"/>
                    </a:cubicBezTo>
                    <a:cubicBezTo>
                      <a:pt x="1123" y="1378"/>
                      <a:pt x="1127" y="1371"/>
                      <a:pt x="1133" y="1367"/>
                    </a:cubicBezTo>
                    <a:cubicBezTo>
                      <a:pt x="1139" y="1364"/>
                      <a:pt x="1145" y="1363"/>
                      <a:pt x="1151" y="1364"/>
                    </a:cubicBezTo>
                    <a:cubicBezTo>
                      <a:pt x="1160" y="1366"/>
                      <a:pt x="1222" y="1371"/>
                      <a:pt x="1288" y="1372"/>
                    </a:cubicBezTo>
                    <a:cubicBezTo>
                      <a:pt x="1406" y="1372"/>
                      <a:pt x="1425" y="1355"/>
                      <a:pt x="1427" y="1354"/>
                    </a:cubicBezTo>
                    <a:cubicBezTo>
                      <a:pt x="1429" y="1352"/>
                      <a:pt x="1446" y="1331"/>
                      <a:pt x="1446" y="1200"/>
                    </a:cubicBezTo>
                    <a:cubicBezTo>
                      <a:pt x="1446" y="1129"/>
                      <a:pt x="1441" y="1063"/>
                      <a:pt x="1440" y="1062"/>
                    </a:cubicBezTo>
                    <a:cubicBezTo>
                      <a:pt x="1440" y="1056"/>
                      <a:pt x="1442" y="1049"/>
                      <a:pt x="1447" y="1045"/>
                    </a:cubicBezTo>
                    <a:cubicBezTo>
                      <a:pt x="1452" y="1040"/>
                      <a:pt x="1458" y="1038"/>
                      <a:pt x="1465" y="1039"/>
                    </a:cubicBezTo>
                    <a:cubicBezTo>
                      <a:pt x="1543" y="1047"/>
                      <a:pt x="1577" y="1019"/>
                      <a:pt x="1584" y="1008"/>
                    </a:cubicBezTo>
                    <a:cubicBezTo>
                      <a:pt x="1583" y="999"/>
                      <a:pt x="1571" y="971"/>
                      <a:pt x="1541" y="942"/>
                    </a:cubicBezTo>
                    <a:cubicBezTo>
                      <a:pt x="1499" y="900"/>
                      <a:pt x="1473" y="840"/>
                      <a:pt x="1465" y="822"/>
                    </a:cubicBezTo>
                    <a:cubicBezTo>
                      <a:pt x="1457" y="803"/>
                      <a:pt x="1456" y="765"/>
                      <a:pt x="1455" y="710"/>
                    </a:cubicBezTo>
                    <a:cubicBezTo>
                      <a:pt x="1454" y="689"/>
                      <a:pt x="1453" y="668"/>
                      <a:pt x="1452" y="654"/>
                    </a:cubicBezTo>
                    <a:cubicBezTo>
                      <a:pt x="1451" y="643"/>
                      <a:pt x="1449" y="631"/>
                      <a:pt x="1447" y="617"/>
                    </a:cubicBezTo>
                    <a:cubicBezTo>
                      <a:pt x="1461" y="604"/>
                      <a:pt x="1474" y="591"/>
                      <a:pt x="1485" y="578"/>
                    </a:cubicBezTo>
                    <a:cubicBezTo>
                      <a:pt x="1490" y="603"/>
                      <a:pt x="1494" y="631"/>
                      <a:pt x="1496" y="650"/>
                    </a:cubicBezTo>
                    <a:cubicBezTo>
                      <a:pt x="1497" y="666"/>
                      <a:pt x="1498" y="687"/>
                      <a:pt x="1498" y="709"/>
                    </a:cubicBezTo>
                    <a:cubicBezTo>
                      <a:pt x="1499" y="744"/>
                      <a:pt x="1501" y="792"/>
                      <a:pt x="1506" y="805"/>
                    </a:cubicBezTo>
                    <a:cubicBezTo>
                      <a:pt x="1519" y="838"/>
                      <a:pt x="1543" y="882"/>
                      <a:pt x="1572" y="911"/>
                    </a:cubicBezTo>
                    <a:cubicBezTo>
                      <a:pt x="1607" y="945"/>
                      <a:pt x="1638" y="995"/>
                      <a:pt x="1626" y="1024"/>
                    </a:cubicBezTo>
                    <a:close/>
                    <a:moveTo>
                      <a:pt x="405" y="658"/>
                    </a:moveTo>
                    <a:cubicBezTo>
                      <a:pt x="424" y="653"/>
                      <a:pt x="446" y="646"/>
                      <a:pt x="446" y="645"/>
                    </a:cubicBezTo>
                    <a:cubicBezTo>
                      <a:pt x="447" y="645"/>
                      <a:pt x="469" y="637"/>
                      <a:pt x="487" y="628"/>
                    </a:cubicBezTo>
                    <a:cubicBezTo>
                      <a:pt x="498" y="622"/>
                      <a:pt x="498" y="622"/>
                      <a:pt x="498" y="622"/>
                    </a:cubicBezTo>
                    <a:cubicBezTo>
                      <a:pt x="499" y="559"/>
                      <a:pt x="499" y="559"/>
                      <a:pt x="499" y="559"/>
                    </a:cubicBezTo>
                    <a:cubicBezTo>
                      <a:pt x="509" y="552"/>
                      <a:pt x="519" y="545"/>
                      <a:pt x="528" y="536"/>
                    </a:cubicBezTo>
                    <a:cubicBezTo>
                      <a:pt x="589" y="546"/>
                      <a:pt x="589" y="546"/>
                      <a:pt x="589" y="546"/>
                    </a:cubicBezTo>
                    <a:cubicBezTo>
                      <a:pt x="597" y="536"/>
                      <a:pt x="597" y="536"/>
                      <a:pt x="597" y="536"/>
                    </a:cubicBezTo>
                    <a:cubicBezTo>
                      <a:pt x="609" y="520"/>
                      <a:pt x="620" y="500"/>
                      <a:pt x="621" y="499"/>
                    </a:cubicBezTo>
                    <a:cubicBezTo>
                      <a:pt x="621" y="498"/>
                      <a:pt x="633" y="478"/>
                      <a:pt x="640" y="460"/>
                    </a:cubicBezTo>
                    <a:cubicBezTo>
                      <a:pt x="646" y="448"/>
                      <a:pt x="646" y="448"/>
                      <a:pt x="646" y="448"/>
                    </a:cubicBezTo>
                    <a:cubicBezTo>
                      <a:pt x="610" y="404"/>
                      <a:pt x="610" y="404"/>
                      <a:pt x="610" y="404"/>
                    </a:cubicBezTo>
                    <a:cubicBezTo>
                      <a:pt x="614" y="390"/>
                      <a:pt x="617" y="375"/>
                      <a:pt x="618" y="360"/>
                    </a:cubicBezTo>
                    <a:cubicBezTo>
                      <a:pt x="666" y="332"/>
                      <a:pt x="666" y="332"/>
                      <a:pt x="666" y="332"/>
                    </a:cubicBezTo>
                    <a:cubicBezTo>
                      <a:pt x="666" y="319"/>
                      <a:pt x="666" y="319"/>
                      <a:pt x="666" y="319"/>
                    </a:cubicBezTo>
                    <a:cubicBezTo>
                      <a:pt x="664" y="299"/>
                      <a:pt x="660" y="276"/>
                      <a:pt x="660" y="275"/>
                    </a:cubicBezTo>
                    <a:cubicBezTo>
                      <a:pt x="660" y="274"/>
                      <a:pt x="656" y="252"/>
                      <a:pt x="650" y="233"/>
                    </a:cubicBezTo>
                    <a:cubicBezTo>
                      <a:pt x="647" y="220"/>
                      <a:pt x="647" y="220"/>
                      <a:pt x="647" y="220"/>
                    </a:cubicBezTo>
                    <a:cubicBezTo>
                      <a:pt x="588" y="209"/>
                      <a:pt x="588" y="209"/>
                      <a:pt x="588" y="209"/>
                    </a:cubicBezTo>
                    <a:cubicBezTo>
                      <a:pt x="582" y="197"/>
                      <a:pt x="575" y="186"/>
                      <a:pt x="567" y="176"/>
                    </a:cubicBezTo>
                    <a:cubicBezTo>
                      <a:pt x="588" y="118"/>
                      <a:pt x="588" y="118"/>
                      <a:pt x="588" y="118"/>
                    </a:cubicBezTo>
                    <a:cubicBezTo>
                      <a:pt x="579" y="108"/>
                      <a:pt x="579" y="108"/>
                      <a:pt x="579" y="108"/>
                    </a:cubicBezTo>
                    <a:cubicBezTo>
                      <a:pt x="565" y="94"/>
                      <a:pt x="547" y="79"/>
                      <a:pt x="547" y="78"/>
                    </a:cubicBezTo>
                    <a:cubicBezTo>
                      <a:pt x="546" y="78"/>
                      <a:pt x="528" y="63"/>
                      <a:pt x="512" y="52"/>
                    </a:cubicBezTo>
                    <a:cubicBezTo>
                      <a:pt x="501" y="45"/>
                      <a:pt x="501" y="45"/>
                      <a:pt x="501" y="45"/>
                    </a:cubicBezTo>
                    <a:cubicBezTo>
                      <a:pt x="441" y="78"/>
                      <a:pt x="441" y="78"/>
                      <a:pt x="441" y="78"/>
                    </a:cubicBezTo>
                    <a:cubicBezTo>
                      <a:pt x="432" y="75"/>
                      <a:pt x="423" y="72"/>
                      <a:pt x="414" y="69"/>
                    </a:cubicBezTo>
                    <a:cubicBezTo>
                      <a:pt x="390" y="4"/>
                      <a:pt x="390" y="4"/>
                      <a:pt x="390" y="4"/>
                    </a:cubicBezTo>
                    <a:cubicBezTo>
                      <a:pt x="377" y="3"/>
                      <a:pt x="377" y="3"/>
                      <a:pt x="377" y="3"/>
                    </a:cubicBezTo>
                    <a:cubicBezTo>
                      <a:pt x="357" y="0"/>
                      <a:pt x="334" y="0"/>
                      <a:pt x="333" y="0"/>
                    </a:cubicBezTo>
                    <a:cubicBezTo>
                      <a:pt x="332" y="0"/>
                      <a:pt x="309" y="0"/>
                      <a:pt x="290" y="3"/>
                    </a:cubicBezTo>
                    <a:cubicBezTo>
                      <a:pt x="276" y="4"/>
                      <a:pt x="276" y="4"/>
                      <a:pt x="276" y="4"/>
                    </a:cubicBezTo>
                    <a:cubicBezTo>
                      <a:pt x="252" y="69"/>
                      <a:pt x="252" y="69"/>
                      <a:pt x="252" y="69"/>
                    </a:cubicBezTo>
                    <a:cubicBezTo>
                      <a:pt x="243" y="72"/>
                      <a:pt x="234" y="75"/>
                      <a:pt x="225" y="78"/>
                    </a:cubicBezTo>
                    <a:cubicBezTo>
                      <a:pt x="165" y="45"/>
                      <a:pt x="165" y="45"/>
                      <a:pt x="165" y="45"/>
                    </a:cubicBezTo>
                    <a:cubicBezTo>
                      <a:pt x="154" y="52"/>
                      <a:pt x="154" y="52"/>
                      <a:pt x="154" y="52"/>
                    </a:cubicBezTo>
                    <a:cubicBezTo>
                      <a:pt x="138" y="63"/>
                      <a:pt x="120" y="77"/>
                      <a:pt x="119" y="78"/>
                    </a:cubicBezTo>
                    <a:cubicBezTo>
                      <a:pt x="119" y="79"/>
                      <a:pt x="101" y="93"/>
                      <a:pt x="88" y="108"/>
                    </a:cubicBezTo>
                    <a:cubicBezTo>
                      <a:pt x="78" y="118"/>
                      <a:pt x="78" y="118"/>
                      <a:pt x="78" y="118"/>
                    </a:cubicBezTo>
                    <a:cubicBezTo>
                      <a:pt x="99" y="176"/>
                      <a:pt x="99" y="176"/>
                      <a:pt x="99" y="176"/>
                    </a:cubicBezTo>
                    <a:cubicBezTo>
                      <a:pt x="91" y="186"/>
                      <a:pt x="84" y="197"/>
                      <a:pt x="78" y="209"/>
                    </a:cubicBezTo>
                    <a:cubicBezTo>
                      <a:pt x="19" y="220"/>
                      <a:pt x="19" y="220"/>
                      <a:pt x="19" y="220"/>
                    </a:cubicBezTo>
                    <a:cubicBezTo>
                      <a:pt x="16" y="232"/>
                      <a:pt x="16" y="232"/>
                      <a:pt x="16" y="232"/>
                    </a:cubicBezTo>
                    <a:cubicBezTo>
                      <a:pt x="10" y="251"/>
                      <a:pt x="6" y="274"/>
                      <a:pt x="6" y="275"/>
                    </a:cubicBezTo>
                    <a:cubicBezTo>
                      <a:pt x="5" y="276"/>
                      <a:pt x="1" y="298"/>
                      <a:pt x="0" y="318"/>
                    </a:cubicBezTo>
                    <a:cubicBezTo>
                      <a:pt x="0" y="332"/>
                      <a:pt x="0" y="332"/>
                      <a:pt x="0" y="332"/>
                    </a:cubicBezTo>
                    <a:cubicBezTo>
                      <a:pt x="48" y="360"/>
                      <a:pt x="48" y="360"/>
                      <a:pt x="48" y="360"/>
                    </a:cubicBezTo>
                    <a:cubicBezTo>
                      <a:pt x="50" y="375"/>
                      <a:pt x="52" y="390"/>
                      <a:pt x="56" y="404"/>
                    </a:cubicBezTo>
                    <a:cubicBezTo>
                      <a:pt x="20" y="448"/>
                      <a:pt x="20" y="448"/>
                      <a:pt x="20" y="448"/>
                    </a:cubicBezTo>
                    <a:cubicBezTo>
                      <a:pt x="25" y="460"/>
                      <a:pt x="25" y="460"/>
                      <a:pt x="25" y="460"/>
                    </a:cubicBezTo>
                    <a:cubicBezTo>
                      <a:pt x="33" y="478"/>
                      <a:pt x="44" y="498"/>
                      <a:pt x="45" y="499"/>
                    </a:cubicBezTo>
                    <a:cubicBezTo>
                      <a:pt x="45" y="500"/>
                      <a:pt x="57" y="520"/>
                      <a:pt x="69" y="535"/>
                    </a:cubicBezTo>
                    <a:cubicBezTo>
                      <a:pt x="77" y="546"/>
                      <a:pt x="77" y="546"/>
                      <a:pt x="77" y="546"/>
                    </a:cubicBezTo>
                    <a:cubicBezTo>
                      <a:pt x="138" y="536"/>
                      <a:pt x="138" y="536"/>
                      <a:pt x="138" y="536"/>
                    </a:cubicBezTo>
                    <a:cubicBezTo>
                      <a:pt x="147" y="544"/>
                      <a:pt x="156" y="552"/>
                      <a:pt x="166" y="559"/>
                    </a:cubicBezTo>
                    <a:cubicBezTo>
                      <a:pt x="167" y="622"/>
                      <a:pt x="167" y="622"/>
                      <a:pt x="167" y="622"/>
                    </a:cubicBezTo>
                    <a:cubicBezTo>
                      <a:pt x="179" y="628"/>
                      <a:pt x="179" y="628"/>
                      <a:pt x="179" y="628"/>
                    </a:cubicBezTo>
                    <a:cubicBezTo>
                      <a:pt x="197" y="637"/>
                      <a:pt x="218" y="645"/>
                      <a:pt x="219" y="645"/>
                    </a:cubicBezTo>
                    <a:cubicBezTo>
                      <a:pt x="220" y="645"/>
                      <a:pt x="242" y="653"/>
                      <a:pt x="261" y="658"/>
                    </a:cubicBezTo>
                    <a:cubicBezTo>
                      <a:pt x="274" y="661"/>
                      <a:pt x="274" y="661"/>
                      <a:pt x="274" y="661"/>
                    </a:cubicBezTo>
                    <a:cubicBezTo>
                      <a:pt x="317" y="610"/>
                      <a:pt x="317" y="610"/>
                      <a:pt x="317" y="610"/>
                    </a:cubicBezTo>
                    <a:cubicBezTo>
                      <a:pt x="328" y="611"/>
                      <a:pt x="338" y="611"/>
                      <a:pt x="348" y="610"/>
                    </a:cubicBezTo>
                    <a:cubicBezTo>
                      <a:pt x="392" y="661"/>
                      <a:pt x="392" y="661"/>
                      <a:pt x="392" y="661"/>
                    </a:cubicBezTo>
                    <a:lnTo>
                      <a:pt x="405" y="658"/>
                    </a:lnTo>
                    <a:close/>
                    <a:moveTo>
                      <a:pt x="356" y="565"/>
                    </a:moveTo>
                    <a:cubicBezTo>
                      <a:pt x="340" y="567"/>
                      <a:pt x="325" y="567"/>
                      <a:pt x="310" y="565"/>
                    </a:cubicBezTo>
                    <a:cubicBezTo>
                      <a:pt x="299" y="564"/>
                      <a:pt x="299" y="564"/>
                      <a:pt x="299" y="564"/>
                    </a:cubicBezTo>
                    <a:cubicBezTo>
                      <a:pt x="258" y="612"/>
                      <a:pt x="258" y="612"/>
                      <a:pt x="258" y="612"/>
                    </a:cubicBezTo>
                    <a:cubicBezTo>
                      <a:pt x="245" y="608"/>
                      <a:pt x="234" y="604"/>
                      <a:pt x="234" y="604"/>
                    </a:cubicBezTo>
                    <a:cubicBezTo>
                      <a:pt x="234" y="604"/>
                      <a:pt x="223" y="600"/>
                      <a:pt x="211" y="594"/>
                    </a:cubicBezTo>
                    <a:cubicBezTo>
                      <a:pt x="210" y="535"/>
                      <a:pt x="210" y="535"/>
                      <a:pt x="210" y="535"/>
                    </a:cubicBezTo>
                    <a:cubicBezTo>
                      <a:pt x="200" y="528"/>
                      <a:pt x="200" y="528"/>
                      <a:pt x="200" y="528"/>
                    </a:cubicBezTo>
                    <a:cubicBezTo>
                      <a:pt x="186" y="519"/>
                      <a:pt x="172" y="509"/>
                      <a:pt x="160" y="497"/>
                    </a:cubicBezTo>
                    <a:cubicBezTo>
                      <a:pt x="152" y="489"/>
                      <a:pt x="152" y="489"/>
                      <a:pt x="152" y="489"/>
                    </a:cubicBezTo>
                    <a:cubicBezTo>
                      <a:pt x="96" y="498"/>
                      <a:pt x="96" y="498"/>
                      <a:pt x="96" y="498"/>
                    </a:cubicBezTo>
                    <a:cubicBezTo>
                      <a:pt x="89" y="487"/>
                      <a:pt x="83" y="477"/>
                      <a:pt x="83" y="477"/>
                    </a:cubicBezTo>
                    <a:cubicBezTo>
                      <a:pt x="83" y="477"/>
                      <a:pt x="77" y="466"/>
                      <a:pt x="71" y="455"/>
                    </a:cubicBezTo>
                    <a:cubicBezTo>
                      <a:pt x="105" y="413"/>
                      <a:pt x="105" y="413"/>
                      <a:pt x="105" y="413"/>
                    </a:cubicBezTo>
                    <a:cubicBezTo>
                      <a:pt x="101" y="402"/>
                      <a:pt x="101" y="402"/>
                      <a:pt x="101" y="402"/>
                    </a:cubicBezTo>
                    <a:cubicBezTo>
                      <a:pt x="96" y="384"/>
                      <a:pt x="92" y="365"/>
                      <a:pt x="91" y="346"/>
                    </a:cubicBezTo>
                    <a:cubicBezTo>
                      <a:pt x="91" y="334"/>
                      <a:pt x="91" y="334"/>
                      <a:pt x="91" y="334"/>
                    </a:cubicBezTo>
                    <a:cubicBezTo>
                      <a:pt x="45" y="308"/>
                      <a:pt x="45" y="308"/>
                      <a:pt x="45" y="308"/>
                    </a:cubicBezTo>
                    <a:cubicBezTo>
                      <a:pt x="47" y="294"/>
                      <a:pt x="49" y="283"/>
                      <a:pt x="49" y="283"/>
                    </a:cubicBezTo>
                    <a:cubicBezTo>
                      <a:pt x="49" y="282"/>
                      <a:pt x="51" y="271"/>
                      <a:pt x="54" y="258"/>
                    </a:cubicBezTo>
                    <a:cubicBezTo>
                      <a:pt x="108" y="248"/>
                      <a:pt x="108" y="248"/>
                      <a:pt x="108" y="248"/>
                    </a:cubicBezTo>
                    <a:cubicBezTo>
                      <a:pt x="113" y="238"/>
                      <a:pt x="113" y="238"/>
                      <a:pt x="113" y="238"/>
                    </a:cubicBezTo>
                    <a:cubicBezTo>
                      <a:pt x="120" y="222"/>
                      <a:pt x="130" y="207"/>
                      <a:pt x="141" y="193"/>
                    </a:cubicBezTo>
                    <a:cubicBezTo>
                      <a:pt x="148" y="184"/>
                      <a:pt x="148" y="184"/>
                      <a:pt x="148" y="184"/>
                    </a:cubicBezTo>
                    <a:cubicBezTo>
                      <a:pt x="129" y="129"/>
                      <a:pt x="129" y="129"/>
                      <a:pt x="129" y="129"/>
                    </a:cubicBezTo>
                    <a:cubicBezTo>
                      <a:pt x="138" y="120"/>
                      <a:pt x="148" y="112"/>
                      <a:pt x="148" y="112"/>
                    </a:cubicBezTo>
                    <a:cubicBezTo>
                      <a:pt x="148" y="112"/>
                      <a:pt x="157" y="104"/>
                      <a:pt x="168" y="96"/>
                    </a:cubicBezTo>
                    <a:cubicBezTo>
                      <a:pt x="223" y="127"/>
                      <a:pt x="223" y="127"/>
                      <a:pt x="223" y="127"/>
                    </a:cubicBezTo>
                    <a:cubicBezTo>
                      <a:pt x="233" y="123"/>
                      <a:pt x="233" y="123"/>
                      <a:pt x="233" y="123"/>
                    </a:cubicBezTo>
                    <a:cubicBezTo>
                      <a:pt x="246" y="117"/>
                      <a:pt x="260" y="112"/>
                      <a:pt x="274" y="109"/>
                    </a:cubicBezTo>
                    <a:cubicBezTo>
                      <a:pt x="285" y="106"/>
                      <a:pt x="285" y="106"/>
                      <a:pt x="285" y="106"/>
                    </a:cubicBezTo>
                    <a:cubicBezTo>
                      <a:pt x="308" y="45"/>
                      <a:pt x="308" y="45"/>
                      <a:pt x="308" y="45"/>
                    </a:cubicBezTo>
                    <a:cubicBezTo>
                      <a:pt x="321" y="44"/>
                      <a:pt x="333" y="44"/>
                      <a:pt x="333" y="44"/>
                    </a:cubicBezTo>
                    <a:cubicBezTo>
                      <a:pt x="333" y="44"/>
                      <a:pt x="345" y="44"/>
                      <a:pt x="358" y="45"/>
                    </a:cubicBezTo>
                    <a:cubicBezTo>
                      <a:pt x="381" y="106"/>
                      <a:pt x="381" y="106"/>
                      <a:pt x="381" y="106"/>
                    </a:cubicBezTo>
                    <a:cubicBezTo>
                      <a:pt x="393" y="109"/>
                      <a:pt x="393" y="109"/>
                      <a:pt x="393" y="109"/>
                    </a:cubicBezTo>
                    <a:cubicBezTo>
                      <a:pt x="407" y="112"/>
                      <a:pt x="420" y="117"/>
                      <a:pt x="434" y="123"/>
                    </a:cubicBezTo>
                    <a:cubicBezTo>
                      <a:pt x="444" y="127"/>
                      <a:pt x="444" y="127"/>
                      <a:pt x="444" y="127"/>
                    </a:cubicBezTo>
                    <a:cubicBezTo>
                      <a:pt x="499" y="96"/>
                      <a:pt x="499" y="96"/>
                      <a:pt x="499" y="96"/>
                    </a:cubicBezTo>
                    <a:cubicBezTo>
                      <a:pt x="509" y="104"/>
                      <a:pt x="518" y="112"/>
                      <a:pt x="518" y="112"/>
                    </a:cubicBezTo>
                    <a:cubicBezTo>
                      <a:pt x="519" y="112"/>
                      <a:pt x="528" y="120"/>
                      <a:pt x="537" y="129"/>
                    </a:cubicBezTo>
                    <a:cubicBezTo>
                      <a:pt x="518" y="184"/>
                      <a:pt x="518" y="184"/>
                      <a:pt x="518" y="184"/>
                    </a:cubicBezTo>
                    <a:cubicBezTo>
                      <a:pt x="526" y="193"/>
                      <a:pt x="526" y="193"/>
                      <a:pt x="526" y="193"/>
                    </a:cubicBezTo>
                    <a:cubicBezTo>
                      <a:pt x="537" y="207"/>
                      <a:pt x="546" y="222"/>
                      <a:pt x="554" y="238"/>
                    </a:cubicBezTo>
                    <a:cubicBezTo>
                      <a:pt x="558" y="248"/>
                      <a:pt x="558" y="248"/>
                      <a:pt x="558" y="248"/>
                    </a:cubicBezTo>
                    <a:cubicBezTo>
                      <a:pt x="612" y="258"/>
                      <a:pt x="612" y="258"/>
                      <a:pt x="612" y="258"/>
                    </a:cubicBezTo>
                    <a:cubicBezTo>
                      <a:pt x="615" y="271"/>
                      <a:pt x="617" y="283"/>
                      <a:pt x="617" y="283"/>
                    </a:cubicBezTo>
                    <a:cubicBezTo>
                      <a:pt x="617" y="283"/>
                      <a:pt x="619" y="295"/>
                      <a:pt x="620" y="308"/>
                    </a:cubicBezTo>
                    <a:cubicBezTo>
                      <a:pt x="576" y="334"/>
                      <a:pt x="576" y="334"/>
                      <a:pt x="576" y="334"/>
                    </a:cubicBezTo>
                    <a:cubicBezTo>
                      <a:pt x="575" y="346"/>
                      <a:pt x="575" y="346"/>
                      <a:pt x="575" y="346"/>
                    </a:cubicBezTo>
                    <a:cubicBezTo>
                      <a:pt x="574" y="365"/>
                      <a:pt x="570" y="384"/>
                      <a:pt x="565" y="403"/>
                    </a:cubicBezTo>
                    <a:cubicBezTo>
                      <a:pt x="561" y="414"/>
                      <a:pt x="561" y="414"/>
                      <a:pt x="561" y="414"/>
                    </a:cubicBezTo>
                    <a:cubicBezTo>
                      <a:pt x="594" y="455"/>
                      <a:pt x="594" y="455"/>
                      <a:pt x="594" y="455"/>
                    </a:cubicBezTo>
                    <a:cubicBezTo>
                      <a:pt x="589" y="467"/>
                      <a:pt x="583" y="477"/>
                      <a:pt x="583" y="477"/>
                    </a:cubicBezTo>
                    <a:cubicBezTo>
                      <a:pt x="583" y="477"/>
                      <a:pt x="577" y="488"/>
                      <a:pt x="569" y="499"/>
                    </a:cubicBezTo>
                    <a:cubicBezTo>
                      <a:pt x="514" y="489"/>
                      <a:pt x="514" y="489"/>
                      <a:pt x="514" y="489"/>
                    </a:cubicBezTo>
                    <a:cubicBezTo>
                      <a:pt x="506" y="497"/>
                      <a:pt x="506" y="497"/>
                      <a:pt x="506" y="497"/>
                    </a:cubicBezTo>
                    <a:cubicBezTo>
                      <a:pt x="493" y="509"/>
                      <a:pt x="480" y="519"/>
                      <a:pt x="466" y="529"/>
                    </a:cubicBezTo>
                    <a:cubicBezTo>
                      <a:pt x="455" y="535"/>
                      <a:pt x="455" y="535"/>
                      <a:pt x="455" y="535"/>
                    </a:cubicBezTo>
                    <a:cubicBezTo>
                      <a:pt x="455" y="594"/>
                      <a:pt x="455" y="594"/>
                      <a:pt x="455" y="594"/>
                    </a:cubicBezTo>
                    <a:cubicBezTo>
                      <a:pt x="443" y="600"/>
                      <a:pt x="432" y="604"/>
                      <a:pt x="431" y="604"/>
                    </a:cubicBezTo>
                    <a:cubicBezTo>
                      <a:pt x="431" y="604"/>
                      <a:pt x="420" y="608"/>
                      <a:pt x="407" y="612"/>
                    </a:cubicBezTo>
                    <a:cubicBezTo>
                      <a:pt x="367" y="564"/>
                      <a:pt x="367" y="564"/>
                      <a:pt x="367" y="564"/>
                    </a:cubicBezTo>
                    <a:lnTo>
                      <a:pt x="356" y="565"/>
                    </a:lnTo>
                    <a:close/>
                    <a:moveTo>
                      <a:pt x="511" y="334"/>
                    </a:moveTo>
                    <a:cubicBezTo>
                      <a:pt x="511" y="236"/>
                      <a:pt x="431" y="156"/>
                      <a:pt x="333" y="156"/>
                    </a:cubicBezTo>
                    <a:cubicBezTo>
                      <a:pt x="235" y="156"/>
                      <a:pt x="155" y="236"/>
                      <a:pt x="155" y="334"/>
                    </a:cubicBezTo>
                    <a:cubicBezTo>
                      <a:pt x="155" y="432"/>
                      <a:pt x="235" y="512"/>
                      <a:pt x="333" y="512"/>
                    </a:cubicBezTo>
                    <a:cubicBezTo>
                      <a:pt x="431" y="512"/>
                      <a:pt x="511" y="432"/>
                      <a:pt x="511" y="334"/>
                    </a:cubicBezTo>
                    <a:close/>
                    <a:moveTo>
                      <a:pt x="467" y="334"/>
                    </a:moveTo>
                    <a:cubicBezTo>
                      <a:pt x="467" y="408"/>
                      <a:pt x="407" y="468"/>
                      <a:pt x="333" y="468"/>
                    </a:cubicBezTo>
                    <a:cubicBezTo>
                      <a:pt x="259" y="468"/>
                      <a:pt x="199" y="408"/>
                      <a:pt x="199" y="334"/>
                    </a:cubicBezTo>
                    <a:cubicBezTo>
                      <a:pt x="199" y="260"/>
                      <a:pt x="259" y="200"/>
                      <a:pt x="333" y="200"/>
                    </a:cubicBezTo>
                    <a:cubicBezTo>
                      <a:pt x="407" y="200"/>
                      <a:pt x="467" y="260"/>
                      <a:pt x="467" y="33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 name="Group 2"/>
          <p:cNvGrpSpPr/>
          <p:nvPr/>
        </p:nvGrpSpPr>
        <p:grpSpPr>
          <a:xfrm>
            <a:off x="3290269" y="5014650"/>
            <a:ext cx="5611463" cy="1645920"/>
            <a:chOff x="658391" y="4753495"/>
            <a:chExt cx="5611463" cy="1645920"/>
          </a:xfrm>
        </p:grpSpPr>
        <p:grpSp>
          <p:nvGrpSpPr>
            <p:cNvPr id="48" name="bcgIcons_Roadmap">
              <a:extLst>
                <a:ext uri="{FF2B5EF4-FFF2-40B4-BE49-F238E27FC236}">
                  <a16:creationId xmlns:a16="http://schemas.microsoft.com/office/drawing/2014/main" id="{0685C32E-FF8D-44BD-9E01-D285D3A038CD}"/>
                </a:ext>
              </a:extLst>
            </p:cNvPr>
            <p:cNvGrpSpPr>
              <a:grpSpLocks noChangeAspect="1"/>
            </p:cNvGrpSpPr>
            <p:nvPr/>
          </p:nvGrpSpPr>
          <p:grpSpPr bwMode="auto">
            <a:xfrm>
              <a:off x="658391" y="4753495"/>
              <a:ext cx="1644396" cy="1645920"/>
              <a:chOff x="1682" y="0"/>
              <a:chExt cx="4316" cy="4320"/>
            </a:xfrm>
          </p:grpSpPr>
          <p:sp>
            <p:nvSpPr>
              <p:cNvPr id="49" name="AutoShape 8">
                <a:extLst>
                  <a:ext uri="{FF2B5EF4-FFF2-40B4-BE49-F238E27FC236}">
                    <a16:creationId xmlns:a16="http://schemas.microsoft.com/office/drawing/2014/main" id="{FA4B4231-E823-4B94-9F8B-B0EE11FF860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49">
                <a:extLst>
                  <a:ext uri="{FF2B5EF4-FFF2-40B4-BE49-F238E27FC236}">
                    <a16:creationId xmlns:a16="http://schemas.microsoft.com/office/drawing/2014/main" id="{46CD98F2-436F-4C5E-BE78-ABF5904DED69}"/>
                  </a:ext>
                </a:extLst>
              </p:cNvPr>
              <p:cNvSpPr>
                <a:spLocks noEditPoints="1"/>
              </p:cNvSpPr>
              <p:nvPr/>
            </p:nvSpPr>
            <p:spPr bwMode="auto">
              <a:xfrm>
                <a:off x="2122" y="932"/>
                <a:ext cx="3436" cy="2452"/>
              </a:xfrm>
              <a:custGeom>
                <a:avLst/>
                <a:gdLst>
                  <a:gd name="T0" fmla="*/ 1790 w 1834"/>
                  <a:gd name="T1" fmla="*/ 1308 h 1308"/>
                  <a:gd name="T2" fmla="*/ 44 w 1834"/>
                  <a:gd name="T3" fmla="*/ 1308 h 1308"/>
                  <a:gd name="T4" fmla="*/ 0 w 1834"/>
                  <a:gd name="T5" fmla="*/ 1264 h 1308"/>
                  <a:gd name="T6" fmla="*/ 0 w 1834"/>
                  <a:gd name="T7" fmla="*/ 44 h 1308"/>
                  <a:gd name="T8" fmla="*/ 44 w 1834"/>
                  <a:gd name="T9" fmla="*/ 0 h 1308"/>
                  <a:gd name="T10" fmla="*/ 1790 w 1834"/>
                  <a:gd name="T11" fmla="*/ 0 h 1308"/>
                  <a:gd name="T12" fmla="*/ 1834 w 1834"/>
                  <a:gd name="T13" fmla="*/ 44 h 1308"/>
                  <a:gd name="T14" fmla="*/ 1834 w 1834"/>
                  <a:gd name="T15" fmla="*/ 1264 h 1308"/>
                  <a:gd name="T16" fmla="*/ 1790 w 1834"/>
                  <a:gd name="T17" fmla="*/ 1308 h 1308"/>
                  <a:gd name="T18" fmla="*/ 44 w 1834"/>
                  <a:gd name="T19" fmla="*/ 44 h 1308"/>
                  <a:gd name="T20" fmla="*/ 44 w 1834"/>
                  <a:gd name="T21" fmla="*/ 1264 h 1308"/>
                  <a:gd name="T22" fmla="*/ 1790 w 1834"/>
                  <a:gd name="T23" fmla="*/ 1264 h 1308"/>
                  <a:gd name="T24" fmla="*/ 1790 w 1834"/>
                  <a:gd name="T25" fmla="*/ 44 h 1308"/>
                  <a:gd name="T26" fmla="*/ 44 w 1834"/>
                  <a:gd name="T27" fmla="*/ 44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34" h="1308">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50">
                <a:extLst>
                  <a:ext uri="{FF2B5EF4-FFF2-40B4-BE49-F238E27FC236}">
                    <a16:creationId xmlns:a16="http://schemas.microsoft.com/office/drawing/2014/main" id="{0DF23FA5-1790-4F52-BC67-48B32ACA32AD}"/>
                  </a:ext>
                </a:extLst>
              </p:cNvPr>
              <p:cNvSpPr>
                <a:spLocks noEditPoints="1"/>
              </p:cNvSpPr>
              <p:nvPr/>
            </p:nvSpPr>
            <p:spPr bwMode="auto">
              <a:xfrm>
                <a:off x="2323" y="1131"/>
                <a:ext cx="3034" cy="2055"/>
              </a:xfrm>
              <a:custGeom>
                <a:avLst/>
                <a:gdLst>
                  <a:gd name="T0" fmla="*/ 519 w 1620"/>
                  <a:gd name="T1" fmla="*/ 412 h 1096"/>
                  <a:gd name="T2" fmla="*/ 175 w 1620"/>
                  <a:gd name="T3" fmla="*/ 478 h 1096"/>
                  <a:gd name="T4" fmla="*/ 459 w 1620"/>
                  <a:gd name="T5" fmla="*/ 346 h 1096"/>
                  <a:gd name="T6" fmla="*/ 708 w 1620"/>
                  <a:gd name="T7" fmla="*/ 397 h 1096"/>
                  <a:gd name="T8" fmla="*/ 662 w 1620"/>
                  <a:gd name="T9" fmla="*/ 478 h 1096"/>
                  <a:gd name="T10" fmla="*/ 978 w 1620"/>
                  <a:gd name="T11" fmla="*/ 412 h 1096"/>
                  <a:gd name="T12" fmla="*/ 662 w 1620"/>
                  <a:gd name="T13" fmla="*/ 346 h 1096"/>
                  <a:gd name="T14" fmla="*/ 1620 w 1620"/>
                  <a:gd name="T15" fmla="*/ 1086 h 1096"/>
                  <a:gd name="T16" fmla="*/ 10 w 1620"/>
                  <a:gd name="T17" fmla="*/ 1096 h 1096"/>
                  <a:gd name="T18" fmla="*/ 0 w 1620"/>
                  <a:gd name="T19" fmla="*/ 10 h 1096"/>
                  <a:gd name="T20" fmla="*/ 1610 w 1620"/>
                  <a:gd name="T21" fmla="*/ 0 h 1096"/>
                  <a:gd name="T22" fmla="*/ 565 w 1620"/>
                  <a:gd name="T23" fmla="*/ 397 h 1096"/>
                  <a:gd name="T24" fmla="*/ 469 w 1620"/>
                  <a:gd name="T25" fmla="*/ 302 h 1096"/>
                  <a:gd name="T26" fmla="*/ 131 w 1620"/>
                  <a:gd name="T27" fmla="*/ 324 h 1096"/>
                  <a:gd name="T28" fmla="*/ 153 w 1620"/>
                  <a:gd name="T29" fmla="*/ 522 h 1096"/>
                  <a:gd name="T30" fmla="*/ 485 w 1620"/>
                  <a:gd name="T31" fmla="*/ 515 h 1096"/>
                  <a:gd name="T32" fmla="*/ 565 w 1620"/>
                  <a:gd name="T33" fmla="*/ 397 h 1096"/>
                  <a:gd name="T34" fmla="*/ 944 w 1620"/>
                  <a:gd name="T35" fmla="*/ 309 h 1096"/>
                  <a:gd name="T36" fmla="*/ 612 w 1620"/>
                  <a:gd name="T37" fmla="*/ 302 h 1096"/>
                  <a:gd name="T38" fmla="*/ 596 w 1620"/>
                  <a:gd name="T39" fmla="*/ 339 h 1096"/>
                  <a:gd name="T40" fmla="*/ 596 w 1620"/>
                  <a:gd name="T41" fmla="*/ 485 h 1096"/>
                  <a:gd name="T42" fmla="*/ 612 w 1620"/>
                  <a:gd name="T43" fmla="*/ 522 h 1096"/>
                  <a:gd name="T44" fmla="*/ 944 w 1620"/>
                  <a:gd name="T45" fmla="*/ 515 h 1096"/>
                  <a:gd name="T46" fmla="*/ 1024 w 1620"/>
                  <a:gd name="T47" fmla="*/ 397 h 1096"/>
                  <a:gd name="T48" fmla="*/ 1384 w 1620"/>
                  <a:gd name="T49" fmla="*/ 798 h 1096"/>
                  <a:gd name="T50" fmla="*/ 1049 w 1620"/>
                  <a:gd name="T51" fmla="*/ 820 h 1096"/>
                  <a:gd name="T52" fmla="*/ 1384 w 1620"/>
                  <a:gd name="T53" fmla="*/ 842 h 1096"/>
                  <a:gd name="T54" fmla="*/ 1454 w 1620"/>
                  <a:gd name="T55" fmla="*/ 729 h 1096"/>
                  <a:gd name="T56" fmla="*/ 1071 w 1620"/>
                  <a:gd name="T57" fmla="*/ 707 h 1096"/>
                  <a:gd name="T58" fmla="*/ 1071 w 1620"/>
                  <a:gd name="T59" fmla="*/ 751 h 1096"/>
                  <a:gd name="T60" fmla="*/ 1454 w 1620"/>
                  <a:gd name="T61" fmla="*/ 729 h 1096"/>
                  <a:gd name="T62" fmla="*/ 1432 w 1620"/>
                  <a:gd name="T63" fmla="*/ 615 h 1096"/>
                  <a:gd name="T64" fmla="*/ 1049 w 1620"/>
                  <a:gd name="T65" fmla="*/ 637 h 1096"/>
                  <a:gd name="T66" fmla="*/ 1432 w 1620"/>
                  <a:gd name="T67" fmla="*/ 659 h 1096"/>
                  <a:gd name="T68" fmla="*/ 1483 w 1620"/>
                  <a:gd name="T69" fmla="*/ 397 h 1096"/>
                  <a:gd name="T70" fmla="*/ 1387 w 1620"/>
                  <a:gd name="T71" fmla="*/ 302 h 1096"/>
                  <a:gd name="T72" fmla="*/ 1051 w 1620"/>
                  <a:gd name="T73" fmla="*/ 315 h 1096"/>
                  <a:gd name="T74" fmla="*/ 1121 w 1620"/>
                  <a:gd name="T75" fmla="*/ 412 h 1096"/>
                  <a:gd name="T76" fmla="*/ 1051 w 1620"/>
                  <a:gd name="T77" fmla="*/ 509 h 1096"/>
                  <a:gd name="T78" fmla="*/ 1387 w 1620"/>
                  <a:gd name="T79" fmla="*/ 522 h 1096"/>
                  <a:gd name="T80" fmla="*/ 1483 w 1620"/>
                  <a:gd name="T81" fmla="*/ 427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20" h="1096">
                    <a:moveTo>
                      <a:pt x="459" y="346"/>
                    </a:moveTo>
                    <a:cubicBezTo>
                      <a:pt x="519" y="412"/>
                      <a:pt x="519" y="412"/>
                      <a:pt x="519" y="412"/>
                    </a:cubicBezTo>
                    <a:cubicBezTo>
                      <a:pt x="459" y="478"/>
                      <a:pt x="459" y="478"/>
                      <a:pt x="459" y="478"/>
                    </a:cubicBezTo>
                    <a:cubicBezTo>
                      <a:pt x="175" y="478"/>
                      <a:pt x="175" y="478"/>
                      <a:pt x="175" y="478"/>
                    </a:cubicBezTo>
                    <a:cubicBezTo>
                      <a:pt x="175" y="346"/>
                      <a:pt x="175" y="346"/>
                      <a:pt x="175" y="346"/>
                    </a:cubicBezTo>
                    <a:lnTo>
                      <a:pt x="459" y="346"/>
                    </a:lnTo>
                    <a:close/>
                    <a:moveTo>
                      <a:pt x="662" y="346"/>
                    </a:moveTo>
                    <a:cubicBezTo>
                      <a:pt x="708" y="397"/>
                      <a:pt x="708" y="397"/>
                      <a:pt x="708" y="397"/>
                    </a:cubicBezTo>
                    <a:cubicBezTo>
                      <a:pt x="716" y="405"/>
                      <a:pt x="716" y="418"/>
                      <a:pt x="708" y="427"/>
                    </a:cubicBezTo>
                    <a:cubicBezTo>
                      <a:pt x="662" y="478"/>
                      <a:pt x="662" y="478"/>
                      <a:pt x="662" y="478"/>
                    </a:cubicBezTo>
                    <a:cubicBezTo>
                      <a:pt x="918" y="478"/>
                      <a:pt x="918" y="478"/>
                      <a:pt x="918" y="478"/>
                    </a:cubicBezTo>
                    <a:cubicBezTo>
                      <a:pt x="978" y="412"/>
                      <a:pt x="978" y="412"/>
                      <a:pt x="978" y="412"/>
                    </a:cubicBezTo>
                    <a:cubicBezTo>
                      <a:pt x="918" y="346"/>
                      <a:pt x="918" y="346"/>
                      <a:pt x="918" y="346"/>
                    </a:cubicBezTo>
                    <a:lnTo>
                      <a:pt x="662" y="346"/>
                    </a:lnTo>
                    <a:close/>
                    <a:moveTo>
                      <a:pt x="1620" y="10"/>
                    </a:moveTo>
                    <a:cubicBezTo>
                      <a:pt x="1620" y="1086"/>
                      <a:pt x="1620" y="1086"/>
                      <a:pt x="1620" y="1086"/>
                    </a:cubicBezTo>
                    <a:cubicBezTo>
                      <a:pt x="1620" y="1091"/>
                      <a:pt x="1615" y="1096"/>
                      <a:pt x="1610" y="1096"/>
                    </a:cubicBezTo>
                    <a:cubicBezTo>
                      <a:pt x="10" y="1096"/>
                      <a:pt x="10" y="1096"/>
                      <a:pt x="10" y="1096"/>
                    </a:cubicBezTo>
                    <a:cubicBezTo>
                      <a:pt x="5" y="1096"/>
                      <a:pt x="0" y="1091"/>
                      <a:pt x="0" y="1086"/>
                    </a:cubicBezTo>
                    <a:cubicBezTo>
                      <a:pt x="0" y="10"/>
                      <a:pt x="0" y="10"/>
                      <a:pt x="0" y="10"/>
                    </a:cubicBezTo>
                    <a:cubicBezTo>
                      <a:pt x="0" y="5"/>
                      <a:pt x="5" y="0"/>
                      <a:pt x="10" y="0"/>
                    </a:cubicBezTo>
                    <a:cubicBezTo>
                      <a:pt x="1610" y="0"/>
                      <a:pt x="1610" y="0"/>
                      <a:pt x="1610" y="0"/>
                    </a:cubicBezTo>
                    <a:cubicBezTo>
                      <a:pt x="1615" y="0"/>
                      <a:pt x="1620" y="5"/>
                      <a:pt x="1620" y="10"/>
                    </a:cubicBezTo>
                    <a:close/>
                    <a:moveTo>
                      <a:pt x="565" y="397"/>
                    </a:moveTo>
                    <a:cubicBezTo>
                      <a:pt x="485" y="309"/>
                      <a:pt x="485" y="309"/>
                      <a:pt x="485" y="309"/>
                    </a:cubicBezTo>
                    <a:cubicBezTo>
                      <a:pt x="481" y="305"/>
                      <a:pt x="475" y="302"/>
                      <a:pt x="469" y="302"/>
                    </a:cubicBezTo>
                    <a:cubicBezTo>
                      <a:pt x="153" y="302"/>
                      <a:pt x="153" y="302"/>
                      <a:pt x="153" y="302"/>
                    </a:cubicBezTo>
                    <a:cubicBezTo>
                      <a:pt x="141" y="302"/>
                      <a:pt x="131" y="312"/>
                      <a:pt x="131" y="324"/>
                    </a:cubicBezTo>
                    <a:cubicBezTo>
                      <a:pt x="131" y="500"/>
                      <a:pt x="131" y="500"/>
                      <a:pt x="131" y="500"/>
                    </a:cubicBezTo>
                    <a:cubicBezTo>
                      <a:pt x="131" y="512"/>
                      <a:pt x="141" y="522"/>
                      <a:pt x="153" y="522"/>
                    </a:cubicBezTo>
                    <a:cubicBezTo>
                      <a:pt x="469" y="522"/>
                      <a:pt x="469" y="522"/>
                      <a:pt x="469" y="522"/>
                    </a:cubicBezTo>
                    <a:cubicBezTo>
                      <a:pt x="475" y="522"/>
                      <a:pt x="481" y="519"/>
                      <a:pt x="485" y="515"/>
                    </a:cubicBezTo>
                    <a:cubicBezTo>
                      <a:pt x="565" y="427"/>
                      <a:pt x="565" y="427"/>
                      <a:pt x="565" y="427"/>
                    </a:cubicBezTo>
                    <a:cubicBezTo>
                      <a:pt x="573" y="418"/>
                      <a:pt x="573" y="405"/>
                      <a:pt x="565" y="397"/>
                    </a:cubicBezTo>
                    <a:close/>
                    <a:moveTo>
                      <a:pt x="1024" y="397"/>
                    </a:moveTo>
                    <a:cubicBezTo>
                      <a:pt x="944" y="309"/>
                      <a:pt x="944" y="309"/>
                      <a:pt x="944" y="309"/>
                    </a:cubicBezTo>
                    <a:cubicBezTo>
                      <a:pt x="940" y="305"/>
                      <a:pt x="934" y="302"/>
                      <a:pt x="928" y="302"/>
                    </a:cubicBezTo>
                    <a:cubicBezTo>
                      <a:pt x="612" y="302"/>
                      <a:pt x="612" y="302"/>
                      <a:pt x="612" y="302"/>
                    </a:cubicBezTo>
                    <a:cubicBezTo>
                      <a:pt x="603" y="302"/>
                      <a:pt x="595" y="307"/>
                      <a:pt x="592" y="315"/>
                    </a:cubicBezTo>
                    <a:cubicBezTo>
                      <a:pt x="588" y="323"/>
                      <a:pt x="590" y="332"/>
                      <a:pt x="596" y="339"/>
                    </a:cubicBezTo>
                    <a:cubicBezTo>
                      <a:pt x="662" y="412"/>
                      <a:pt x="662" y="412"/>
                      <a:pt x="662" y="412"/>
                    </a:cubicBezTo>
                    <a:cubicBezTo>
                      <a:pt x="596" y="485"/>
                      <a:pt x="596" y="485"/>
                      <a:pt x="596" y="485"/>
                    </a:cubicBezTo>
                    <a:cubicBezTo>
                      <a:pt x="590" y="492"/>
                      <a:pt x="588" y="501"/>
                      <a:pt x="592" y="509"/>
                    </a:cubicBezTo>
                    <a:cubicBezTo>
                      <a:pt x="595" y="517"/>
                      <a:pt x="603" y="522"/>
                      <a:pt x="612" y="522"/>
                    </a:cubicBezTo>
                    <a:cubicBezTo>
                      <a:pt x="928" y="522"/>
                      <a:pt x="928" y="522"/>
                      <a:pt x="928" y="522"/>
                    </a:cubicBezTo>
                    <a:cubicBezTo>
                      <a:pt x="934" y="522"/>
                      <a:pt x="940" y="519"/>
                      <a:pt x="944" y="515"/>
                    </a:cubicBezTo>
                    <a:cubicBezTo>
                      <a:pt x="1024" y="427"/>
                      <a:pt x="1024" y="427"/>
                      <a:pt x="1024" y="427"/>
                    </a:cubicBezTo>
                    <a:cubicBezTo>
                      <a:pt x="1032" y="418"/>
                      <a:pt x="1032" y="405"/>
                      <a:pt x="1024" y="397"/>
                    </a:cubicBezTo>
                    <a:close/>
                    <a:moveTo>
                      <a:pt x="1406" y="820"/>
                    </a:moveTo>
                    <a:cubicBezTo>
                      <a:pt x="1406" y="808"/>
                      <a:pt x="1396" y="798"/>
                      <a:pt x="1384" y="798"/>
                    </a:cubicBezTo>
                    <a:cubicBezTo>
                      <a:pt x="1071" y="798"/>
                      <a:pt x="1071" y="798"/>
                      <a:pt x="1071" y="798"/>
                    </a:cubicBezTo>
                    <a:cubicBezTo>
                      <a:pt x="1059" y="798"/>
                      <a:pt x="1049" y="808"/>
                      <a:pt x="1049" y="820"/>
                    </a:cubicBezTo>
                    <a:cubicBezTo>
                      <a:pt x="1049" y="832"/>
                      <a:pt x="1059" y="842"/>
                      <a:pt x="1071" y="842"/>
                    </a:cubicBezTo>
                    <a:cubicBezTo>
                      <a:pt x="1384" y="842"/>
                      <a:pt x="1384" y="842"/>
                      <a:pt x="1384" y="842"/>
                    </a:cubicBezTo>
                    <a:cubicBezTo>
                      <a:pt x="1396" y="842"/>
                      <a:pt x="1406" y="832"/>
                      <a:pt x="1406" y="820"/>
                    </a:cubicBezTo>
                    <a:close/>
                    <a:moveTo>
                      <a:pt x="1454" y="729"/>
                    </a:moveTo>
                    <a:cubicBezTo>
                      <a:pt x="1454" y="716"/>
                      <a:pt x="1444" y="707"/>
                      <a:pt x="1432" y="707"/>
                    </a:cubicBezTo>
                    <a:cubicBezTo>
                      <a:pt x="1071" y="707"/>
                      <a:pt x="1071" y="707"/>
                      <a:pt x="1071" y="707"/>
                    </a:cubicBezTo>
                    <a:cubicBezTo>
                      <a:pt x="1059" y="707"/>
                      <a:pt x="1049" y="716"/>
                      <a:pt x="1049" y="729"/>
                    </a:cubicBezTo>
                    <a:cubicBezTo>
                      <a:pt x="1049" y="741"/>
                      <a:pt x="1059" y="751"/>
                      <a:pt x="1071" y="751"/>
                    </a:cubicBezTo>
                    <a:cubicBezTo>
                      <a:pt x="1432" y="751"/>
                      <a:pt x="1432" y="751"/>
                      <a:pt x="1432" y="751"/>
                    </a:cubicBezTo>
                    <a:cubicBezTo>
                      <a:pt x="1444" y="751"/>
                      <a:pt x="1454" y="741"/>
                      <a:pt x="1454" y="729"/>
                    </a:cubicBezTo>
                    <a:close/>
                    <a:moveTo>
                      <a:pt x="1454" y="637"/>
                    </a:moveTo>
                    <a:cubicBezTo>
                      <a:pt x="1454" y="625"/>
                      <a:pt x="1444" y="615"/>
                      <a:pt x="1432" y="615"/>
                    </a:cubicBezTo>
                    <a:cubicBezTo>
                      <a:pt x="1071" y="615"/>
                      <a:pt x="1071" y="615"/>
                      <a:pt x="1071" y="615"/>
                    </a:cubicBezTo>
                    <a:cubicBezTo>
                      <a:pt x="1059" y="615"/>
                      <a:pt x="1049" y="625"/>
                      <a:pt x="1049" y="637"/>
                    </a:cubicBezTo>
                    <a:cubicBezTo>
                      <a:pt x="1049" y="649"/>
                      <a:pt x="1059" y="659"/>
                      <a:pt x="1071" y="659"/>
                    </a:cubicBezTo>
                    <a:cubicBezTo>
                      <a:pt x="1432" y="659"/>
                      <a:pt x="1432" y="659"/>
                      <a:pt x="1432" y="659"/>
                    </a:cubicBezTo>
                    <a:cubicBezTo>
                      <a:pt x="1444" y="659"/>
                      <a:pt x="1454" y="649"/>
                      <a:pt x="1454" y="637"/>
                    </a:cubicBezTo>
                    <a:close/>
                    <a:moveTo>
                      <a:pt x="1483" y="397"/>
                    </a:moveTo>
                    <a:cubicBezTo>
                      <a:pt x="1403" y="309"/>
                      <a:pt x="1403" y="309"/>
                      <a:pt x="1403" y="309"/>
                    </a:cubicBezTo>
                    <a:cubicBezTo>
                      <a:pt x="1399" y="305"/>
                      <a:pt x="1393" y="302"/>
                      <a:pt x="1387" y="302"/>
                    </a:cubicBezTo>
                    <a:cubicBezTo>
                      <a:pt x="1071" y="302"/>
                      <a:pt x="1071" y="302"/>
                      <a:pt x="1071" y="302"/>
                    </a:cubicBezTo>
                    <a:cubicBezTo>
                      <a:pt x="1062" y="302"/>
                      <a:pt x="1054" y="307"/>
                      <a:pt x="1051" y="315"/>
                    </a:cubicBezTo>
                    <a:cubicBezTo>
                      <a:pt x="1047" y="323"/>
                      <a:pt x="1049" y="332"/>
                      <a:pt x="1055" y="339"/>
                    </a:cubicBezTo>
                    <a:cubicBezTo>
                      <a:pt x="1121" y="412"/>
                      <a:pt x="1121" y="412"/>
                      <a:pt x="1121" y="412"/>
                    </a:cubicBezTo>
                    <a:cubicBezTo>
                      <a:pt x="1055" y="485"/>
                      <a:pt x="1055" y="485"/>
                      <a:pt x="1055" y="485"/>
                    </a:cubicBezTo>
                    <a:cubicBezTo>
                      <a:pt x="1049" y="492"/>
                      <a:pt x="1047" y="501"/>
                      <a:pt x="1051" y="509"/>
                    </a:cubicBezTo>
                    <a:cubicBezTo>
                      <a:pt x="1054" y="517"/>
                      <a:pt x="1062" y="522"/>
                      <a:pt x="1071" y="522"/>
                    </a:cubicBezTo>
                    <a:cubicBezTo>
                      <a:pt x="1387" y="522"/>
                      <a:pt x="1387" y="522"/>
                      <a:pt x="1387" y="522"/>
                    </a:cubicBezTo>
                    <a:cubicBezTo>
                      <a:pt x="1393" y="522"/>
                      <a:pt x="1399" y="519"/>
                      <a:pt x="1403" y="515"/>
                    </a:cubicBezTo>
                    <a:cubicBezTo>
                      <a:pt x="1483" y="427"/>
                      <a:pt x="1483" y="427"/>
                      <a:pt x="1483" y="427"/>
                    </a:cubicBezTo>
                    <a:cubicBezTo>
                      <a:pt x="1491" y="418"/>
                      <a:pt x="1491" y="405"/>
                      <a:pt x="1483" y="3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2" name="ee4pHeader2"/>
            <p:cNvSpPr txBox="1"/>
            <p:nvPr/>
          </p:nvSpPr>
          <p:spPr>
            <a:xfrm>
              <a:off x="2331177" y="5394152"/>
              <a:ext cx="3938677" cy="364606"/>
            </a:xfrm>
            <a:prstGeom prst="rect">
              <a:avLst/>
            </a:prstGeom>
            <a:noFill/>
            <a:ln cap="rnd">
              <a:noFill/>
            </a:ln>
          </p:spPr>
          <p:txBody>
            <a:bodyPr wrap="square" lIns="0" tIns="0" rIns="0" bIns="0" rtlCol="0" anchor="t" anchorCtr="0">
              <a:noAutofit/>
            </a:bodyPr>
            <a:lstStyle/>
            <a:p>
              <a:pPr marL="0" lvl="3"/>
              <a:r>
                <a:rPr lang="en-US" sz="2000" dirty="0">
                  <a:solidFill>
                    <a:schemeClr val="tx2"/>
                  </a:solidFill>
                </a:rPr>
                <a:t>Integrated Change Management</a:t>
              </a:r>
            </a:p>
          </p:txBody>
        </p:sp>
      </p:grpSp>
      <p:grpSp>
        <p:nvGrpSpPr>
          <p:cNvPr id="7" name="Group 6"/>
          <p:cNvGrpSpPr/>
          <p:nvPr/>
        </p:nvGrpSpPr>
        <p:grpSpPr>
          <a:xfrm>
            <a:off x="830300" y="4905865"/>
            <a:ext cx="10531400" cy="306171"/>
            <a:chOff x="-2217294" y="4569097"/>
            <a:chExt cx="10531400" cy="306171"/>
          </a:xfrm>
        </p:grpSpPr>
        <p:cxnSp>
          <p:nvCxnSpPr>
            <p:cNvPr id="60" name="Straight Connector 59"/>
            <p:cNvCxnSpPr/>
            <p:nvPr/>
          </p:nvCxnSpPr>
          <p:spPr>
            <a:xfrm flipH="1">
              <a:off x="-2217294" y="4716833"/>
              <a:ext cx="10531400" cy="0"/>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rot="5400000">
              <a:off x="2895321" y="4568728"/>
              <a:ext cx="306171" cy="306910"/>
              <a:chOff x="5942914" y="3833745"/>
              <a:chExt cx="306171" cy="306910"/>
            </a:xfrm>
          </p:grpSpPr>
          <p:sp>
            <p:nvSpPr>
              <p:cNvPr id="68"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9A9A9A"/>
              </a:solidFill>
              <a:ln>
                <a:noFill/>
              </a:ln>
              <a:extLst>
                <a:ext uri="{91240B29-F687-4F45-9708-019B960494DF}">
                  <a14:hiddenLine xmlns:a14="http://schemas.microsoft.com/office/drawing/2010/main">
                    <a:solidFill>
                      <a:schemeClr val="tx2"/>
                    </a:solidFill>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69"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58" name="Group 57"/>
          <p:cNvGrpSpPr/>
          <p:nvPr/>
        </p:nvGrpSpPr>
        <p:grpSpPr>
          <a:xfrm>
            <a:off x="5344995" y="1241435"/>
            <a:ext cx="1404593" cy="812860"/>
            <a:chOff x="8657921" y="193232"/>
            <a:chExt cx="335344" cy="225908"/>
          </a:xfrm>
          <a:solidFill>
            <a:schemeClr val="tx2"/>
          </a:solidFill>
        </p:grpSpPr>
        <p:sp>
          <p:nvSpPr>
            <p:cNvPr id="59" name="Freeform 15">
              <a:extLst>
                <a:ext uri="{FF2B5EF4-FFF2-40B4-BE49-F238E27FC236}">
                  <a16:creationId xmlns:a16="http://schemas.microsoft.com/office/drawing/2014/main" id="{020B003A-B175-4CB8-A390-319627008B64}"/>
                </a:ext>
              </a:extLst>
            </p:cNvPr>
            <p:cNvSpPr>
              <a:spLocks noEditPoints="1"/>
            </p:cNvSpPr>
            <p:nvPr/>
          </p:nvSpPr>
          <p:spPr bwMode="auto">
            <a:xfrm>
              <a:off x="8720650" y="207219"/>
              <a:ext cx="211328" cy="157246"/>
            </a:xfrm>
            <a:custGeom>
              <a:avLst/>
              <a:gdLst>
                <a:gd name="T0" fmla="*/ 300 w 1331"/>
                <a:gd name="T1" fmla="*/ 3 h 989"/>
                <a:gd name="T2" fmla="*/ 0 w 1331"/>
                <a:gd name="T3" fmla="*/ 310 h 989"/>
                <a:gd name="T4" fmla="*/ 294 w 1331"/>
                <a:gd name="T5" fmla="*/ 984 h 989"/>
                <a:gd name="T6" fmla="*/ 306 w 1331"/>
                <a:gd name="T7" fmla="*/ 984 h 989"/>
                <a:gd name="T8" fmla="*/ 597 w 1331"/>
                <a:gd name="T9" fmla="*/ 310 h 989"/>
                <a:gd name="T10" fmla="*/ 300 w 1331"/>
                <a:gd name="T11" fmla="*/ 3 h 989"/>
                <a:gd name="T12" fmla="*/ 419 w 1331"/>
                <a:gd name="T13" fmla="*/ 226 h 989"/>
                <a:gd name="T14" fmla="*/ 364 w 1331"/>
                <a:gd name="T15" fmla="*/ 279 h 989"/>
                <a:gd name="T16" fmla="*/ 362 w 1331"/>
                <a:gd name="T17" fmla="*/ 284 h 989"/>
                <a:gd name="T18" fmla="*/ 374 w 1331"/>
                <a:gd name="T19" fmla="*/ 359 h 989"/>
                <a:gd name="T20" fmla="*/ 367 w 1331"/>
                <a:gd name="T21" fmla="*/ 364 h 989"/>
                <a:gd name="T22" fmla="*/ 300 w 1331"/>
                <a:gd name="T23" fmla="*/ 328 h 989"/>
                <a:gd name="T24" fmla="*/ 295 w 1331"/>
                <a:gd name="T25" fmla="*/ 328 h 989"/>
                <a:gd name="T26" fmla="*/ 228 w 1331"/>
                <a:gd name="T27" fmla="*/ 363 h 989"/>
                <a:gd name="T28" fmla="*/ 220 w 1331"/>
                <a:gd name="T29" fmla="*/ 357 h 989"/>
                <a:gd name="T30" fmla="*/ 234 w 1331"/>
                <a:gd name="T31" fmla="*/ 282 h 989"/>
                <a:gd name="T32" fmla="*/ 232 w 1331"/>
                <a:gd name="T33" fmla="*/ 277 h 989"/>
                <a:gd name="T34" fmla="*/ 179 w 1331"/>
                <a:gd name="T35" fmla="*/ 224 h 989"/>
                <a:gd name="T36" fmla="*/ 182 w 1331"/>
                <a:gd name="T37" fmla="*/ 215 h 989"/>
                <a:gd name="T38" fmla="*/ 256 w 1331"/>
                <a:gd name="T39" fmla="*/ 204 h 989"/>
                <a:gd name="T40" fmla="*/ 261 w 1331"/>
                <a:gd name="T41" fmla="*/ 202 h 989"/>
                <a:gd name="T42" fmla="*/ 295 w 1331"/>
                <a:gd name="T43" fmla="*/ 134 h 989"/>
                <a:gd name="T44" fmla="*/ 304 w 1331"/>
                <a:gd name="T45" fmla="*/ 134 h 989"/>
                <a:gd name="T46" fmla="*/ 337 w 1331"/>
                <a:gd name="T47" fmla="*/ 202 h 989"/>
                <a:gd name="T48" fmla="*/ 341 w 1331"/>
                <a:gd name="T49" fmla="*/ 206 h 989"/>
                <a:gd name="T50" fmla="*/ 416 w 1331"/>
                <a:gd name="T51" fmla="*/ 217 h 989"/>
                <a:gd name="T52" fmla="*/ 419 w 1331"/>
                <a:gd name="T53" fmla="*/ 226 h 989"/>
                <a:gd name="T54" fmla="*/ 1146 w 1331"/>
                <a:gd name="T55" fmla="*/ 0 h 989"/>
                <a:gd name="T56" fmla="*/ 958 w 1331"/>
                <a:gd name="T57" fmla="*/ 192 h 989"/>
                <a:gd name="T58" fmla="*/ 1142 w 1331"/>
                <a:gd name="T59" fmla="*/ 613 h 989"/>
                <a:gd name="T60" fmla="*/ 1149 w 1331"/>
                <a:gd name="T61" fmla="*/ 613 h 989"/>
                <a:gd name="T62" fmla="*/ 1331 w 1331"/>
                <a:gd name="T63" fmla="*/ 192 h 989"/>
                <a:gd name="T64" fmla="*/ 1146 w 1331"/>
                <a:gd name="T65" fmla="*/ 0 h 989"/>
                <a:gd name="T66" fmla="*/ 1220 w 1331"/>
                <a:gd name="T67" fmla="*/ 155 h 989"/>
                <a:gd name="T68" fmla="*/ 1186 w 1331"/>
                <a:gd name="T69" fmla="*/ 188 h 989"/>
                <a:gd name="T70" fmla="*/ 1185 w 1331"/>
                <a:gd name="T71" fmla="*/ 191 h 989"/>
                <a:gd name="T72" fmla="*/ 1192 w 1331"/>
                <a:gd name="T73" fmla="*/ 238 h 989"/>
                <a:gd name="T74" fmla="*/ 1187 w 1331"/>
                <a:gd name="T75" fmla="*/ 241 h 989"/>
                <a:gd name="T76" fmla="*/ 1146 w 1331"/>
                <a:gd name="T77" fmla="*/ 219 h 989"/>
                <a:gd name="T78" fmla="*/ 1143 w 1331"/>
                <a:gd name="T79" fmla="*/ 218 h 989"/>
                <a:gd name="T80" fmla="*/ 1101 w 1331"/>
                <a:gd name="T81" fmla="*/ 240 h 989"/>
                <a:gd name="T82" fmla="*/ 1096 w 1331"/>
                <a:gd name="T83" fmla="*/ 237 h 989"/>
                <a:gd name="T84" fmla="*/ 1104 w 1331"/>
                <a:gd name="T85" fmla="*/ 190 h 989"/>
                <a:gd name="T86" fmla="*/ 1103 w 1331"/>
                <a:gd name="T87" fmla="*/ 187 h 989"/>
                <a:gd name="T88" fmla="*/ 1070 w 1331"/>
                <a:gd name="T89" fmla="*/ 153 h 989"/>
                <a:gd name="T90" fmla="*/ 1072 w 1331"/>
                <a:gd name="T91" fmla="*/ 148 h 989"/>
                <a:gd name="T92" fmla="*/ 1118 w 1331"/>
                <a:gd name="T93" fmla="*/ 141 h 989"/>
                <a:gd name="T94" fmla="*/ 1121 w 1331"/>
                <a:gd name="T95" fmla="*/ 139 h 989"/>
                <a:gd name="T96" fmla="*/ 1142 w 1331"/>
                <a:gd name="T97" fmla="*/ 97 h 989"/>
                <a:gd name="T98" fmla="*/ 1149 w 1331"/>
                <a:gd name="T99" fmla="*/ 97 h 989"/>
                <a:gd name="T100" fmla="*/ 1169 w 1331"/>
                <a:gd name="T101" fmla="*/ 140 h 989"/>
                <a:gd name="T102" fmla="*/ 1171 w 1331"/>
                <a:gd name="T103" fmla="*/ 142 h 989"/>
                <a:gd name="T104" fmla="*/ 1218 w 1331"/>
                <a:gd name="T105" fmla="*/ 149 h 989"/>
                <a:gd name="T106" fmla="*/ 1220 w 1331"/>
                <a:gd name="T107" fmla="*/ 155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31" h="989">
                  <a:moveTo>
                    <a:pt x="300" y="3"/>
                  </a:moveTo>
                  <a:cubicBezTo>
                    <a:pt x="134" y="3"/>
                    <a:pt x="0" y="142"/>
                    <a:pt x="0" y="310"/>
                  </a:cubicBezTo>
                  <a:cubicBezTo>
                    <a:pt x="0" y="465"/>
                    <a:pt x="251" y="910"/>
                    <a:pt x="294" y="984"/>
                  </a:cubicBezTo>
                  <a:cubicBezTo>
                    <a:pt x="296" y="989"/>
                    <a:pt x="303" y="989"/>
                    <a:pt x="306" y="984"/>
                  </a:cubicBezTo>
                  <a:cubicBezTo>
                    <a:pt x="348" y="910"/>
                    <a:pt x="597" y="465"/>
                    <a:pt x="597" y="310"/>
                  </a:cubicBezTo>
                  <a:cubicBezTo>
                    <a:pt x="597" y="142"/>
                    <a:pt x="466" y="3"/>
                    <a:pt x="300" y="3"/>
                  </a:cubicBezTo>
                  <a:close/>
                  <a:moveTo>
                    <a:pt x="419" y="226"/>
                  </a:moveTo>
                  <a:cubicBezTo>
                    <a:pt x="364" y="279"/>
                    <a:pt x="364" y="279"/>
                    <a:pt x="364" y="279"/>
                  </a:cubicBezTo>
                  <a:cubicBezTo>
                    <a:pt x="363" y="280"/>
                    <a:pt x="362" y="282"/>
                    <a:pt x="362" y="284"/>
                  </a:cubicBezTo>
                  <a:cubicBezTo>
                    <a:pt x="374" y="359"/>
                    <a:pt x="374" y="359"/>
                    <a:pt x="374" y="359"/>
                  </a:cubicBezTo>
                  <a:cubicBezTo>
                    <a:pt x="375" y="363"/>
                    <a:pt x="371" y="366"/>
                    <a:pt x="367" y="364"/>
                  </a:cubicBezTo>
                  <a:cubicBezTo>
                    <a:pt x="300" y="328"/>
                    <a:pt x="300" y="328"/>
                    <a:pt x="300" y="328"/>
                  </a:cubicBezTo>
                  <a:cubicBezTo>
                    <a:pt x="298" y="327"/>
                    <a:pt x="297" y="327"/>
                    <a:pt x="295" y="328"/>
                  </a:cubicBezTo>
                  <a:cubicBezTo>
                    <a:pt x="228" y="363"/>
                    <a:pt x="228" y="363"/>
                    <a:pt x="228" y="363"/>
                  </a:cubicBezTo>
                  <a:cubicBezTo>
                    <a:pt x="224" y="365"/>
                    <a:pt x="219" y="361"/>
                    <a:pt x="220" y="357"/>
                  </a:cubicBezTo>
                  <a:cubicBezTo>
                    <a:pt x="234" y="282"/>
                    <a:pt x="234" y="282"/>
                    <a:pt x="234" y="282"/>
                  </a:cubicBezTo>
                  <a:cubicBezTo>
                    <a:pt x="234" y="280"/>
                    <a:pt x="234" y="278"/>
                    <a:pt x="232" y="277"/>
                  </a:cubicBezTo>
                  <a:cubicBezTo>
                    <a:pt x="179" y="224"/>
                    <a:pt x="179" y="224"/>
                    <a:pt x="179" y="224"/>
                  </a:cubicBezTo>
                  <a:cubicBezTo>
                    <a:pt x="176" y="221"/>
                    <a:pt x="177" y="215"/>
                    <a:pt x="182" y="215"/>
                  </a:cubicBezTo>
                  <a:cubicBezTo>
                    <a:pt x="256" y="204"/>
                    <a:pt x="256" y="204"/>
                    <a:pt x="256" y="204"/>
                  </a:cubicBezTo>
                  <a:cubicBezTo>
                    <a:pt x="258" y="204"/>
                    <a:pt x="260" y="203"/>
                    <a:pt x="261" y="202"/>
                  </a:cubicBezTo>
                  <a:cubicBezTo>
                    <a:pt x="295" y="134"/>
                    <a:pt x="295" y="134"/>
                    <a:pt x="295" y="134"/>
                  </a:cubicBezTo>
                  <a:cubicBezTo>
                    <a:pt x="297" y="130"/>
                    <a:pt x="302" y="130"/>
                    <a:pt x="304" y="134"/>
                  </a:cubicBezTo>
                  <a:cubicBezTo>
                    <a:pt x="337" y="202"/>
                    <a:pt x="337" y="202"/>
                    <a:pt x="337" y="202"/>
                  </a:cubicBezTo>
                  <a:cubicBezTo>
                    <a:pt x="338" y="204"/>
                    <a:pt x="339" y="205"/>
                    <a:pt x="341" y="206"/>
                  </a:cubicBezTo>
                  <a:cubicBezTo>
                    <a:pt x="416" y="217"/>
                    <a:pt x="416" y="217"/>
                    <a:pt x="416" y="217"/>
                  </a:cubicBezTo>
                  <a:cubicBezTo>
                    <a:pt x="420" y="218"/>
                    <a:pt x="422" y="223"/>
                    <a:pt x="419" y="226"/>
                  </a:cubicBezTo>
                  <a:close/>
                  <a:moveTo>
                    <a:pt x="1146" y="0"/>
                  </a:moveTo>
                  <a:cubicBezTo>
                    <a:pt x="1042" y="0"/>
                    <a:pt x="958" y="87"/>
                    <a:pt x="958" y="192"/>
                  </a:cubicBezTo>
                  <a:cubicBezTo>
                    <a:pt x="958" y="289"/>
                    <a:pt x="1115" y="567"/>
                    <a:pt x="1142" y="613"/>
                  </a:cubicBezTo>
                  <a:cubicBezTo>
                    <a:pt x="1144" y="616"/>
                    <a:pt x="1148" y="616"/>
                    <a:pt x="1149" y="613"/>
                  </a:cubicBezTo>
                  <a:cubicBezTo>
                    <a:pt x="1176" y="567"/>
                    <a:pt x="1331" y="289"/>
                    <a:pt x="1331" y="192"/>
                  </a:cubicBezTo>
                  <a:cubicBezTo>
                    <a:pt x="1331" y="87"/>
                    <a:pt x="1249" y="0"/>
                    <a:pt x="1146" y="0"/>
                  </a:cubicBezTo>
                  <a:close/>
                  <a:moveTo>
                    <a:pt x="1220" y="155"/>
                  </a:moveTo>
                  <a:cubicBezTo>
                    <a:pt x="1186" y="188"/>
                    <a:pt x="1186" y="188"/>
                    <a:pt x="1186" y="188"/>
                  </a:cubicBezTo>
                  <a:cubicBezTo>
                    <a:pt x="1185" y="188"/>
                    <a:pt x="1185" y="190"/>
                    <a:pt x="1185" y="191"/>
                  </a:cubicBezTo>
                  <a:cubicBezTo>
                    <a:pt x="1192" y="238"/>
                    <a:pt x="1192" y="238"/>
                    <a:pt x="1192" y="238"/>
                  </a:cubicBezTo>
                  <a:cubicBezTo>
                    <a:pt x="1193" y="240"/>
                    <a:pt x="1190" y="242"/>
                    <a:pt x="1187" y="241"/>
                  </a:cubicBezTo>
                  <a:cubicBezTo>
                    <a:pt x="1146" y="219"/>
                    <a:pt x="1146" y="219"/>
                    <a:pt x="1146" y="219"/>
                  </a:cubicBezTo>
                  <a:cubicBezTo>
                    <a:pt x="1145" y="218"/>
                    <a:pt x="1144" y="218"/>
                    <a:pt x="1143" y="218"/>
                  </a:cubicBezTo>
                  <a:cubicBezTo>
                    <a:pt x="1101" y="240"/>
                    <a:pt x="1101" y="240"/>
                    <a:pt x="1101" y="240"/>
                  </a:cubicBezTo>
                  <a:cubicBezTo>
                    <a:pt x="1098" y="241"/>
                    <a:pt x="1095" y="239"/>
                    <a:pt x="1096" y="237"/>
                  </a:cubicBezTo>
                  <a:cubicBezTo>
                    <a:pt x="1104" y="190"/>
                    <a:pt x="1104" y="190"/>
                    <a:pt x="1104" y="190"/>
                  </a:cubicBezTo>
                  <a:cubicBezTo>
                    <a:pt x="1104" y="189"/>
                    <a:pt x="1104" y="188"/>
                    <a:pt x="1103" y="187"/>
                  </a:cubicBezTo>
                  <a:cubicBezTo>
                    <a:pt x="1070" y="153"/>
                    <a:pt x="1070" y="153"/>
                    <a:pt x="1070" y="153"/>
                  </a:cubicBezTo>
                  <a:cubicBezTo>
                    <a:pt x="1068" y="151"/>
                    <a:pt x="1069" y="148"/>
                    <a:pt x="1072" y="148"/>
                  </a:cubicBezTo>
                  <a:cubicBezTo>
                    <a:pt x="1118" y="141"/>
                    <a:pt x="1118" y="141"/>
                    <a:pt x="1118" y="141"/>
                  </a:cubicBezTo>
                  <a:cubicBezTo>
                    <a:pt x="1120" y="141"/>
                    <a:pt x="1121" y="141"/>
                    <a:pt x="1121" y="139"/>
                  </a:cubicBezTo>
                  <a:cubicBezTo>
                    <a:pt x="1142" y="97"/>
                    <a:pt x="1142" y="97"/>
                    <a:pt x="1142" y="97"/>
                  </a:cubicBezTo>
                  <a:cubicBezTo>
                    <a:pt x="1144" y="95"/>
                    <a:pt x="1147" y="95"/>
                    <a:pt x="1149" y="97"/>
                  </a:cubicBezTo>
                  <a:cubicBezTo>
                    <a:pt x="1169" y="140"/>
                    <a:pt x="1169" y="140"/>
                    <a:pt x="1169" y="140"/>
                  </a:cubicBezTo>
                  <a:cubicBezTo>
                    <a:pt x="1169" y="141"/>
                    <a:pt x="1170" y="142"/>
                    <a:pt x="1171" y="142"/>
                  </a:cubicBezTo>
                  <a:cubicBezTo>
                    <a:pt x="1218" y="149"/>
                    <a:pt x="1218" y="149"/>
                    <a:pt x="1218" y="149"/>
                  </a:cubicBezTo>
                  <a:cubicBezTo>
                    <a:pt x="1221" y="150"/>
                    <a:pt x="1222" y="153"/>
                    <a:pt x="1220" y="1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sp>
          <p:nvSpPr>
            <p:cNvPr id="70" name="Freeform 16">
              <a:extLst>
                <a:ext uri="{FF2B5EF4-FFF2-40B4-BE49-F238E27FC236}">
                  <a16:creationId xmlns:a16="http://schemas.microsoft.com/office/drawing/2014/main" id="{0E02D212-17FD-448F-87B5-CCA177AA39B1}"/>
                </a:ext>
              </a:extLst>
            </p:cNvPr>
            <p:cNvSpPr>
              <a:spLocks noEditPoints="1"/>
            </p:cNvSpPr>
            <p:nvPr/>
          </p:nvSpPr>
          <p:spPr bwMode="auto">
            <a:xfrm>
              <a:off x="8657921" y="193232"/>
              <a:ext cx="335344" cy="225908"/>
            </a:xfrm>
            <a:custGeom>
              <a:avLst/>
              <a:gdLst>
                <a:gd name="T0" fmla="*/ 663 w 2112"/>
                <a:gd name="T1" fmla="*/ 1199 h 1421"/>
                <a:gd name="T2" fmla="*/ 469 w 2112"/>
                <a:gd name="T3" fmla="*/ 844 h 1421"/>
                <a:gd name="T4" fmla="*/ 695 w 2112"/>
                <a:gd name="T5" fmla="*/ 0 h 1421"/>
                <a:gd name="T6" fmla="*/ 920 w 2112"/>
                <a:gd name="T7" fmla="*/ 844 h 1421"/>
                <a:gd name="T8" fmla="*/ 727 w 2112"/>
                <a:gd name="T9" fmla="*/ 1199 h 1421"/>
                <a:gd name="T10" fmla="*/ 695 w 2112"/>
                <a:gd name="T11" fmla="*/ 1218 h 1421"/>
                <a:gd name="T12" fmla="*/ 352 w 2112"/>
                <a:gd name="T13" fmla="*/ 395 h 1421"/>
                <a:gd name="T14" fmla="*/ 662 w 2112"/>
                <a:gd name="T15" fmla="*/ 1110 h 1421"/>
                <a:gd name="T16" fmla="*/ 728 w 2112"/>
                <a:gd name="T17" fmla="*/ 1110 h 1421"/>
                <a:gd name="T18" fmla="*/ 1036 w 2112"/>
                <a:gd name="T19" fmla="*/ 395 h 1421"/>
                <a:gd name="T20" fmla="*/ 1344 w 2112"/>
                <a:gd name="T21" fmla="*/ 593 h 1421"/>
                <a:gd name="T22" fmla="*/ 1081 w 2112"/>
                <a:gd name="T23" fmla="*/ 587 h 1421"/>
                <a:gd name="T24" fmla="*/ 1364 w 2112"/>
                <a:gd name="T25" fmla="*/ 631 h 1421"/>
                <a:gd name="T26" fmla="*/ 2110 w 2112"/>
                <a:gd name="T27" fmla="*/ 1377 h 1421"/>
                <a:gd name="T28" fmla="*/ 1876 w 2112"/>
                <a:gd name="T29" fmla="*/ 587 h 1421"/>
                <a:gd name="T30" fmla="*/ 1736 w 2112"/>
                <a:gd name="T31" fmla="*/ 592 h 1421"/>
                <a:gd name="T32" fmla="*/ 1876 w 2112"/>
                <a:gd name="T33" fmla="*/ 631 h 1421"/>
                <a:gd name="T34" fmla="*/ 2064 w 2112"/>
                <a:gd name="T35" fmla="*/ 1377 h 1421"/>
                <a:gd name="T36" fmla="*/ 232 w 2112"/>
                <a:gd name="T37" fmla="*/ 631 h 1421"/>
                <a:gd name="T38" fmla="*/ 324 w 2112"/>
                <a:gd name="T39" fmla="*/ 631 h 1421"/>
                <a:gd name="T40" fmla="*/ 236 w 2112"/>
                <a:gd name="T41" fmla="*/ 587 h 1421"/>
                <a:gd name="T42" fmla="*/ 2 w 2112"/>
                <a:gd name="T43" fmla="*/ 1377 h 1421"/>
                <a:gd name="T44" fmla="*/ 45 w 2112"/>
                <a:gd name="T45" fmla="*/ 1421 h 1421"/>
                <a:gd name="T46" fmla="*/ 2104 w 2112"/>
                <a:gd name="T47" fmla="*/ 1405 h 1421"/>
                <a:gd name="T48" fmla="*/ 1541 w 2112"/>
                <a:gd name="T49" fmla="*/ 826 h 1421"/>
                <a:gd name="T50" fmla="*/ 1487 w 2112"/>
                <a:gd name="T51" fmla="*/ 765 h 1421"/>
                <a:gd name="T52" fmla="*/ 1276 w 2112"/>
                <a:gd name="T53" fmla="*/ 270 h 1421"/>
                <a:gd name="T54" fmla="*/ 1804 w 2112"/>
                <a:gd name="T55" fmla="*/ 270 h 1421"/>
                <a:gd name="T56" fmla="*/ 1594 w 2112"/>
                <a:gd name="T57" fmla="*/ 765 h 1421"/>
                <a:gd name="T58" fmla="*/ 1541 w 2112"/>
                <a:gd name="T59" fmla="*/ 826 h 1421"/>
                <a:gd name="T60" fmla="*/ 1541 w 2112"/>
                <a:gd name="T61" fmla="*/ 44 h 1421"/>
                <a:gd name="T62" fmla="*/ 1423 w 2112"/>
                <a:gd name="T63" fmla="*/ 553 h 1421"/>
                <a:gd name="T64" fmla="*/ 1541 w 2112"/>
                <a:gd name="T65" fmla="*/ 770 h 1421"/>
                <a:gd name="T66" fmla="*/ 1658 w 2112"/>
                <a:gd name="T67" fmla="*/ 553 h 1421"/>
                <a:gd name="T68" fmla="*/ 1541 w 2112"/>
                <a:gd name="T69" fmla="*/ 44 h 1421"/>
                <a:gd name="T70" fmla="*/ 1195 w 2112"/>
                <a:gd name="T71" fmla="*/ 908 h 1421"/>
                <a:gd name="T72" fmla="*/ 1195 w 2112"/>
                <a:gd name="T73" fmla="*/ 826 h 1421"/>
                <a:gd name="T74" fmla="*/ 1449 w 2112"/>
                <a:gd name="T75" fmla="*/ 787 h 1421"/>
                <a:gd name="T76" fmla="*/ 1195 w 2112"/>
                <a:gd name="T77" fmla="*/ 782 h 1421"/>
                <a:gd name="T78" fmla="*/ 1195 w 2112"/>
                <a:gd name="T79" fmla="*/ 952 h 1421"/>
                <a:gd name="T80" fmla="*/ 1659 w 2112"/>
                <a:gd name="T81" fmla="*/ 1063 h 1421"/>
                <a:gd name="T82" fmla="*/ 793 w 2112"/>
                <a:gd name="T83" fmla="*/ 1174 h 1421"/>
                <a:gd name="T84" fmla="*/ 1548 w 2112"/>
                <a:gd name="T85" fmla="*/ 1218 h 1421"/>
                <a:gd name="T86" fmla="*/ 1548 w 2112"/>
                <a:gd name="T87" fmla="*/ 90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12" h="1421">
                  <a:moveTo>
                    <a:pt x="695" y="1218"/>
                  </a:moveTo>
                  <a:cubicBezTo>
                    <a:pt x="681" y="1218"/>
                    <a:pt x="669" y="1211"/>
                    <a:pt x="663" y="1199"/>
                  </a:cubicBezTo>
                  <a:cubicBezTo>
                    <a:pt x="624" y="1132"/>
                    <a:pt x="624" y="1132"/>
                    <a:pt x="624" y="1132"/>
                  </a:cubicBezTo>
                  <a:cubicBezTo>
                    <a:pt x="623" y="1131"/>
                    <a:pt x="545" y="997"/>
                    <a:pt x="469" y="844"/>
                  </a:cubicBezTo>
                  <a:cubicBezTo>
                    <a:pt x="360" y="627"/>
                    <a:pt x="308" y="480"/>
                    <a:pt x="308" y="395"/>
                  </a:cubicBezTo>
                  <a:cubicBezTo>
                    <a:pt x="308" y="177"/>
                    <a:pt x="481" y="0"/>
                    <a:pt x="695" y="0"/>
                  </a:cubicBezTo>
                  <a:cubicBezTo>
                    <a:pt x="907" y="0"/>
                    <a:pt x="1080" y="177"/>
                    <a:pt x="1080" y="395"/>
                  </a:cubicBezTo>
                  <a:cubicBezTo>
                    <a:pt x="1080" y="480"/>
                    <a:pt x="1027" y="627"/>
                    <a:pt x="920" y="844"/>
                  </a:cubicBezTo>
                  <a:cubicBezTo>
                    <a:pt x="844" y="997"/>
                    <a:pt x="767" y="1131"/>
                    <a:pt x="766" y="1132"/>
                  </a:cubicBezTo>
                  <a:cubicBezTo>
                    <a:pt x="727" y="1199"/>
                    <a:pt x="727" y="1199"/>
                    <a:pt x="727" y="1199"/>
                  </a:cubicBezTo>
                  <a:cubicBezTo>
                    <a:pt x="721" y="1211"/>
                    <a:pt x="709" y="1218"/>
                    <a:pt x="695" y="1218"/>
                  </a:cubicBezTo>
                  <a:cubicBezTo>
                    <a:pt x="695" y="1218"/>
                    <a:pt x="695" y="1218"/>
                    <a:pt x="695" y="1218"/>
                  </a:cubicBezTo>
                  <a:close/>
                  <a:moveTo>
                    <a:pt x="695" y="44"/>
                  </a:moveTo>
                  <a:cubicBezTo>
                    <a:pt x="506" y="44"/>
                    <a:pt x="352" y="202"/>
                    <a:pt x="352" y="395"/>
                  </a:cubicBezTo>
                  <a:cubicBezTo>
                    <a:pt x="352" y="473"/>
                    <a:pt x="403" y="614"/>
                    <a:pt x="508" y="825"/>
                  </a:cubicBezTo>
                  <a:cubicBezTo>
                    <a:pt x="584" y="976"/>
                    <a:pt x="661" y="1109"/>
                    <a:pt x="662" y="1110"/>
                  </a:cubicBezTo>
                  <a:cubicBezTo>
                    <a:pt x="695" y="1167"/>
                    <a:pt x="695" y="1167"/>
                    <a:pt x="695" y="1167"/>
                  </a:cubicBezTo>
                  <a:cubicBezTo>
                    <a:pt x="728" y="1110"/>
                    <a:pt x="728" y="1110"/>
                    <a:pt x="728" y="1110"/>
                  </a:cubicBezTo>
                  <a:cubicBezTo>
                    <a:pt x="729" y="1109"/>
                    <a:pt x="805" y="976"/>
                    <a:pt x="880" y="825"/>
                  </a:cubicBezTo>
                  <a:cubicBezTo>
                    <a:pt x="985" y="614"/>
                    <a:pt x="1036" y="473"/>
                    <a:pt x="1036" y="395"/>
                  </a:cubicBezTo>
                  <a:cubicBezTo>
                    <a:pt x="1036" y="202"/>
                    <a:pt x="883" y="44"/>
                    <a:pt x="695" y="44"/>
                  </a:cubicBezTo>
                  <a:close/>
                  <a:moveTo>
                    <a:pt x="1344" y="593"/>
                  </a:moveTo>
                  <a:cubicBezTo>
                    <a:pt x="1343" y="591"/>
                    <a:pt x="1343" y="589"/>
                    <a:pt x="1342" y="587"/>
                  </a:cubicBezTo>
                  <a:cubicBezTo>
                    <a:pt x="1081" y="587"/>
                    <a:pt x="1081" y="587"/>
                    <a:pt x="1081" y="587"/>
                  </a:cubicBezTo>
                  <a:cubicBezTo>
                    <a:pt x="1076" y="601"/>
                    <a:pt x="1070" y="616"/>
                    <a:pt x="1064" y="631"/>
                  </a:cubicBezTo>
                  <a:cubicBezTo>
                    <a:pt x="1364" y="631"/>
                    <a:pt x="1364" y="631"/>
                    <a:pt x="1364" y="631"/>
                  </a:cubicBezTo>
                  <a:cubicBezTo>
                    <a:pt x="1357" y="619"/>
                    <a:pt x="1351" y="606"/>
                    <a:pt x="1344" y="593"/>
                  </a:cubicBezTo>
                  <a:close/>
                  <a:moveTo>
                    <a:pt x="2110" y="1377"/>
                  </a:moveTo>
                  <a:cubicBezTo>
                    <a:pt x="1921" y="615"/>
                    <a:pt x="1921" y="615"/>
                    <a:pt x="1921" y="615"/>
                  </a:cubicBezTo>
                  <a:cubicBezTo>
                    <a:pt x="1916" y="596"/>
                    <a:pt x="1894" y="587"/>
                    <a:pt x="1876" y="587"/>
                  </a:cubicBezTo>
                  <a:cubicBezTo>
                    <a:pt x="1739" y="587"/>
                    <a:pt x="1739" y="587"/>
                    <a:pt x="1739" y="587"/>
                  </a:cubicBezTo>
                  <a:cubicBezTo>
                    <a:pt x="1738" y="589"/>
                    <a:pt x="1737" y="591"/>
                    <a:pt x="1736" y="592"/>
                  </a:cubicBezTo>
                  <a:cubicBezTo>
                    <a:pt x="1730" y="605"/>
                    <a:pt x="1723" y="618"/>
                    <a:pt x="1717" y="631"/>
                  </a:cubicBezTo>
                  <a:cubicBezTo>
                    <a:pt x="1876" y="631"/>
                    <a:pt x="1876" y="631"/>
                    <a:pt x="1876" y="631"/>
                  </a:cubicBezTo>
                  <a:cubicBezTo>
                    <a:pt x="1877" y="631"/>
                    <a:pt x="1879" y="631"/>
                    <a:pt x="1880" y="631"/>
                  </a:cubicBezTo>
                  <a:cubicBezTo>
                    <a:pt x="2064" y="1377"/>
                    <a:pt x="2064" y="1377"/>
                    <a:pt x="2064" y="1377"/>
                  </a:cubicBezTo>
                  <a:cubicBezTo>
                    <a:pt x="48" y="1377"/>
                    <a:pt x="48" y="1377"/>
                    <a:pt x="48" y="1377"/>
                  </a:cubicBezTo>
                  <a:cubicBezTo>
                    <a:pt x="232" y="631"/>
                    <a:pt x="232" y="631"/>
                    <a:pt x="232" y="631"/>
                  </a:cubicBezTo>
                  <a:cubicBezTo>
                    <a:pt x="233" y="631"/>
                    <a:pt x="235" y="631"/>
                    <a:pt x="236" y="631"/>
                  </a:cubicBezTo>
                  <a:cubicBezTo>
                    <a:pt x="324" y="631"/>
                    <a:pt x="324" y="631"/>
                    <a:pt x="324" y="631"/>
                  </a:cubicBezTo>
                  <a:cubicBezTo>
                    <a:pt x="318" y="616"/>
                    <a:pt x="312" y="601"/>
                    <a:pt x="307" y="587"/>
                  </a:cubicBezTo>
                  <a:cubicBezTo>
                    <a:pt x="236" y="587"/>
                    <a:pt x="236" y="587"/>
                    <a:pt x="236" y="587"/>
                  </a:cubicBezTo>
                  <a:cubicBezTo>
                    <a:pt x="218" y="587"/>
                    <a:pt x="196" y="596"/>
                    <a:pt x="191" y="615"/>
                  </a:cubicBezTo>
                  <a:cubicBezTo>
                    <a:pt x="2" y="1377"/>
                    <a:pt x="2" y="1377"/>
                    <a:pt x="2" y="1377"/>
                  </a:cubicBezTo>
                  <a:cubicBezTo>
                    <a:pt x="0" y="1387"/>
                    <a:pt x="2" y="1397"/>
                    <a:pt x="8" y="1405"/>
                  </a:cubicBezTo>
                  <a:cubicBezTo>
                    <a:pt x="16" y="1415"/>
                    <a:pt x="30" y="1421"/>
                    <a:pt x="45" y="1421"/>
                  </a:cubicBezTo>
                  <a:cubicBezTo>
                    <a:pt x="2067" y="1421"/>
                    <a:pt x="2067" y="1421"/>
                    <a:pt x="2067" y="1421"/>
                  </a:cubicBezTo>
                  <a:cubicBezTo>
                    <a:pt x="2082" y="1421"/>
                    <a:pt x="2096" y="1415"/>
                    <a:pt x="2104" y="1405"/>
                  </a:cubicBezTo>
                  <a:cubicBezTo>
                    <a:pt x="2110" y="1397"/>
                    <a:pt x="2112" y="1387"/>
                    <a:pt x="2110" y="1377"/>
                  </a:cubicBezTo>
                  <a:close/>
                  <a:moveTo>
                    <a:pt x="1541" y="826"/>
                  </a:moveTo>
                  <a:cubicBezTo>
                    <a:pt x="1529" y="826"/>
                    <a:pt x="1519" y="819"/>
                    <a:pt x="1513" y="810"/>
                  </a:cubicBezTo>
                  <a:cubicBezTo>
                    <a:pt x="1487" y="765"/>
                    <a:pt x="1487" y="765"/>
                    <a:pt x="1487" y="765"/>
                  </a:cubicBezTo>
                  <a:cubicBezTo>
                    <a:pt x="1487" y="764"/>
                    <a:pt x="1435" y="675"/>
                    <a:pt x="1384" y="573"/>
                  </a:cubicBezTo>
                  <a:cubicBezTo>
                    <a:pt x="1310" y="425"/>
                    <a:pt x="1276" y="329"/>
                    <a:pt x="1276" y="270"/>
                  </a:cubicBezTo>
                  <a:cubicBezTo>
                    <a:pt x="1276" y="122"/>
                    <a:pt x="1395" y="0"/>
                    <a:pt x="1541" y="0"/>
                  </a:cubicBezTo>
                  <a:cubicBezTo>
                    <a:pt x="1686" y="0"/>
                    <a:pt x="1804" y="122"/>
                    <a:pt x="1804" y="270"/>
                  </a:cubicBezTo>
                  <a:cubicBezTo>
                    <a:pt x="1804" y="329"/>
                    <a:pt x="1770" y="425"/>
                    <a:pt x="1697" y="573"/>
                  </a:cubicBezTo>
                  <a:cubicBezTo>
                    <a:pt x="1647" y="675"/>
                    <a:pt x="1595" y="764"/>
                    <a:pt x="1594" y="765"/>
                  </a:cubicBezTo>
                  <a:cubicBezTo>
                    <a:pt x="1569" y="809"/>
                    <a:pt x="1569" y="809"/>
                    <a:pt x="1569" y="809"/>
                  </a:cubicBezTo>
                  <a:cubicBezTo>
                    <a:pt x="1563" y="819"/>
                    <a:pt x="1552" y="826"/>
                    <a:pt x="1541" y="826"/>
                  </a:cubicBezTo>
                  <a:cubicBezTo>
                    <a:pt x="1541" y="826"/>
                    <a:pt x="1541" y="826"/>
                    <a:pt x="1541" y="826"/>
                  </a:cubicBezTo>
                  <a:close/>
                  <a:moveTo>
                    <a:pt x="1541" y="44"/>
                  </a:moveTo>
                  <a:cubicBezTo>
                    <a:pt x="1419" y="44"/>
                    <a:pt x="1320" y="146"/>
                    <a:pt x="1320" y="270"/>
                  </a:cubicBezTo>
                  <a:cubicBezTo>
                    <a:pt x="1320" y="321"/>
                    <a:pt x="1354" y="416"/>
                    <a:pt x="1423" y="553"/>
                  </a:cubicBezTo>
                  <a:cubicBezTo>
                    <a:pt x="1474" y="655"/>
                    <a:pt x="1525" y="742"/>
                    <a:pt x="1525" y="743"/>
                  </a:cubicBezTo>
                  <a:cubicBezTo>
                    <a:pt x="1541" y="770"/>
                    <a:pt x="1541" y="770"/>
                    <a:pt x="1541" y="770"/>
                  </a:cubicBezTo>
                  <a:cubicBezTo>
                    <a:pt x="1556" y="743"/>
                    <a:pt x="1556" y="743"/>
                    <a:pt x="1556" y="743"/>
                  </a:cubicBezTo>
                  <a:cubicBezTo>
                    <a:pt x="1557" y="742"/>
                    <a:pt x="1607" y="655"/>
                    <a:pt x="1658" y="553"/>
                  </a:cubicBezTo>
                  <a:cubicBezTo>
                    <a:pt x="1726" y="416"/>
                    <a:pt x="1760" y="321"/>
                    <a:pt x="1760" y="270"/>
                  </a:cubicBezTo>
                  <a:cubicBezTo>
                    <a:pt x="1760" y="146"/>
                    <a:pt x="1662" y="44"/>
                    <a:pt x="1541" y="44"/>
                  </a:cubicBezTo>
                  <a:close/>
                  <a:moveTo>
                    <a:pt x="1548" y="908"/>
                  </a:moveTo>
                  <a:cubicBezTo>
                    <a:pt x="1195" y="908"/>
                    <a:pt x="1195" y="908"/>
                    <a:pt x="1195" y="908"/>
                  </a:cubicBezTo>
                  <a:cubicBezTo>
                    <a:pt x="1172" y="908"/>
                    <a:pt x="1154" y="889"/>
                    <a:pt x="1154" y="867"/>
                  </a:cubicBezTo>
                  <a:cubicBezTo>
                    <a:pt x="1154" y="844"/>
                    <a:pt x="1172" y="826"/>
                    <a:pt x="1195" y="826"/>
                  </a:cubicBezTo>
                  <a:cubicBezTo>
                    <a:pt x="1471" y="826"/>
                    <a:pt x="1471" y="826"/>
                    <a:pt x="1471" y="826"/>
                  </a:cubicBezTo>
                  <a:cubicBezTo>
                    <a:pt x="1449" y="787"/>
                    <a:pt x="1449" y="787"/>
                    <a:pt x="1449" y="787"/>
                  </a:cubicBezTo>
                  <a:cubicBezTo>
                    <a:pt x="1449" y="787"/>
                    <a:pt x="1448" y="785"/>
                    <a:pt x="1446" y="782"/>
                  </a:cubicBezTo>
                  <a:cubicBezTo>
                    <a:pt x="1195" y="782"/>
                    <a:pt x="1195" y="782"/>
                    <a:pt x="1195" y="782"/>
                  </a:cubicBezTo>
                  <a:cubicBezTo>
                    <a:pt x="1148" y="782"/>
                    <a:pt x="1110" y="820"/>
                    <a:pt x="1110" y="867"/>
                  </a:cubicBezTo>
                  <a:cubicBezTo>
                    <a:pt x="1110" y="914"/>
                    <a:pt x="1148" y="952"/>
                    <a:pt x="1195" y="952"/>
                  </a:cubicBezTo>
                  <a:cubicBezTo>
                    <a:pt x="1548" y="952"/>
                    <a:pt x="1548" y="952"/>
                    <a:pt x="1548" y="952"/>
                  </a:cubicBezTo>
                  <a:cubicBezTo>
                    <a:pt x="1609" y="952"/>
                    <a:pt x="1659" y="1002"/>
                    <a:pt x="1659" y="1063"/>
                  </a:cubicBezTo>
                  <a:cubicBezTo>
                    <a:pt x="1659" y="1124"/>
                    <a:pt x="1609" y="1174"/>
                    <a:pt x="1548" y="1174"/>
                  </a:cubicBezTo>
                  <a:cubicBezTo>
                    <a:pt x="793" y="1174"/>
                    <a:pt x="793" y="1174"/>
                    <a:pt x="793" y="1174"/>
                  </a:cubicBezTo>
                  <a:cubicBezTo>
                    <a:pt x="767" y="1218"/>
                    <a:pt x="767" y="1218"/>
                    <a:pt x="767" y="1218"/>
                  </a:cubicBezTo>
                  <a:cubicBezTo>
                    <a:pt x="1548" y="1218"/>
                    <a:pt x="1548" y="1218"/>
                    <a:pt x="1548" y="1218"/>
                  </a:cubicBezTo>
                  <a:cubicBezTo>
                    <a:pt x="1633" y="1218"/>
                    <a:pt x="1703" y="1148"/>
                    <a:pt x="1703" y="1063"/>
                  </a:cubicBezTo>
                  <a:cubicBezTo>
                    <a:pt x="1703" y="977"/>
                    <a:pt x="1633" y="908"/>
                    <a:pt x="1548" y="9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p>
          </p:txBody>
        </p:sp>
      </p:grpSp>
      <p:sp>
        <p:nvSpPr>
          <p:cNvPr id="71" name="ee4pHeader3"/>
          <p:cNvSpPr txBox="1"/>
          <p:nvPr/>
        </p:nvSpPr>
        <p:spPr>
          <a:xfrm>
            <a:off x="5258572" y="2089841"/>
            <a:ext cx="1580399" cy="759600"/>
          </a:xfrm>
          <a:prstGeom prst="rect">
            <a:avLst/>
          </a:prstGeom>
          <a:noFill/>
          <a:ln cap="rnd">
            <a:noFill/>
          </a:ln>
        </p:spPr>
        <p:txBody>
          <a:bodyPr wrap="square" lIns="0" tIns="0" rIns="0" bIns="0" rtlCol="0" anchor="t" anchorCtr="0">
            <a:noAutofit/>
          </a:bodyPr>
          <a:lstStyle/>
          <a:p>
            <a:pPr marL="0" lvl="3" algn="ctr"/>
            <a:r>
              <a:rPr lang="en-US" sz="2000" dirty="0">
                <a:solidFill>
                  <a:schemeClr val="tx2"/>
                </a:solidFill>
              </a:rPr>
              <a:t>Vision</a:t>
            </a:r>
          </a:p>
        </p:txBody>
      </p:sp>
    </p:spTree>
    <p:extLst>
      <p:ext uri="{BB962C8B-B14F-4D97-AF65-F5344CB8AC3E}">
        <p14:creationId xmlns:p14="http://schemas.microsoft.com/office/powerpoint/2010/main" val="3527997167"/>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9" name="think-cell Slide" r:id="rId7" imgW="180" imgH="180" progId="TCLayout.ActiveDocument.1">
                  <p:embed/>
                </p:oleObj>
              </mc:Choice>
              <mc:Fallback>
                <p:oleObj name="think-cell Slide" r:id="rId7" imgW="180" imgH="18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6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420676" y="2764203"/>
            <a:ext cx="3400133" cy="1314311"/>
          </a:xfrm>
        </p:spPr>
        <p:txBody>
          <a:bodyPr/>
          <a:lstStyle/>
          <a:p>
            <a:r>
              <a:rPr lang="en-US" sz="3600" dirty="0"/>
              <a:t>Typical big rocks  </a:t>
            </a:r>
          </a:p>
        </p:txBody>
      </p:sp>
      <p:sp>
        <p:nvSpPr>
          <p:cNvPr id="3" name="ee4pContent1"/>
          <p:cNvSpPr txBox="1"/>
          <p:nvPr/>
        </p:nvSpPr>
        <p:spPr>
          <a:xfrm>
            <a:off x="4120308" y="2895137"/>
            <a:ext cx="2243647" cy="3488400"/>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lnSpc>
                <a:spcPct val="89000"/>
              </a:lnSpc>
              <a:spcBef>
                <a:spcPts val="600"/>
              </a:spcBef>
              <a:buClr>
                <a:schemeClr val="tx2">
                  <a:lumMod val="100000"/>
                </a:schemeClr>
              </a:buClr>
              <a:buSzPct val="100000"/>
            </a:pPr>
            <a:r>
              <a:rPr lang="en-US" sz="2000" dirty="0">
                <a:solidFill>
                  <a:schemeClr val="tx2"/>
                </a:solidFill>
              </a:rPr>
              <a:t>Simplify the organization</a:t>
            </a:r>
          </a:p>
          <a:p>
            <a:pPr lvl="1">
              <a:lnSpc>
                <a:spcPct val="89000"/>
              </a:lnSpc>
              <a:spcBef>
                <a:spcPts val="600"/>
              </a:spcBef>
              <a:buClr>
                <a:schemeClr val="tx2">
                  <a:lumMod val="100000"/>
                </a:schemeClr>
              </a:buClr>
              <a:buSzPct val="100000"/>
            </a:pPr>
            <a:endParaRPr lang="en-US" sz="2000" dirty="0">
              <a:solidFill>
                <a:schemeClr val="tx2"/>
              </a:solidFill>
            </a:endParaRPr>
          </a:p>
          <a:p>
            <a:pPr lvl="1">
              <a:lnSpc>
                <a:spcPct val="89000"/>
              </a:lnSpc>
              <a:spcBef>
                <a:spcPts val="600"/>
              </a:spcBef>
              <a:buClr>
                <a:schemeClr val="tx2">
                  <a:lumMod val="100000"/>
                </a:schemeClr>
              </a:buClr>
              <a:buSzPct val="100000"/>
            </a:pPr>
            <a:r>
              <a:rPr lang="en-US" sz="2000" dirty="0">
                <a:solidFill>
                  <a:schemeClr val="tx2"/>
                </a:solidFill>
              </a:rPr>
              <a:t>Simplify the product offering</a:t>
            </a:r>
          </a:p>
          <a:p>
            <a:pPr lvl="1">
              <a:lnSpc>
                <a:spcPct val="89000"/>
              </a:lnSpc>
              <a:spcBef>
                <a:spcPts val="600"/>
              </a:spcBef>
              <a:buClr>
                <a:schemeClr val="tx2">
                  <a:lumMod val="100000"/>
                </a:schemeClr>
              </a:buClr>
              <a:buSzPct val="100000"/>
            </a:pPr>
            <a:endParaRPr lang="en-US" sz="2000" dirty="0">
              <a:solidFill>
                <a:schemeClr val="tx2"/>
              </a:solidFill>
            </a:endParaRPr>
          </a:p>
          <a:p>
            <a:pPr lvl="1">
              <a:lnSpc>
                <a:spcPct val="89000"/>
              </a:lnSpc>
              <a:spcBef>
                <a:spcPts val="600"/>
              </a:spcBef>
              <a:buClr>
                <a:schemeClr val="tx2">
                  <a:lumMod val="100000"/>
                </a:schemeClr>
              </a:buClr>
              <a:buSzPct val="100000"/>
            </a:pPr>
            <a:r>
              <a:rPr lang="en-US" sz="2000" dirty="0">
                <a:solidFill>
                  <a:schemeClr val="tx2"/>
                </a:solidFill>
              </a:rPr>
              <a:t>Improve price realization</a:t>
            </a:r>
          </a:p>
          <a:p>
            <a:pPr lvl="1">
              <a:lnSpc>
                <a:spcPct val="89000"/>
              </a:lnSpc>
              <a:spcBef>
                <a:spcPts val="600"/>
              </a:spcBef>
              <a:buClr>
                <a:schemeClr val="tx2">
                  <a:lumMod val="100000"/>
                </a:schemeClr>
              </a:buClr>
              <a:buSzPct val="100000"/>
            </a:pPr>
            <a:endParaRPr lang="en-US" sz="1800" dirty="0">
              <a:solidFill>
                <a:schemeClr val="tx2"/>
              </a:solidFill>
            </a:endParaRPr>
          </a:p>
          <a:p>
            <a:pPr lvl="1">
              <a:lnSpc>
                <a:spcPct val="89000"/>
              </a:lnSpc>
              <a:spcBef>
                <a:spcPts val="600"/>
              </a:spcBef>
              <a:buClr>
                <a:schemeClr val="tx2">
                  <a:lumMod val="100000"/>
                </a:schemeClr>
              </a:buClr>
              <a:buSzPct val="100000"/>
            </a:pPr>
            <a:r>
              <a:rPr lang="en-US" sz="2000" dirty="0">
                <a:solidFill>
                  <a:schemeClr val="tx2"/>
                </a:solidFill>
              </a:rPr>
              <a:t>Reduce non-personnel costs</a:t>
            </a:r>
          </a:p>
          <a:p>
            <a:pPr lvl="1">
              <a:lnSpc>
                <a:spcPct val="89000"/>
              </a:lnSpc>
              <a:spcBef>
                <a:spcPts val="600"/>
              </a:spcBef>
              <a:buClr>
                <a:schemeClr val="tx2">
                  <a:lumMod val="100000"/>
                </a:schemeClr>
              </a:buClr>
              <a:buSzPct val="100000"/>
            </a:pPr>
            <a:endParaRPr lang="en-US" sz="1400" dirty="0">
              <a:solidFill>
                <a:schemeClr val="tx1">
                  <a:lumMod val="100000"/>
                </a:schemeClr>
              </a:solidFill>
            </a:endParaRPr>
          </a:p>
        </p:txBody>
      </p:sp>
      <p:sp>
        <p:nvSpPr>
          <p:cNvPr id="4" name="ee4pHeader1"/>
          <p:cNvSpPr txBox="1"/>
          <p:nvPr/>
        </p:nvSpPr>
        <p:spPr>
          <a:xfrm>
            <a:off x="4211398" y="1994236"/>
            <a:ext cx="2003134" cy="513186"/>
          </a:xfrm>
          <a:prstGeom prst="rect">
            <a:avLst/>
          </a:prstGeom>
          <a:noFill/>
          <a:ln cap="rnd">
            <a:noFill/>
          </a:ln>
        </p:spPr>
        <p:txBody>
          <a:bodyPr wrap="square" lIns="0" tIns="0" rIns="0" bIns="0" rtlCol="0" anchor="t" anchorCtr="0">
            <a:noAutofit/>
          </a:bodyPr>
          <a:lstStyle/>
          <a:p>
            <a:pPr marL="0" lvl="3"/>
            <a:r>
              <a:rPr lang="en-US" sz="2400" dirty="0">
                <a:solidFill>
                  <a:schemeClr val="tx2"/>
                </a:solidFill>
              </a:rPr>
              <a:t>Fund the</a:t>
            </a:r>
          </a:p>
          <a:p>
            <a:pPr marL="0" lvl="3"/>
            <a:r>
              <a:rPr lang="en-US" sz="2400" dirty="0">
                <a:solidFill>
                  <a:schemeClr val="tx2"/>
                </a:solidFill>
              </a:rPr>
              <a:t>Journey</a:t>
            </a:r>
          </a:p>
        </p:txBody>
      </p:sp>
      <p:sp>
        <p:nvSpPr>
          <p:cNvPr id="5" name="ee4pContent2"/>
          <p:cNvSpPr txBox="1"/>
          <p:nvPr/>
        </p:nvSpPr>
        <p:spPr>
          <a:xfrm>
            <a:off x="6609693" y="2895138"/>
            <a:ext cx="2373441" cy="3488400"/>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lnSpc>
                <a:spcPct val="89000"/>
              </a:lnSpc>
              <a:spcBef>
                <a:spcPts val="600"/>
              </a:spcBef>
              <a:buClr>
                <a:schemeClr val="tx2">
                  <a:lumMod val="100000"/>
                </a:schemeClr>
              </a:buClr>
              <a:buSzPct val="100000"/>
            </a:pPr>
            <a:r>
              <a:rPr lang="en-US" sz="2000" dirty="0">
                <a:solidFill>
                  <a:schemeClr val="tx2"/>
                </a:solidFill>
              </a:rPr>
              <a:t>Growth in the core and beyond</a:t>
            </a:r>
          </a:p>
          <a:p>
            <a:pPr lvl="1">
              <a:lnSpc>
                <a:spcPct val="89000"/>
              </a:lnSpc>
              <a:spcBef>
                <a:spcPts val="600"/>
              </a:spcBef>
              <a:buClr>
                <a:schemeClr val="tx2">
                  <a:lumMod val="100000"/>
                </a:schemeClr>
              </a:buClr>
              <a:buSzPct val="100000"/>
            </a:pPr>
            <a:endParaRPr lang="en-US" sz="2000" dirty="0">
              <a:solidFill>
                <a:schemeClr val="tx2"/>
              </a:solidFill>
            </a:endParaRPr>
          </a:p>
          <a:p>
            <a:pPr lvl="1">
              <a:lnSpc>
                <a:spcPct val="89000"/>
              </a:lnSpc>
              <a:spcBef>
                <a:spcPts val="600"/>
              </a:spcBef>
              <a:buClr>
                <a:schemeClr val="tx2">
                  <a:lumMod val="100000"/>
                </a:schemeClr>
              </a:buClr>
              <a:buSzPct val="100000"/>
            </a:pPr>
            <a:r>
              <a:rPr lang="en-US" sz="2000" dirty="0">
                <a:solidFill>
                  <a:schemeClr val="tx2"/>
                </a:solidFill>
              </a:rPr>
              <a:t>Business model innovation</a:t>
            </a:r>
          </a:p>
          <a:p>
            <a:pPr lvl="1">
              <a:lnSpc>
                <a:spcPct val="89000"/>
              </a:lnSpc>
              <a:spcBef>
                <a:spcPts val="600"/>
              </a:spcBef>
              <a:buClr>
                <a:schemeClr val="tx2">
                  <a:lumMod val="100000"/>
                </a:schemeClr>
              </a:buClr>
              <a:buSzPct val="100000"/>
            </a:pPr>
            <a:endParaRPr lang="en-US" sz="2000" dirty="0">
              <a:solidFill>
                <a:schemeClr val="tx2"/>
              </a:solidFill>
            </a:endParaRPr>
          </a:p>
          <a:p>
            <a:pPr lvl="1">
              <a:lnSpc>
                <a:spcPct val="89000"/>
              </a:lnSpc>
              <a:spcBef>
                <a:spcPts val="600"/>
              </a:spcBef>
              <a:buClr>
                <a:schemeClr val="tx2">
                  <a:lumMod val="100000"/>
                </a:schemeClr>
              </a:buClr>
              <a:buSzPct val="100000"/>
            </a:pPr>
            <a:r>
              <a:rPr lang="en-US" sz="2000" dirty="0">
                <a:solidFill>
                  <a:schemeClr val="tx2"/>
                </a:solidFill>
              </a:rPr>
              <a:t>Go-to-market approach</a:t>
            </a:r>
          </a:p>
          <a:p>
            <a:pPr lvl="1">
              <a:lnSpc>
                <a:spcPct val="89000"/>
              </a:lnSpc>
              <a:spcBef>
                <a:spcPts val="600"/>
              </a:spcBef>
              <a:buClr>
                <a:schemeClr val="tx2">
                  <a:lumMod val="100000"/>
                </a:schemeClr>
              </a:buClr>
              <a:buSzPct val="100000"/>
            </a:pPr>
            <a:endParaRPr lang="en-US" sz="2000" dirty="0">
              <a:solidFill>
                <a:schemeClr val="tx2"/>
              </a:solidFill>
            </a:endParaRPr>
          </a:p>
          <a:p>
            <a:pPr lvl="1">
              <a:lnSpc>
                <a:spcPct val="89000"/>
              </a:lnSpc>
              <a:spcBef>
                <a:spcPts val="600"/>
              </a:spcBef>
              <a:buClr>
                <a:schemeClr val="tx2">
                  <a:lumMod val="100000"/>
                </a:schemeClr>
              </a:buClr>
              <a:buSzPct val="100000"/>
            </a:pPr>
            <a:r>
              <a:rPr lang="en-US" sz="2000" dirty="0">
                <a:solidFill>
                  <a:schemeClr val="tx2"/>
                </a:solidFill>
              </a:rPr>
              <a:t>Digital products and services  </a:t>
            </a:r>
          </a:p>
        </p:txBody>
      </p:sp>
      <p:sp>
        <p:nvSpPr>
          <p:cNvPr id="6" name="ee4pHeader2"/>
          <p:cNvSpPr txBox="1"/>
          <p:nvPr/>
        </p:nvSpPr>
        <p:spPr>
          <a:xfrm>
            <a:off x="6609693" y="1994236"/>
            <a:ext cx="2682145" cy="513186"/>
          </a:xfrm>
          <a:prstGeom prst="rect">
            <a:avLst/>
          </a:prstGeom>
          <a:noFill/>
          <a:ln cap="rnd">
            <a:noFill/>
          </a:ln>
        </p:spPr>
        <p:txBody>
          <a:bodyPr wrap="square" lIns="0" tIns="0" rIns="0" bIns="0" rtlCol="0" anchor="t" anchorCtr="0">
            <a:noAutofit/>
          </a:bodyPr>
          <a:lstStyle/>
          <a:p>
            <a:pPr marL="0" lvl="3"/>
            <a:r>
              <a:rPr lang="en-US" sz="2400" dirty="0">
                <a:solidFill>
                  <a:schemeClr val="tx2"/>
                </a:solidFill>
              </a:rPr>
              <a:t>Deliver Priority</a:t>
            </a:r>
          </a:p>
          <a:p>
            <a:pPr marL="0" lvl="3"/>
            <a:r>
              <a:rPr lang="en-US" sz="2400" dirty="0">
                <a:solidFill>
                  <a:schemeClr val="tx2"/>
                </a:solidFill>
              </a:rPr>
              <a:t>Outcomes</a:t>
            </a:r>
          </a:p>
        </p:txBody>
      </p:sp>
      <p:sp>
        <p:nvSpPr>
          <p:cNvPr id="7" name="ee4pContent3"/>
          <p:cNvSpPr txBox="1"/>
          <p:nvPr/>
        </p:nvSpPr>
        <p:spPr>
          <a:xfrm>
            <a:off x="9228871" y="2862087"/>
            <a:ext cx="2644457" cy="3488400"/>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lnSpc>
                <a:spcPct val="89000"/>
              </a:lnSpc>
              <a:spcBef>
                <a:spcPts val="600"/>
              </a:spcBef>
              <a:buClr>
                <a:schemeClr val="tx2">
                  <a:lumMod val="100000"/>
                </a:schemeClr>
              </a:buClr>
              <a:buSzPct val="100000"/>
            </a:pPr>
            <a:r>
              <a:rPr lang="en-US" sz="2000" dirty="0">
                <a:solidFill>
                  <a:schemeClr val="tx2"/>
                </a:solidFill>
              </a:rPr>
              <a:t>Operating model structure &amp; roles</a:t>
            </a:r>
          </a:p>
          <a:p>
            <a:pPr lvl="1">
              <a:lnSpc>
                <a:spcPct val="89000"/>
              </a:lnSpc>
              <a:spcBef>
                <a:spcPts val="600"/>
              </a:spcBef>
              <a:buClr>
                <a:schemeClr val="tx2">
                  <a:lumMod val="100000"/>
                </a:schemeClr>
              </a:buClr>
              <a:buSzPct val="100000"/>
            </a:pPr>
            <a:endParaRPr lang="en-US" sz="2000" dirty="0">
              <a:solidFill>
                <a:schemeClr val="tx2"/>
              </a:solidFill>
            </a:endParaRPr>
          </a:p>
          <a:p>
            <a:pPr lvl="1">
              <a:lnSpc>
                <a:spcPct val="89000"/>
              </a:lnSpc>
              <a:spcBef>
                <a:spcPts val="600"/>
              </a:spcBef>
              <a:buClr>
                <a:schemeClr val="tx2">
                  <a:lumMod val="100000"/>
                </a:schemeClr>
              </a:buClr>
              <a:buSzPct val="100000"/>
            </a:pPr>
            <a:r>
              <a:rPr lang="en-US" sz="2000" dirty="0">
                <a:solidFill>
                  <a:schemeClr val="tx2"/>
                </a:solidFill>
              </a:rPr>
              <a:t>Leadership and talent</a:t>
            </a:r>
          </a:p>
          <a:p>
            <a:pPr lvl="1">
              <a:lnSpc>
                <a:spcPct val="89000"/>
              </a:lnSpc>
              <a:spcBef>
                <a:spcPts val="600"/>
              </a:spcBef>
              <a:buClr>
                <a:schemeClr val="tx2">
                  <a:lumMod val="100000"/>
                </a:schemeClr>
              </a:buClr>
              <a:buSzPct val="100000"/>
            </a:pPr>
            <a:endParaRPr lang="en-US" sz="2000" dirty="0">
              <a:solidFill>
                <a:schemeClr val="tx2"/>
              </a:solidFill>
            </a:endParaRPr>
          </a:p>
          <a:p>
            <a:pPr lvl="1">
              <a:lnSpc>
                <a:spcPct val="89000"/>
              </a:lnSpc>
              <a:spcBef>
                <a:spcPts val="600"/>
              </a:spcBef>
              <a:buClr>
                <a:schemeClr val="tx2">
                  <a:lumMod val="100000"/>
                </a:schemeClr>
              </a:buClr>
              <a:buSzPct val="100000"/>
            </a:pPr>
            <a:r>
              <a:rPr lang="en-US" sz="2000" dirty="0">
                <a:solidFill>
                  <a:schemeClr val="tx2"/>
                </a:solidFill>
              </a:rPr>
              <a:t>Core capabilities and digitalization</a:t>
            </a:r>
          </a:p>
          <a:p>
            <a:pPr marL="108000" lvl="1" indent="0">
              <a:lnSpc>
                <a:spcPct val="89000"/>
              </a:lnSpc>
              <a:spcBef>
                <a:spcPts val="600"/>
              </a:spcBef>
              <a:buClr>
                <a:schemeClr val="tx2">
                  <a:lumMod val="100000"/>
                </a:schemeClr>
              </a:buClr>
              <a:buSzPct val="100000"/>
              <a:buNone/>
            </a:pPr>
            <a:endParaRPr lang="en-US" sz="2000" dirty="0">
              <a:solidFill>
                <a:schemeClr val="tx2"/>
              </a:solidFill>
            </a:endParaRPr>
          </a:p>
          <a:p>
            <a:pPr lvl="1">
              <a:lnSpc>
                <a:spcPct val="89000"/>
              </a:lnSpc>
              <a:spcBef>
                <a:spcPts val="600"/>
              </a:spcBef>
              <a:buClr>
                <a:schemeClr val="tx2">
                  <a:lumMod val="100000"/>
                </a:schemeClr>
              </a:buClr>
              <a:buSzPct val="100000"/>
            </a:pPr>
            <a:r>
              <a:rPr lang="en-US" sz="2000" dirty="0">
                <a:solidFill>
                  <a:schemeClr val="tx2"/>
                </a:solidFill>
              </a:rPr>
              <a:t>Culture: behaviors &amp; context</a:t>
            </a:r>
          </a:p>
        </p:txBody>
      </p:sp>
      <p:sp>
        <p:nvSpPr>
          <p:cNvPr id="8" name="ee4pHeader3"/>
          <p:cNvSpPr txBox="1"/>
          <p:nvPr/>
        </p:nvSpPr>
        <p:spPr>
          <a:xfrm>
            <a:off x="9228872" y="1950171"/>
            <a:ext cx="2370462" cy="513186"/>
          </a:xfrm>
          <a:prstGeom prst="rect">
            <a:avLst/>
          </a:prstGeom>
          <a:noFill/>
          <a:ln cap="rnd">
            <a:noFill/>
          </a:ln>
        </p:spPr>
        <p:txBody>
          <a:bodyPr wrap="square" lIns="0" tIns="0" rIns="0" bIns="0" rtlCol="0" anchor="t" anchorCtr="0">
            <a:noAutofit/>
          </a:bodyPr>
          <a:lstStyle/>
          <a:p>
            <a:pPr marL="0" lvl="3"/>
            <a:r>
              <a:rPr lang="en-US" sz="2400" dirty="0">
                <a:solidFill>
                  <a:schemeClr val="tx2"/>
                </a:solidFill>
              </a:rPr>
              <a:t>Build the</a:t>
            </a:r>
          </a:p>
          <a:p>
            <a:pPr marL="0" lvl="3"/>
            <a:r>
              <a:rPr lang="en-US" sz="2400" dirty="0">
                <a:solidFill>
                  <a:schemeClr val="tx2"/>
                </a:solidFill>
              </a:rPr>
              <a:t>Organization</a:t>
            </a:r>
          </a:p>
        </p:txBody>
      </p:sp>
      <p:grpSp>
        <p:nvGrpSpPr>
          <p:cNvPr id="35" name="bcgBugs_MagnifyingGlassSearch"/>
          <p:cNvGrpSpPr>
            <a:grpSpLocks noChangeAspect="1"/>
          </p:cNvGrpSpPr>
          <p:nvPr/>
        </p:nvGrpSpPr>
        <p:grpSpPr bwMode="auto">
          <a:xfrm>
            <a:off x="4329693" y="958932"/>
            <a:ext cx="1080042" cy="1081102"/>
            <a:chOff x="2818" y="1137"/>
            <a:chExt cx="2044" cy="2046"/>
          </a:xfrm>
        </p:grpSpPr>
        <p:sp>
          <p:nvSpPr>
            <p:cNvPr id="36"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5"/>
            <p:cNvSpPr>
              <a:spLocks noEditPoints="1"/>
            </p:cNvSpPr>
            <p:nvPr/>
          </p:nvSpPr>
          <p:spPr bwMode="auto">
            <a:xfrm>
              <a:off x="3047" y="1190"/>
              <a:ext cx="1584" cy="1866"/>
            </a:xfrm>
            <a:custGeom>
              <a:avLst/>
              <a:gdLst>
                <a:gd name="T0" fmla="*/ 763 w 774"/>
                <a:gd name="T1" fmla="*/ 288 h 911"/>
                <a:gd name="T2" fmla="*/ 650 w 774"/>
                <a:gd name="T3" fmla="*/ 96 h 911"/>
                <a:gd name="T4" fmla="*/ 243 w 774"/>
                <a:gd name="T5" fmla="*/ 153 h 911"/>
                <a:gd name="T6" fmla="*/ 187 w 774"/>
                <a:gd name="T7" fmla="*/ 368 h 911"/>
                <a:gd name="T8" fmla="*/ 270 w 774"/>
                <a:gd name="T9" fmla="*/ 535 h 911"/>
                <a:gd name="T10" fmla="*/ 235 w 774"/>
                <a:gd name="T11" fmla="*/ 581 h 911"/>
                <a:gd name="T12" fmla="*/ 217 w 774"/>
                <a:gd name="T13" fmla="*/ 568 h 911"/>
                <a:gd name="T14" fmla="*/ 200 w 774"/>
                <a:gd name="T15" fmla="*/ 563 h 911"/>
                <a:gd name="T16" fmla="*/ 186 w 774"/>
                <a:gd name="T17" fmla="*/ 572 h 911"/>
                <a:gd name="T18" fmla="*/ 18 w 774"/>
                <a:gd name="T19" fmla="*/ 793 h 911"/>
                <a:gd name="T20" fmla="*/ 52 w 774"/>
                <a:gd name="T21" fmla="*/ 887 h 911"/>
                <a:gd name="T22" fmla="*/ 102 w 774"/>
                <a:gd name="T23" fmla="*/ 910 h 911"/>
                <a:gd name="T24" fmla="*/ 114 w 774"/>
                <a:gd name="T25" fmla="*/ 911 h 911"/>
                <a:gd name="T26" fmla="*/ 152 w 774"/>
                <a:gd name="T27" fmla="*/ 894 h 911"/>
                <a:gd name="T28" fmla="*/ 319 w 774"/>
                <a:gd name="T29" fmla="*/ 673 h 911"/>
                <a:gd name="T30" fmla="*/ 315 w 774"/>
                <a:gd name="T31" fmla="*/ 642 h 911"/>
                <a:gd name="T32" fmla="*/ 296 w 774"/>
                <a:gd name="T33" fmla="*/ 628 h 911"/>
                <a:gd name="T34" fmla="*/ 332 w 774"/>
                <a:gd name="T35" fmla="*/ 581 h 911"/>
                <a:gd name="T36" fmla="*/ 474 w 774"/>
                <a:gd name="T37" fmla="*/ 619 h 911"/>
                <a:gd name="T38" fmla="*/ 515 w 774"/>
                <a:gd name="T39" fmla="*/ 616 h 911"/>
                <a:gd name="T40" fmla="*/ 707 w 774"/>
                <a:gd name="T41" fmla="*/ 503 h 911"/>
                <a:gd name="T42" fmla="*/ 763 w 774"/>
                <a:gd name="T43" fmla="*/ 288 h 911"/>
                <a:gd name="T44" fmla="*/ 672 w 774"/>
                <a:gd name="T45" fmla="*/ 477 h 911"/>
                <a:gd name="T46" fmla="*/ 326 w 774"/>
                <a:gd name="T47" fmla="*/ 525 h 911"/>
                <a:gd name="T48" fmla="*/ 278 w 774"/>
                <a:gd name="T49" fmla="*/ 179 h 911"/>
                <a:gd name="T50" fmla="*/ 475 w 774"/>
                <a:gd name="T51" fmla="*/ 81 h 911"/>
                <a:gd name="T52" fmla="*/ 624 w 774"/>
                <a:gd name="T53" fmla="*/ 131 h 911"/>
                <a:gd name="T54" fmla="*/ 719 w 774"/>
                <a:gd name="T55" fmla="*/ 294 h 911"/>
                <a:gd name="T56" fmla="*/ 672 w 774"/>
                <a:gd name="T57" fmla="*/ 477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74" h="911">
                  <a:moveTo>
                    <a:pt x="763" y="288"/>
                  </a:moveTo>
                  <a:cubicBezTo>
                    <a:pt x="752" y="211"/>
                    <a:pt x="712" y="143"/>
                    <a:pt x="650" y="96"/>
                  </a:cubicBezTo>
                  <a:cubicBezTo>
                    <a:pt x="522" y="0"/>
                    <a:pt x="340" y="25"/>
                    <a:pt x="243" y="153"/>
                  </a:cubicBezTo>
                  <a:cubicBezTo>
                    <a:pt x="196" y="215"/>
                    <a:pt x="176" y="291"/>
                    <a:pt x="187" y="368"/>
                  </a:cubicBezTo>
                  <a:cubicBezTo>
                    <a:pt x="196" y="432"/>
                    <a:pt x="225" y="490"/>
                    <a:pt x="270" y="535"/>
                  </a:cubicBezTo>
                  <a:cubicBezTo>
                    <a:pt x="235" y="581"/>
                    <a:pt x="235" y="581"/>
                    <a:pt x="235" y="581"/>
                  </a:cubicBezTo>
                  <a:cubicBezTo>
                    <a:pt x="217" y="568"/>
                    <a:pt x="217" y="568"/>
                    <a:pt x="217" y="568"/>
                  </a:cubicBezTo>
                  <a:cubicBezTo>
                    <a:pt x="212" y="564"/>
                    <a:pt x="206" y="562"/>
                    <a:pt x="200" y="563"/>
                  </a:cubicBezTo>
                  <a:cubicBezTo>
                    <a:pt x="195" y="564"/>
                    <a:pt x="189" y="567"/>
                    <a:pt x="186" y="572"/>
                  </a:cubicBezTo>
                  <a:cubicBezTo>
                    <a:pt x="18" y="793"/>
                    <a:pt x="18" y="793"/>
                    <a:pt x="18" y="793"/>
                  </a:cubicBezTo>
                  <a:cubicBezTo>
                    <a:pt x="0" y="818"/>
                    <a:pt x="14" y="858"/>
                    <a:pt x="52" y="887"/>
                  </a:cubicBezTo>
                  <a:cubicBezTo>
                    <a:pt x="68" y="899"/>
                    <a:pt x="86" y="907"/>
                    <a:pt x="102" y="910"/>
                  </a:cubicBezTo>
                  <a:cubicBezTo>
                    <a:pt x="107" y="910"/>
                    <a:pt x="111" y="911"/>
                    <a:pt x="114" y="911"/>
                  </a:cubicBezTo>
                  <a:cubicBezTo>
                    <a:pt x="130" y="911"/>
                    <a:pt x="144" y="905"/>
                    <a:pt x="152" y="894"/>
                  </a:cubicBezTo>
                  <a:cubicBezTo>
                    <a:pt x="319" y="673"/>
                    <a:pt x="319" y="673"/>
                    <a:pt x="319" y="673"/>
                  </a:cubicBezTo>
                  <a:cubicBezTo>
                    <a:pt x="326" y="664"/>
                    <a:pt x="324" y="650"/>
                    <a:pt x="315" y="642"/>
                  </a:cubicBezTo>
                  <a:cubicBezTo>
                    <a:pt x="296" y="628"/>
                    <a:pt x="296" y="628"/>
                    <a:pt x="296" y="628"/>
                  </a:cubicBezTo>
                  <a:cubicBezTo>
                    <a:pt x="332" y="581"/>
                    <a:pt x="332" y="581"/>
                    <a:pt x="332" y="581"/>
                  </a:cubicBezTo>
                  <a:cubicBezTo>
                    <a:pt x="376" y="606"/>
                    <a:pt x="424" y="619"/>
                    <a:pt x="474" y="619"/>
                  </a:cubicBezTo>
                  <a:cubicBezTo>
                    <a:pt x="488" y="619"/>
                    <a:pt x="501" y="618"/>
                    <a:pt x="515" y="616"/>
                  </a:cubicBezTo>
                  <a:cubicBezTo>
                    <a:pt x="592" y="605"/>
                    <a:pt x="660" y="565"/>
                    <a:pt x="707" y="503"/>
                  </a:cubicBezTo>
                  <a:cubicBezTo>
                    <a:pt x="754" y="441"/>
                    <a:pt x="774" y="365"/>
                    <a:pt x="763" y="288"/>
                  </a:cubicBezTo>
                  <a:close/>
                  <a:moveTo>
                    <a:pt x="672" y="477"/>
                  </a:moveTo>
                  <a:cubicBezTo>
                    <a:pt x="590" y="585"/>
                    <a:pt x="435" y="607"/>
                    <a:pt x="326" y="525"/>
                  </a:cubicBezTo>
                  <a:cubicBezTo>
                    <a:pt x="218" y="443"/>
                    <a:pt x="196" y="288"/>
                    <a:pt x="278" y="179"/>
                  </a:cubicBezTo>
                  <a:cubicBezTo>
                    <a:pt x="327" y="115"/>
                    <a:pt x="401" y="81"/>
                    <a:pt x="475" y="81"/>
                  </a:cubicBezTo>
                  <a:cubicBezTo>
                    <a:pt x="527" y="81"/>
                    <a:pt x="579" y="98"/>
                    <a:pt x="624" y="131"/>
                  </a:cubicBezTo>
                  <a:cubicBezTo>
                    <a:pt x="676" y="171"/>
                    <a:pt x="710" y="229"/>
                    <a:pt x="719" y="294"/>
                  </a:cubicBezTo>
                  <a:cubicBezTo>
                    <a:pt x="728" y="359"/>
                    <a:pt x="712" y="424"/>
                    <a:pt x="672" y="4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1" name="ee4pHeader3"/>
          <p:cNvSpPr>
            <a:spLocks noChangeArrowheads="1"/>
          </p:cNvSpPr>
          <p:nvPr>
            <p:custDataLst>
              <p:tags r:id="rId4"/>
            </p:custDataLst>
          </p:nvPr>
        </p:nvSpPr>
        <p:spPr bwMode="gray">
          <a:xfrm flipV="1">
            <a:off x="11873329" y="297531"/>
            <a:ext cx="137976" cy="124457"/>
          </a:xfrm>
          <a:prstGeom prst="chevron">
            <a:avLst>
              <a:gd name="adj" fmla="val 12004"/>
            </a:avLst>
          </a:prstGeom>
          <a:solidFill>
            <a:srgbClr val="FFFFFF"/>
          </a:solidFill>
          <a:ln w="38100" cap="rnd" algn="ctr">
            <a:noFill/>
            <a:round/>
            <a:headEnd/>
            <a:tailEnd/>
          </a:ln>
        </p:spPr>
        <p:txBody>
          <a:bodyPr lIns="0" tIns="0" rIns="0" bIns="0" anchor="ctr" anchorCtr="0"/>
          <a:lstStyle/>
          <a:p>
            <a:pPr algn="ctr" eaLnBrk="0" hangingPunct="0"/>
            <a:endParaRPr lang="en-US" sz="1600" b="1" dirty="0">
              <a:solidFill>
                <a:srgbClr val="FFFFFF"/>
              </a:solidFill>
              <a:sym typeface="Trebuchet MS" panose="020B0603020202020204" pitchFamily="34" charset="0"/>
            </a:endParaRPr>
          </a:p>
        </p:txBody>
      </p:sp>
      <p:grpSp>
        <p:nvGrpSpPr>
          <p:cNvPr id="32" name="bcgIcons_Network">
            <a:extLst>
              <a:ext uri="{FF2B5EF4-FFF2-40B4-BE49-F238E27FC236}">
                <a16:creationId xmlns:a16="http://schemas.microsoft.com/office/drawing/2014/main" id="{1552B4E7-8819-4A5B-BAA2-B1CF810393A7}"/>
              </a:ext>
            </a:extLst>
          </p:cNvPr>
          <p:cNvGrpSpPr>
            <a:grpSpLocks noChangeAspect="1"/>
          </p:cNvGrpSpPr>
          <p:nvPr/>
        </p:nvGrpSpPr>
        <p:grpSpPr bwMode="auto">
          <a:xfrm>
            <a:off x="9536395" y="1023161"/>
            <a:ext cx="1052414" cy="1053389"/>
            <a:chOff x="1682" y="0"/>
            <a:chExt cx="4316" cy="4320"/>
          </a:xfrm>
        </p:grpSpPr>
        <p:sp>
          <p:nvSpPr>
            <p:cNvPr id="49" name="AutoShape 24">
              <a:extLst>
                <a:ext uri="{FF2B5EF4-FFF2-40B4-BE49-F238E27FC236}">
                  <a16:creationId xmlns:a16="http://schemas.microsoft.com/office/drawing/2014/main" id="{F3249088-1FEF-4F4D-B4DD-F2FB6793247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8522" tIns="29261" rIns="58522" bIns="29261" numCol="1" anchor="t" anchorCtr="0" compatLnSpc="1">
              <a:prstTxWarp prst="textNoShape">
                <a:avLst/>
              </a:prstTxWarp>
            </a:bodyPr>
            <a:lstStyle/>
            <a:p>
              <a:endParaRPr lang="en-US" dirty="0"/>
            </a:p>
          </p:txBody>
        </p:sp>
        <p:sp>
          <p:nvSpPr>
            <p:cNvPr id="50" name="Freeform 26">
              <a:extLst>
                <a:ext uri="{FF2B5EF4-FFF2-40B4-BE49-F238E27FC236}">
                  <a16:creationId xmlns:a16="http://schemas.microsoft.com/office/drawing/2014/main" id="{91F0DE8E-7721-4BF8-9C4E-7069412A86EB}"/>
                </a:ext>
              </a:extLst>
            </p:cNvPr>
            <p:cNvSpPr>
              <a:spLocks noEditPoints="1"/>
            </p:cNvSpPr>
            <p:nvPr/>
          </p:nvSpPr>
          <p:spPr bwMode="auto">
            <a:xfrm>
              <a:off x="2527" y="626"/>
              <a:ext cx="2630" cy="3068"/>
            </a:xfrm>
            <a:custGeom>
              <a:avLst/>
              <a:gdLst>
                <a:gd name="T0" fmla="*/ 1189 w 2630"/>
                <a:gd name="T1" fmla="*/ 1962 h 3068"/>
                <a:gd name="T2" fmla="*/ 880 w 2630"/>
                <a:gd name="T3" fmla="*/ 1783 h 3068"/>
                <a:gd name="T4" fmla="*/ 880 w 2630"/>
                <a:gd name="T5" fmla="*/ 1427 h 3068"/>
                <a:gd name="T6" fmla="*/ 1189 w 2630"/>
                <a:gd name="T7" fmla="*/ 1605 h 3068"/>
                <a:gd name="T8" fmla="*/ 1189 w 2630"/>
                <a:gd name="T9" fmla="*/ 1962 h 3068"/>
                <a:gd name="T10" fmla="*/ 1313 w 2630"/>
                <a:gd name="T11" fmla="*/ 1392 h 3068"/>
                <a:gd name="T12" fmla="*/ 1622 w 2630"/>
                <a:gd name="T13" fmla="*/ 1213 h 3068"/>
                <a:gd name="T14" fmla="*/ 1313 w 2630"/>
                <a:gd name="T15" fmla="*/ 1035 h 3068"/>
                <a:gd name="T16" fmla="*/ 1004 w 2630"/>
                <a:gd name="T17" fmla="*/ 1213 h 3068"/>
                <a:gd name="T18" fmla="*/ 1313 w 2630"/>
                <a:gd name="T19" fmla="*/ 1392 h 3068"/>
                <a:gd name="T20" fmla="*/ 1437 w 2630"/>
                <a:gd name="T21" fmla="*/ 1605 h 3068"/>
                <a:gd name="T22" fmla="*/ 1437 w 2630"/>
                <a:gd name="T23" fmla="*/ 1962 h 3068"/>
                <a:gd name="T24" fmla="*/ 1746 w 2630"/>
                <a:gd name="T25" fmla="*/ 1783 h 3068"/>
                <a:gd name="T26" fmla="*/ 1746 w 2630"/>
                <a:gd name="T27" fmla="*/ 1427 h 3068"/>
                <a:gd name="T28" fmla="*/ 1437 w 2630"/>
                <a:gd name="T29" fmla="*/ 1605 h 3068"/>
                <a:gd name="T30" fmla="*/ 1313 w 2630"/>
                <a:gd name="T31" fmla="*/ 373 h 3068"/>
                <a:gd name="T32" fmla="*/ 1474 w 2630"/>
                <a:gd name="T33" fmla="*/ 280 h 3068"/>
                <a:gd name="T34" fmla="*/ 1474 w 2630"/>
                <a:gd name="T35" fmla="*/ 94 h 3068"/>
                <a:gd name="T36" fmla="*/ 1313 w 2630"/>
                <a:gd name="T37" fmla="*/ 0 h 3068"/>
                <a:gd name="T38" fmla="*/ 1152 w 2630"/>
                <a:gd name="T39" fmla="*/ 94 h 3068"/>
                <a:gd name="T40" fmla="*/ 1152 w 2630"/>
                <a:gd name="T41" fmla="*/ 280 h 3068"/>
                <a:gd name="T42" fmla="*/ 1313 w 2630"/>
                <a:gd name="T43" fmla="*/ 373 h 3068"/>
                <a:gd name="T44" fmla="*/ 1313 w 2630"/>
                <a:gd name="T45" fmla="*/ 3068 h 3068"/>
                <a:gd name="T46" fmla="*/ 1474 w 2630"/>
                <a:gd name="T47" fmla="*/ 2974 h 3068"/>
                <a:gd name="T48" fmla="*/ 1474 w 2630"/>
                <a:gd name="T49" fmla="*/ 2788 h 3068"/>
                <a:gd name="T50" fmla="*/ 1313 w 2630"/>
                <a:gd name="T51" fmla="*/ 2695 h 3068"/>
                <a:gd name="T52" fmla="*/ 1152 w 2630"/>
                <a:gd name="T53" fmla="*/ 2788 h 3068"/>
                <a:gd name="T54" fmla="*/ 1152 w 2630"/>
                <a:gd name="T55" fmla="*/ 2974 h 3068"/>
                <a:gd name="T56" fmla="*/ 1313 w 2630"/>
                <a:gd name="T57" fmla="*/ 3068 h 3068"/>
                <a:gd name="T58" fmla="*/ 2469 w 2630"/>
                <a:gd name="T59" fmla="*/ 2393 h 3068"/>
                <a:gd name="T60" fmla="*/ 2630 w 2630"/>
                <a:gd name="T61" fmla="*/ 2299 h 3068"/>
                <a:gd name="T62" fmla="*/ 2630 w 2630"/>
                <a:gd name="T63" fmla="*/ 2113 h 3068"/>
                <a:gd name="T64" fmla="*/ 2469 w 2630"/>
                <a:gd name="T65" fmla="*/ 2020 h 3068"/>
                <a:gd name="T66" fmla="*/ 2308 w 2630"/>
                <a:gd name="T67" fmla="*/ 2113 h 3068"/>
                <a:gd name="T68" fmla="*/ 2308 w 2630"/>
                <a:gd name="T69" fmla="*/ 2299 h 3068"/>
                <a:gd name="T70" fmla="*/ 2469 w 2630"/>
                <a:gd name="T71" fmla="*/ 2393 h 3068"/>
                <a:gd name="T72" fmla="*/ 2469 w 2630"/>
                <a:gd name="T73" fmla="*/ 1048 h 3068"/>
                <a:gd name="T74" fmla="*/ 2630 w 2630"/>
                <a:gd name="T75" fmla="*/ 955 h 3068"/>
                <a:gd name="T76" fmla="*/ 2630 w 2630"/>
                <a:gd name="T77" fmla="*/ 769 h 3068"/>
                <a:gd name="T78" fmla="*/ 2469 w 2630"/>
                <a:gd name="T79" fmla="*/ 675 h 3068"/>
                <a:gd name="T80" fmla="*/ 2308 w 2630"/>
                <a:gd name="T81" fmla="*/ 769 h 3068"/>
                <a:gd name="T82" fmla="*/ 2308 w 2630"/>
                <a:gd name="T83" fmla="*/ 955 h 3068"/>
                <a:gd name="T84" fmla="*/ 2469 w 2630"/>
                <a:gd name="T85" fmla="*/ 1048 h 3068"/>
                <a:gd name="T86" fmla="*/ 161 w 2630"/>
                <a:gd name="T87" fmla="*/ 2393 h 3068"/>
                <a:gd name="T88" fmla="*/ 322 w 2630"/>
                <a:gd name="T89" fmla="*/ 2299 h 3068"/>
                <a:gd name="T90" fmla="*/ 322 w 2630"/>
                <a:gd name="T91" fmla="*/ 2113 h 3068"/>
                <a:gd name="T92" fmla="*/ 161 w 2630"/>
                <a:gd name="T93" fmla="*/ 2020 h 3068"/>
                <a:gd name="T94" fmla="*/ 0 w 2630"/>
                <a:gd name="T95" fmla="*/ 2113 h 3068"/>
                <a:gd name="T96" fmla="*/ 0 w 2630"/>
                <a:gd name="T97" fmla="*/ 2299 h 3068"/>
                <a:gd name="T98" fmla="*/ 161 w 2630"/>
                <a:gd name="T99" fmla="*/ 2393 h 3068"/>
                <a:gd name="T100" fmla="*/ 161 w 2630"/>
                <a:gd name="T101" fmla="*/ 1048 h 3068"/>
                <a:gd name="T102" fmla="*/ 322 w 2630"/>
                <a:gd name="T103" fmla="*/ 955 h 3068"/>
                <a:gd name="T104" fmla="*/ 322 w 2630"/>
                <a:gd name="T105" fmla="*/ 769 h 3068"/>
                <a:gd name="T106" fmla="*/ 161 w 2630"/>
                <a:gd name="T107" fmla="*/ 675 h 3068"/>
                <a:gd name="T108" fmla="*/ 0 w 2630"/>
                <a:gd name="T109" fmla="*/ 769 h 3068"/>
                <a:gd name="T110" fmla="*/ 0 w 2630"/>
                <a:gd name="T111" fmla="*/ 955 h 3068"/>
                <a:gd name="T112" fmla="*/ 161 w 2630"/>
                <a:gd name="T113" fmla="*/ 1048 h 3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30" h="3068">
                  <a:moveTo>
                    <a:pt x="1189" y="1962"/>
                  </a:moveTo>
                  <a:lnTo>
                    <a:pt x="880" y="1783"/>
                  </a:lnTo>
                  <a:lnTo>
                    <a:pt x="880" y="1427"/>
                  </a:lnTo>
                  <a:lnTo>
                    <a:pt x="1189" y="1605"/>
                  </a:lnTo>
                  <a:lnTo>
                    <a:pt x="1189" y="1962"/>
                  </a:lnTo>
                  <a:close/>
                  <a:moveTo>
                    <a:pt x="1313" y="1392"/>
                  </a:moveTo>
                  <a:lnTo>
                    <a:pt x="1622" y="1213"/>
                  </a:lnTo>
                  <a:lnTo>
                    <a:pt x="1313" y="1035"/>
                  </a:lnTo>
                  <a:lnTo>
                    <a:pt x="1004" y="1213"/>
                  </a:lnTo>
                  <a:lnTo>
                    <a:pt x="1313" y="1392"/>
                  </a:lnTo>
                  <a:close/>
                  <a:moveTo>
                    <a:pt x="1437" y="1605"/>
                  </a:moveTo>
                  <a:lnTo>
                    <a:pt x="1437" y="1962"/>
                  </a:lnTo>
                  <a:lnTo>
                    <a:pt x="1746" y="1783"/>
                  </a:lnTo>
                  <a:lnTo>
                    <a:pt x="1746" y="1427"/>
                  </a:lnTo>
                  <a:lnTo>
                    <a:pt x="1437" y="1605"/>
                  </a:lnTo>
                  <a:close/>
                  <a:moveTo>
                    <a:pt x="1313" y="373"/>
                  </a:moveTo>
                  <a:lnTo>
                    <a:pt x="1474" y="280"/>
                  </a:lnTo>
                  <a:lnTo>
                    <a:pt x="1474" y="94"/>
                  </a:lnTo>
                  <a:lnTo>
                    <a:pt x="1313" y="0"/>
                  </a:lnTo>
                  <a:lnTo>
                    <a:pt x="1152" y="94"/>
                  </a:lnTo>
                  <a:lnTo>
                    <a:pt x="1152" y="280"/>
                  </a:lnTo>
                  <a:lnTo>
                    <a:pt x="1313" y="373"/>
                  </a:lnTo>
                  <a:close/>
                  <a:moveTo>
                    <a:pt x="1313" y="3068"/>
                  </a:moveTo>
                  <a:lnTo>
                    <a:pt x="1474" y="2974"/>
                  </a:lnTo>
                  <a:lnTo>
                    <a:pt x="1474" y="2788"/>
                  </a:lnTo>
                  <a:lnTo>
                    <a:pt x="1313" y="2695"/>
                  </a:lnTo>
                  <a:lnTo>
                    <a:pt x="1152" y="2788"/>
                  </a:lnTo>
                  <a:lnTo>
                    <a:pt x="1152" y="2974"/>
                  </a:lnTo>
                  <a:lnTo>
                    <a:pt x="1313" y="3068"/>
                  </a:lnTo>
                  <a:close/>
                  <a:moveTo>
                    <a:pt x="2469" y="2393"/>
                  </a:moveTo>
                  <a:lnTo>
                    <a:pt x="2630" y="2299"/>
                  </a:lnTo>
                  <a:lnTo>
                    <a:pt x="2630" y="2113"/>
                  </a:lnTo>
                  <a:lnTo>
                    <a:pt x="2469" y="2020"/>
                  </a:lnTo>
                  <a:lnTo>
                    <a:pt x="2308" y="2113"/>
                  </a:lnTo>
                  <a:lnTo>
                    <a:pt x="2308" y="2299"/>
                  </a:lnTo>
                  <a:lnTo>
                    <a:pt x="2469" y="2393"/>
                  </a:lnTo>
                  <a:close/>
                  <a:moveTo>
                    <a:pt x="2469" y="1048"/>
                  </a:moveTo>
                  <a:lnTo>
                    <a:pt x="2630" y="955"/>
                  </a:lnTo>
                  <a:lnTo>
                    <a:pt x="2630" y="769"/>
                  </a:lnTo>
                  <a:lnTo>
                    <a:pt x="2469" y="675"/>
                  </a:lnTo>
                  <a:lnTo>
                    <a:pt x="2308" y="769"/>
                  </a:lnTo>
                  <a:lnTo>
                    <a:pt x="2308" y="955"/>
                  </a:lnTo>
                  <a:lnTo>
                    <a:pt x="2469" y="1048"/>
                  </a:lnTo>
                  <a:close/>
                  <a:moveTo>
                    <a:pt x="161" y="2393"/>
                  </a:moveTo>
                  <a:lnTo>
                    <a:pt x="322" y="2299"/>
                  </a:lnTo>
                  <a:lnTo>
                    <a:pt x="322" y="2113"/>
                  </a:lnTo>
                  <a:lnTo>
                    <a:pt x="161" y="2020"/>
                  </a:lnTo>
                  <a:lnTo>
                    <a:pt x="0" y="2113"/>
                  </a:lnTo>
                  <a:lnTo>
                    <a:pt x="0" y="2299"/>
                  </a:lnTo>
                  <a:lnTo>
                    <a:pt x="161" y="2393"/>
                  </a:lnTo>
                  <a:close/>
                  <a:moveTo>
                    <a:pt x="161" y="1048"/>
                  </a:moveTo>
                  <a:lnTo>
                    <a:pt x="322" y="955"/>
                  </a:lnTo>
                  <a:lnTo>
                    <a:pt x="322" y="769"/>
                  </a:lnTo>
                  <a:lnTo>
                    <a:pt x="161" y="675"/>
                  </a:lnTo>
                  <a:lnTo>
                    <a:pt x="0" y="769"/>
                  </a:lnTo>
                  <a:lnTo>
                    <a:pt x="0" y="955"/>
                  </a:lnTo>
                  <a:lnTo>
                    <a:pt x="161" y="104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522" tIns="29261" rIns="58522" bIns="29261" numCol="1" anchor="t" anchorCtr="0" compatLnSpc="1">
              <a:prstTxWarp prst="textNoShape">
                <a:avLst/>
              </a:prstTxWarp>
            </a:bodyPr>
            <a:lstStyle/>
            <a:p>
              <a:endParaRPr lang="en-US" dirty="0"/>
            </a:p>
          </p:txBody>
        </p:sp>
        <p:sp>
          <p:nvSpPr>
            <p:cNvPr id="51" name="Freeform 27">
              <a:extLst>
                <a:ext uri="{FF2B5EF4-FFF2-40B4-BE49-F238E27FC236}">
                  <a16:creationId xmlns:a16="http://schemas.microsoft.com/office/drawing/2014/main" id="{74172CEF-9D9E-4786-9D45-00CE9C9B98F9}"/>
                </a:ext>
              </a:extLst>
            </p:cNvPr>
            <p:cNvSpPr>
              <a:spLocks noEditPoints="1"/>
            </p:cNvSpPr>
            <p:nvPr/>
          </p:nvSpPr>
          <p:spPr bwMode="auto">
            <a:xfrm>
              <a:off x="2362" y="441"/>
              <a:ext cx="2960" cy="3437"/>
            </a:xfrm>
            <a:custGeom>
              <a:avLst/>
              <a:gdLst>
                <a:gd name="T0" fmla="*/ 1395 w 1580"/>
                <a:gd name="T1" fmla="*/ 753 h 1833"/>
                <a:gd name="T2" fmla="*/ 1569 w 1580"/>
                <a:gd name="T3" fmla="*/ 665 h 1833"/>
                <a:gd name="T4" fmla="*/ 1569 w 1580"/>
                <a:gd name="T5" fmla="*/ 452 h 1833"/>
                <a:gd name="T6" fmla="*/ 1243 w 1580"/>
                <a:gd name="T7" fmla="*/ 452 h 1833"/>
                <a:gd name="T8" fmla="*/ 1086 w 1580"/>
                <a:gd name="T9" fmla="*/ 720 h 1833"/>
                <a:gd name="T10" fmla="*/ 952 w 1580"/>
                <a:gd name="T11" fmla="*/ 305 h 1833"/>
                <a:gd name="T12" fmla="*/ 952 w 1580"/>
                <a:gd name="T13" fmla="*/ 92 h 1833"/>
                <a:gd name="T14" fmla="*/ 626 w 1580"/>
                <a:gd name="T15" fmla="*/ 92 h 1833"/>
                <a:gd name="T16" fmla="*/ 626 w 1580"/>
                <a:gd name="T17" fmla="*/ 305 h 1833"/>
                <a:gd name="T18" fmla="*/ 492 w 1580"/>
                <a:gd name="T19" fmla="*/ 720 h 1833"/>
                <a:gd name="T20" fmla="*/ 337 w 1580"/>
                <a:gd name="T21" fmla="*/ 452 h 1833"/>
                <a:gd name="T22" fmla="*/ 11 w 1580"/>
                <a:gd name="T23" fmla="*/ 452 h 1833"/>
                <a:gd name="T24" fmla="*/ 11 w 1580"/>
                <a:gd name="T25" fmla="*/ 665 h 1833"/>
                <a:gd name="T26" fmla="*/ 185 w 1580"/>
                <a:gd name="T27" fmla="*/ 753 h 1833"/>
                <a:gd name="T28" fmla="*/ 470 w 1580"/>
                <a:gd name="T29" fmla="*/ 1076 h 1833"/>
                <a:gd name="T30" fmla="*/ 163 w 1580"/>
                <a:gd name="T31" fmla="*/ 1081 h 1833"/>
                <a:gd name="T32" fmla="*/ 0 w 1580"/>
                <a:gd name="T33" fmla="*/ 1363 h 1833"/>
                <a:gd name="T34" fmla="*/ 174 w 1580"/>
                <a:gd name="T35" fmla="*/ 1473 h 1833"/>
                <a:gd name="T36" fmla="*/ 348 w 1580"/>
                <a:gd name="T37" fmla="*/ 1363 h 1833"/>
                <a:gd name="T38" fmla="*/ 767 w 1580"/>
                <a:gd name="T39" fmla="*/ 1272 h 1833"/>
                <a:gd name="T40" fmla="*/ 615 w 1580"/>
                <a:gd name="T41" fmla="*/ 1548 h 1833"/>
                <a:gd name="T42" fmla="*/ 778 w 1580"/>
                <a:gd name="T43" fmla="*/ 1830 h 1833"/>
                <a:gd name="T44" fmla="*/ 952 w 1580"/>
                <a:gd name="T45" fmla="*/ 1742 h 1833"/>
                <a:gd name="T46" fmla="*/ 952 w 1580"/>
                <a:gd name="T47" fmla="*/ 1529 h 1833"/>
                <a:gd name="T48" fmla="*/ 1086 w 1580"/>
                <a:gd name="T49" fmla="*/ 1114 h 1833"/>
                <a:gd name="T50" fmla="*/ 1243 w 1580"/>
                <a:gd name="T51" fmla="*/ 1382 h 1833"/>
                <a:gd name="T52" fmla="*/ 1417 w 1580"/>
                <a:gd name="T53" fmla="*/ 1470 h 1833"/>
                <a:gd name="T54" fmla="*/ 1580 w 1580"/>
                <a:gd name="T55" fmla="*/ 1188 h 1833"/>
                <a:gd name="T56" fmla="*/ 1395 w 1580"/>
                <a:gd name="T57" fmla="*/ 1081 h 1833"/>
                <a:gd name="T58" fmla="*/ 1108 w 1580"/>
                <a:gd name="T59" fmla="*/ 758 h 1833"/>
                <a:gd name="T60" fmla="*/ 789 w 1580"/>
                <a:gd name="T61" fmla="*/ 600 h 1833"/>
                <a:gd name="T62" fmla="*/ 1276 w 1580"/>
                <a:gd name="T63" fmla="*/ 483 h 1833"/>
                <a:gd name="T64" fmla="*/ 1536 w 1580"/>
                <a:gd name="T65" fmla="*/ 634 h 1833"/>
                <a:gd name="T66" fmla="*/ 1276 w 1580"/>
                <a:gd name="T67" fmla="*/ 483 h 1833"/>
                <a:gd name="T68" fmla="*/ 919 w 1580"/>
                <a:gd name="T69" fmla="*/ 123 h 1833"/>
                <a:gd name="T70" fmla="*/ 659 w 1580"/>
                <a:gd name="T71" fmla="*/ 274 h 1833"/>
                <a:gd name="T72" fmla="*/ 174 w 1580"/>
                <a:gd name="T73" fmla="*/ 709 h 1833"/>
                <a:gd name="T74" fmla="*/ 174 w 1580"/>
                <a:gd name="T75" fmla="*/ 408 h 1833"/>
                <a:gd name="T76" fmla="*/ 304 w 1580"/>
                <a:gd name="T77" fmla="*/ 1351 h 1833"/>
                <a:gd name="T78" fmla="*/ 44 w 1580"/>
                <a:gd name="T79" fmla="*/ 1200 h 1833"/>
                <a:gd name="T80" fmla="*/ 304 w 1580"/>
                <a:gd name="T81" fmla="*/ 1351 h 1833"/>
                <a:gd name="T82" fmla="*/ 767 w 1580"/>
                <a:gd name="T83" fmla="*/ 1222 h 1833"/>
                <a:gd name="T84" fmla="*/ 919 w 1580"/>
                <a:gd name="T85" fmla="*/ 1711 h 1833"/>
                <a:gd name="T86" fmla="*/ 659 w 1580"/>
                <a:gd name="T87" fmla="*/ 1560 h 1833"/>
                <a:gd name="T88" fmla="*/ 919 w 1580"/>
                <a:gd name="T89" fmla="*/ 1711 h 1833"/>
                <a:gd name="T90" fmla="*/ 1064 w 1580"/>
                <a:gd name="T91" fmla="*/ 784 h 1833"/>
                <a:gd name="T92" fmla="*/ 1276 w 1580"/>
                <a:gd name="T93" fmla="*/ 1200 h 1833"/>
                <a:gd name="T94" fmla="*/ 1536 w 1580"/>
                <a:gd name="T95" fmla="*/ 1351 h 1833"/>
                <a:gd name="T96" fmla="*/ 1276 w 1580"/>
                <a:gd name="T97" fmla="*/ 1200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80" h="1833">
                  <a:moveTo>
                    <a:pt x="1108" y="758"/>
                  </a:moveTo>
                  <a:cubicBezTo>
                    <a:pt x="1254" y="672"/>
                    <a:pt x="1254" y="672"/>
                    <a:pt x="1254" y="672"/>
                  </a:cubicBezTo>
                  <a:cubicBezTo>
                    <a:pt x="1395" y="753"/>
                    <a:pt x="1395" y="753"/>
                    <a:pt x="1395" y="753"/>
                  </a:cubicBezTo>
                  <a:cubicBezTo>
                    <a:pt x="1399" y="755"/>
                    <a:pt x="1403" y="756"/>
                    <a:pt x="1406" y="756"/>
                  </a:cubicBezTo>
                  <a:cubicBezTo>
                    <a:pt x="1410" y="756"/>
                    <a:pt x="1414" y="755"/>
                    <a:pt x="1417" y="753"/>
                  </a:cubicBezTo>
                  <a:cubicBezTo>
                    <a:pt x="1569" y="665"/>
                    <a:pt x="1569" y="665"/>
                    <a:pt x="1569" y="665"/>
                  </a:cubicBezTo>
                  <a:cubicBezTo>
                    <a:pt x="1576" y="661"/>
                    <a:pt x="1580" y="654"/>
                    <a:pt x="1580" y="646"/>
                  </a:cubicBezTo>
                  <a:cubicBezTo>
                    <a:pt x="1580" y="471"/>
                    <a:pt x="1580" y="471"/>
                    <a:pt x="1580" y="471"/>
                  </a:cubicBezTo>
                  <a:cubicBezTo>
                    <a:pt x="1580" y="463"/>
                    <a:pt x="1576" y="456"/>
                    <a:pt x="1569" y="452"/>
                  </a:cubicBezTo>
                  <a:cubicBezTo>
                    <a:pt x="1417" y="364"/>
                    <a:pt x="1417" y="364"/>
                    <a:pt x="1417" y="364"/>
                  </a:cubicBezTo>
                  <a:cubicBezTo>
                    <a:pt x="1411" y="360"/>
                    <a:pt x="1402" y="360"/>
                    <a:pt x="1395" y="364"/>
                  </a:cubicBezTo>
                  <a:cubicBezTo>
                    <a:pt x="1243" y="452"/>
                    <a:pt x="1243" y="452"/>
                    <a:pt x="1243" y="452"/>
                  </a:cubicBezTo>
                  <a:cubicBezTo>
                    <a:pt x="1237" y="456"/>
                    <a:pt x="1232" y="463"/>
                    <a:pt x="1232" y="471"/>
                  </a:cubicBezTo>
                  <a:cubicBezTo>
                    <a:pt x="1232" y="634"/>
                    <a:pt x="1232" y="634"/>
                    <a:pt x="1232" y="634"/>
                  </a:cubicBezTo>
                  <a:cubicBezTo>
                    <a:pt x="1086" y="720"/>
                    <a:pt x="1086" y="720"/>
                    <a:pt x="1086" y="720"/>
                  </a:cubicBezTo>
                  <a:cubicBezTo>
                    <a:pt x="811" y="562"/>
                    <a:pt x="811" y="562"/>
                    <a:pt x="811" y="562"/>
                  </a:cubicBezTo>
                  <a:cubicBezTo>
                    <a:pt x="811" y="387"/>
                    <a:pt x="811" y="387"/>
                    <a:pt x="811" y="387"/>
                  </a:cubicBezTo>
                  <a:cubicBezTo>
                    <a:pt x="952" y="305"/>
                    <a:pt x="952" y="305"/>
                    <a:pt x="952" y="305"/>
                  </a:cubicBezTo>
                  <a:cubicBezTo>
                    <a:pt x="959" y="301"/>
                    <a:pt x="963" y="294"/>
                    <a:pt x="963" y="286"/>
                  </a:cubicBezTo>
                  <a:cubicBezTo>
                    <a:pt x="963" y="111"/>
                    <a:pt x="963" y="111"/>
                    <a:pt x="963" y="111"/>
                  </a:cubicBezTo>
                  <a:cubicBezTo>
                    <a:pt x="963" y="103"/>
                    <a:pt x="959" y="96"/>
                    <a:pt x="952" y="92"/>
                  </a:cubicBezTo>
                  <a:cubicBezTo>
                    <a:pt x="800" y="4"/>
                    <a:pt x="800" y="4"/>
                    <a:pt x="800" y="4"/>
                  </a:cubicBezTo>
                  <a:cubicBezTo>
                    <a:pt x="793" y="0"/>
                    <a:pt x="785" y="0"/>
                    <a:pt x="778" y="4"/>
                  </a:cubicBezTo>
                  <a:cubicBezTo>
                    <a:pt x="626" y="92"/>
                    <a:pt x="626" y="92"/>
                    <a:pt x="626" y="92"/>
                  </a:cubicBezTo>
                  <a:cubicBezTo>
                    <a:pt x="619" y="96"/>
                    <a:pt x="615" y="103"/>
                    <a:pt x="615" y="111"/>
                  </a:cubicBezTo>
                  <a:cubicBezTo>
                    <a:pt x="615" y="286"/>
                    <a:pt x="615" y="286"/>
                    <a:pt x="615" y="286"/>
                  </a:cubicBezTo>
                  <a:cubicBezTo>
                    <a:pt x="615" y="294"/>
                    <a:pt x="619" y="301"/>
                    <a:pt x="626" y="305"/>
                  </a:cubicBezTo>
                  <a:cubicBezTo>
                    <a:pt x="767" y="387"/>
                    <a:pt x="767" y="387"/>
                    <a:pt x="767" y="387"/>
                  </a:cubicBezTo>
                  <a:cubicBezTo>
                    <a:pt x="767" y="562"/>
                    <a:pt x="767" y="562"/>
                    <a:pt x="767" y="562"/>
                  </a:cubicBezTo>
                  <a:cubicBezTo>
                    <a:pt x="492" y="720"/>
                    <a:pt x="492" y="720"/>
                    <a:pt x="492" y="720"/>
                  </a:cubicBezTo>
                  <a:cubicBezTo>
                    <a:pt x="348" y="634"/>
                    <a:pt x="348" y="634"/>
                    <a:pt x="348" y="634"/>
                  </a:cubicBezTo>
                  <a:cubicBezTo>
                    <a:pt x="348" y="471"/>
                    <a:pt x="348" y="471"/>
                    <a:pt x="348" y="471"/>
                  </a:cubicBezTo>
                  <a:cubicBezTo>
                    <a:pt x="348" y="463"/>
                    <a:pt x="344" y="456"/>
                    <a:pt x="337" y="452"/>
                  </a:cubicBezTo>
                  <a:cubicBezTo>
                    <a:pt x="185" y="364"/>
                    <a:pt x="185" y="364"/>
                    <a:pt x="185" y="364"/>
                  </a:cubicBezTo>
                  <a:cubicBezTo>
                    <a:pt x="179" y="360"/>
                    <a:pt x="170" y="360"/>
                    <a:pt x="163" y="364"/>
                  </a:cubicBezTo>
                  <a:cubicBezTo>
                    <a:pt x="11" y="452"/>
                    <a:pt x="11" y="452"/>
                    <a:pt x="11" y="452"/>
                  </a:cubicBezTo>
                  <a:cubicBezTo>
                    <a:pt x="5" y="456"/>
                    <a:pt x="0" y="463"/>
                    <a:pt x="0" y="471"/>
                  </a:cubicBezTo>
                  <a:cubicBezTo>
                    <a:pt x="0" y="646"/>
                    <a:pt x="0" y="646"/>
                    <a:pt x="0" y="646"/>
                  </a:cubicBezTo>
                  <a:cubicBezTo>
                    <a:pt x="0" y="654"/>
                    <a:pt x="5" y="661"/>
                    <a:pt x="11" y="665"/>
                  </a:cubicBezTo>
                  <a:cubicBezTo>
                    <a:pt x="163" y="753"/>
                    <a:pt x="163" y="753"/>
                    <a:pt x="163" y="753"/>
                  </a:cubicBezTo>
                  <a:cubicBezTo>
                    <a:pt x="167" y="755"/>
                    <a:pt x="171" y="756"/>
                    <a:pt x="174" y="756"/>
                  </a:cubicBezTo>
                  <a:cubicBezTo>
                    <a:pt x="178" y="756"/>
                    <a:pt x="182" y="755"/>
                    <a:pt x="185" y="753"/>
                  </a:cubicBezTo>
                  <a:cubicBezTo>
                    <a:pt x="326" y="672"/>
                    <a:pt x="326" y="672"/>
                    <a:pt x="326" y="672"/>
                  </a:cubicBezTo>
                  <a:cubicBezTo>
                    <a:pt x="470" y="758"/>
                    <a:pt x="470" y="758"/>
                    <a:pt x="470" y="758"/>
                  </a:cubicBezTo>
                  <a:cubicBezTo>
                    <a:pt x="470" y="1076"/>
                    <a:pt x="470" y="1076"/>
                    <a:pt x="470" y="1076"/>
                  </a:cubicBezTo>
                  <a:cubicBezTo>
                    <a:pt x="326" y="1162"/>
                    <a:pt x="326" y="1162"/>
                    <a:pt x="326" y="1162"/>
                  </a:cubicBezTo>
                  <a:cubicBezTo>
                    <a:pt x="185" y="1081"/>
                    <a:pt x="185" y="1081"/>
                    <a:pt x="185" y="1081"/>
                  </a:cubicBezTo>
                  <a:cubicBezTo>
                    <a:pt x="179" y="1077"/>
                    <a:pt x="170" y="1077"/>
                    <a:pt x="163" y="1081"/>
                  </a:cubicBezTo>
                  <a:cubicBezTo>
                    <a:pt x="11" y="1169"/>
                    <a:pt x="11" y="1169"/>
                    <a:pt x="11" y="1169"/>
                  </a:cubicBezTo>
                  <a:cubicBezTo>
                    <a:pt x="5" y="1173"/>
                    <a:pt x="0" y="1180"/>
                    <a:pt x="0" y="1188"/>
                  </a:cubicBezTo>
                  <a:cubicBezTo>
                    <a:pt x="0" y="1363"/>
                    <a:pt x="0" y="1363"/>
                    <a:pt x="0" y="1363"/>
                  </a:cubicBezTo>
                  <a:cubicBezTo>
                    <a:pt x="0" y="1371"/>
                    <a:pt x="5" y="1378"/>
                    <a:pt x="11" y="1382"/>
                  </a:cubicBezTo>
                  <a:cubicBezTo>
                    <a:pt x="163" y="1470"/>
                    <a:pt x="163" y="1470"/>
                    <a:pt x="163" y="1470"/>
                  </a:cubicBezTo>
                  <a:cubicBezTo>
                    <a:pt x="167" y="1472"/>
                    <a:pt x="171" y="1473"/>
                    <a:pt x="174" y="1473"/>
                  </a:cubicBezTo>
                  <a:cubicBezTo>
                    <a:pt x="178" y="1473"/>
                    <a:pt x="182" y="1472"/>
                    <a:pt x="185" y="1470"/>
                  </a:cubicBezTo>
                  <a:cubicBezTo>
                    <a:pt x="337" y="1382"/>
                    <a:pt x="337" y="1382"/>
                    <a:pt x="337" y="1382"/>
                  </a:cubicBezTo>
                  <a:cubicBezTo>
                    <a:pt x="344" y="1378"/>
                    <a:pt x="348" y="1371"/>
                    <a:pt x="348" y="1363"/>
                  </a:cubicBezTo>
                  <a:cubicBezTo>
                    <a:pt x="348" y="1200"/>
                    <a:pt x="348" y="1200"/>
                    <a:pt x="348" y="1200"/>
                  </a:cubicBezTo>
                  <a:cubicBezTo>
                    <a:pt x="492" y="1114"/>
                    <a:pt x="492" y="1114"/>
                    <a:pt x="492" y="1114"/>
                  </a:cubicBezTo>
                  <a:cubicBezTo>
                    <a:pt x="767" y="1272"/>
                    <a:pt x="767" y="1272"/>
                    <a:pt x="767" y="1272"/>
                  </a:cubicBezTo>
                  <a:cubicBezTo>
                    <a:pt x="767" y="1447"/>
                    <a:pt x="767" y="1447"/>
                    <a:pt x="767" y="1447"/>
                  </a:cubicBezTo>
                  <a:cubicBezTo>
                    <a:pt x="626" y="1529"/>
                    <a:pt x="626" y="1529"/>
                    <a:pt x="626" y="1529"/>
                  </a:cubicBezTo>
                  <a:cubicBezTo>
                    <a:pt x="619" y="1533"/>
                    <a:pt x="615" y="1540"/>
                    <a:pt x="615" y="1548"/>
                  </a:cubicBezTo>
                  <a:cubicBezTo>
                    <a:pt x="615" y="1723"/>
                    <a:pt x="615" y="1723"/>
                    <a:pt x="615" y="1723"/>
                  </a:cubicBezTo>
                  <a:cubicBezTo>
                    <a:pt x="615" y="1731"/>
                    <a:pt x="619" y="1738"/>
                    <a:pt x="626" y="1742"/>
                  </a:cubicBezTo>
                  <a:cubicBezTo>
                    <a:pt x="778" y="1830"/>
                    <a:pt x="778" y="1830"/>
                    <a:pt x="778" y="1830"/>
                  </a:cubicBezTo>
                  <a:cubicBezTo>
                    <a:pt x="781" y="1832"/>
                    <a:pt x="785" y="1833"/>
                    <a:pt x="789" y="1833"/>
                  </a:cubicBezTo>
                  <a:cubicBezTo>
                    <a:pt x="793" y="1833"/>
                    <a:pt x="797" y="1832"/>
                    <a:pt x="800" y="1830"/>
                  </a:cubicBezTo>
                  <a:cubicBezTo>
                    <a:pt x="952" y="1742"/>
                    <a:pt x="952" y="1742"/>
                    <a:pt x="952" y="1742"/>
                  </a:cubicBezTo>
                  <a:cubicBezTo>
                    <a:pt x="959" y="1738"/>
                    <a:pt x="963" y="1731"/>
                    <a:pt x="963" y="1723"/>
                  </a:cubicBezTo>
                  <a:cubicBezTo>
                    <a:pt x="963" y="1548"/>
                    <a:pt x="963" y="1548"/>
                    <a:pt x="963" y="1548"/>
                  </a:cubicBezTo>
                  <a:cubicBezTo>
                    <a:pt x="963" y="1540"/>
                    <a:pt x="959" y="1533"/>
                    <a:pt x="952" y="1529"/>
                  </a:cubicBezTo>
                  <a:cubicBezTo>
                    <a:pt x="811" y="1447"/>
                    <a:pt x="811" y="1447"/>
                    <a:pt x="811" y="1447"/>
                  </a:cubicBezTo>
                  <a:cubicBezTo>
                    <a:pt x="811" y="1272"/>
                    <a:pt x="811" y="1272"/>
                    <a:pt x="811" y="1272"/>
                  </a:cubicBezTo>
                  <a:cubicBezTo>
                    <a:pt x="1086" y="1114"/>
                    <a:pt x="1086" y="1114"/>
                    <a:pt x="1086" y="1114"/>
                  </a:cubicBezTo>
                  <a:cubicBezTo>
                    <a:pt x="1232" y="1200"/>
                    <a:pt x="1232" y="1200"/>
                    <a:pt x="1232" y="1200"/>
                  </a:cubicBezTo>
                  <a:cubicBezTo>
                    <a:pt x="1232" y="1363"/>
                    <a:pt x="1232" y="1363"/>
                    <a:pt x="1232" y="1363"/>
                  </a:cubicBezTo>
                  <a:cubicBezTo>
                    <a:pt x="1232" y="1371"/>
                    <a:pt x="1237" y="1378"/>
                    <a:pt x="1243" y="1382"/>
                  </a:cubicBezTo>
                  <a:cubicBezTo>
                    <a:pt x="1395" y="1470"/>
                    <a:pt x="1395" y="1470"/>
                    <a:pt x="1395" y="1470"/>
                  </a:cubicBezTo>
                  <a:cubicBezTo>
                    <a:pt x="1399" y="1472"/>
                    <a:pt x="1403" y="1473"/>
                    <a:pt x="1406" y="1473"/>
                  </a:cubicBezTo>
                  <a:cubicBezTo>
                    <a:pt x="1410" y="1473"/>
                    <a:pt x="1414" y="1472"/>
                    <a:pt x="1417" y="1470"/>
                  </a:cubicBezTo>
                  <a:cubicBezTo>
                    <a:pt x="1569" y="1382"/>
                    <a:pt x="1569" y="1382"/>
                    <a:pt x="1569" y="1382"/>
                  </a:cubicBezTo>
                  <a:cubicBezTo>
                    <a:pt x="1576" y="1378"/>
                    <a:pt x="1580" y="1371"/>
                    <a:pt x="1580" y="1363"/>
                  </a:cubicBezTo>
                  <a:cubicBezTo>
                    <a:pt x="1580" y="1188"/>
                    <a:pt x="1580" y="1188"/>
                    <a:pt x="1580" y="1188"/>
                  </a:cubicBezTo>
                  <a:cubicBezTo>
                    <a:pt x="1580" y="1180"/>
                    <a:pt x="1576" y="1173"/>
                    <a:pt x="1569" y="1169"/>
                  </a:cubicBezTo>
                  <a:cubicBezTo>
                    <a:pt x="1417" y="1081"/>
                    <a:pt x="1417" y="1081"/>
                    <a:pt x="1417" y="1081"/>
                  </a:cubicBezTo>
                  <a:cubicBezTo>
                    <a:pt x="1411" y="1077"/>
                    <a:pt x="1402" y="1077"/>
                    <a:pt x="1395" y="1081"/>
                  </a:cubicBezTo>
                  <a:cubicBezTo>
                    <a:pt x="1254" y="1162"/>
                    <a:pt x="1254" y="1162"/>
                    <a:pt x="1254" y="1162"/>
                  </a:cubicBezTo>
                  <a:cubicBezTo>
                    <a:pt x="1108" y="1076"/>
                    <a:pt x="1108" y="1076"/>
                    <a:pt x="1108" y="1076"/>
                  </a:cubicBezTo>
                  <a:lnTo>
                    <a:pt x="1108" y="758"/>
                  </a:lnTo>
                  <a:close/>
                  <a:moveTo>
                    <a:pt x="789" y="892"/>
                  </a:moveTo>
                  <a:cubicBezTo>
                    <a:pt x="536" y="746"/>
                    <a:pt x="536" y="746"/>
                    <a:pt x="536" y="746"/>
                  </a:cubicBezTo>
                  <a:cubicBezTo>
                    <a:pt x="789" y="600"/>
                    <a:pt x="789" y="600"/>
                    <a:pt x="789" y="600"/>
                  </a:cubicBezTo>
                  <a:cubicBezTo>
                    <a:pt x="1042" y="746"/>
                    <a:pt x="1042" y="746"/>
                    <a:pt x="1042" y="746"/>
                  </a:cubicBezTo>
                  <a:lnTo>
                    <a:pt x="789" y="892"/>
                  </a:lnTo>
                  <a:close/>
                  <a:moveTo>
                    <a:pt x="1276" y="483"/>
                  </a:moveTo>
                  <a:cubicBezTo>
                    <a:pt x="1406" y="408"/>
                    <a:pt x="1406" y="408"/>
                    <a:pt x="1406" y="408"/>
                  </a:cubicBezTo>
                  <a:cubicBezTo>
                    <a:pt x="1536" y="483"/>
                    <a:pt x="1536" y="483"/>
                    <a:pt x="1536" y="483"/>
                  </a:cubicBezTo>
                  <a:cubicBezTo>
                    <a:pt x="1536" y="634"/>
                    <a:pt x="1536" y="634"/>
                    <a:pt x="1536" y="634"/>
                  </a:cubicBezTo>
                  <a:cubicBezTo>
                    <a:pt x="1406" y="709"/>
                    <a:pt x="1406" y="709"/>
                    <a:pt x="1406" y="709"/>
                  </a:cubicBezTo>
                  <a:cubicBezTo>
                    <a:pt x="1276" y="634"/>
                    <a:pt x="1276" y="634"/>
                    <a:pt x="1276" y="634"/>
                  </a:cubicBezTo>
                  <a:lnTo>
                    <a:pt x="1276" y="483"/>
                  </a:lnTo>
                  <a:close/>
                  <a:moveTo>
                    <a:pt x="659" y="123"/>
                  </a:moveTo>
                  <a:cubicBezTo>
                    <a:pt x="789" y="48"/>
                    <a:pt x="789" y="48"/>
                    <a:pt x="789" y="48"/>
                  </a:cubicBezTo>
                  <a:cubicBezTo>
                    <a:pt x="919" y="123"/>
                    <a:pt x="919" y="123"/>
                    <a:pt x="919" y="123"/>
                  </a:cubicBezTo>
                  <a:cubicBezTo>
                    <a:pt x="919" y="274"/>
                    <a:pt x="919" y="274"/>
                    <a:pt x="919" y="274"/>
                  </a:cubicBezTo>
                  <a:cubicBezTo>
                    <a:pt x="789" y="349"/>
                    <a:pt x="789" y="349"/>
                    <a:pt x="789" y="349"/>
                  </a:cubicBezTo>
                  <a:cubicBezTo>
                    <a:pt x="659" y="274"/>
                    <a:pt x="659" y="274"/>
                    <a:pt x="659" y="274"/>
                  </a:cubicBezTo>
                  <a:lnTo>
                    <a:pt x="659" y="123"/>
                  </a:lnTo>
                  <a:close/>
                  <a:moveTo>
                    <a:pt x="304" y="634"/>
                  </a:moveTo>
                  <a:cubicBezTo>
                    <a:pt x="174" y="709"/>
                    <a:pt x="174" y="709"/>
                    <a:pt x="174" y="709"/>
                  </a:cubicBezTo>
                  <a:cubicBezTo>
                    <a:pt x="44" y="634"/>
                    <a:pt x="44" y="634"/>
                    <a:pt x="44" y="634"/>
                  </a:cubicBezTo>
                  <a:cubicBezTo>
                    <a:pt x="44" y="483"/>
                    <a:pt x="44" y="483"/>
                    <a:pt x="44" y="483"/>
                  </a:cubicBezTo>
                  <a:cubicBezTo>
                    <a:pt x="174" y="408"/>
                    <a:pt x="174" y="408"/>
                    <a:pt x="174" y="408"/>
                  </a:cubicBezTo>
                  <a:cubicBezTo>
                    <a:pt x="304" y="483"/>
                    <a:pt x="304" y="483"/>
                    <a:pt x="304" y="483"/>
                  </a:cubicBezTo>
                  <a:lnTo>
                    <a:pt x="304" y="634"/>
                  </a:lnTo>
                  <a:close/>
                  <a:moveTo>
                    <a:pt x="304" y="1351"/>
                  </a:moveTo>
                  <a:cubicBezTo>
                    <a:pt x="174" y="1426"/>
                    <a:pt x="174" y="1426"/>
                    <a:pt x="174" y="1426"/>
                  </a:cubicBezTo>
                  <a:cubicBezTo>
                    <a:pt x="44" y="1351"/>
                    <a:pt x="44" y="1351"/>
                    <a:pt x="44" y="1351"/>
                  </a:cubicBezTo>
                  <a:cubicBezTo>
                    <a:pt x="44" y="1200"/>
                    <a:pt x="44" y="1200"/>
                    <a:pt x="44" y="1200"/>
                  </a:cubicBezTo>
                  <a:cubicBezTo>
                    <a:pt x="174" y="1125"/>
                    <a:pt x="174" y="1125"/>
                    <a:pt x="174" y="1125"/>
                  </a:cubicBezTo>
                  <a:cubicBezTo>
                    <a:pt x="304" y="1200"/>
                    <a:pt x="304" y="1200"/>
                    <a:pt x="304" y="1200"/>
                  </a:cubicBezTo>
                  <a:lnTo>
                    <a:pt x="304" y="1351"/>
                  </a:lnTo>
                  <a:close/>
                  <a:moveTo>
                    <a:pt x="514" y="784"/>
                  </a:moveTo>
                  <a:cubicBezTo>
                    <a:pt x="767" y="930"/>
                    <a:pt x="767" y="930"/>
                    <a:pt x="767" y="930"/>
                  </a:cubicBezTo>
                  <a:cubicBezTo>
                    <a:pt x="767" y="1222"/>
                    <a:pt x="767" y="1222"/>
                    <a:pt x="767" y="1222"/>
                  </a:cubicBezTo>
                  <a:cubicBezTo>
                    <a:pt x="514" y="1076"/>
                    <a:pt x="514" y="1076"/>
                    <a:pt x="514" y="1076"/>
                  </a:cubicBezTo>
                  <a:lnTo>
                    <a:pt x="514" y="784"/>
                  </a:lnTo>
                  <a:close/>
                  <a:moveTo>
                    <a:pt x="919" y="1711"/>
                  </a:moveTo>
                  <a:cubicBezTo>
                    <a:pt x="789" y="1786"/>
                    <a:pt x="789" y="1786"/>
                    <a:pt x="789" y="1786"/>
                  </a:cubicBezTo>
                  <a:cubicBezTo>
                    <a:pt x="659" y="1711"/>
                    <a:pt x="659" y="1711"/>
                    <a:pt x="659" y="1711"/>
                  </a:cubicBezTo>
                  <a:cubicBezTo>
                    <a:pt x="659" y="1560"/>
                    <a:pt x="659" y="1560"/>
                    <a:pt x="659" y="1560"/>
                  </a:cubicBezTo>
                  <a:cubicBezTo>
                    <a:pt x="789" y="1485"/>
                    <a:pt x="789" y="1485"/>
                    <a:pt x="789" y="1485"/>
                  </a:cubicBezTo>
                  <a:cubicBezTo>
                    <a:pt x="919" y="1560"/>
                    <a:pt x="919" y="1560"/>
                    <a:pt x="919" y="1560"/>
                  </a:cubicBezTo>
                  <a:lnTo>
                    <a:pt x="919" y="1711"/>
                  </a:lnTo>
                  <a:close/>
                  <a:moveTo>
                    <a:pt x="811" y="1222"/>
                  </a:moveTo>
                  <a:cubicBezTo>
                    <a:pt x="811" y="930"/>
                    <a:pt x="811" y="930"/>
                    <a:pt x="811" y="930"/>
                  </a:cubicBezTo>
                  <a:cubicBezTo>
                    <a:pt x="1064" y="784"/>
                    <a:pt x="1064" y="784"/>
                    <a:pt x="1064" y="784"/>
                  </a:cubicBezTo>
                  <a:cubicBezTo>
                    <a:pt x="1064" y="1076"/>
                    <a:pt x="1064" y="1076"/>
                    <a:pt x="1064" y="1076"/>
                  </a:cubicBezTo>
                  <a:lnTo>
                    <a:pt x="811" y="1222"/>
                  </a:lnTo>
                  <a:close/>
                  <a:moveTo>
                    <a:pt x="1276" y="1200"/>
                  </a:moveTo>
                  <a:cubicBezTo>
                    <a:pt x="1406" y="1125"/>
                    <a:pt x="1406" y="1125"/>
                    <a:pt x="1406" y="1125"/>
                  </a:cubicBezTo>
                  <a:cubicBezTo>
                    <a:pt x="1536" y="1200"/>
                    <a:pt x="1536" y="1200"/>
                    <a:pt x="1536" y="1200"/>
                  </a:cubicBezTo>
                  <a:cubicBezTo>
                    <a:pt x="1536" y="1351"/>
                    <a:pt x="1536" y="1351"/>
                    <a:pt x="1536" y="1351"/>
                  </a:cubicBezTo>
                  <a:cubicBezTo>
                    <a:pt x="1406" y="1426"/>
                    <a:pt x="1406" y="1426"/>
                    <a:pt x="1406" y="1426"/>
                  </a:cubicBezTo>
                  <a:cubicBezTo>
                    <a:pt x="1276" y="1351"/>
                    <a:pt x="1276" y="1351"/>
                    <a:pt x="1276" y="1351"/>
                  </a:cubicBezTo>
                  <a:lnTo>
                    <a:pt x="1276" y="120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522" tIns="29261" rIns="58522" bIns="29261" numCol="1" anchor="t" anchorCtr="0" compatLnSpc="1">
              <a:prstTxWarp prst="textNoShape">
                <a:avLst/>
              </a:prstTxWarp>
            </a:bodyPr>
            <a:lstStyle/>
            <a:p>
              <a:endParaRPr lang="en-US" dirty="0"/>
            </a:p>
          </p:txBody>
        </p:sp>
      </p:grpSp>
      <p:grpSp>
        <p:nvGrpSpPr>
          <p:cNvPr id="52" name="bcgIcons_QualityAssurance">
            <a:extLst>
              <a:ext uri="{FF2B5EF4-FFF2-40B4-BE49-F238E27FC236}">
                <a16:creationId xmlns:a16="http://schemas.microsoft.com/office/drawing/2014/main" id="{F101FE1B-ABF1-4039-9673-6A08DD44414A}"/>
              </a:ext>
            </a:extLst>
          </p:cNvPr>
          <p:cNvGrpSpPr>
            <a:grpSpLocks noChangeAspect="1"/>
          </p:cNvGrpSpPr>
          <p:nvPr/>
        </p:nvGrpSpPr>
        <p:grpSpPr bwMode="auto">
          <a:xfrm>
            <a:off x="6952661" y="998118"/>
            <a:ext cx="1052414" cy="1053389"/>
            <a:chOff x="1682" y="0"/>
            <a:chExt cx="4316" cy="4320"/>
          </a:xfrm>
        </p:grpSpPr>
        <p:sp>
          <p:nvSpPr>
            <p:cNvPr id="53" name="AutoShape 8">
              <a:extLst>
                <a:ext uri="{FF2B5EF4-FFF2-40B4-BE49-F238E27FC236}">
                  <a16:creationId xmlns:a16="http://schemas.microsoft.com/office/drawing/2014/main" id="{3A858328-EF43-4987-8653-4EE03D87760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8522" tIns="29261" rIns="58522" bIns="29261" numCol="1" anchor="t" anchorCtr="0" compatLnSpc="1">
              <a:prstTxWarp prst="textNoShape">
                <a:avLst/>
              </a:prstTxWarp>
            </a:bodyPr>
            <a:lstStyle/>
            <a:p>
              <a:endParaRPr lang="en-US" dirty="0"/>
            </a:p>
          </p:txBody>
        </p:sp>
        <p:sp>
          <p:nvSpPr>
            <p:cNvPr id="54" name="Freeform 53">
              <a:extLst>
                <a:ext uri="{FF2B5EF4-FFF2-40B4-BE49-F238E27FC236}">
                  <a16:creationId xmlns:a16="http://schemas.microsoft.com/office/drawing/2014/main" id="{2C13CB3F-2124-45CD-9CE2-4E5D774ADF78}"/>
                </a:ext>
              </a:extLst>
            </p:cNvPr>
            <p:cNvSpPr>
              <a:spLocks noEditPoints="1"/>
            </p:cNvSpPr>
            <p:nvPr/>
          </p:nvSpPr>
          <p:spPr bwMode="auto">
            <a:xfrm>
              <a:off x="2980" y="649"/>
              <a:ext cx="1716" cy="1674"/>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522" tIns="29261" rIns="58522" bIns="29261" numCol="1" anchor="t" anchorCtr="0" compatLnSpc="1">
              <a:prstTxWarp prst="textNoShape">
                <a:avLst/>
              </a:prstTxWarp>
            </a:bodyPr>
            <a:lstStyle/>
            <a:p>
              <a:endParaRPr lang="en-US" dirty="0"/>
            </a:p>
          </p:txBody>
        </p:sp>
        <p:sp>
          <p:nvSpPr>
            <p:cNvPr id="55" name="Freeform 54">
              <a:extLst>
                <a:ext uri="{FF2B5EF4-FFF2-40B4-BE49-F238E27FC236}">
                  <a16:creationId xmlns:a16="http://schemas.microsoft.com/office/drawing/2014/main" id="{0177CE63-E32C-4D3E-9513-FA797E4C54C7}"/>
                </a:ext>
              </a:extLst>
            </p:cNvPr>
            <p:cNvSpPr>
              <a:spLocks noEditPoints="1"/>
            </p:cNvSpPr>
            <p:nvPr/>
          </p:nvSpPr>
          <p:spPr bwMode="auto">
            <a:xfrm>
              <a:off x="2737" y="412"/>
              <a:ext cx="2203" cy="3486"/>
            </a:xfrm>
            <a:custGeom>
              <a:avLst/>
              <a:gdLst>
                <a:gd name="T0" fmla="*/ 844 w 1176"/>
                <a:gd name="T1" fmla="*/ 1847 h 1859"/>
                <a:gd name="T2" fmla="*/ 588 w 1176"/>
                <a:gd name="T3" fmla="*/ 1660 h 1859"/>
                <a:gd name="T4" fmla="*/ 332 w 1176"/>
                <a:gd name="T5" fmla="*/ 1847 h 1859"/>
                <a:gd name="T6" fmla="*/ 433 w 1176"/>
                <a:gd name="T7" fmla="*/ 1019 h 1859"/>
                <a:gd name="T8" fmla="*/ 585 w 1176"/>
                <a:gd name="T9" fmla="*/ 1185 h 1859"/>
                <a:gd name="T10" fmla="*/ 638 w 1176"/>
                <a:gd name="T11" fmla="*/ 1159 h 1859"/>
                <a:gd name="T12" fmla="*/ 844 w 1176"/>
                <a:gd name="T13" fmla="*/ 1053 h 1859"/>
                <a:gd name="T14" fmla="*/ 726 w 1176"/>
                <a:gd name="T15" fmla="*/ 970 h 1859"/>
                <a:gd name="T16" fmla="*/ 950 w 1176"/>
                <a:gd name="T17" fmla="*/ 1036 h 1859"/>
                <a:gd name="T18" fmla="*/ 951 w 1176"/>
                <a:gd name="T19" fmla="*/ 820 h 1859"/>
                <a:gd name="T20" fmla="*/ 1174 w 1176"/>
                <a:gd name="T21" fmla="*/ 749 h 1859"/>
                <a:gd name="T22" fmla="*/ 1037 w 1176"/>
                <a:gd name="T23" fmla="*/ 574 h 1859"/>
                <a:gd name="T24" fmla="*/ 1174 w 1176"/>
                <a:gd name="T25" fmla="*/ 395 h 1859"/>
                <a:gd name="T26" fmla="*/ 951 w 1176"/>
                <a:gd name="T27" fmla="*/ 327 h 1859"/>
                <a:gd name="T28" fmla="*/ 950 w 1176"/>
                <a:gd name="T29" fmla="*/ 110 h 1859"/>
                <a:gd name="T30" fmla="*/ 726 w 1176"/>
                <a:gd name="T31" fmla="*/ 175 h 1859"/>
                <a:gd name="T32" fmla="*/ 585 w 1176"/>
                <a:gd name="T33" fmla="*/ 0 h 1859"/>
                <a:gd name="T34" fmla="*/ 568 w 1176"/>
                <a:gd name="T35" fmla="*/ 9 h 1859"/>
                <a:gd name="T36" fmla="*/ 245 w 1176"/>
                <a:gd name="T37" fmla="*/ 106 h 1859"/>
                <a:gd name="T38" fmla="*/ 216 w 1176"/>
                <a:gd name="T39" fmla="*/ 128 h 1859"/>
                <a:gd name="T40" fmla="*/ 17 w 1176"/>
                <a:gd name="T41" fmla="*/ 380 h 1859"/>
                <a:gd name="T42" fmla="*/ 6 w 1176"/>
                <a:gd name="T43" fmla="*/ 415 h 1859"/>
                <a:gd name="T44" fmla="*/ 6 w 1176"/>
                <a:gd name="T45" fmla="*/ 728 h 1859"/>
                <a:gd name="T46" fmla="*/ 17 w 1176"/>
                <a:gd name="T47" fmla="*/ 763 h 1859"/>
                <a:gd name="T48" fmla="*/ 216 w 1176"/>
                <a:gd name="T49" fmla="*/ 1018 h 1859"/>
                <a:gd name="T50" fmla="*/ 245 w 1176"/>
                <a:gd name="T51" fmla="*/ 1039 h 1859"/>
                <a:gd name="T52" fmla="*/ 568 w 1176"/>
                <a:gd name="T53" fmla="*/ 1137 h 1859"/>
                <a:gd name="T54" fmla="*/ 585 w 1176"/>
                <a:gd name="T55" fmla="*/ 1146 h 1859"/>
                <a:gd name="T56" fmla="*/ 449 w 1176"/>
                <a:gd name="T57" fmla="*/ 924 h 1859"/>
                <a:gd name="T58" fmla="*/ 266 w 1176"/>
                <a:gd name="T59" fmla="*/ 804 h 1859"/>
                <a:gd name="T60" fmla="*/ 62 w 1176"/>
                <a:gd name="T61" fmla="*/ 730 h 1859"/>
                <a:gd name="T62" fmla="*/ 182 w 1176"/>
                <a:gd name="T63" fmla="*/ 560 h 1859"/>
                <a:gd name="T64" fmla="*/ 250 w 1176"/>
                <a:gd name="T65" fmla="*/ 365 h 1859"/>
                <a:gd name="T66" fmla="*/ 261 w 1176"/>
                <a:gd name="T67" fmla="*/ 158 h 1859"/>
                <a:gd name="T68" fmla="*/ 474 w 1176"/>
                <a:gd name="T69" fmla="*/ 214 h 1859"/>
                <a:gd name="T70" fmla="*/ 700 w 1176"/>
                <a:gd name="T71" fmla="*/ 214 h 1859"/>
                <a:gd name="T72" fmla="*/ 914 w 1176"/>
                <a:gd name="T73" fmla="*/ 158 h 1859"/>
                <a:gd name="T74" fmla="*/ 923 w 1176"/>
                <a:gd name="T75" fmla="*/ 365 h 1859"/>
                <a:gd name="T76" fmla="*/ 992 w 1176"/>
                <a:gd name="T77" fmla="*/ 560 h 1859"/>
                <a:gd name="T78" fmla="*/ 1114 w 1176"/>
                <a:gd name="T79" fmla="*/ 730 h 1859"/>
                <a:gd name="T80" fmla="*/ 907 w 1176"/>
                <a:gd name="T81" fmla="*/ 805 h 1859"/>
                <a:gd name="T82" fmla="*/ 724 w 1176"/>
                <a:gd name="T83" fmla="*/ 924 h 1859"/>
                <a:gd name="T84" fmla="*/ 586 w 1176"/>
                <a:gd name="T85" fmla="*/ 1086 h 1859"/>
                <a:gd name="T86" fmla="*/ 456 w 1176"/>
                <a:gd name="T87" fmla="*/ 922 h 1859"/>
                <a:gd name="T88" fmla="*/ 563 w 1176"/>
                <a:gd name="T89" fmla="*/ 672 h 1859"/>
                <a:gd name="T90" fmla="*/ 720 w 1176"/>
                <a:gd name="T91" fmla="*/ 483 h 1859"/>
                <a:gd name="T92" fmla="*/ 547 w 1176"/>
                <a:gd name="T93" fmla="*/ 626 h 1859"/>
                <a:gd name="T94" fmla="*/ 456 w 1176"/>
                <a:gd name="T95" fmla="*/ 565 h 1859"/>
                <a:gd name="T96" fmla="*/ 531 w 1176"/>
                <a:gd name="T97" fmla="*/ 672 h 1859"/>
                <a:gd name="T98" fmla="*/ 563 w 1176"/>
                <a:gd name="T99" fmla="*/ 672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76" h="1859">
                  <a:moveTo>
                    <a:pt x="844" y="1053"/>
                  </a:moveTo>
                  <a:cubicBezTo>
                    <a:pt x="844" y="1847"/>
                    <a:pt x="844" y="1847"/>
                    <a:pt x="844" y="1847"/>
                  </a:cubicBezTo>
                  <a:cubicBezTo>
                    <a:pt x="844" y="1855"/>
                    <a:pt x="835" y="1859"/>
                    <a:pt x="829" y="1854"/>
                  </a:cubicBezTo>
                  <a:cubicBezTo>
                    <a:pt x="588" y="1660"/>
                    <a:pt x="588" y="1660"/>
                    <a:pt x="588" y="1660"/>
                  </a:cubicBezTo>
                  <a:cubicBezTo>
                    <a:pt x="347" y="1854"/>
                    <a:pt x="347" y="1854"/>
                    <a:pt x="347" y="1854"/>
                  </a:cubicBezTo>
                  <a:cubicBezTo>
                    <a:pt x="341" y="1859"/>
                    <a:pt x="332" y="1855"/>
                    <a:pt x="332" y="1847"/>
                  </a:cubicBezTo>
                  <a:cubicBezTo>
                    <a:pt x="332" y="1053"/>
                    <a:pt x="332" y="1053"/>
                    <a:pt x="332" y="1053"/>
                  </a:cubicBezTo>
                  <a:cubicBezTo>
                    <a:pt x="433" y="1019"/>
                    <a:pt x="433" y="1019"/>
                    <a:pt x="433" y="1019"/>
                  </a:cubicBezTo>
                  <a:cubicBezTo>
                    <a:pt x="533" y="1158"/>
                    <a:pt x="533" y="1158"/>
                    <a:pt x="533" y="1158"/>
                  </a:cubicBezTo>
                  <a:cubicBezTo>
                    <a:pt x="545" y="1175"/>
                    <a:pt x="564" y="1185"/>
                    <a:pt x="585" y="1185"/>
                  </a:cubicBezTo>
                  <a:cubicBezTo>
                    <a:pt x="585" y="1185"/>
                    <a:pt x="585" y="1185"/>
                    <a:pt x="585" y="1185"/>
                  </a:cubicBezTo>
                  <a:cubicBezTo>
                    <a:pt x="606" y="1185"/>
                    <a:pt x="625" y="1175"/>
                    <a:pt x="638" y="1159"/>
                  </a:cubicBezTo>
                  <a:cubicBezTo>
                    <a:pt x="741" y="1019"/>
                    <a:pt x="741" y="1019"/>
                    <a:pt x="741" y="1019"/>
                  </a:cubicBezTo>
                  <a:lnTo>
                    <a:pt x="844" y="1053"/>
                  </a:lnTo>
                  <a:close/>
                  <a:moveTo>
                    <a:pt x="603" y="1137"/>
                  </a:moveTo>
                  <a:cubicBezTo>
                    <a:pt x="726" y="970"/>
                    <a:pt x="726" y="970"/>
                    <a:pt x="726" y="970"/>
                  </a:cubicBezTo>
                  <a:cubicBezTo>
                    <a:pt x="930" y="1039"/>
                    <a:pt x="930" y="1039"/>
                    <a:pt x="930" y="1039"/>
                  </a:cubicBezTo>
                  <a:cubicBezTo>
                    <a:pt x="937" y="1042"/>
                    <a:pt x="944" y="1040"/>
                    <a:pt x="950" y="1036"/>
                  </a:cubicBezTo>
                  <a:cubicBezTo>
                    <a:pt x="956" y="1032"/>
                    <a:pt x="959" y="1025"/>
                    <a:pt x="959" y="1018"/>
                  </a:cubicBezTo>
                  <a:cubicBezTo>
                    <a:pt x="951" y="820"/>
                    <a:pt x="951" y="820"/>
                    <a:pt x="951" y="820"/>
                  </a:cubicBezTo>
                  <a:cubicBezTo>
                    <a:pt x="1159" y="763"/>
                    <a:pt x="1159" y="763"/>
                    <a:pt x="1159" y="763"/>
                  </a:cubicBezTo>
                  <a:cubicBezTo>
                    <a:pt x="1166" y="761"/>
                    <a:pt x="1172" y="756"/>
                    <a:pt x="1174" y="749"/>
                  </a:cubicBezTo>
                  <a:cubicBezTo>
                    <a:pt x="1176" y="741"/>
                    <a:pt x="1175" y="734"/>
                    <a:pt x="1170" y="728"/>
                  </a:cubicBezTo>
                  <a:cubicBezTo>
                    <a:pt x="1037" y="574"/>
                    <a:pt x="1037" y="574"/>
                    <a:pt x="1037" y="574"/>
                  </a:cubicBezTo>
                  <a:cubicBezTo>
                    <a:pt x="1170" y="416"/>
                    <a:pt x="1170" y="416"/>
                    <a:pt x="1170" y="416"/>
                  </a:cubicBezTo>
                  <a:cubicBezTo>
                    <a:pt x="1175" y="410"/>
                    <a:pt x="1176" y="402"/>
                    <a:pt x="1174" y="395"/>
                  </a:cubicBezTo>
                  <a:cubicBezTo>
                    <a:pt x="1172" y="387"/>
                    <a:pt x="1166" y="382"/>
                    <a:pt x="1159" y="380"/>
                  </a:cubicBezTo>
                  <a:cubicBezTo>
                    <a:pt x="951" y="327"/>
                    <a:pt x="951" y="327"/>
                    <a:pt x="951" y="327"/>
                  </a:cubicBezTo>
                  <a:cubicBezTo>
                    <a:pt x="959" y="128"/>
                    <a:pt x="959" y="128"/>
                    <a:pt x="959" y="128"/>
                  </a:cubicBezTo>
                  <a:cubicBezTo>
                    <a:pt x="959" y="121"/>
                    <a:pt x="956" y="114"/>
                    <a:pt x="950" y="110"/>
                  </a:cubicBezTo>
                  <a:cubicBezTo>
                    <a:pt x="944" y="105"/>
                    <a:pt x="937" y="104"/>
                    <a:pt x="930" y="106"/>
                  </a:cubicBezTo>
                  <a:cubicBezTo>
                    <a:pt x="726" y="175"/>
                    <a:pt x="726" y="175"/>
                    <a:pt x="726" y="175"/>
                  </a:cubicBezTo>
                  <a:cubicBezTo>
                    <a:pt x="603" y="9"/>
                    <a:pt x="603" y="9"/>
                    <a:pt x="603" y="9"/>
                  </a:cubicBezTo>
                  <a:cubicBezTo>
                    <a:pt x="599" y="3"/>
                    <a:pt x="592" y="0"/>
                    <a:pt x="585" y="0"/>
                  </a:cubicBezTo>
                  <a:cubicBezTo>
                    <a:pt x="585" y="0"/>
                    <a:pt x="585" y="0"/>
                    <a:pt x="585" y="0"/>
                  </a:cubicBezTo>
                  <a:cubicBezTo>
                    <a:pt x="578" y="0"/>
                    <a:pt x="572" y="3"/>
                    <a:pt x="568" y="9"/>
                  </a:cubicBezTo>
                  <a:cubicBezTo>
                    <a:pt x="448" y="175"/>
                    <a:pt x="448" y="175"/>
                    <a:pt x="448" y="175"/>
                  </a:cubicBezTo>
                  <a:cubicBezTo>
                    <a:pt x="245" y="106"/>
                    <a:pt x="245" y="106"/>
                    <a:pt x="245" y="106"/>
                  </a:cubicBezTo>
                  <a:cubicBezTo>
                    <a:pt x="238" y="104"/>
                    <a:pt x="231" y="105"/>
                    <a:pt x="225" y="110"/>
                  </a:cubicBezTo>
                  <a:cubicBezTo>
                    <a:pt x="219" y="114"/>
                    <a:pt x="216" y="121"/>
                    <a:pt x="216" y="128"/>
                  </a:cubicBezTo>
                  <a:cubicBezTo>
                    <a:pt x="222" y="327"/>
                    <a:pt x="222" y="327"/>
                    <a:pt x="222" y="327"/>
                  </a:cubicBezTo>
                  <a:cubicBezTo>
                    <a:pt x="17" y="380"/>
                    <a:pt x="17" y="380"/>
                    <a:pt x="17" y="380"/>
                  </a:cubicBezTo>
                  <a:cubicBezTo>
                    <a:pt x="10" y="382"/>
                    <a:pt x="4" y="387"/>
                    <a:pt x="2" y="395"/>
                  </a:cubicBezTo>
                  <a:cubicBezTo>
                    <a:pt x="0" y="402"/>
                    <a:pt x="1" y="410"/>
                    <a:pt x="6" y="415"/>
                  </a:cubicBezTo>
                  <a:cubicBezTo>
                    <a:pt x="137" y="574"/>
                    <a:pt x="137" y="574"/>
                    <a:pt x="137" y="574"/>
                  </a:cubicBezTo>
                  <a:cubicBezTo>
                    <a:pt x="6" y="728"/>
                    <a:pt x="6" y="728"/>
                    <a:pt x="6" y="728"/>
                  </a:cubicBezTo>
                  <a:cubicBezTo>
                    <a:pt x="1" y="734"/>
                    <a:pt x="0" y="742"/>
                    <a:pt x="2" y="749"/>
                  </a:cubicBezTo>
                  <a:cubicBezTo>
                    <a:pt x="4" y="756"/>
                    <a:pt x="10" y="761"/>
                    <a:pt x="17" y="763"/>
                  </a:cubicBezTo>
                  <a:cubicBezTo>
                    <a:pt x="222" y="820"/>
                    <a:pt x="222" y="820"/>
                    <a:pt x="222" y="820"/>
                  </a:cubicBezTo>
                  <a:cubicBezTo>
                    <a:pt x="216" y="1018"/>
                    <a:pt x="216" y="1018"/>
                    <a:pt x="216" y="1018"/>
                  </a:cubicBezTo>
                  <a:cubicBezTo>
                    <a:pt x="216" y="1025"/>
                    <a:pt x="219" y="1032"/>
                    <a:pt x="225" y="1036"/>
                  </a:cubicBezTo>
                  <a:cubicBezTo>
                    <a:pt x="231" y="1040"/>
                    <a:pt x="238" y="1042"/>
                    <a:pt x="245" y="1039"/>
                  </a:cubicBezTo>
                  <a:cubicBezTo>
                    <a:pt x="448" y="971"/>
                    <a:pt x="448" y="971"/>
                    <a:pt x="448" y="971"/>
                  </a:cubicBezTo>
                  <a:cubicBezTo>
                    <a:pt x="568" y="1137"/>
                    <a:pt x="568" y="1137"/>
                    <a:pt x="568" y="1137"/>
                  </a:cubicBezTo>
                  <a:cubicBezTo>
                    <a:pt x="572" y="1142"/>
                    <a:pt x="578" y="1146"/>
                    <a:pt x="585" y="1146"/>
                  </a:cubicBezTo>
                  <a:cubicBezTo>
                    <a:pt x="585" y="1146"/>
                    <a:pt x="585" y="1146"/>
                    <a:pt x="585" y="1146"/>
                  </a:cubicBezTo>
                  <a:cubicBezTo>
                    <a:pt x="592" y="1146"/>
                    <a:pt x="599" y="1142"/>
                    <a:pt x="603" y="1137"/>
                  </a:cubicBezTo>
                  <a:close/>
                  <a:moveTo>
                    <a:pt x="449" y="924"/>
                  </a:moveTo>
                  <a:cubicBezTo>
                    <a:pt x="261" y="987"/>
                    <a:pt x="261" y="987"/>
                    <a:pt x="261" y="987"/>
                  </a:cubicBezTo>
                  <a:cubicBezTo>
                    <a:pt x="266" y="804"/>
                    <a:pt x="266" y="804"/>
                    <a:pt x="266" y="804"/>
                  </a:cubicBezTo>
                  <a:cubicBezTo>
                    <a:pt x="267" y="794"/>
                    <a:pt x="260" y="785"/>
                    <a:pt x="250" y="783"/>
                  </a:cubicBezTo>
                  <a:cubicBezTo>
                    <a:pt x="62" y="730"/>
                    <a:pt x="62" y="730"/>
                    <a:pt x="62" y="730"/>
                  </a:cubicBezTo>
                  <a:cubicBezTo>
                    <a:pt x="182" y="589"/>
                    <a:pt x="182" y="589"/>
                    <a:pt x="182" y="589"/>
                  </a:cubicBezTo>
                  <a:cubicBezTo>
                    <a:pt x="189" y="581"/>
                    <a:pt x="189" y="569"/>
                    <a:pt x="182" y="560"/>
                  </a:cubicBezTo>
                  <a:cubicBezTo>
                    <a:pt x="62" y="414"/>
                    <a:pt x="62" y="414"/>
                    <a:pt x="62" y="414"/>
                  </a:cubicBezTo>
                  <a:cubicBezTo>
                    <a:pt x="250" y="365"/>
                    <a:pt x="250" y="365"/>
                    <a:pt x="250" y="365"/>
                  </a:cubicBezTo>
                  <a:cubicBezTo>
                    <a:pt x="260" y="363"/>
                    <a:pt x="267" y="354"/>
                    <a:pt x="266" y="343"/>
                  </a:cubicBezTo>
                  <a:cubicBezTo>
                    <a:pt x="261" y="158"/>
                    <a:pt x="261" y="158"/>
                    <a:pt x="261" y="158"/>
                  </a:cubicBezTo>
                  <a:cubicBezTo>
                    <a:pt x="449" y="222"/>
                    <a:pt x="449" y="222"/>
                    <a:pt x="449" y="222"/>
                  </a:cubicBezTo>
                  <a:cubicBezTo>
                    <a:pt x="459" y="225"/>
                    <a:pt x="469" y="222"/>
                    <a:pt x="474" y="214"/>
                  </a:cubicBezTo>
                  <a:cubicBezTo>
                    <a:pt x="586" y="59"/>
                    <a:pt x="586" y="59"/>
                    <a:pt x="586" y="59"/>
                  </a:cubicBezTo>
                  <a:cubicBezTo>
                    <a:pt x="700" y="214"/>
                    <a:pt x="700" y="214"/>
                    <a:pt x="700" y="214"/>
                  </a:cubicBezTo>
                  <a:cubicBezTo>
                    <a:pt x="705" y="222"/>
                    <a:pt x="715" y="225"/>
                    <a:pt x="724" y="222"/>
                  </a:cubicBezTo>
                  <a:cubicBezTo>
                    <a:pt x="914" y="158"/>
                    <a:pt x="914" y="158"/>
                    <a:pt x="914" y="158"/>
                  </a:cubicBezTo>
                  <a:cubicBezTo>
                    <a:pt x="907" y="343"/>
                    <a:pt x="907" y="343"/>
                    <a:pt x="907" y="343"/>
                  </a:cubicBezTo>
                  <a:cubicBezTo>
                    <a:pt x="906" y="354"/>
                    <a:pt x="913" y="363"/>
                    <a:pt x="923" y="365"/>
                  </a:cubicBezTo>
                  <a:cubicBezTo>
                    <a:pt x="1114" y="414"/>
                    <a:pt x="1114" y="414"/>
                    <a:pt x="1114" y="414"/>
                  </a:cubicBezTo>
                  <a:cubicBezTo>
                    <a:pt x="992" y="560"/>
                    <a:pt x="992" y="560"/>
                    <a:pt x="992" y="560"/>
                  </a:cubicBezTo>
                  <a:cubicBezTo>
                    <a:pt x="985" y="569"/>
                    <a:pt x="985" y="581"/>
                    <a:pt x="992" y="589"/>
                  </a:cubicBezTo>
                  <a:cubicBezTo>
                    <a:pt x="1114" y="730"/>
                    <a:pt x="1114" y="730"/>
                    <a:pt x="1114" y="730"/>
                  </a:cubicBezTo>
                  <a:cubicBezTo>
                    <a:pt x="923" y="783"/>
                    <a:pt x="923" y="783"/>
                    <a:pt x="923" y="783"/>
                  </a:cubicBezTo>
                  <a:cubicBezTo>
                    <a:pt x="913" y="785"/>
                    <a:pt x="906" y="794"/>
                    <a:pt x="907" y="805"/>
                  </a:cubicBezTo>
                  <a:cubicBezTo>
                    <a:pt x="914" y="987"/>
                    <a:pt x="914" y="987"/>
                    <a:pt x="914" y="987"/>
                  </a:cubicBezTo>
                  <a:cubicBezTo>
                    <a:pt x="724" y="924"/>
                    <a:pt x="724" y="924"/>
                    <a:pt x="724" y="924"/>
                  </a:cubicBezTo>
                  <a:cubicBezTo>
                    <a:pt x="715" y="921"/>
                    <a:pt x="705" y="924"/>
                    <a:pt x="700" y="931"/>
                  </a:cubicBezTo>
                  <a:cubicBezTo>
                    <a:pt x="586" y="1086"/>
                    <a:pt x="586" y="1086"/>
                    <a:pt x="586" y="1086"/>
                  </a:cubicBezTo>
                  <a:cubicBezTo>
                    <a:pt x="474" y="932"/>
                    <a:pt x="474" y="932"/>
                    <a:pt x="474" y="932"/>
                  </a:cubicBezTo>
                  <a:cubicBezTo>
                    <a:pt x="470" y="926"/>
                    <a:pt x="463" y="922"/>
                    <a:pt x="456" y="922"/>
                  </a:cubicBezTo>
                  <a:cubicBezTo>
                    <a:pt x="454" y="922"/>
                    <a:pt x="452" y="923"/>
                    <a:pt x="449" y="924"/>
                  </a:cubicBezTo>
                  <a:close/>
                  <a:moveTo>
                    <a:pt x="563" y="672"/>
                  </a:moveTo>
                  <a:cubicBezTo>
                    <a:pt x="720" y="515"/>
                    <a:pt x="720" y="515"/>
                    <a:pt x="720" y="515"/>
                  </a:cubicBezTo>
                  <a:cubicBezTo>
                    <a:pt x="729" y="506"/>
                    <a:pt x="729" y="492"/>
                    <a:pt x="720" y="483"/>
                  </a:cubicBezTo>
                  <a:cubicBezTo>
                    <a:pt x="712" y="475"/>
                    <a:pt x="698" y="475"/>
                    <a:pt x="689" y="483"/>
                  </a:cubicBezTo>
                  <a:cubicBezTo>
                    <a:pt x="547" y="626"/>
                    <a:pt x="547" y="626"/>
                    <a:pt x="547" y="626"/>
                  </a:cubicBezTo>
                  <a:cubicBezTo>
                    <a:pt x="487" y="565"/>
                    <a:pt x="487" y="565"/>
                    <a:pt x="487" y="565"/>
                  </a:cubicBezTo>
                  <a:cubicBezTo>
                    <a:pt x="478" y="557"/>
                    <a:pt x="464" y="557"/>
                    <a:pt x="456" y="565"/>
                  </a:cubicBezTo>
                  <a:cubicBezTo>
                    <a:pt x="447" y="574"/>
                    <a:pt x="447" y="588"/>
                    <a:pt x="456" y="596"/>
                  </a:cubicBezTo>
                  <a:cubicBezTo>
                    <a:pt x="531" y="672"/>
                    <a:pt x="531" y="672"/>
                    <a:pt x="531" y="672"/>
                  </a:cubicBezTo>
                  <a:cubicBezTo>
                    <a:pt x="536" y="676"/>
                    <a:pt x="541" y="679"/>
                    <a:pt x="547" y="679"/>
                  </a:cubicBezTo>
                  <a:cubicBezTo>
                    <a:pt x="553" y="679"/>
                    <a:pt x="558" y="676"/>
                    <a:pt x="563" y="67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522" tIns="29261" rIns="58522" bIns="29261"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76451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50000"/>
              </a:lnSpc>
              <a:spcBef>
                <a:spcPct val="0"/>
              </a:spcBef>
              <a:spcAft>
                <a:spcPct val="0"/>
              </a:spcAft>
            </a:pPr>
            <a:endParaRPr lang="en-AU" sz="4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00503" y="1795432"/>
            <a:ext cx="4062235" cy="3286800"/>
          </a:xfrm>
          <a:ln cap="rnd">
            <a:noFill/>
          </a:ln>
        </p:spPr>
        <p:txBody>
          <a:bodyPr/>
          <a:lstStyle/>
          <a:p>
            <a:pPr>
              <a:lnSpc>
                <a:spcPct val="150000"/>
              </a:lnSpc>
            </a:pPr>
            <a:r>
              <a:rPr lang="en-AU" dirty="0"/>
              <a:t>For reflection…</a:t>
            </a:r>
            <a:endParaRPr lang="en-US" sz="4800" dirty="0">
              <a:latin typeface="+mj-lt"/>
            </a:endParaRPr>
          </a:p>
        </p:txBody>
      </p:sp>
      <p:sp>
        <p:nvSpPr>
          <p:cNvPr id="5" name="Rectangle 4"/>
          <p:cNvSpPr/>
          <p:nvPr/>
        </p:nvSpPr>
        <p:spPr>
          <a:xfrm>
            <a:off x="6242279" y="449573"/>
            <a:ext cx="5446617" cy="6740307"/>
          </a:xfrm>
          <a:prstGeom prst="rect">
            <a:avLst/>
          </a:prstGeom>
        </p:spPr>
        <p:txBody>
          <a:bodyPr wrap="square">
            <a:spAutoFit/>
          </a:bodyPr>
          <a:lstStyle/>
          <a:p>
            <a:r>
              <a:rPr lang="en-US" sz="2400" dirty="0">
                <a:solidFill>
                  <a:srgbClr val="29BA74"/>
                </a:solidFill>
              </a:rPr>
              <a:t>Reflecting on the Head of your change efforts…</a:t>
            </a:r>
          </a:p>
          <a:p>
            <a:endParaRPr lang="en-US" sz="2400" dirty="0">
              <a:solidFill>
                <a:srgbClr val="29BA74"/>
              </a:solidFill>
            </a:endParaRPr>
          </a:p>
          <a:p>
            <a:pPr marL="285750" indent="-285750">
              <a:buFont typeface="Arial" panose="020B0604020202020204" pitchFamily="34" charset="0"/>
              <a:buChar char="•"/>
            </a:pPr>
            <a:r>
              <a:rPr lang="en-US" sz="2400" dirty="0">
                <a:solidFill>
                  <a:srgbClr val="29BA74"/>
                </a:solidFill>
              </a:rPr>
              <a:t>Can you envision the future you aspire to?</a:t>
            </a:r>
          </a:p>
          <a:p>
            <a:pPr marL="285750" indent="-285750">
              <a:buFont typeface="Arial" panose="020B0604020202020204" pitchFamily="34" charset="0"/>
              <a:buChar char="•"/>
            </a:pPr>
            <a:endParaRPr lang="en-US" sz="2400" dirty="0">
              <a:solidFill>
                <a:srgbClr val="29BA74"/>
              </a:solidFill>
            </a:endParaRPr>
          </a:p>
          <a:p>
            <a:pPr marL="285750" indent="-285750">
              <a:buFont typeface="Arial" panose="020B0604020202020204" pitchFamily="34" charset="0"/>
              <a:buChar char="•"/>
            </a:pPr>
            <a:r>
              <a:rPr lang="en-US" sz="2400" dirty="0">
                <a:solidFill>
                  <a:srgbClr val="29BA74"/>
                </a:solidFill>
              </a:rPr>
              <a:t>Have you defined the right big rocks?</a:t>
            </a:r>
          </a:p>
          <a:p>
            <a:pPr marL="285750" indent="-285750">
              <a:buFont typeface="Arial" panose="020B0604020202020204" pitchFamily="34" charset="0"/>
              <a:buChar char="•"/>
            </a:pPr>
            <a:endParaRPr lang="en-US" sz="2400" dirty="0">
              <a:solidFill>
                <a:srgbClr val="29BA74"/>
              </a:solidFill>
            </a:endParaRPr>
          </a:p>
          <a:p>
            <a:pPr marL="285750" indent="-285750">
              <a:buFont typeface="Arial" panose="020B0604020202020204" pitchFamily="34" charset="0"/>
              <a:buChar char="•"/>
            </a:pPr>
            <a:r>
              <a:rPr lang="en-US" sz="2400" dirty="0">
                <a:solidFill>
                  <a:srgbClr val="29BA74"/>
                </a:solidFill>
              </a:rPr>
              <a:t>Are you aligned as a leadership team?  </a:t>
            </a:r>
          </a:p>
          <a:p>
            <a:endParaRPr lang="en-US" sz="2400" dirty="0">
              <a:solidFill>
                <a:srgbClr val="29BA74"/>
              </a:solidFill>
            </a:endParaRPr>
          </a:p>
          <a:p>
            <a:pPr marL="285750" indent="-285750">
              <a:buFont typeface="Arial" panose="020B0604020202020204" pitchFamily="34" charset="0"/>
              <a:buChar char="•"/>
            </a:pPr>
            <a:r>
              <a:rPr lang="en-US" sz="2400" dirty="0">
                <a:solidFill>
                  <a:srgbClr val="29BA74"/>
                </a:solidFill>
              </a:rPr>
              <a:t>Have you clarified and articulated the case for change?</a:t>
            </a:r>
          </a:p>
          <a:p>
            <a:pPr marL="285750" indent="-285750">
              <a:buFont typeface="Arial" panose="020B0604020202020204" pitchFamily="34" charset="0"/>
              <a:buChar char="•"/>
            </a:pPr>
            <a:endParaRPr lang="en-US" sz="2400" dirty="0">
              <a:solidFill>
                <a:srgbClr val="29BA74"/>
              </a:solidFill>
            </a:endParaRPr>
          </a:p>
          <a:p>
            <a:endParaRPr lang="en-US" sz="2400" dirty="0">
              <a:solidFill>
                <a:srgbClr val="29BA74"/>
              </a:solidFill>
            </a:endParaRPr>
          </a:p>
          <a:p>
            <a:endParaRPr lang="en-US" sz="2400" dirty="0">
              <a:solidFill>
                <a:srgbClr val="29BA74"/>
              </a:solidFill>
            </a:endParaRPr>
          </a:p>
          <a:p>
            <a:pPr marL="285750" indent="-285750">
              <a:buFont typeface="Arial" panose="020B0604020202020204" pitchFamily="34" charset="0"/>
              <a:buChar char="•"/>
            </a:pPr>
            <a:endParaRPr lang="en-US" sz="2400" dirty="0">
              <a:solidFill>
                <a:srgbClr val="29BA74"/>
              </a:solidFill>
            </a:endParaRPr>
          </a:p>
        </p:txBody>
      </p:sp>
    </p:spTree>
    <p:extLst>
      <p:ext uri="{BB962C8B-B14F-4D97-AF65-F5344CB8AC3E}">
        <p14:creationId xmlns:p14="http://schemas.microsoft.com/office/powerpoint/2010/main" val="1256414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54" name="think-cell Slide" r:id="rId6" imgW="411" imgH="409" progId="TCLayout.ActiveDocument.1">
                  <p:embed/>
                </p:oleObj>
              </mc:Choice>
              <mc:Fallback>
                <p:oleObj name="think-cell Slide" r:id="rId6" imgW="411" imgH="409"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6" name="Oval 35"/>
          <p:cNvSpPr/>
          <p:nvPr/>
        </p:nvSpPr>
        <p:spPr>
          <a:xfrm>
            <a:off x="7254151" y="1828723"/>
            <a:ext cx="4037398" cy="4037398"/>
          </a:xfrm>
          <a:prstGeom prst="ellipse">
            <a:avLst/>
          </a:prstGeom>
          <a:solidFill>
            <a:srgbClr val="F2F2F2"/>
          </a:solidFill>
          <a:ln w="9525" cap="rnd" cmpd="sng" algn="ctr">
            <a:solidFill>
              <a:srgbClr val="7F7F7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pic>
        <p:nvPicPr>
          <p:cNvPr id="23" name="Picture 22"/>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948723" y="617828"/>
            <a:ext cx="1937352" cy="5495544"/>
          </a:xfrm>
          <a:prstGeom prst="rect">
            <a:avLst/>
          </a:prstGeom>
        </p:spPr>
      </p:pic>
      <p:sp>
        <p:nvSpPr>
          <p:cNvPr id="2" name="TextBox 1"/>
          <p:cNvSpPr txBox="1"/>
          <p:nvPr/>
        </p:nvSpPr>
        <p:spPr>
          <a:xfrm>
            <a:off x="4329113" y="223284"/>
            <a:ext cx="7426112" cy="7977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800" dirty="0">
                <a:solidFill>
                  <a:schemeClr val="accent1">
                    <a:lumMod val="75000"/>
                    <a:lumOff val="25000"/>
                  </a:schemeClr>
                </a:solidFill>
              </a:rPr>
              <a:t>The Hands of Transformation     </a:t>
            </a:r>
            <a:endParaRPr lang="en-US" sz="1400" dirty="0">
              <a:solidFill>
                <a:srgbClr val="FF0000"/>
              </a:solidFill>
            </a:endParaRPr>
          </a:p>
        </p:txBody>
      </p:sp>
      <p:sp>
        <p:nvSpPr>
          <p:cNvPr id="24" name="Freeform 23"/>
          <p:cNvSpPr/>
          <p:nvPr/>
        </p:nvSpPr>
        <p:spPr>
          <a:xfrm>
            <a:off x="1327345" y="5200653"/>
            <a:ext cx="1515867" cy="634059"/>
          </a:xfrm>
          <a:custGeom>
            <a:avLst/>
            <a:gdLst>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13410 w 3520440"/>
              <a:gd name="connsiteY7" fmla="*/ 422910 h 1543050"/>
              <a:gd name="connsiteX8" fmla="*/ 754380 w 3520440"/>
              <a:gd name="connsiteY8" fmla="*/ 468630 h 1543050"/>
              <a:gd name="connsiteX9" fmla="*/ 982980 w 3520440"/>
              <a:gd name="connsiteY9" fmla="*/ 502920 h 1543050"/>
              <a:gd name="connsiteX10" fmla="*/ 1104900 w 3520440"/>
              <a:gd name="connsiteY10" fmla="*/ 50673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72440 h 1543050"/>
              <a:gd name="connsiteX16" fmla="*/ 1703070 w 3520440"/>
              <a:gd name="connsiteY16" fmla="*/ 461010 h 1543050"/>
              <a:gd name="connsiteX17" fmla="*/ 1828800 w 3520440"/>
              <a:gd name="connsiteY17" fmla="*/ 426720 h 1543050"/>
              <a:gd name="connsiteX18" fmla="*/ 1924050 w 3520440"/>
              <a:gd name="connsiteY18" fmla="*/ 38862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091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13410 w 3520440"/>
              <a:gd name="connsiteY7" fmla="*/ 422910 h 1543050"/>
              <a:gd name="connsiteX8" fmla="*/ 754380 w 3520440"/>
              <a:gd name="connsiteY8" fmla="*/ 468630 h 1543050"/>
              <a:gd name="connsiteX9" fmla="*/ 982980 w 3520440"/>
              <a:gd name="connsiteY9" fmla="*/ 502920 h 1543050"/>
              <a:gd name="connsiteX10" fmla="*/ 1104900 w 3520440"/>
              <a:gd name="connsiteY10" fmla="*/ 50673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72440 h 1543050"/>
              <a:gd name="connsiteX16" fmla="*/ 1703070 w 3520440"/>
              <a:gd name="connsiteY16" fmla="*/ 461010 h 1543050"/>
              <a:gd name="connsiteX17" fmla="*/ 1828800 w 3520440"/>
              <a:gd name="connsiteY17" fmla="*/ 426720 h 1543050"/>
              <a:gd name="connsiteX18" fmla="*/ 1924050 w 3520440"/>
              <a:gd name="connsiteY18" fmla="*/ 38862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091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13410 w 3520440"/>
              <a:gd name="connsiteY7" fmla="*/ 422910 h 1543050"/>
              <a:gd name="connsiteX8" fmla="*/ 754380 w 3520440"/>
              <a:gd name="connsiteY8" fmla="*/ 468630 h 1543050"/>
              <a:gd name="connsiteX9" fmla="*/ 982980 w 3520440"/>
              <a:gd name="connsiteY9" fmla="*/ 50292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72440 h 1543050"/>
              <a:gd name="connsiteX16" fmla="*/ 1703070 w 3520440"/>
              <a:gd name="connsiteY16" fmla="*/ 461010 h 1543050"/>
              <a:gd name="connsiteX17" fmla="*/ 1828800 w 3520440"/>
              <a:gd name="connsiteY17" fmla="*/ 426720 h 1543050"/>
              <a:gd name="connsiteX18" fmla="*/ 1924050 w 3520440"/>
              <a:gd name="connsiteY18" fmla="*/ 38862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091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13410 w 3520440"/>
              <a:gd name="connsiteY7" fmla="*/ 422910 h 1543050"/>
              <a:gd name="connsiteX8" fmla="*/ 754380 w 3520440"/>
              <a:gd name="connsiteY8" fmla="*/ 468630 h 1543050"/>
              <a:gd name="connsiteX9" fmla="*/ 982980 w 3520440"/>
              <a:gd name="connsiteY9" fmla="*/ 50292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7244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091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13410 w 3520440"/>
              <a:gd name="connsiteY7" fmla="*/ 422910 h 1543050"/>
              <a:gd name="connsiteX8" fmla="*/ 754380 w 3520440"/>
              <a:gd name="connsiteY8" fmla="*/ 468630 h 1543050"/>
              <a:gd name="connsiteX9" fmla="*/ 982980 w 3520440"/>
              <a:gd name="connsiteY9" fmla="*/ 50292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7244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091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13410 w 3520440"/>
              <a:gd name="connsiteY7" fmla="*/ 422910 h 1543050"/>
              <a:gd name="connsiteX8" fmla="*/ 754380 w 3520440"/>
              <a:gd name="connsiteY8" fmla="*/ 468630 h 1543050"/>
              <a:gd name="connsiteX9" fmla="*/ 982980 w 3520440"/>
              <a:gd name="connsiteY9" fmla="*/ 50292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7244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091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13410 w 3520440"/>
              <a:gd name="connsiteY7" fmla="*/ 422910 h 1543050"/>
              <a:gd name="connsiteX8" fmla="*/ 754380 w 3520440"/>
              <a:gd name="connsiteY8" fmla="*/ 468630 h 1543050"/>
              <a:gd name="connsiteX9" fmla="*/ 979170 w 3520440"/>
              <a:gd name="connsiteY9" fmla="*/ 51435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7244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091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13410 w 3520440"/>
              <a:gd name="connsiteY7" fmla="*/ 422910 h 1543050"/>
              <a:gd name="connsiteX8" fmla="*/ 754380 w 3520440"/>
              <a:gd name="connsiteY8" fmla="*/ 468630 h 1543050"/>
              <a:gd name="connsiteX9" fmla="*/ 975360 w 3520440"/>
              <a:gd name="connsiteY9" fmla="*/ 50673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7244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091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13410 w 3520440"/>
              <a:gd name="connsiteY7" fmla="*/ 422910 h 1543050"/>
              <a:gd name="connsiteX8" fmla="*/ 754380 w 3520440"/>
              <a:gd name="connsiteY8" fmla="*/ 468630 h 1543050"/>
              <a:gd name="connsiteX9" fmla="*/ 975360 w 3520440"/>
              <a:gd name="connsiteY9" fmla="*/ 50673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091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09600 w 3520440"/>
              <a:gd name="connsiteY7" fmla="*/ 430530 h 1543050"/>
              <a:gd name="connsiteX8" fmla="*/ 754380 w 3520440"/>
              <a:gd name="connsiteY8" fmla="*/ 468630 h 1543050"/>
              <a:gd name="connsiteX9" fmla="*/ 975360 w 3520440"/>
              <a:gd name="connsiteY9" fmla="*/ 50673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091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09600 w 3520440"/>
              <a:gd name="connsiteY7" fmla="*/ 430530 h 1543050"/>
              <a:gd name="connsiteX8" fmla="*/ 754380 w 3520440"/>
              <a:gd name="connsiteY8" fmla="*/ 468630 h 1543050"/>
              <a:gd name="connsiteX9" fmla="*/ 975360 w 3520440"/>
              <a:gd name="connsiteY9" fmla="*/ 50673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46710 w 3520440"/>
              <a:gd name="connsiteY5" fmla="*/ 331470 h 1543050"/>
              <a:gd name="connsiteX6" fmla="*/ 472440 w 3520440"/>
              <a:gd name="connsiteY6" fmla="*/ 377190 h 1543050"/>
              <a:gd name="connsiteX7" fmla="*/ 609600 w 3520440"/>
              <a:gd name="connsiteY7" fmla="*/ 430530 h 1543050"/>
              <a:gd name="connsiteX8" fmla="*/ 754380 w 3520440"/>
              <a:gd name="connsiteY8" fmla="*/ 468630 h 1543050"/>
              <a:gd name="connsiteX9" fmla="*/ 975360 w 3520440"/>
              <a:gd name="connsiteY9" fmla="*/ 50673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46710 w 3520440"/>
              <a:gd name="connsiteY5" fmla="*/ 331470 h 1543050"/>
              <a:gd name="connsiteX6" fmla="*/ 483870 w 3520440"/>
              <a:gd name="connsiteY6" fmla="*/ 392430 h 1543050"/>
              <a:gd name="connsiteX7" fmla="*/ 609600 w 3520440"/>
              <a:gd name="connsiteY7" fmla="*/ 430530 h 1543050"/>
              <a:gd name="connsiteX8" fmla="*/ 754380 w 3520440"/>
              <a:gd name="connsiteY8" fmla="*/ 468630 h 1543050"/>
              <a:gd name="connsiteX9" fmla="*/ 975360 w 3520440"/>
              <a:gd name="connsiteY9" fmla="*/ 50673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46710 w 3520440"/>
              <a:gd name="connsiteY5" fmla="*/ 331470 h 1543050"/>
              <a:gd name="connsiteX6" fmla="*/ 483870 w 3520440"/>
              <a:gd name="connsiteY6" fmla="*/ 392430 h 1543050"/>
              <a:gd name="connsiteX7" fmla="*/ 617220 w 3520440"/>
              <a:gd name="connsiteY7" fmla="*/ 434340 h 1543050"/>
              <a:gd name="connsiteX8" fmla="*/ 754380 w 3520440"/>
              <a:gd name="connsiteY8" fmla="*/ 468630 h 1543050"/>
              <a:gd name="connsiteX9" fmla="*/ 975360 w 3520440"/>
              <a:gd name="connsiteY9" fmla="*/ 50673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46710 w 3520440"/>
              <a:gd name="connsiteY5" fmla="*/ 331470 h 1543050"/>
              <a:gd name="connsiteX6" fmla="*/ 483870 w 3520440"/>
              <a:gd name="connsiteY6" fmla="*/ 392430 h 1543050"/>
              <a:gd name="connsiteX7" fmla="*/ 617220 w 3520440"/>
              <a:gd name="connsiteY7" fmla="*/ 434340 h 1543050"/>
              <a:gd name="connsiteX8" fmla="*/ 792480 w 3520440"/>
              <a:gd name="connsiteY8" fmla="*/ 483870 h 1543050"/>
              <a:gd name="connsiteX9" fmla="*/ 975360 w 3520440"/>
              <a:gd name="connsiteY9" fmla="*/ 50673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46710 w 3520440"/>
              <a:gd name="connsiteY5" fmla="*/ 331470 h 1543050"/>
              <a:gd name="connsiteX6" fmla="*/ 483870 w 3520440"/>
              <a:gd name="connsiteY6" fmla="*/ 392430 h 1543050"/>
              <a:gd name="connsiteX7" fmla="*/ 617220 w 3520440"/>
              <a:gd name="connsiteY7" fmla="*/ 434340 h 1543050"/>
              <a:gd name="connsiteX8" fmla="*/ 792480 w 3520440"/>
              <a:gd name="connsiteY8" fmla="*/ 483870 h 1543050"/>
              <a:gd name="connsiteX9" fmla="*/ 963930 w 3520440"/>
              <a:gd name="connsiteY9" fmla="*/ 51054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0030 w 3520440"/>
              <a:gd name="connsiteY4" fmla="*/ 270510 h 1543050"/>
              <a:gd name="connsiteX5" fmla="*/ 346710 w 3520440"/>
              <a:gd name="connsiteY5" fmla="*/ 331470 h 1543050"/>
              <a:gd name="connsiteX6" fmla="*/ 483870 w 3520440"/>
              <a:gd name="connsiteY6" fmla="*/ 392430 h 1543050"/>
              <a:gd name="connsiteX7" fmla="*/ 617220 w 3520440"/>
              <a:gd name="connsiteY7" fmla="*/ 434340 h 1543050"/>
              <a:gd name="connsiteX8" fmla="*/ 792480 w 3520440"/>
              <a:gd name="connsiteY8" fmla="*/ 483870 h 1543050"/>
              <a:gd name="connsiteX9" fmla="*/ 963930 w 3520440"/>
              <a:gd name="connsiteY9" fmla="*/ 51054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209550 h 1543050"/>
              <a:gd name="connsiteX4" fmla="*/ 240030 w 3520440"/>
              <a:gd name="connsiteY4" fmla="*/ 270510 h 1543050"/>
              <a:gd name="connsiteX5" fmla="*/ 346710 w 3520440"/>
              <a:gd name="connsiteY5" fmla="*/ 331470 h 1543050"/>
              <a:gd name="connsiteX6" fmla="*/ 483870 w 3520440"/>
              <a:gd name="connsiteY6" fmla="*/ 392430 h 1543050"/>
              <a:gd name="connsiteX7" fmla="*/ 617220 w 3520440"/>
              <a:gd name="connsiteY7" fmla="*/ 434340 h 1543050"/>
              <a:gd name="connsiteX8" fmla="*/ 792480 w 3520440"/>
              <a:gd name="connsiteY8" fmla="*/ 483870 h 1543050"/>
              <a:gd name="connsiteX9" fmla="*/ 963930 w 3520440"/>
              <a:gd name="connsiteY9" fmla="*/ 51054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209550 h 1543050"/>
              <a:gd name="connsiteX4" fmla="*/ 240030 w 3520440"/>
              <a:gd name="connsiteY4" fmla="*/ 270510 h 1543050"/>
              <a:gd name="connsiteX5" fmla="*/ 346710 w 3520440"/>
              <a:gd name="connsiteY5" fmla="*/ 331470 h 1543050"/>
              <a:gd name="connsiteX6" fmla="*/ 483870 w 3520440"/>
              <a:gd name="connsiteY6" fmla="*/ 392430 h 1543050"/>
              <a:gd name="connsiteX7" fmla="*/ 617220 w 3520440"/>
              <a:gd name="connsiteY7" fmla="*/ 434340 h 1543050"/>
              <a:gd name="connsiteX8" fmla="*/ 792480 w 3520440"/>
              <a:gd name="connsiteY8" fmla="*/ 483870 h 1543050"/>
              <a:gd name="connsiteX9" fmla="*/ 963930 w 3520440"/>
              <a:gd name="connsiteY9" fmla="*/ 51054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209550 h 1543050"/>
              <a:gd name="connsiteX4" fmla="*/ 240030 w 3520440"/>
              <a:gd name="connsiteY4" fmla="*/ 270510 h 1543050"/>
              <a:gd name="connsiteX5" fmla="*/ 346710 w 3520440"/>
              <a:gd name="connsiteY5" fmla="*/ 331470 h 1543050"/>
              <a:gd name="connsiteX6" fmla="*/ 483870 w 3520440"/>
              <a:gd name="connsiteY6" fmla="*/ 392430 h 1543050"/>
              <a:gd name="connsiteX7" fmla="*/ 617220 w 3520440"/>
              <a:gd name="connsiteY7" fmla="*/ 434340 h 1543050"/>
              <a:gd name="connsiteX8" fmla="*/ 792480 w 3520440"/>
              <a:gd name="connsiteY8" fmla="*/ 483870 h 1543050"/>
              <a:gd name="connsiteX9" fmla="*/ 963930 w 3520440"/>
              <a:gd name="connsiteY9" fmla="*/ 51054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52400 h 1543050"/>
              <a:gd name="connsiteX3" fmla="*/ 140970 w 3520440"/>
              <a:gd name="connsiteY3" fmla="*/ 209550 h 1543050"/>
              <a:gd name="connsiteX4" fmla="*/ 240030 w 3520440"/>
              <a:gd name="connsiteY4" fmla="*/ 270510 h 1543050"/>
              <a:gd name="connsiteX5" fmla="*/ 346710 w 3520440"/>
              <a:gd name="connsiteY5" fmla="*/ 331470 h 1543050"/>
              <a:gd name="connsiteX6" fmla="*/ 483870 w 3520440"/>
              <a:gd name="connsiteY6" fmla="*/ 392430 h 1543050"/>
              <a:gd name="connsiteX7" fmla="*/ 617220 w 3520440"/>
              <a:gd name="connsiteY7" fmla="*/ 434340 h 1543050"/>
              <a:gd name="connsiteX8" fmla="*/ 792480 w 3520440"/>
              <a:gd name="connsiteY8" fmla="*/ 483870 h 1543050"/>
              <a:gd name="connsiteX9" fmla="*/ 963930 w 3520440"/>
              <a:gd name="connsiteY9" fmla="*/ 51054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776"/>
              <a:gd name="connsiteY0" fmla="*/ 0 h 1543050"/>
              <a:gd name="connsiteX1" fmla="*/ 11430 w 3520776"/>
              <a:gd name="connsiteY1" fmla="*/ 68580 h 1543050"/>
              <a:gd name="connsiteX2" fmla="*/ 76200 w 3520776"/>
              <a:gd name="connsiteY2" fmla="*/ 152400 h 1543050"/>
              <a:gd name="connsiteX3" fmla="*/ 140970 w 3520776"/>
              <a:gd name="connsiteY3" fmla="*/ 209550 h 1543050"/>
              <a:gd name="connsiteX4" fmla="*/ 240030 w 3520776"/>
              <a:gd name="connsiteY4" fmla="*/ 270510 h 1543050"/>
              <a:gd name="connsiteX5" fmla="*/ 346710 w 3520776"/>
              <a:gd name="connsiteY5" fmla="*/ 331470 h 1543050"/>
              <a:gd name="connsiteX6" fmla="*/ 483870 w 3520776"/>
              <a:gd name="connsiteY6" fmla="*/ 392430 h 1543050"/>
              <a:gd name="connsiteX7" fmla="*/ 617220 w 3520776"/>
              <a:gd name="connsiteY7" fmla="*/ 434340 h 1543050"/>
              <a:gd name="connsiteX8" fmla="*/ 792480 w 3520776"/>
              <a:gd name="connsiteY8" fmla="*/ 483870 h 1543050"/>
              <a:gd name="connsiteX9" fmla="*/ 963930 w 3520776"/>
              <a:gd name="connsiteY9" fmla="*/ 510540 h 1543050"/>
              <a:gd name="connsiteX10" fmla="*/ 1104900 w 3520776"/>
              <a:gd name="connsiteY10" fmla="*/ 518160 h 1543050"/>
              <a:gd name="connsiteX11" fmla="*/ 1219200 w 3520776"/>
              <a:gd name="connsiteY11" fmla="*/ 514350 h 1543050"/>
              <a:gd name="connsiteX12" fmla="*/ 1306830 w 3520776"/>
              <a:gd name="connsiteY12" fmla="*/ 510540 h 1543050"/>
              <a:gd name="connsiteX13" fmla="*/ 1390650 w 3520776"/>
              <a:gd name="connsiteY13" fmla="*/ 510540 h 1543050"/>
              <a:gd name="connsiteX14" fmla="*/ 1489710 w 3520776"/>
              <a:gd name="connsiteY14" fmla="*/ 495300 h 1543050"/>
              <a:gd name="connsiteX15" fmla="*/ 1581150 w 3520776"/>
              <a:gd name="connsiteY15" fmla="*/ 480060 h 1543050"/>
              <a:gd name="connsiteX16" fmla="*/ 1703070 w 3520776"/>
              <a:gd name="connsiteY16" fmla="*/ 461010 h 1543050"/>
              <a:gd name="connsiteX17" fmla="*/ 1828800 w 3520776"/>
              <a:gd name="connsiteY17" fmla="*/ 426720 h 1543050"/>
              <a:gd name="connsiteX18" fmla="*/ 1927860 w 3520776"/>
              <a:gd name="connsiteY18" fmla="*/ 400050 h 1543050"/>
              <a:gd name="connsiteX19" fmla="*/ 2023110 w 3520776"/>
              <a:gd name="connsiteY19" fmla="*/ 369570 h 1543050"/>
              <a:gd name="connsiteX20" fmla="*/ 2110740 w 3520776"/>
              <a:gd name="connsiteY20" fmla="*/ 346710 h 1543050"/>
              <a:gd name="connsiteX21" fmla="*/ 2232660 w 3520776"/>
              <a:gd name="connsiteY21" fmla="*/ 320040 h 1543050"/>
              <a:gd name="connsiteX22" fmla="*/ 2346960 w 3520776"/>
              <a:gd name="connsiteY22" fmla="*/ 320040 h 1543050"/>
              <a:gd name="connsiteX23" fmla="*/ 2472690 w 3520776"/>
              <a:gd name="connsiteY23" fmla="*/ 335280 h 1543050"/>
              <a:gd name="connsiteX24" fmla="*/ 2590800 w 3520776"/>
              <a:gd name="connsiteY24" fmla="*/ 358140 h 1543050"/>
              <a:gd name="connsiteX25" fmla="*/ 2708910 w 3520776"/>
              <a:gd name="connsiteY25" fmla="*/ 400050 h 1543050"/>
              <a:gd name="connsiteX26" fmla="*/ 2819400 w 3520776"/>
              <a:gd name="connsiteY26" fmla="*/ 449580 h 1543050"/>
              <a:gd name="connsiteX27" fmla="*/ 2937510 w 3520776"/>
              <a:gd name="connsiteY27" fmla="*/ 499110 h 1543050"/>
              <a:gd name="connsiteX28" fmla="*/ 3048000 w 3520776"/>
              <a:gd name="connsiteY28" fmla="*/ 556260 h 1543050"/>
              <a:gd name="connsiteX29" fmla="*/ 3131820 w 3520776"/>
              <a:gd name="connsiteY29" fmla="*/ 613410 h 1543050"/>
              <a:gd name="connsiteX30" fmla="*/ 3211830 w 3520776"/>
              <a:gd name="connsiteY30" fmla="*/ 674370 h 1543050"/>
              <a:gd name="connsiteX31" fmla="*/ 3272790 w 3520776"/>
              <a:gd name="connsiteY31" fmla="*/ 727710 h 1543050"/>
              <a:gd name="connsiteX32" fmla="*/ 3333750 w 3520776"/>
              <a:gd name="connsiteY32" fmla="*/ 796290 h 1543050"/>
              <a:gd name="connsiteX33" fmla="*/ 3390900 w 3520776"/>
              <a:gd name="connsiteY33" fmla="*/ 887730 h 1543050"/>
              <a:gd name="connsiteX34" fmla="*/ 3421380 w 3520776"/>
              <a:gd name="connsiteY34" fmla="*/ 960120 h 1543050"/>
              <a:gd name="connsiteX35" fmla="*/ 3455670 w 3520776"/>
              <a:gd name="connsiteY35" fmla="*/ 1108710 h 1543050"/>
              <a:gd name="connsiteX36" fmla="*/ 3474720 w 3520776"/>
              <a:gd name="connsiteY36" fmla="*/ 1215390 h 1543050"/>
              <a:gd name="connsiteX37" fmla="*/ 3497580 w 3520776"/>
              <a:gd name="connsiteY37" fmla="*/ 1310640 h 1543050"/>
              <a:gd name="connsiteX38" fmla="*/ 3516630 w 3520776"/>
              <a:gd name="connsiteY38" fmla="*/ 1402080 h 1543050"/>
              <a:gd name="connsiteX39" fmla="*/ 3520440 w 3520776"/>
              <a:gd name="connsiteY39" fmla="*/ 1470660 h 1543050"/>
              <a:gd name="connsiteX40" fmla="*/ 3512820 w 3520776"/>
              <a:gd name="connsiteY40" fmla="*/ 1520190 h 1543050"/>
              <a:gd name="connsiteX41" fmla="*/ 3451860 w 3520776"/>
              <a:gd name="connsiteY41" fmla="*/ 1543050 h 1543050"/>
              <a:gd name="connsiteX42" fmla="*/ 3379470 w 3520776"/>
              <a:gd name="connsiteY42" fmla="*/ 1531620 h 1543050"/>
              <a:gd name="connsiteX43" fmla="*/ 3284220 w 3520776"/>
              <a:gd name="connsiteY43" fmla="*/ 1451610 h 1543050"/>
              <a:gd name="connsiteX44" fmla="*/ 3253740 w 3520776"/>
              <a:gd name="connsiteY44" fmla="*/ 1409700 h 1543050"/>
              <a:gd name="connsiteX45" fmla="*/ 3223260 w 3520776"/>
              <a:gd name="connsiteY45" fmla="*/ 1352550 h 1543050"/>
              <a:gd name="connsiteX46" fmla="*/ 3177540 w 3520776"/>
              <a:gd name="connsiteY46" fmla="*/ 1283970 h 1543050"/>
              <a:gd name="connsiteX47" fmla="*/ 3139440 w 3520776"/>
              <a:gd name="connsiteY47" fmla="*/ 1238250 h 1543050"/>
              <a:gd name="connsiteX0" fmla="*/ 0 w 3520776"/>
              <a:gd name="connsiteY0" fmla="*/ 0 h 1543050"/>
              <a:gd name="connsiteX1" fmla="*/ 11430 w 3520776"/>
              <a:gd name="connsiteY1" fmla="*/ 68580 h 1543050"/>
              <a:gd name="connsiteX2" fmla="*/ 76200 w 3520776"/>
              <a:gd name="connsiteY2" fmla="*/ 152400 h 1543050"/>
              <a:gd name="connsiteX3" fmla="*/ 140970 w 3520776"/>
              <a:gd name="connsiteY3" fmla="*/ 209550 h 1543050"/>
              <a:gd name="connsiteX4" fmla="*/ 240030 w 3520776"/>
              <a:gd name="connsiteY4" fmla="*/ 270510 h 1543050"/>
              <a:gd name="connsiteX5" fmla="*/ 346710 w 3520776"/>
              <a:gd name="connsiteY5" fmla="*/ 331470 h 1543050"/>
              <a:gd name="connsiteX6" fmla="*/ 483870 w 3520776"/>
              <a:gd name="connsiteY6" fmla="*/ 392430 h 1543050"/>
              <a:gd name="connsiteX7" fmla="*/ 617220 w 3520776"/>
              <a:gd name="connsiteY7" fmla="*/ 434340 h 1543050"/>
              <a:gd name="connsiteX8" fmla="*/ 792480 w 3520776"/>
              <a:gd name="connsiteY8" fmla="*/ 483870 h 1543050"/>
              <a:gd name="connsiteX9" fmla="*/ 963930 w 3520776"/>
              <a:gd name="connsiteY9" fmla="*/ 510540 h 1543050"/>
              <a:gd name="connsiteX10" fmla="*/ 1104900 w 3520776"/>
              <a:gd name="connsiteY10" fmla="*/ 518160 h 1543050"/>
              <a:gd name="connsiteX11" fmla="*/ 1219200 w 3520776"/>
              <a:gd name="connsiteY11" fmla="*/ 514350 h 1543050"/>
              <a:gd name="connsiteX12" fmla="*/ 1306830 w 3520776"/>
              <a:gd name="connsiteY12" fmla="*/ 510540 h 1543050"/>
              <a:gd name="connsiteX13" fmla="*/ 1390650 w 3520776"/>
              <a:gd name="connsiteY13" fmla="*/ 510540 h 1543050"/>
              <a:gd name="connsiteX14" fmla="*/ 1489710 w 3520776"/>
              <a:gd name="connsiteY14" fmla="*/ 495300 h 1543050"/>
              <a:gd name="connsiteX15" fmla="*/ 1581150 w 3520776"/>
              <a:gd name="connsiteY15" fmla="*/ 480060 h 1543050"/>
              <a:gd name="connsiteX16" fmla="*/ 1703070 w 3520776"/>
              <a:gd name="connsiteY16" fmla="*/ 461010 h 1543050"/>
              <a:gd name="connsiteX17" fmla="*/ 1828800 w 3520776"/>
              <a:gd name="connsiteY17" fmla="*/ 426720 h 1543050"/>
              <a:gd name="connsiteX18" fmla="*/ 1927860 w 3520776"/>
              <a:gd name="connsiteY18" fmla="*/ 400050 h 1543050"/>
              <a:gd name="connsiteX19" fmla="*/ 2023110 w 3520776"/>
              <a:gd name="connsiteY19" fmla="*/ 369570 h 1543050"/>
              <a:gd name="connsiteX20" fmla="*/ 2110740 w 3520776"/>
              <a:gd name="connsiteY20" fmla="*/ 346710 h 1543050"/>
              <a:gd name="connsiteX21" fmla="*/ 2232660 w 3520776"/>
              <a:gd name="connsiteY21" fmla="*/ 320040 h 1543050"/>
              <a:gd name="connsiteX22" fmla="*/ 2346960 w 3520776"/>
              <a:gd name="connsiteY22" fmla="*/ 320040 h 1543050"/>
              <a:gd name="connsiteX23" fmla="*/ 2472690 w 3520776"/>
              <a:gd name="connsiteY23" fmla="*/ 335280 h 1543050"/>
              <a:gd name="connsiteX24" fmla="*/ 2590800 w 3520776"/>
              <a:gd name="connsiteY24" fmla="*/ 358140 h 1543050"/>
              <a:gd name="connsiteX25" fmla="*/ 2708910 w 3520776"/>
              <a:gd name="connsiteY25" fmla="*/ 400050 h 1543050"/>
              <a:gd name="connsiteX26" fmla="*/ 2819400 w 3520776"/>
              <a:gd name="connsiteY26" fmla="*/ 449580 h 1543050"/>
              <a:gd name="connsiteX27" fmla="*/ 2937510 w 3520776"/>
              <a:gd name="connsiteY27" fmla="*/ 499110 h 1543050"/>
              <a:gd name="connsiteX28" fmla="*/ 3048000 w 3520776"/>
              <a:gd name="connsiteY28" fmla="*/ 556260 h 1543050"/>
              <a:gd name="connsiteX29" fmla="*/ 3131820 w 3520776"/>
              <a:gd name="connsiteY29" fmla="*/ 613410 h 1543050"/>
              <a:gd name="connsiteX30" fmla="*/ 3211830 w 3520776"/>
              <a:gd name="connsiteY30" fmla="*/ 674370 h 1543050"/>
              <a:gd name="connsiteX31" fmla="*/ 3272790 w 3520776"/>
              <a:gd name="connsiteY31" fmla="*/ 727710 h 1543050"/>
              <a:gd name="connsiteX32" fmla="*/ 3333750 w 3520776"/>
              <a:gd name="connsiteY32" fmla="*/ 796290 h 1543050"/>
              <a:gd name="connsiteX33" fmla="*/ 3390900 w 3520776"/>
              <a:gd name="connsiteY33" fmla="*/ 887730 h 1543050"/>
              <a:gd name="connsiteX34" fmla="*/ 3421380 w 3520776"/>
              <a:gd name="connsiteY34" fmla="*/ 960120 h 1543050"/>
              <a:gd name="connsiteX35" fmla="*/ 3455670 w 3520776"/>
              <a:gd name="connsiteY35" fmla="*/ 1108710 h 1543050"/>
              <a:gd name="connsiteX36" fmla="*/ 3474720 w 3520776"/>
              <a:gd name="connsiteY36" fmla="*/ 1215390 h 1543050"/>
              <a:gd name="connsiteX37" fmla="*/ 3497580 w 3520776"/>
              <a:gd name="connsiteY37" fmla="*/ 1310640 h 1543050"/>
              <a:gd name="connsiteX38" fmla="*/ 3516630 w 3520776"/>
              <a:gd name="connsiteY38" fmla="*/ 1402080 h 1543050"/>
              <a:gd name="connsiteX39" fmla="*/ 3520440 w 3520776"/>
              <a:gd name="connsiteY39" fmla="*/ 1470660 h 1543050"/>
              <a:gd name="connsiteX40" fmla="*/ 3512820 w 3520776"/>
              <a:gd name="connsiteY40" fmla="*/ 1520190 h 1543050"/>
              <a:gd name="connsiteX41" fmla="*/ 3451860 w 3520776"/>
              <a:gd name="connsiteY41" fmla="*/ 1543050 h 1543050"/>
              <a:gd name="connsiteX42" fmla="*/ 3379470 w 3520776"/>
              <a:gd name="connsiteY42" fmla="*/ 1531620 h 1543050"/>
              <a:gd name="connsiteX43" fmla="*/ 3284220 w 3520776"/>
              <a:gd name="connsiteY43" fmla="*/ 1451610 h 1543050"/>
              <a:gd name="connsiteX44" fmla="*/ 3253740 w 3520776"/>
              <a:gd name="connsiteY44" fmla="*/ 1409700 h 1543050"/>
              <a:gd name="connsiteX45" fmla="*/ 3223260 w 3520776"/>
              <a:gd name="connsiteY45" fmla="*/ 1352550 h 1543050"/>
              <a:gd name="connsiteX46" fmla="*/ 3177540 w 3520776"/>
              <a:gd name="connsiteY46" fmla="*/ 1283970 h 1543050"/>
              <a:gd name="connsiteX47" fmla="*/ 3139440 w 3520776"/>
              <a:gd name="connsiteY47" fmla="*/ 1238250 h 1543050"/>
              <a:gd name="connsiteX0" fmla="*/ 0 w 3520776"/>
              <a:gd name="connsiteY0" fmla="*/ 0 h 1543666"/>
              <a:gd name="connsiteX1" fmla="*/ 11430 w 3520776"/>
              <a:gd name="connsiteY1" fmla="*/ 68580 h 1543666"/>
              <a:gd name="connsiteX2" fmla="*/ 76200 w 3520776"/>
              <a:gd name="connsiteY2" fmla="*/ 152400 h 1543666"/>
              <a:gd name="connsiteX3" fmla="*/ 140970 w 3520776"/>
              <a:gd name="connsiteY3" fmla="*/ 209550 h 1543666"/>
              <a:gd name="connsiteX4" fmla="*/ 240030 w 3520776"/>
              <a:gd name="connsiteY4" fmla="*/ 270510 h 1543666"/>
              <a:gd name="connsiteX5" fmla="*/ 346710 w 3520776"/>
              <a:gd name="connsiteY5" fmla="*/ 331470 h 1543666"/>
              <a:gd name="connsiteX6" fmla="*/ 483870 w 3520776"/>
              <a:gd name="connsiteY6" fmla="*/ 392430 h 1543666"/>
              <a:gd name="connsiteX7" fmla="*/ 617220 w 3520776"/>
              <a:gd name="connsiteY7" fmla="*/ 434340 h 1543666"/>
              <a:gd name="connsiteX8" fmla="*/ 792480 w 3520776"/>
              <a:gd name="connsiteY8" fmla="*/ 483870 h 1543666"/>
              <a:gd name="connsiteX9" fmla="*/ 963930 w 3520776"/>
              <a:gd name="connsiteY9" fmla="*/ 510540 h 1543666"/>
              <a:gd name="connsiteX10" fmla="*/ 1104900 w 3520776"/>
              <a:gd name="connsiteY10" fmla="*/ 518160 h 1543666"/>
              <a:gd name="connsiteX11" fmla="*/ 1219200 w 3520776"/>
              <a:gd name="connsiteY11" fmla="*/ 514350 h 1543666"/>
              <a:gd name="connsiteX12" fmla="*/ 1306830 w 3520776"/>
              <a:gd name="connsiteY12" fmla="*/ 510540 h 1543666"/>
              <a:gd name="connsiteX13" fmla="*/ 1390650 w 3520776"/>
              <a:gd name="connsiteY13" fmla="*/ 510540 h 1543666"/>
              <a:gd name="connsiteX14" fmla="*/ 1489710 w 3520776"/>
              <a:gd name="connsiteY14" fmla="*/ 495300 h 1543666"/>
              <a:gd name="connsiteX15" fmla="*/ 1581150 w 3520776"/>
              <a:gd name="connsiteY15" fmla="*/ 480060 h 1543666"/>
              <a:gd name="connsiteX16" fmla="*/ 1703070 w 3520776"/>
              <a:gd name="connsiteY16" fmla="*/ 461010 h 1543666"/>
              <a:gd name="connsiteX17" fmla="*/ 1828800 w 3520776"/>
              <a:gd name="connsiteY17" fmla="*/ 426720 h 1543666"/>
              <a:gd name="connsiteX18" fmla="*/ 1927860 w 3520776"/>
              <a:gd name="connsiteY18" fmla="*/ 400050 h 1543666"/>
              <a:gd name="connsiteX19" fmla="*/ 2023110 w 3520776"/>
              <a:gd name="connsiteY19" fmla="*/ 369570 h 1543666"/>
              <a:gd name="connsiteX20" fmla="*/ 2110740 w 3520776"/>
              <a:gd name="connsiteY20" fmla="*/ 346710 h 1543666"/>
              <a:gd name="connsiteX21" fmla="*/ 2232660 w 3520776"/>
              <a:gd name="connsiteY21" fmla="*/ 320040 h 1543666"/>
              <a:gd name="connsiteX22" fmla="*/ 2346960 w 3520776"/>
              <a:gd name="connsiteY22" fmla="*/ 320040 h 1543666"/>
              <a:gd name="connsiteX23" fmla="*/ 2472690 w 3520776"/>
              <a:gd name="connsiteY23" fmla="*/ 335280 h 1543666"/>
              <a:gd name="connsiteX24" fmla="*/ 2590800 w 3520776"/>
              <a:gd name="connsiteY24" fmla="*/ 358140 h 1543666"/>
              <a:gd name="connsiteX25" fmla="*/ 2708910 w 3520776"/>
              <a:gd name="connsiteY25" fmla="*/ 400050 h 1543666"/>
              <a:gd name="connsiteX26" fmla="*/ 2819400 w 3520776"/>
              <a:gd name="connsiteY26" fmla="*/ 449580 h 1543666"/>
              <a:gd name="connsiteX27" fmla="*/ 2937510 w 3520776"/>
              <a:gd name="connsiteY27" fmla="*/ 499110 h 1543666"/>
              <a:gd name="connsiteX28" fmla="*/ 3048000 w 3520776"/>
              <a:gd name="connsiteY28" fmla="*/ 556260 h 1543666"/>
              <a:gd name="connsiteX29" fmla="*/ 3131820 w 3520776"/>
              <a:gd name="connsiteY29" fmla="*/ 613410 h 1543666"/>
              <a:gd name="connsiteX30" fmla="*/ 3211830 w 3520776"/>
              <a:gd name="connsiteY30" fmla="*/ 674370 h 1543666"/>
              <a:gd name="connsiteX31" fmla="*/ 3272790 w 3520776"/>
              <a:gd name="connsiteY31" fmla="*/ 727710 h 1543666"/>
              <a:gd name="connsiteX32" fmla="*/ 3333750 w 3520776"/>
              <a:gd name="connsiteY32" fmla="*/ 796290 h 1543666"/>
              <a:gd name="connsiteX33" fmla="*/ 3390900 w 3520776"/>
              <a:gd name="connsiteY33" fmla="*/ 887730 h 1543666"/>
              <a:gd name="connsiteX34" fmla="*/ 3421380 w 3520776"/>
              <a:gd name="connsiteY34" fmla="*/ 960120 h 1543666"/>
              <a:gd name="connsiteX35" fmla="*/ 3455670 w 3520776"/>
              <a:gd name="connsiteY35" fmla="*/ 1108710 h 1543666"/>
              <a:gd name="connsiteX36" fmla="*/ 3474720 w 3520776"/>
              <a:gd name="connsiteY36" fmla="*/ 1215390 h 1543666"/>
              <a:gd name="connsiteX37" fmla="*/ 3497580 w 3520776"/>
              <a:gd name="connsiteY37" fmla="*/ 1310640 h 1543666"/>
              <a:gd name="connsiteX38" fmla="*/ 3516630 w 3520776"/>
              <a:gd name="connsiteY38" fmla="*/ 1402080 h 1543666"/>
              <a:gd name="connsiteX39" fmla="*/ 3520440 w 3520776"/>
              <a:gd name="connsiteY39" fmla="*/ 1470660 h 1543666"/>
              <a:gd name="connsiteX40" fmla="*/ 3512820 w 3520776"/>
              <a:gd name="connsiteY40" fmla="*/ 1520190 h 1543666"/>
              <a:gd name="connsiteX41" fmla="*/ 3451860 w 3520776"/>
              <a:gd name="connsiteY41" fmla="*/ 1543050 h 1543666"/>
              <a:gd name="connsiteX42" fmla="*/ 3379470 w 3520776"/>
              <a:gd name="connsiteY42" fmla="*/ 1531620 h 1543666"/>
              <a:gd name="connsiteX43" fmla="*/ 3284220 w 3520776"/>
              <a:gd name="connsiteY43" fmla="*/ 1451610 h 1543666"/>
              <a:gd name="connsiteX44" fmla="*/ 3253740 w 3520776"/>
              <a:gd name="connsiteY44" fmla="*/ 1409700 h 1543666"/>
              <a:gd name="connsiteX45" fmla="*/ 3223260 w 3520776"/>
              <a:gd name="connsiteY45" fmla="*/ 1352550 h 1543666"/>
              <a:gd name="connsiteX46" fmla="*/ 3177540 w 3520776"/>
              <a:gd name="connsiteY46" fmla="*/ 1283970 h 1543666"/>
              <a:gd name="connsiteX47" fmla="*/ 3139440 w 3520776"/>
              <a:gd name="connsiteY47" fmla="*/ 1238250 h 1543666"/>
              <a:gd name="connsiteX0" fmla="*/ 0 w 3520776"/>
              <a:gd name="connsiteY0" fmla="*/ 0 h 1543666"/>
              <a:gd name="connsiteX1" fmla="*/ 11430 w 3520776"/>
              <a:gd name="connsiteY1" fmla="*/ 68580 h 1543666"/>
              <a:gd name="connsiteX2" fmla="*/ 76200 w 3520776"/>
              <a:gd name="connsiteY2" fmla="*/ 152400 h 1543666"/>
              <a:gd name="connsiteX3" fmla="*/ 140970 w 3520776"/>
              <a:gd name="connsiteY3" fmla="*/ 209550 h 1543666"/>
              <a:gd name="connsiteX4" fmla="*/ 240030 w 3520776"/>
              <a:gd name="connsiteY4" fmla="*/ 270510 h 1543666"/>
              <a:gd name="connsiteX5" fmla="*/ 346710 w 3520776"/>
              <a:gd name="connsiteY5" fmla="*/ 331470 h 1543666"/>
              <a:gd name="connsiteX6" fmla="*/ 483870 w 3520776"/>
              <a:gd name="connsiteY6" fmla="*/ 392430 h 1543666"/>
              <a:gd name="connsiteX7" fmla="*/ 617220 w 3520776"/>
              <a:gd name="connsiteY7" fmla="*/ 434340 h 1543666"/>
              <a:gd name="connsiteX8" fmla="*/ 792480 w 3520776"/>
              <a:gd name="connsiteY8" fmla="*/ 483870 h 1543666"/>
              <a:gd name="connsiteX9" fmla="*/ 963930 w 3520776"/>
              <a:gd name="connsiteY9" fmla="*/ 510540 h 1543666"/>
              <a:gd name="connsiteX10" fmla="*/ 1104900 w 3520776"/>
              <a:gd name="connsiteY10" fmla="*/ 518160 h 1543666"/>
              <a:gd name="connsiteX11" fmla="*/ 1219200 w 3520776"/>
              <a:gd name="connsiteY11" fmla="*/ 514350 h 1543666"/>
              <a:gd name="connsiteX12" fmla="*/ 1306830 w 3520776"/>
              <a:gd name="connsiteY12" fmla="*/ 510540 h 1543666"/>
              <a:gd name="connsiteX13" fmla="*/ 1390650 w 3520776"/>
              <a:gd name="connsiteY13" fmla="*/ 510540 h 1543666"/>
              <a:gd name="connsiteX14" fmla="*/ 1489710 w 3520776"/>
              <a:gd name="connsiteY14" fmla="*/ 495300 h 1543666"/>
              <a:gd name="connsiteX15" fmla="*/ 1581150 w 3520776"/>
              <a:gd name="connsiteY15" fmla="*/ 480060 h 1543666"/>
              <a:gd name="connsiteX16" fmla="*/ 1703070 w 3520776"/>
              <a:gd name="connsiteY16" fmla="*/ 461010 h 1543666"/>
              <a:gd name="connsiteX17" fmla="*/ 1828800 w 3520776"/>
              <a:gd name="connsiteY17" fmla="*/ 426720 h 1543666"/>
              <a:gd name="connsiteX18" fmla="*/ 1927860 w 3520776"/>
              <a:gd name="connsiteY18" fmla="*/ 400050 h 1543666"/>
              <a:gd name="connsiteX19" fmla="*/ 2023110 w 3520776"/>
              <a:gd name="connsiteY19" fmla="*/ 369570 h 1543666"/>
              <a:gd name="connsiteX20" fmla="*/ 2110740 w 3520776"/>
              <a:gd name="connsiteY20" fmla="*/ 346710 h 1543666"/>
              <a:gd name="connsiteX21" fmla="*/ 2232660 w 3520776"/>
              <a:gd name="connsiteY21" fmla="*/ 320040 h 1543666"/>
              <a:gd name="connsiteX22" fmla="*/ 2346960 w 3520776"/>
              <a:gd name="connsiteY22" fmla="*/ 320040 h 1543666"/>
              <a:gd name="connsiteX23" fmla="*/ 2472690 w 3520776"/>
              <a:gd name="connsiteY23" fmla="*/ 335280 h 1543666"/>
              <a:gd name="connsiteX24" fmla="*/ 2590800 w 3520776"/>
              <a:gd name="connsiteY24" fmla="*/ 358140 h 1543666"/>
              <a:gd name="connsiteX25" fmla="*/ 2708910 w 3520776"/>
              <a:gd name="connsiteY25" fmla="*/ 400050 h 1543666"/>
              <a:gd name="connsiteX26" fmla="*/ 2819400 w 3520776"/>
              <a:gd name="connsiteY26" fmla="*/ 449580 h 1543666"/>
              <a:gd name="connsiteX27" fmla="*/ 2937510 w 3520776"/>
              <a:gd name="connsiteY27" fmla="*/ 499110 h 1543666"/>
              <a:gd name="connsiteX28" fmla="*/ 3048000 w 3520776"/>
              <a:gd name="connsiteY28" fmla="*/ 556260 h 1543666"/>
              <a:gd name="connsiteX29" fmla="*/ 3131820 w 3520776"/>
              <a:gd name="connsiteY29" fmla="*/ 613410 h 1543666"/>
              <a:gd name="connsiteX30" fmla="*/ 3211830 w 3520776"/>
              <a:gd name="connsiteY30" fmla="*/ 674370 h 1543666"/>
              <a:gd name="connsiteX31" fmla="*/ 3272790 w 3520776"/>
              <a:gd name="connsiteY31" fmla="*/ 727710 h 1543666"/>
              <a:gd name="connsiteX32" fmla="*/ 3333750 w 3520776"/>
              <a:gd name="connsiteY32" fmla="*/ 796290 h 1543666"/>
              <a:gd name="connsiteX33" fmla="*/ 3390900 w 3520776"/>
              <a:gd name="connsiteY33" fmla="*/ 887730 h 1543666"/>
              <a:gd name="connsiteX34" fmla="*/ 3421380 w 3520776"/>
              <a:gd name="connsiteY34" fmla="*/ 960120 h 1543666"/>
              <a:gd name="connsiteX35" fmla="*/ 3455670 w 3520776"/>
              <a:gd name="connsiteY35" fmla="*/ 1108710 h 1543666"/>
              <a:gd name="connsiteX36" fmla="*/ 3474720 w 3520776"/>
              <a:gd name="connsiteY36" fmla="*/ 1215390 h 1543666"/>
              <a:gd name="connsiteX37" fmla="*/ 3497580 w 3520776"/>
              <a:gd name="connsiteY37" fmla="*/ 1310640 h 1543666"/>
              <a:gd name="connsiteX38" fmla="*/ 3516630 w 3520776"/>
              <a:gd name="connsiteY38" fmla="*/ 1402080 h 1543666"/>
              <a:gd name="connsiteX39" fmla="*/ 3520440 w 3520776"/>
              <a:gd name="connsiteY39" fmla="*/ 1470660 h 1543666"/>
              <a:gd name="connsiteX40" fmla="*/ 3512820 w 3520776"/>
              <a:gd name="connsiteY40" fmla="*/ 1520190 h 1543666"/>
              <a:gd name="connsiteX41" fmla="*/ 3451860 w 3520776"/>
              <a:gd name="connsiteY41" fmla="*/ 1543050 h 1543666"/>
              <a:gd name="connsiteX42" fmla="*/ 3379470 w 3520776"/>
              <a:gd name="connsiteY42" fmla="*/ 1531620 h 1543666"/>
              <a:gd name="connsiteX43" fmla="*/ 3307080 w 3520776"/>
              <a:gd name="connsiteY43" fmla="*/ 1466850 h 1543666"/>
              <a:gd name="connsiteX44" fmla="*/ 3253740 w 3520776"/>
              <a:gd name="connsiteY44" fmla="*/ 1409700 h 1543666"/>
              <a:gd name="connsiteX45" fmla="*/ 3223260 w 3520776"/>
              <a:gd name="connsiteY45" fmla="*/ 1352550 h 1543666"/>
              <a:gd name="connsiteX46" fmla="*/ 3177540 w 3520776"/>
              <a:gd name="connsiteY46" fmla="*/ 1283970 h 1543666"/>
              <a:gd name="connsiteX47" fmla="*/ 3139440 w 3520776"/>
              <a:gd name="connsiteY47" fmla="*/ 1238250 h 1543666"/>
              <a:gd name="connsiteX0" fmla="*/ 0 w 3520776"/>
              <a:gd name="connsiteY0" fmla="*/ 0 h 1543666"/>
              <a:gd name="connsiteX1" fmla="*/ 11430 w 3520776"/>
              <a:gd name="connsiteY1" fmla="*/ 68580 h 1543666"/>
              <a:gd name="connsiteX2" fmla="*/ 76200 w 3520776"/>
              <a:gd name="connsiteY2" fmla="*/ 152400 h 1543666"/>
              <a:gd name="connsiteX3" fmla="*/ 140970 w 3520776"/>
              <a:gd name="connsiteY3" fmla="*/ 209550 h 1543666"/>
              <a:gd name="connsiteX4" fmla="*/ 240030 w 3520776"/>
              <a:gd name="connsiteY4" fmla="*/ 270510 h 1543666"/>
              <a:gd name="connsiteX5" fmla="*/ 346710 w 3520776"/>
              <a:gd name="connsiteY5" fmla="*/ 331470 h 1543666"/>
              <a:gd name="connsiteX6" fmla="*/ 483870 w 3520776"/>
              <a:gd name="connsiteY6" fmla="*/ 392430 h 1543666"/>
              <a:gd name="connsiteX7" fmla="*/ 617220 w 3520776"/>
              <a:gd name="connsiteY7" fmla="*/ 434340 h 1543666"/>
              <a:gd name="connsiteX8" fmla="*/ 792480 w 3520776"/>
              <a:gd name="connsiteY8" fmla="*/ 483870 h 1543666"/>
              <a:gd name="connsiteX9" fmla="*/ 963930 w 3520776"/>
              <a:gd name="connsiteY9" fmla="*/ 510540 h 1543666"/>
              <a:gd name="connsiteX10" fmla="*/ 1104900 w 3520776"/>
              <a:gd name="connsiteY10" fmla="*/ 518160 h 1543666"/>
              <a:gd name="connsiteX11" fmla="*/ 1219200 w 3520776"/>
              <a:gd name="connsiteY11" fmla="*/ 514350 h 1543666"/>
              <a:gd name="connsiteX12" fmla="*/ 1306830 w 3520776"/>
              <a:gd name="connsiteY12" fmla="*/ 510540 h 1543666"/>
              <a:gd name="connsiteX13" fmla="*/ 1390650 w 3520776"/>
              <a:gd name="connsiteY13" fmla="*/ 510540 h 1543666"/>
              <a:gd name="connsiteX14" fmla="*/ 1489710 w 3520776"/>
              <a:gd name="connsiteY14" fmla="*/ 495300 h 1543666"/>
              <a:gd name="connsiteX15" fmla="*/ 1581150 w 3520776"/>
              <a:gd name="connsiteY15" fmla="*/ 480060 h 1543666"/>
              <a:gd name="connsiteX16" fmla="*/ 1703070 w 3520776"/>
              <a:gd name="connsiteY16" fmla="*/ 461010 h 1543666"/>
              <a:gd name="connsiteX17" fmla="*/ 1828800 w 3520776"/>
              <a:gd name="connsiteY17" fmla="*/ 426720 h 1543666"/>
              <a:gd name="connsiteX18" fmla="*/ 1927860 w 3520776"/>
              <a:gd name="connsiteY18" fmla="*/ 400050 h 1543666"/>
              <a:gd name="connsiteX19" fmla="*/ 2023110 w 3520776"/>
              <a:gd name="connsiteY19" fmla="*/ 369570 h 1543666"/>
              <a:gd name="connsiteX20" fmla="*/ 2110740 w 3520776"/>
              <a:gd name="connsiteY20" fmla="*/ 346710 h 1543666"/>
              <a:gd name="connsiteX21" fmla="*/ 2232660 w 3520776"/>
              <a:gd name="connsiteY21" fmla="*/ 320040 h 1543666"/>
              <a:gd name="connsiteX22" fmla="*/ 2346960 w 3520776"/>
              <a:gd name="connsiteY22" fmla="*/ 320040 h 1543666"/>
              <a:gd name="connsiteX23" fmla="*/ 2472690 w 3520776"/>
              <a:gd name="connsiteY23" fmla="*/ 335280 h 1543666"/>
              <a:gd name="connsiteX24" fmla="*/ 2590800 w 3520776"/>
              <a:gd name="connsiteY24" fmla="*/ 358140 h 1543666"/>
              <a:gd name="connsiteX25" fmla="*/ 2708910 w 3520776"/>
              <a:gd name="connsiteY25" fmla="*/ 400050 h 1543666"/>
              <a:gd name="connsiteX26" fmla="*/ 2819400 w 3520776"/>
              <a:gd name="connsiteY26" fmla="*/ 449580 h 1543666"/>
              <a:gd name="connsiteX27" fmla="*/ 2937510 w 3520776"/>
              <a:gd name="connsiteY27" fmla="*/ 499110 h 1543666"/>
              <a:gd name="connsiteX28" fmla="*/ 3048000 w 3520776"/>
              <a:gd name="connsiteY28" fmla="*/ 556260 h 1543666"/>
              <a:gd name="connsiteX29" fmla="*/ 3131820 w 3520776"/>
              <a:gd name="connsiteY29" fmla="*/ 613410 h 1543666"/>
              <a:gd name="connsiteX30" fmla="*/ 3211830 w 3520776"/>
              <a:gd name="connsiteY30" fmla="*/ 674370 h 1543666"/>
              <a:gd name="connsiteX31" fmla="*/ 3272790 w 3520776"/>
              <a:gd name="connsiteY31" fmla="*/ 727710 h 1543666"/>
              <a:gd name="connsiteX32" fmla="*/ 3333750 w 3520776"/>
              <a:gd name="connsiteY32" fmla="*/ 796290 h 1543666"/>
              <a:gd name="connsiteX33" fmla="*/ 3390900 w 3520776"/>
              <a:gd name="connsiteY33" fmla="*/ 887730 h 1543666"/>
              <a:gd name="connsiteX34" fmla="*/ 3421380 w 3520776"/>
              <a:gd name="connsiteY34" fmla="*/ 960120 h 1543666"/>
              <a:gd name="connsiteX35" fmla="*/ 3455670 w 3520776"/>
              <a:gd name="connsiteY35" fmla="*/ 1108710 h 1543666"/>
              <a:gd name="connsiteX36" fmla="*/ 3474720 w 3520776"/>
              <a:gd name="connsiteY36" fmla="*/ 1215390 h 1543666"/>
              <a:gd name="connsiteX37" fmla="*/ 3497580 w 3520776"/>
              <a:gd name="connsiteY37" fmla="*/ 1310640 h 1543666"/>
              <a:gd name="connsiteX38" fmla="*/ 3516630 w 3520776"/>
              <a:gd name="connsiteY38" fmla="*/ 1402080 h 1543666"/>
              <a:gd name="connsiteX39" fmla="*/ 3520440 w 3520776"/>
              <a:gd name="connsiteY39" fmla="*/ 1470660 h 1543666"/>
              <a:gd name="connsiteX40" fmla="*/ 3512820 w 3520776"/>
              <a:gd name="connsiteY40" fmla="*/ 1520190 h 1543666"/>
              <a:gd name="connsiteX41" fmla="*/ 3451860 w 3520776"/>
              <a:gd name="connsiteY41" fmla="*/ 1543050 h 1543666"/>
              <a:gd name="connsiteX42" fmla="*/ 3379470 w 3520776"/>
              <a:gd name="connsiteY42" fmla="*/ 1531620 h 1543666"/>
              <a:gd name="connsiteX43" fmla="*/ 3307080 w 3520776"/>
              <a:gd name="connsiteY43" fmla="*/ 1466850 h 1543666"/>
              <a:gd name="connsiteX44" fmla="*/ 3253740 w 3520776"/>
              <a:gd name="connsiteY44" fmla="*/ 1409700 h 1543666"/>
              <a:gd name="connsiteX45" fmla="*/ 3223260 w 3520776"/>
              <a:gd name="connsiteY45" fmla="*/ 1352550 h 1543666"/>
              <a:gd name="connsiteX46" fmla="*/ 3173730 w 3520776"/>
              <a:gd name="connsiteY46" fmla="*/ 1299210 h 1543666"/>
              <a:gd name="connsiteX47" fmla="*/ 3139440 w 3520776"/>
              <a:gd name="connsiteY47" fmla="*/ 1238250 h 1543666"/>
              <a:gd name="connsiteX0" fmla="*/ 0 w 3520776"/>
              <a:gd name="connsiteY0" fmla="*/ 0 h 1543666"/>
              <a:gd name="connsiteX1" fmla="*/ 11430 w 3520776"/>
              <a:gd name="connsiteY1" fmla="*/ 68580 h 1543666"/>
              <a:gd name="connsiteX2" fmla="*/ 76200 w 3520776"/>
              <a:gd name="connsiteY2" fmla="*/ 152400 h 1543666"/>
              <a:gd name="connsiteX3" fmla="*/ 140970 w 3520776"/>
              <a:gd name="connsiteY3" fmla="*/ 209550 h 1543666"/>
              <a:gd name="connsiteX4" fmla="*/ 240030 w 3520776"/>
              <a:gd name="connsiteY4" fmla="*/ 270510 h 1543666"/>
              <a:gd name="connsiteX5" fmla="*/ 346710 w 3520776"/>
              <a:gd name="connsiteY5" fmla="*/ 331470 h 1543666"/>
              <a:gd name="connsiteX6" fmla="*/ 483870 w 3520776"/>
              <a:gd name="connsiteY6" fmla="*/ 392430 h 1543666"/>
              <a:gd name="connsiteX7" fmla="*/ 617220 w 3520776"/>
              <a:gd name="connsiteY7" fmla="*/ 434340 h 1543666"/>
              <a:gd name="connsiteX8" fmla="*/ 792480 w 3520776"/>
              <a:gd name="connsiteY8" fmla="*/ 483870 h 1543666"/>
              <a:gd name="connsiteX9" fmla="*/ 963930 w 3520776"/>
              <a:gd name="connsiteY9" fmla="*/ 510540 h 1543666"/>
              <a:gd name="connsiteX10" fmla="*/ 1104900 w 3520776"/>
              <a:gd name="connsiteY10" fmla="*/ 518160 h 1543666"/>
              <a:gd name="connsiteX11" fmla="*/ 1219200 w 3520776"/>
              <a:gd name="connsiteY11" fmla="*/ 514350 h 1543666"/>
              <a:gd name="connsiteX12" fmla="*/ 1306830 w 3520776"/>
              <a:gd name="connsiteY12" fmla="*/ 510540 h 1543666"/>
              <a:gd name="connsiteX13" fmla="*/ 1390650 w 3520776"/>
              <a:gd name="connsiteY13" fmla="*/ 510540 h 1543666"/>
              <a:gd name="connsiteX14" fmla="*/ 1489710 w 3520776"/>
              <a:gd name="connsiteY14" fmla="*/ 495300 h 1543666"/>
              <a:gd name="connsiteX15" fmla="*/ 1581150 w 3520776"/>
              <a:gd name="connsiteY15" fmla="*/ 480060 h 1543666"/>
              <a:gd name="connsiteX16" fmla="*/ 1703070 w 3520776"/>
              <a:gd name="connsiteY16" fmla="*/ 461010 h 1543666"/>
              <a:gd name="connsiteX17" fmla="*/ 1828800 w 3520776"/>
              <a:gd name="connsiteY17" fmla="*/ 426720 h 1543666"/>
              <a:gd name="connsiteX18" fmla="*/ 1927860 w 3520776"/>
              <a:gd name="connsiteY18" fmla="*/ 400050 h 1543666"/>
              <a:gd name="connsiteX19" fmla="*/ 2023110 w 3520776"/>
              <a:gd name="connsiteY19" fmla="*/ 369570 h 1543666"/>
              <a:gd name="connsiteX20" fmla="*/ 2110740 w 3520776"/>
              <a:gd name="connsiteY20" fmla="*/ 346710 h 1543666"/>
              <a:gd name="connsiteX21" fmla="*/ 2232660 w 3520776"/>
              <a:gd name="connsiteY21" fmla="*/ 320040 h 1543666"/>
              <a:gd name="connsiteX22" fmla="*/ 2346960 w 3520776"/>
              <a:gd name="connsiteY22" fmla="*/ 320040 h 1543666"/>
              <a:gd name="connsiteX23" fmla="*/ 2472690 w 3520776"/>
              <a:gd name="connsiteY23" fmla="*/ 335280 h 1543666"/>
              <a:gd name="connsiteX24" fmla="*/ 2590800 w 3520776"/>
              <a:gd name="connsiteY24" fmla="*/ 358140 h 1543666"/>
              <a:gd name="connsiteX25" fmla="*/ 2708910 w 3520776"/>
              <a:gd name="connsiteY25" fmla="*/ 400050 h 1543666"/>
              <a:gd name="connsiteX26" fmla="*/ 2819400 w 3520776"/>
              <a:gd name="connsiteY26" fmla="*/ 449580 h 1543666"/>
              <a:gd name="connsiteX27" fmla="*/ 2937510 w 3520776"/>
              <a:gd name="connsiteY27" fmla="*/ 499110 h 1543666"/>
              <a:gd name="connsiteX28" fmla="*/ 3048000 w 3520776"/>
              <a:gd name="connsiteY28" fmla="*/ 556260 h 1543666"/>
              <a:gd name="connsiteX29" fmla="*/ 3131820 w 3520776"/>
              <a:gd name="connsiteY29" fmla="*/ 613410 h 1543666"/>
              <a:gd name="connsiteX30" fmla="*/ 3211830 w 3520776"/>
              <a:gd name="connsiteY30" fmla="*/ 674370 h 1543666"/>
              <a:gd name="connsiteX31" fmla="*/ 3272790 w 3520776"/>
              <a:gd name="connsiteY31" fmla="*/ 727710 h 1543666"/>
              <a:gd name="connsiteX32" fmla="*/ 3333750 w 3520776"/>
              <a:gd name="connsiteY32" fmla="*/ 796290 h 1543666"/>
              <a:gd name="connsiteX33" fmla="*/ 3390900 w 3520776"/>
              <a:gd name="connsiteY33" fmla="*/ 887730 h 1543666"/>
              <a:gd name="connsiteX34" fmla="*/ 3421380 w 3520776"/>
              <a:gd name="connsiteY34" fmla="*/ 960120 h 1543666"/>
              <a:gd name="connsiteX35" fmla="*/ 3455670 w 3520776"/>
              <a:gd name="connsiteY35" fmla="*/ 1108710 h 1543666"/>
              <a:gd name="connsiteX36" fmla="*/ 3474720 w 3520776"/>
              <a:gd name="connsiteY36" fmla="*/ 1215390 h 1543666"/>
              <a:gd name="connsiteX37" fmla="*/ 3497580 w 3520776"/>
              <a:gd name="connsiteY37" fmla="*/ 1310640 h 1543666"/>
              <a:gd name="connsiteX38" fmla="*/ 3516630 w 3520776"/>
              <a:gd name="connsiteY38" fmla="*/ 1402080 h 1543666"/>
              <a:gd name="connsiteX39" fmla="*/ 3520440 w 3520776"/>
              <a:gd name="connsiteY39" fmla="*/ 1470660 h 1543666"/>
              <a:gd name="connsiteX40" fmla="*/ 3512820 w 3520776"/>
              <a:gd name="connsiteY40" fmla="*/ 1520190 h 1543666"/>
              <a:gd name="connsiteX41" fmla="*/ 3451860 w 3520776"/>
              <a:gd name="connsiteY41" fmla="*/ 1543050 h 1543666"/>
              <a:gd name="connsiteX42" fmla="*/ 3379470 w 3520776"/>
              <a:gd name="connsiteY42" fmla="*/ 1531620 h 1543666"/>
              <a:gd name="connsiteX43" fmla="*/ 3307080 w 3520776"/>
              <a:gd name="connsiteY43" fmla="*/ 1466850 h 1543666"/>
              <a:gd name="connsiteX44" fmla="*/ 3253740 w 3520776"/>
              <a:gd name="connsiteY44" fmla="*/ 1409700 h 1543666"/>
              <a:gd name="connsiteX45" fmla="*/ 3215640 w 3520776"/>
              <a:gd name="connsiteY45" fmla="*/ 1360170 h 1543666"/>
              <a:gd name="connsiteX46" fmla="*/ 3173730 w 3520776"/>
              <a:gd name="connsiteY46" fmla="*/ 1299210 h 1543666"/>
              <a:gd name="connsiteX47" fmla="*/ 3139440 w 3520776"/>
              <a:gd name="connsiteY47" fmla="*/ 1238250 h 1543666"/>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14350 h 1543853"/>
              <a:gd name="connsiteX12" fmla="*/ 1306830 w 3520440"/>
              <a:gd name="connsiteY12" fmla="*/ 51054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2690 w 3520440"/>
              <a:gd name="connsiteY23" fmla="*/ 335280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14350 h 1543853"/>
              <a:gd name="connsiteX12" fmla="*/ 1306830 w 3520440"/>
              <a:gd name="connsiteY12" fmla="*/ 51054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2690 w 3520440"/>
              <a:gd name="connsiteY23" fmla="*/ 335280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14350 h 1543853"/>
              <a:gd name="connsiteX12" fmla="*/ 1306830 w 3520440"/>
              <a:gd name="connsiteY12" fmla="*/ 51054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2690 w 3520440"/>
              <a:gd name="connsiteY23" fmla="*/ 335280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14350 h 1543853"/>
              <a:gd name="connsiteX12" fmla="*/ 1299210 w 3520440"/>
              <a:gd name="connsiteY12" fmla="*/ 51816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2690 w 3520440"/>
              <a:gd name="connsiteY23" fmla="*/ 335280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21494 h 1543853"/>
              <a:gd name="connsiteX12" fmla="*/ 1299210 w 3520440"/>
              <a:gd name="connsiteY12" fmla="*/ 51816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2690 w 3520440"/>
              <a:gd name="connsiteY23" fmla="*/ 335280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21494 h 1543853"/>
              <a:gd name="connsiteX12" fmla="*/ 1308735 w 3520440"/>
              <a:gd name="connsiteY12" fmla="*/ 51816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2690 w 3520440"/>
              <a:gd name="connsiteY23" fmla="*/ 335280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21494 h 1543853"/>
              <a:gd name="connsiteX12" fmla="*/ 1308735 w 3520440"/>
              <a:gd name="connsiteY12" fmla="*/ 51816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2690 w 3520440"/>
              <a:gd name="connsiteY23" fmla="*/ 335280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21494 h 1543853"/>
              <a:gd name="connsiteX12" fmla="*/ 1308735 w 3520440"/>
              <a:gd name="connsiteY12" fmla="*/ 51816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2690 w 3520440"/>
              <a:gd name="connsiteY23" fmla="*/ 335280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21494 h 1543853"/>
              <a:gd name="connsiteX12" fmla="*/ 1308735 w 3520440"/>
              <a:gd name="connsiteY12" fmla="*/ 51816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2690 w 3520440"/>
              <a:gd name="connsiteY23" fmla="*/ 335280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21494 h 1543853"/>
              <a:gd name="connsiteX12" fmla="*/ 1308735 w 3520440"/>
              <a:gd name="connsiteY12" fmla="*/ 51816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2690 w 3520440"/>
              <a:gd name="connsiteY23" fmla="*/ 335280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21494 h 1543853"/>
              <a:gd name="connsiteX12" fmla="*/ 1308735 w 3520440"/>
              <a:gd name="connsiteY12" fmla="*/ 51816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5071 w 3520440"/>
              <a:gd name="connsiteY23" fmla="*/ 328136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21494 h 1543853"/>
              <a:gd name="connsiteX12" fmla="*/ 1308735 w 3520440"/>
              <a:gd name="connsiteY12" fmla="*/ 51816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9341 w 3520440"/>
              <a:gd name="connsiteY22" fmla="*/ 315278 h 1543853"/>
              <a:gd name="connsiteX23" fmla="*/ 2475071 w 3520440"/>
              <a:gd name="connsiteY23" fmla="*/ 328136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1680 w 3509010"/>
              <a:gd name="connsiteY18" fmla="*/ 300990 h 1475273"/>
              <a:gd name="connsiteX19" fmla="*/ 2099310 w 3509010"/>
              <a:gd name="connsiteY19" fmla="*/ 27813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30530 h 1475273"/>
              <a:gd name="connsiteX27" fmla="*/ 3036570 w 3509010"/>
              <a:gd name="connsiteY27" fmla="*/ 487680 h 1475273"/>
              <a:gd name="connsiteX28" fmla="*/ 3120390 w 3509010"/>
              <a:gd name="connsiteY28" fmla="*/ 54483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19150 h 1475273"/>
              <a:gd name="connsiteX33" fmla="*/ 3409950 w 3509010"/>
              <a:gd name="connsiteY33" fmla="*/ 89154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1680 w 3509010"/>
              <a:gd name="connsiteY18" fmla="*/ 300990 h 1475273"/>
              <a:gd name="connsiteX19" fmla="*/ 2099310 w 3509010"/>
              <a:gd name="connsiteY19" fmla="*/ 27813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36570 w 3509010"/>
              <a:gd name="connsiteY27" fmla="*/ 487680 h 1475273"/>
              <a:gd name="connsiteX28" fmla="*/ 3120390 w 3509010"/>
              <a:gd name="connsiteY28" fmla="*/ 54483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19150 h 1475273"/>
              <a:gd name="connsiteX33" fmla="*/ 3409950 w 3509010"/>
              <a:gd name="connsiteY33" fmla="*/ 89154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1680 w 3509010"/>
              <a:gd name="connsiteY18" fmla="*/ 300990 h 1475273"/>
              <a:gd name="connsiteX19" fmla="*/ 2099310 w 3509010"/>
              <a:gd name="connsiteY19" fmla="*/ 27813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39745 w 3509010"/>
              <a:gd name="connsiteY27" fmla="*/ 500380 h 1475273"/>
              <a:gd name="connsiteX28" fmla="*/ 3120390 w 3509010"/>
              <a:gd name="connsiteY28" fmla="*/ 54483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19150 h 1475273"/>
              <a:gd name="connsiteX33" fmla="*/ 3409950 w 3509010"/>
              <a:gd name="connsiteY33" fmla="*/ 89154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1680 w 3509010"/>
              <a:gd name="connsiteY18" fmla="*/ 300990 h 1475273"/>
              <a:gd name="connsiteX19" fmla="*/ 2099310 w 3509010"/>
              <a:gd name="connsiteY19" fmla="*/ 27813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39745 w 3509010"/>
              <a:gd name="connsiteY27" fmla="*/ 50038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19150 h 1475273"/>
              <a:gd name="connsiteX33" fmla="*/ 3409950 w 3509010"/>
              <a:gd name="connsiteY33" fmla="*/ 89154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1680 w 3509010"/>
              <a:gd name="connsiteY18" fmla="*/ 300990 h 1475273"/>
              <a:gd name="connsiteX19" fmla="*/ 2099310 w 3509010"/>
              <a:gd name="connsiteY19" fmla="*/ 27813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30220 w 3509010"/>
              <a:gd name="connsiteY27" fmla="*/ 51308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19150 h 1475273"/>
              <a:gd name="connsiteX33" fmla="*/ 3409950 w 3509010"/>
              <a:gd name="connsiteY33" fmla="*/ 89154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1680 w 3509010"/>
              <a:gd name="connsiteY18" fmla="*/ 300990 h 1475273"/>
              <a:gd name="connsiteX19" fmla="*/ 2099310 w 3509010"/>
              <a:gd name="connsiteY19" fmla="*/ 27813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19150 h 1475273"/>
              <a:gd name="connsiteX33" fmla="*/ 3409950 w 3509010"/>
              <a:gd name="connsiteY33" fmla="*/ 89154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1680 w 3509010"/>
              <a:gd name="connsiteY18" fmla="*/ 300990 h 1475273"/>
              <a:gd name="connsiteX19" fmla="*/ 2099310 w 3509010"/>
              <a:gd name="connsiteY19" fmla="*/ 27813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9950 w 3509010"/>
              <a:gd name="connsiteY33" fmla="*/ 89154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1680 w 3509010"/>
              <a:gd name="connsiteY18" fmla="*/ 300990 h 1475273"/>
              <a:gd name="connsiteX19" fmla="*/ 2099310 w 3509010"/>
              <a:gd name="connsiteY19" fmla="*/ 27813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08505 w 3509010"/>
              <a:gd name="connsiteY18" fmla="*/ 294640 h 1475273"/>
              <a:gd name="connsiteX19" fmla="*/ 2099310 w 3509010"/>
              <a:gd name="connsiteY19" fmla="*/ 27813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0850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0850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05330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05330 w 3509010"/>
              <a:gd name="connsiteY18" fmla="*/ 304165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05330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74797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74797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1457 w 3509010"/>
              <a:gd name="connsiteY3" fmla="*/ 209073 h 1475273"/>
              <a:gd name="connsiteX4" fmla="*/ 335280 w 3509010"/>
              <a:gd name="connsiteY4" fmla="*/ 274797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9073 h 1475273"/>
              <a:gd name="connsiteX4" fmla="*/ 335280 w 3509010"/>
              <a:gd name="connsiteY4" fmla="*/ 274797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9073 h 1475273"/>
              <a:gd name="connsiteX4" fmla="*/ 335280 w 3509010"/>
              <a:gd name="connsiteY4" fmla="*/ 274797 h 1475273"/>
              <a:gd name="connsiteX5" fmla="*/ 472440 w 3509010"/>
              <a:gd name="connsiteY5" fmla="*/ 330994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9073 h 1475273"/>
              <a:gd name="connsiteX4" fmla="*/ 335280 w 3509010"/>
              <a:gd name="connsiteY4" fmla="*/ 274797 h 1475273"/>
              <a:gd name="connsiteX5" fmla="*/ 472440 w 3509010"/>
              <a:gd name="connsiteY5" fmla="*/ 330994 h 1475273"/>
              <a:gd name="connsiteX6" fmla="*/ 598646 w 3509010"/>
              <a:gd name="connsiteY6" fmla="*/ 372904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9073 h 1475273"/>
              <a:gd name="connsiteX4" fmla="*/ 335280 w 3509010"/>
              <a:gd name="connsiteY4" fmla="*/ 274797 h 1475273"/>
              <a:gd name="connsiteX5" fmla="*/ 472440 w 3509010"/>
              <a:gd name="connsiteY5" fmla="*/ 330994 h 1475273"/>
              <a:gd name="connsiteX6" fmla="*/ 598646 w 3509010"/>
              <a:gd name="connsiteY6" fmla="*/ 372904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9073 h 1475273"/>
              <a:gd name="connsiteX4" fmla="*/ 335280 w 3509010"/>
              <a:gd name="connsiteY4" fmla="*/ 274797 h 1475273"/>
              <a:gd name="connsiteX5" fmla="*/ 470059 w 3509010"/>
              <a:gd name="connsiteY5" fmla="*/ 330994 h 1475273"/>
              <a:gd name="connsiteX6" fmla="*/ 598646 w 3509010"/>
              <a:gd name="connsiteY6" fmla="*/ 372904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9073 h 1475273"/>
              <a:gd name="connsiteX4" fmla="*/ 335280 w 3509010"/>
              <a:gd name="connsiteY4" fmla="*/ 274797 h 1475273"/>
              <a:gd name="connsiteX5" fmla="*/ 470059 w 3509010"/>
              <a:gd name="connsiteY5" fmla="*/ 335756 h 1475273"/>
              <a:gd name="connsiteX6" fmla="*/ 598646 w 3509010"/>
              <a:gd name="connsiteY6" fmla="*/ 372904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16297"/>
              <a:gd name="connsiteY0" fmla="*/ 0 h 1475273"/>
              <a:gd name="connsiteX1" fmla="*/ 64770 w 3516297"/>
              <a:gd name="connsiteY1" fmla="*/ 83820 h 1475273"/>
              <a:gd name="connsiteX2" fmla="*/ 129540 w 3516297"/>
              <a:gd name="connsiteY2" fmla="*/ 140970 h 1475273"/>
              <a:gd name="connsiteX3" fmla="*/ 228600 w 3516297"/>
              <a:gd name="connsiteY3" fmla="*/ 209073 h 1475273"/>
              <a:gd name="connsiteX4" fmla="*/ 335280 w 3516297"/>
              <a:gd name="connsiteY4" fmla="*/ 274797 h 1475273"/>
              <a:gd name="connsiteX5" fmla="*/ 470059 w 3516297"/>
              <a:gd name="connsiteY5" fmla="*/ 335756 h 1475273"/>
              <a:gd name="connsiteX6" fmla="*/ 598646 w 3516297"/>
              <a:gd name="connsiteY6" fmla="*/ 372904 h 1475273"/>
              <a:gd name="connsiteX7" fmla="*/ 781050 w 3516297"/>
              <a:gd name="connsiteY7" fmla="*/ 415290 h 1475273"/>
              <a:gd name="connsiteX8" fmla="*/ 952500 w 3516297"/>
              <a:gd name="connsiteY8" fmla="*/ 441960 h 1475273"/>
              <a:gd name="connsiteX9" fmla="*/ 1093470 w 3516297"/>
              <a:gd name="connsiteY9" fmla="*/ 449580 h 1475273"/>
              <a:gd name="connsiteX10" fmla="*/ 1207770 w 3516297"/>
              <a:gd name="connsiteY10" fmla="*/ 452914 h 1475273"/>
              <a:gd name="connsiteX11" fmla="*/ 1297305 w 3516297"/>
              <a:gd name="connsiteY11" fmla="*/ 449580 h 1475273"/>
              <a:gd name="connsiteX12" fmla="*/ 1379220 w 3516297"/>
              <a:gd name="connsiteY12" fmla="*/ 441960 h 1475273"/>
              <a:gd name="connsiteX13" fmla="*/ 1478280 w 3516297"/>
              <a:gd name="connsiteY13" fmla="*/ 426720 h 1475273"/>
              <a:gd name="connsiteX14" fmla="*/ 1569720 w 3516297"/>
              <a:gd name="connsiteY14" fmla="*/ 411480 h 1475273"/>
              <a:gd name="connsiteX15" fmla="*/ 1691640 w 3516297"/>
              <a:gd name="connsiteY15" fmla="*/ 392430 h 1475273"/>
              <a:gd name="connsiteX16" fmla="*/ 1817370 w 3516297"/>
              <a:gd name="connsiteY16" fmla="*/ 358140 h 1475273"/>
              <a:gd name="connsiteX17" fmla="*/ 1916430 w 3516297"/>
              <a:gd name="connsiteY17" fmla="*/ 331470 h 1475273"/>
              <a:gd name="connsiteX18" fmla="*/ 2014855 w 3516297"/>
              <a:gd name="connsiteY18" fmla="*/ 294640 h 1475273"/>
              <a:gd name="connsiteX19" fmla="*/ 2108835 w 3516297"/>
              <a:gd name="connsiteY19" fmla="*/ 271780 h 1475273"/>
              <a:gd name="connsiteX20" fmla="*/ 2221230 w 3516297"/>
              <a:gd name="connsiteY20" fmla="*/ 251460 h 1475273"/>
              <a:gd name="connsiteX21" fmla="*/ 2337911 w 3516297"/>
              <a:gd name="connsiteY21" fmla="*/ 246698 h 1475273"/>
              <a:gd name="connsiteX22" fmla="*/ 2463641 w 3516297"/>
              <a:gd name="connsiteY22" fmla="*/ 259556 h 1475273"/>
              <a:gd name="connsiteX23" fmla="*/ 2579370 w 3516297"/>
              <a:gd name="connsiteY23" fmla="*/ 289560 h 1475273"/>
              <a:gd name="connsiteX24" fmla="*/ 2697480 w 3516297"/>
              <a:gd name="connsiteY24" fmla="*/ 331470 h 1475273"/>
              <a:gd name="connsiteX25" fmla="*/ 2807970 w 3516297"/>
              <a:gd name="connsiteY25" fmla="*/ 381000 h 1475273"/>
              <a:gd name="connsiteX26" fmla="*/ 2926080 w 3516297"/>
              <a:gd name="connsiteY26" fmla="*/ 443230 h 1475273"/>
              <a:gd name="connsiteX27" fmla="*/ 3042920 w 3516297"/>
              <a:gd name="connsiteY27" fmla="*/ 506730 h 1475273"/>
              <a:gd name="connsiteX28" fmla="*/ 3114040 w 3516297"/>
              <a:gd name="connsiteY28" fmla="*/ 551180 h 1475273"/>
              <a:gd name="connsiteX29" fmla="*/ 3200400 w 3516297"/>
              <a:gd name="connsiteY29" fmla="*/ 605790 h 1475273"/>
              <a:gd name="connsiteX30" fmla="*/ 3261360 w 3516297"/>
              <a:gd name="connsiteY30" fmla="*/ 659130 h 1475273"/>
              <a:gd name="connsiteX31" fmla="*/ 3322320 w 3516297"/>
              <a:gd name="connsiteY31" fmla="*/ 727710 h 1475273"/>
              <a:gd name="connsiteX32" fmla="*/ 3379470 w 3516297"/>
              <a:gd name="connsiteY32" fmla="*/ 825500 h 1475273"/>
              <a:gd name="connsiteX33" fmla="*/ 3406775 w 3516297"/>
              <a:gd name="connsiteY33" fmla="*/ 897890 h 1475273"/>
              <a:gd name="connsiteX34" fmla="*/ 3444240 w 3516297"/>
              <a:gd name="connsiteY34" fmla="*/ 1040130 h 1475273"/>
              <a:gd name="connsiteX35" fmla="*/ 3463290 w 3516297"/>
              <a:gd name="connsiteY35" fmla="*/ 1146810 h 1475273"/>
              <a:gd name="connsiteX36" fmla="*/ 3486150 w 3516297"/>
              <a:gd name="connsiteY36" fmla="*/ 1242060 h 1475273"/>
              <a:gd name="connsiteX37" fmla="*/ 3516297 w 3516297"/>
              <a:gd name="connsiteY37" fmla="*/ 1350337 h 1475273"/>
              <a:gd name="connsiteX38" fmla="*/ 3509010 w 3516297"/>
              <a:gd name="connsiteY38" fmla="*/ 1402080 h 1475273"/>
              <a:gd name="connsiteX39" fmla="*/ 3482340 w 3516297"/>
              <a:gd name="connsiteY39" fmla="*/ 1451610 h 1475273"/>
              <a:gd name="connsiteX40" fmla="*/ 3440430 w 3516297"/>
              <a:gd name="connsiteY40" fmla="*/ 1474470 h 1475273"/>
              <a:gd name="connsiteX41" fmla="*/ 3368040 w 3516297"/>
              <a:gd name="connsiteY41" fmla="*/ 1463040 h 1475273"/>
              <a:gd name="connsiteX42" fmla="*/ 3295650 w 3516297"/>
              <a:gd name="connsiteY42" fmla="*/ 1398270 h 1475273"/>
              <a:gd name="connsiteX43" fmla="*/ 3242310 w 3516297"/>
              <a:gd name="connsiteY43" fmla="*/ 1341120 h 1475273"/>
              <a:gd name="connsiteX44" fmla="*/ 3204210 w 3516297"/>
              <a:gd name="connsiteY44" fmla="*/ 1291590 h 1475273"/>
              <a:gd name="connsiteX45" fmla="*/ 3162300 w 3516297"/>
              <a:gd name="connsiteY45" fmla="*/ 1230630 h 1475273"/>
              <a:gd name="connsiteX46" fmla="*/ 3128010 w 3516297"/>
              <a:gd name="connsiteY46" fmla="*/ 1169670 h 1475273"/>
              <a:gd name="connsiteX0" fmla="*/ 0 w 3536745"/>
              <a:gd name="connsiteY0" fmla="*/ 0 h 1475273"/>
              <a:gd name="connsiteX1" fmla="*/ 64770 w 3536745"/>
              <a:gd name="connsiteY1" fmla="*/ 83820 h 1475273"/>
              <a:gd name="connsiteX2" fmla="*/ 129540 w 3536745"/>
              <a:gd name="connsiteY2" fmla="*/ 140970 h 1475273"/>
              <a:gd name="connsiteX3" fmla="*/ 228600 w 3536745"/>
              <a:gd name="connsiteY3" fmla="*/ 209073 h 1475273"/>
              <a:gd name="connsiteX4" fmla="*/ 335280 w 3536745"/>
              <a:gd name="connsiteY4" fmla="*/ 274797 h 1475273"/>
              <a:gd name="connsiteX5" fmla="*/ 470059 w 3536745"/>
              <a:gd name="connsiteY5" fmla="*/ 335756 h 1475273"/>
              <a:gd name="connsiteX6" fmla="*/ 598646 w 3536745"/>
              <a:gd name="connsiteY6" fmla="*/ 372904 h 1475273"/>
              <a:gd name="connsiteX7" fmla="*/ 781050 w 3536745"/>
              <a:gd name="connsiteY7" fmla="*/ 415290 h 1475273"/>
              <a:gd name="connsiteX8" fmla="*/ 952500 w 3536745"/>
              <a:gd name="connsiteY8" fmla="*/ 441960 h 1475273"/>
              <a:gd name="connsiteX9" fmla="*/ 1093470 w 3536745"/>
              <a:gd name="connsiteY9" fmla="*/ 449580 h 1475273"/>
              <a:gd name="connsiteX10" fmla="*/ 1207770 w 3536745"/>
              <a:gd name="connsiteY10" fmla="*/ 452914 h 1475273"/>
              <a:gd name="connsiteX11" fmla="*/ 1297305 w 3536745"/>
              <a:gd name="connsiteY11" fmla="*/ 449580 h 1475273"/>
              <a:gd name="connsiteX12" fmla="*/ 1379220 w 3536745"/>
              <a:gd name="connsiteY12" fmla="*/ 441960 h 1475273"/>
              <a:gd name="connsiteX13" fmla="*/ 1478280 w 3536745"/>
              <a:gd name="connsiteY13" fmla="*/ 426720 h 1475273"/>
              <a:gd name="connsiteX14" fmla="*/ 1569720 w 3536745"/>
              <a:gd name="connsiteY14" fmla="*/ 411480 h 1475273"/>
              <a:gd name="connsiteX15" fmla="*/ 1691640 w 3536745"/>
              <a:gd name="connsiteY15" fmla="*/ 392430 h 1475273"/>
              <a:gd name="connsiteX16" fmla="*/ 1817370 w 3536745"/>
              <a:gd name="connsiteY16" fmla="*/ 358140 h 1475273"/>
              <a:gd name="connsiteX17" fmla="*/ 1916430 w 3536745"/>
              <a:gd name="connsiteY17" fmla="*/ 331470 h 1475273"/>
              <a:gd name="connsiteX18" fmla="*/ 2014855 w 3536745"/>
              <a:gd name="connsiteY18" fmla="*/ 294640 h 1475273"/>
              <a:gd name="connsiteX19" fmla="*/ 2108835 w 3536745"/>
              <a:gd name="connsiteY19" fmla="*/ 271780 h 1475273"/>
              <a:gd name="connsiteX20" fmla="*/ 2221230 w 3536745"/>
              <a:gd name="connsiteY20" fmla="*/ 251460 h 1475273"/>
              <a:gd name="connsiteX21" fmla="*/ 2337911 w 3536745"/>
              <a:gd name="connsiteY21" fmla="*/ 246698 h 1475273"/>
              <a:gd name="connsiteX22" fmla="*/ 2463641 w 3536745"/>
              <a:gd name="connsiteY22" fmla="*/ 259556 h 1475273"/>
              <a:gd name="connsiteX23" fmla="*/ 2579370 w 3536745"/>
              <a:gd name="connsiteY23" fmla="*/ 289560 h 1475273"/>
              <a:gd name="connsiteX24" fmla="*/ 2697480 w 3536745"/>
              <a:gd name="connsiteY24" fmla="*/ 331470 h 1475273"/>
              <a:gd name="connsiteX25" fmla="*/ 2807970 w 3536745"/>
              <a:gd name="connsiteY25" fmla="*/ 381000 h 1475273"/>
              <a:gd name="connsiteX26" fmla="*/ 2926080 w 3536745"/>
              <a:gd name="connsiteY26" fmla="*/ 443230 h 1475273"/>
              <a:gd name="connsiteX27" fmla="*/ 3042920 w 3536745"/>
              <a:gd name="connsiteY27" fmla="*/ 506730 h 1475273"/>
              <a:gd name="connsiteX28" fmla="*/ 3114040 w 3536745"/>
              <a:gd name="connsiteY28" fmla="*/ 551180 h 1475273"/>
              <a:gd name="connsiteX29" fmla="*/ 3200400 w 3536745"/>
              <a:gd name="connsiteY29" fmla="*/ 605790 h 1475273"/>
              <a:gd name="connsiteX30" fmla="*/ 3261360 w 3536745"/>
              <a:gd name="connsiteY30" fmla="*/ 659130 h 1475273"/>
              <a:gd name="connsiteX31" fmla="*/ 3322320 w 3536745"/>
              <a:gd name="connsiteY31" fmla="*/ 727710 h 1475273"/>
              <a:gd name="connsiteX32" fmla="*/ 3379470 w 3536745"/>
              <a:gd name="connsiteY32" fmla="*/ 825500 h 1475273"/>
              <a:gd name="connsiteX33" fmla="*/ 3406775 w 3536745"/>
              <a:gd name="connsiteY33" fmla="*/ 897890 h 1475273"/>
              <a:gd name="connsiteX34" fmla="*/ 3444240 w 3536745"/>
              <a:gd name="connsiteY34" fmla="*/ 1040130 h 1475273"/>
              <a:gd name="connsiteX35" fmla="*/ 3463290 w 3536745"/>
              <a:gd name="connsiteY35" fmla="*/ 1146810 h 1475273"/>
              <a:gd name="connsiteX36" fmla="*/ 3486150 w 3536745"/>
              <a:gd name="connsiteY36" fmla="*/ 1242060 h 1475273"/>
              <a:gd name="connsiteX37" fmla="*/ 3516297 w 3536745"/>
              <a:gd name="connsiteY37" fmla="*/ 1350337 h 1475273"/>
              <a:gd name="connsiteX38" fmla="*/ 3536745 w 3536745"/>
              <a:gd name="connsiteY38" fmla="*/ 1418917 h 1475273"/>
              <a:gd name="connsiteX39" fmla="*/ 3482340 w 3536745"/>
              <a:gd name="connsiteY39" fmla="*/ 1451610 h 1475273"/>
              <a:gd name="connsiteX40" fmla="*/ 3440430 w 3536745"/>
              <a:gd name="connsiteY40" fmla="*/ 1474470 h 1475273"/>
              <a:gd name="connsiteX41" fmla="*/ 3368040 w 3536745"/>
              <a:gd name="connsiteY41" fmla="*/ 1463040 h 1475273"/>
              <a:gd name="connsiteX42" fmla="*/ 3295650 w 3536745"/>
              <a:gd name="connsiteY42" fmla="*/ 1398270 h 1475273"/>
              <a:gd name="connsiteX43" fmla="*/ 3242310 w 3536745"/>
              <a:gd name="connsiteY43" fmla="*/ 1341120 h 1475273"/>
              <a:gd name="connsiteX44" fmla="*/ 3204210 w 3536745"/>
              <a:gd name="connsiteY44" fmla="*/ 1291590 h 1475273"/>
              <a:gd name="connsiteX45" fmla="*/ 3162300 w 3536745"/>
              <a:gd name="connsiteY45" fmla="*/ 1230630 h 1475273"/>
              <a:gd name="connsiteX46" fmla="*/ 3128010 w 3536745"/>
              <a:gd name="connsiteY46" fmla="*/ 1169670 h 1475273"/>
              <a:gd name="connsiteX0" fmla="*/ 0 w 3536745"/>
              <a:gd name="connsiteY0" fmla="*/ 0 h 1488082"/>
              <a:gd name="connsiteX1" fmla="*/ 64770 w 3536745"/>
              <a:gd name="connsiteY1" fmla="*/ 83820 h 1488082"/>
              <a:gd name="connsiteX2" fmla="*/ 129540 w 3536745"/>
              <a:gd name="connsiteY2" fmla="*/ 140970 h 1488082"/>
              <a:gd name="connsiteX3" fmla="*/ 228600 w 3536745"/>
              <a:gd name="connsiteY3" fmla="*/ 209073 h 1488082"/>
              <a:gd name="connsiteX4" fmla="*/ 335280 w 3536745"/>
              <a:gd name="connsiteY4" fmla="*/ 274797 h 1488082"/>
              <a:gd name="connsiteX5" fmla="*/ 470059 w 3536745"/>
              <a:gd name="connsiteY5" fmla="*/ 335756 h 1488082"/>
              <a:gd name="connsiteX6" fmla="*/ 598646 w 3536745"/>
              <a:gd name="connsiteY6" fmla="*/ 372904 h 1488082"/>
              <a:gd name="connsiteX7" fmla="*/ 781050 w 3536745"/>
              <a:gd name="connsiteY7" fmla="*/ 415290 h 1488082"/>
              <a:gd name="connsiteX8" fmla="*/ 952500 w 3536745"/>
              <a:gd name="connsiteY8" fmla="*/ 441960 h 1488082"/>
              <a:gd name="connsiteX9" fmla="*/ 1093470 w 3536745"/>
              <a:gd name="connsiteY9" fmla="*/ 449580 h 1488082"/>
              <a:gd name="connsiteX10" fmla="*/ 1207770 w 3536745"/>
              <a:gd name="connsiteY10" fmla="*/ 452914 h 1488082"/>
              <a:gd name="connsiteX11" fmla="*/ 1297305 w 3536745"/>
              <a:gd name="connsiteY11" fmla="*/ 449580 h 1488082"/>
              <a:gd name="connsiteX12" fmla="*/ 1379220 w 3536745"/>
              <a:gd name="connsiteY12" fmla="*/ 441960 h 1488082"/>
              <a:gd name="connsiteX13" fmla="*/ 1478280 w 3536745"/>
              <a:gd name="connsiteY13" fmla="*/ 426720 h 1488082"/>
              <a:gd name="connsiteX14" fmla="*/ 1569720 w 3536745"/>
              <a:gd name="connsiteY14" fmla="*/ 411480 h 1488082"/>
              <a:gd name="connsiteX15" fmla="*/ 1691640 w 3536745"/>
              <a:gd name="connsiteY15" fmla="*/ 392430 h 1488082"/>
              <a:gd name="connsiteX16" fmla="*/ 1817370 w 3536745"/>
              <a:gd name="connsiteY16" fmla="*/ 358140 h 1488082"/>
              <a:gd name="connsiteX17" fmla="*/ 1916430 w 3536745"/>
              <a:gd name="connsiteY17" fmla="*/ 331470 h 1488082"/>
              <a:gd name="connsiteX18" fmla="*/ 2014855 w 3536745"/>
              <a:gd name="connsiteY18" fmla="*/ 294640 h 1488082"/>
              <a:gd name="connsiteX19" fmla="*/ 2108835 w 3536745"/>
              <a:gd name="connsiteY19" fmla="*/ 271780 h 1488082"/>
              <a:gd name="connsiteX20" fmla="*/ 2221230 w 3536745"/>
              <a:gd name="connsiteY20" fmla="*/ 251460 h 1488082"/>
              <a:gd name="connsiteX21" fmla="*/ 2337911 w 3536745"/>
              <a:gd name="connsiteY21" fmla="*/ 246698 h 1488082"/>
              <a:gd name="connsiteX22" fmla="*/ 2463641 w 3536745"/>
              <a:gd name="connsiteY22" fmla="*/ 259556 h 1488082"/>
              <a:gd name="connsiteX23" fmla="*/ 2579370 w 3536745"/>
              <a:gd name="connsiteY23" fmla="*/ 289560 h 1488082"/>
              <a:gd name="connsiteX24" fmla="*/ 2697480 w 3536745"/>
              <a:gd name="connsiteY24" fmla="*/ 331470 h 1488082"/>
              <a:gd name="connsiteX25" fmla="*/ 2807970 w 3536745"/>
              <a:gd name="connsiteY25" fmla="*/ 381000 h 1488082"/>
              <a:gd name="connsiteX26" fmla="*/ 2926080 w 3536745"/>
              <a:gd name="connsiteY26" fmla="*/ 443230 h 1488082"/>
              <a:gd name="connsiteX27" fmla="*/ 3042920 w 3536745"/>
              <a:gd name="connsiteY27" fmla="*/ 506730 h 1488082"/>
              <a:gd name="connsiteX28" fmla="*/ 3114040 w 3536745"/>
              <a:gd name="connsiteY28" fmla="*/ 551180 h 1488082"/>
              <a:gd name="connsiteX29" fmla="*/ 3200400 w 3536745"/>
              <a:gd name="connsiteY29" fmla="*/ 605790 h 1488082"/>
              <a:gd name="connsiteX30" fmla="*/ 3261360 w 3536745"/>
              <a:gd name="connsiteY30" fmla="*/ 659130 h 1488082"/>
              <a:gd name="connsiteX31" fmla="*/ 3322320 w 3536745"/>
              <a:gd name="connsiteY31" fmla="*/ 727710 h 1488082"/>
              <a:gd name="connsiteX32" fmla="*/ 3379470 w 3536745"/>
              <a:gd name="connsiteY32" fmla="*/ 825500 h 1488082"/>
              <a:gd name="connsiteX33" fmla="*/ 3406775 w 3536745"/>
              <a:gd name="connsiteY33" fmla="*/ 897890 h 1488082"/>
              <a:gd name="connsiteX34" fmla="*/ 3444240 w 3536745"/>
              <a:gd name="connsiteY34" fmla="*/ 1040130 h 1488082"/>
              <a:gd name="connsiteX35" fmla="*/ 3463290 w 3536745"/>
              <a:gd name="connsiteY35" fmla="*/ 1146810 h 1488082"/>
              <a:gd name="connsiteX36" fmla="*/ 3486150 w 3536745"/>
              <a:gd name="connsiteY36" fmla="*/ 1242060 h 1488082"/>
              <a:gd name="connsiteX37" fmla="*/ 3516297 w 3536745"/>
              <a:gd name="connsiteY37" fmla="*/ 1350337 h 1488082"/>
              <a:gd name="connsiteX38" fmla="*/ 3536745 w 3536745"/>
              <a:gd name="connsiteY38" fmla="*/ 1418917 h 1488082"/>
              <a:gd name="connsiteX39" fmla="*/ 3482340 w 3536745"/>
              <a:gd name="connsiteY39" fmla="*/ 1485282 h 1488082"/>
              <a:gd name="connsiteX40" fmla="*/ 3440430 w 3536745"/>
              <a:gd name="connsiteY40" fmla="*/ 1474470 h 1488082"/>
              <a:gd name="connsiteX41" fmla="*/ 3368040 w 3536745"/>
              <a:gd name="connsiteY41" fmla="*/ 1463040 h 1488082"/>
              <a:gd name="connsiteX42" fmla="*/ 3295650 w 3536745"/>
              <a:gd name="connsiteY42" fmla="*/ 1398270 h 1488082"/>
              <a:gd name="connsiteX43" fmla="*/ 3242310 w 3536745"/>
              <a:gd name="connsiteY43" fmla="*/ 1341120 h 1488082"/>
              <a:gd name="connsiteX44" fmla="*/ 3204210 w 3536745"/>
              <a:gd name="connsiteY44" fmla="*/ 1291590 h 1488082"/>
              <a:gd name="connsiteX45" fmla="*/ 3162300 w 3536745"/>
              <a:gd name="connsiteY45" fmla="*/ 1230630 h 1488082"/>
              <a:gd name="connsiteX46" fmla="*/ 3128010 w 3536745"/>
              <a:gd name="connsiteY46" fmla="*/ 1169670 h 1488082"/>
              <a:gd name="connsiteX0" fmla="*/ 0 w 3536745"/>
              <a:gd name="connsiteY0" fmla="*/ 0 h 1494292"/>
              <a:gd name="connsiteX1" fmla="*/ 64770 w 3536745"/>
              <a:gd name="connsiteY1" fmla="*/ 83820 h 1494292"/>
              <a:gd name="connsiteX2" fmla="*/ 129540 w 3536745"/>
              <a:gd name="connsiteY2" fmla="*/ 140970 h 1494292"/>
              <a:gd name="connsiteX3" fmla="*/ 228600 w 3536745"/>
              <a:gd name="connsiteY3" fmla="*/ 209073 h 1494292"/>
              <a:gd name="connsiteX4" fmla="*/ 335280 w 3536745"/>
              <a:gd name="connsiteY4" fmla="*/ 274797 h 1494292"/>
              <a:gd name="connsiteX5" fmla="*/ 470059 w 3536745"/>
              <a:gd name="connsiteY5" fmla="*/ 335756 h 1494292"/>
              <a:gd name="connsiteX6" fmla="*/ 598646 w 3536745"/>
              <a:gd name="connsiteY6" fmla="*/ 372904 h 1494292"/>
              <a:gd name="connsiteX7" fmla="*/ 781050 w 3536745"/>
              <a:gd name="connsiteY7" fmla="*/ 415290 h 1494292"/>
              <a:gd name="connsiteX8" fmla="*/ 952500 w 3536745"/>
              <a:gd name="connsiteY8" fmla="*/ 441960 h 1494292"/>
              <a:gd name="connsiteX9" fmla="*/ 1093470 w 3536745"/>
              <a:gd name="connsiteY9" fmla="*/ 449580 h 1494292"/>
              <a:gd name="connsiteX10" fmla="*/ 1207770 w 3536745"/>
              <a:gd name="connsiteY10" fmla="*/ 452914 h 1494292"/>
              <a:gd name="connsiteX11" fmla="*/ 1297305 w 3536745"/>
              <a:gd name="connsiteY11" fmla="*/ 449580 h 1494292"/>
              <a:gd name="connsiteX12" fmla="*/ 1379220 w 3536745"/>
              <a:gd name="connsiteY12" fmla="*/ 441960 h 1494292"/>
              <a:gd name="connsiteX13" fmla="*/ 1478280 w 3536745"/>
              <a:gd name="connsiteY13" fmla="*/ 426720 h 1494292"/>
              <a:gd name="connsiteX14" fmla="*/ 1569720 w 3536745"/>
              <a:gd name="connsiteY14" fmla="*/ 411480 h 1494292"/>
              <a:gd name="connsiteX15" fmla="*/ 1691640 w 3536745"/>
              <a:gd name="connsiteY15" fmla="*/ 392430 h 1494292"/>
              <a:gd name="connsiteX16" fmla="*/ 1817370 w 3536745"/>
              <a:gd name="connsiteY16" fmla="*/ 358140 h 1494292"/>
              <a:gd name="connsiteX17" fmla="*/ 1916430 w 3536745"/>
              <a:gd name="connsiteY17" fmla="*/ 331470 h 1494292"/>
              <a:gd name="connsiteX18" fmla="*/ 2014855 w 3536745"/>
              <a:gd name="connsiteY18" fmla="*/ 294640 h 1494292"/>
              <a:gd name="connsiteX19" fmla="*/ 2108835 w 3536745"/>
              <a:gd name="connsiteY19" fmla="*/ 271780 h 1494292"/>
              <a:gd name="connsiteX20" fmla="*/ 2221230 w 3536745"/>
              <a:gd name="connsiteY20" fmla="*/ 251460 h 1494292"/>
              <a:gd name="connsiteX21" fmla="*/ 2337911 w 3536745"/>
              <a:gd name="connsiteY21" fmla="*/ 246698 h 1494292"/>
              <a:gd name="connsiteX22" fmla="*/ 2463641 w 3536745"/>
              <a:gd name="connsiteY22" fmla="*/ 259556 h 1494292"/>
              <a:gd name="connsiteX23" fmla="*/ 2579370 w 3536745"/>
              <a:gd name="connsiteY23" fmla="*/ 289560 h 1494292"/>
              <a:gd name="connsiteX24" fmla="*/ 2697480 w 3536745"/>
              <a:gd name="connsiteY24" fmla="*/ 331470 h 1494292"/>
              <a:gd name="connsiteX25" fmla="*/ 2807970 w 3536745"/>
              <a:gd name="connsiteY25" fmla="*/ 381000 h 1494292"/>
              <a:gd name="connsiteX26" fmla="*/ 2926080 w 3536745"/>
              <a:gd name="connsiteY26" fmla="*/ 443230 h 1494292"/>
              <a:gd name="connsiteX27" fmla="*/ 3042920 w 3536745"/>
              <a:gd name="connsiteY27" fmla="*/ 506730 h 1494292"/>
              <a:gd name="connsiteX28" fmla="*/ 3114040 w 3536745"/>
              <a:gd name="connsiteY28" fmla="*/ 551180 h 1494292"/>
              <a:gd name="connsiteX29" fmla="*/ 3200400 w 3536745"/>
              <a:gd name="connsiteY29" fmla="*/ 605790 h 1494292"/>
              <a:gd name="connsiteX30" fmla="*/ 3261360 w 3536745"/>
              <a:gd name="connsiteY30" fmla="*/ 659130 h 1494292"/>
              <a:gd name="connsiteX31" fmla="*/ 3322320 w 3536745"/>
              <a:gd name="connsiteY31" fmla="*/ 727710 h 1494292"/>
              <a:gd name="connsiteX32" fmla="*/ 3379470 w 3536745"/>
              <a:gd name="connsiteY32" fmla="*/ 825500 h 1494292"/>
              <a:gd name="connsiteX33" fmla="*/ 3406775 w 3536745"/>
              <a:gd name="connsiteY33" fmla="*/ 897890 h 1494292"/>
              <a:gd name="connsiteX34" fmla="*/ 3444240 w 3536745"/>
              <a:gd name="connsiteY34" fmla="*/ 1040130 h 1494292"/>
              <a:gd name="connsiteX35" fmla="*/ 3463290 w 3536745"/>
              <a:gd name="connsiteY35" fmla="*/ 1146810 h 1494292"/>
              <a:gd name="connsiteX36" fmla="*/ 3486150 w 3536745"/>
              <a:gd name="connsiteY36" fmla="*/ 1242060 h 1494292"/>
              <a:gd name="connsiteX37" fmla="*/ 3516297 w 3536745"/>
              <a:gd name="connsiteY37" fmla="*/ 1350337 h 1494292"/>
              <a:gd name="connsiteX38" fmla="*/ 3536745 w 3536745"/>
              <a:gd name="connsiteY38" fmla="*/ 1418917 h 1494292"/>
              <a:gd name="connsiteX39" fmla="*/ 3482340 w 3536745"/>
              <a:gd name="connsiteY39" fmla="*/ 1485282 h 1494292"/>
              <a:gd name="connsiteX40" fmla="*/ 3418242 w 3536745"/>
              <a:gd name="connsiteY40" fmla="*/ 1491304 h 1494292"/>
              <a:gd name="connsiteX41" fmla="*/ 3368040 w 3536745"/>
              <a:gd name="connsiteY41" fmla="*/ 1463040 h 1494292"/>
              <a:gd name="connsiteX42" fmla="*/ 3295650 w 3536745"/>
              <a:gd name="connsiteY42" fmla="*/ 1398270 h 1494292"/>
              <a:gd name="connsiteX43" fmla="*/ 3242310 w 3536745"/>
              <a:gd name="connsiteY43" fmla="*/ 1341120 h 1494292"/>
              <a:gd name="connsiteX44" fmla="*/ 3204210 w 3536745"/>
              <a:gd name="connsiteY44" fmla="*/ 1291590 h 1494292"/>
              <a:gd name="connsiteX45" fmla="*/ 3162300 w 3536745"/>
              <a:gd name="connsiteY45" fmla="*/ 1230630 h 1494292"/>
              <a:gd name="connsiteX46" fmla="*/ 3128010 w 3536745"/>
              <a:gd name="connsiteY46" fmla="*/ 1169670 h 1494292"/>
              <a:gd name="connsiteX0" fmla="*/ 0 w 3516297"/>
              <a:gd name="connsiteY0" fmla="*/ 0 h 1494290"/>
              <a:gd name="connsiteX1" fmla="*/ 64770 w 3516297"/>
              <a:gd name="connsiteY1" fmla="*/ 83820 h 1494290"/>
              <a:gd name="connsiteX2" fmla="*/ 129540 w 3516297"/>
              <a:gd name="connsiteY2" fmla="*/ 140970 h 1494290"/>
              <a:gd name="connsiteX3" fmla="*/ 228600 w 3516297"/>
              <a:gd name="connsiteY3" fmla="*/ 209073 h 1494290"/>
              <a:gd name="connsiteX4" fmla="*/ 335280 w 3516297"/>
              <a:gd name="connsiteY4" fmla="*/ 274797 h 1494290"/>
              <a:gd name="connsiteX5" fmla="*/ 470059 w 3516297"/>
              <a:gd name="connsiteY5" fmla="*/ 335756 h 1494290"/>
              <a:gd name="connsiteX6" fmla="*/ 598646 w 3516297"/>
              <a:gd name="connsiteY6" fmla="*/ 372904 h 1494290"/>
              <a:gd name="connsiteX7" fmla="*/ 781050 w 3516297"/>
              <a:gd name="connsiteY7" fmla="*/ 415290 h 1494290"/>
              <a:gd name="connsiteX8" fmla="*/ 952500 w 3516297"/>
              <a:gd name="connsiteY8" fmla="*/ 441960 h 1494290"/>
              <a:gd name="connsiteX9" fmla="*/ 1093470 w 3516297"/>
              <a:gd name="connsiteY9" fmla="*/ 449580 h 1494290"/>
              <a:gd name="connsiteX10" fmla="*/ 1207770 w 3516297"/>
              <a:gd name="connsiteY10" fmla="*/ 452914 h 1494290"/>
              <a:gd name="connsiteX11" fmla="*/ 1297305 w 3516297"/>
              <a:gd name="connsiteY11" fmla="*/ 449580 h 1494290"/>
              <a:gd name="connsiteX12" fmla="*/ 1379220 w 3516297"/>
              <a:gd name="connsiteY12" fmla="*/ 441960 h 1494290"/>
              <a:gd name="connsiteX13" fmla="*/ 1478280 w 3516297"/>
              <a:gd name="connsiteY13" fmla="*/ 426720 h 1494290"/>
              <a:gd name="connsiteX14" fmla="*/ 1569720 w 3516297"/>
              <a:gd name="connsiteY14" fmla="*/ 411480 h 1494290"/>
              <a:gd name="connsiteX15" fmla="*/ 1691640 w 3516297"/>
              <a:gd name="connsiteY15" fmla="*/ 392430 h 1494290"/>
              <a:gd name="connsiteX16" fmla="*/ 1817370 w 3516297"/>
              <a:gd name="connsiteY16" fmla="*/ 358140 h 1494290"/>
              <a:gd name="connsiteX17" fmla="*/ 1916430 w 3516297"/>
              <a:gd name="connsiteY17" fmla="*/ 331470 h 1494290"/>
              <a:gd name="connsiteX18" fmla="*/ 2014855 w 3516297"/>
              <a:gd name="connsiteY18" fmla="*/ 294640 h 1494290"/>
              <a:gd name="connsiteX19" fmla="*/ 2108835 w 3516297"/>
              <a:gd name="connsiteY19" fmla="*/ 271780 h 1494290"/>
              <a:gd name="connsiteX20" fmla="*/ 2221230 w 3516297"/>
              <a:gd name="connsiteY20" fmla="*/ 251460 h 1494290"/>
              <a:gd name="connsiteX21" fmla="*/ 2337911 w 3516297"/>
              <a:gd name="connsiteY21" fmla="*/ 246698 h 1494290"/>
              <a:gd name="connsiteX22" fmla="*/ 2463641 w 3516297"/>
              <a:gd name="connsiteY22" fmla="*/ 259556 h 1494290"/>
              <a:gd name="connsiteX23" fmla="*/ 2579370 w 3516297"/>
              <a:gd name="connsiteY23" fmla="*/ 289560 h 1494290"/>
              <a:gd name="connsiteX24" fmla="*/ 2697480 w 3516297"/>
              <a:gd name="connsiteY24" fmla="*/ 331470 h 1494290"/>
              <a:gd name="connsiteX25" fmla="*/ 2807970 w 3516297"/>
              <a:gd name="connsiteY25" fmla="*/ 381000 h 1494290"/>
              <a:gd name="connsiteX26" fmla="*/ 2926080 w 3516297"/>
              <a:gd name="connsiteY26" fmla="*/ 443230 h 1494290"/>
              <a:gd name="connsiteX27" fmla="*/ 3042920 w 3516297"/>
              <a:gd name="connsiteY27" fmla="*/ 506730 h 1494290"/>
              <a:gd name="connsiteX28" fmla="*/ 3114040 w 3516297"/>
              <a:gd name="connsiteY28" fmla="*/ 551180 h 1494290"/>
              <a:gd name="connsiteX29" fmla="*/ 3200400 w 3516297"/>
              <a:gd name="connsiteY29" fmla="*/ 605790 h 1494290"/>
              <a:gd name="connsiteX30" fmla="*/ 3261360 w 3516297"/>
              <a:gd name="connsiteY30" fmla="*/ 659130 h 1494290"/>
              <a:gd name="connsiteX31" fmla="*/ 3322320 w 3516297"/>
              <a:gd name="connsiteY31" fmla="*/ 727710 h 1494290"/>
              <a:gd name="connsiteX32" fmla="*/ 3379470 w 3516297"/>
              <a:gd name="connsiteY32" fmla="*/ 825500 h 1494290"/>
              <a:gd name="connsiteX33" fmla="*/ 3406775 w 3516297"/>
              <a:gd name="connsiteY33" fmla="*/ 897890 h 1494290"/>
              <a:gd name="connsiteX34" fmla="*/ 3444240 w 3516297"/>
              <a:gd name="connsiteY34" fmla="*/ 1040130 h 1494290"/>
              <a:gd name="connsiteX35" fmla="*/ 3463290 w 3516297"/>
              <a:gd name="connsiteY35" fmla="*/ 1146810 h 1494290"/>
              <a:gd name="connsiteX36" fmla="*/ 3486150 w 3516297"/>
              <a:gd name="connsiteY36" fmla="*/ 1242060 h 1494290"/>
              <a:gd name="connsiteX37" fmla="*/ 3516297 w 3516297"/>
              <a:gd name="connsiteY37" fmla="*/ 1350337 h 1494290"/>
              <a:gd name="connsiteX38" fmla="*/ 3509008 w 3516297"/>
              <a:gd name="connsiteY38" fmla="*/ 1418918 h 1494290"/>
              <a:gd name="connsiteX39" fmla="*/ 3482340 w 3516297"/>
              <a:gd name="connsiteY39" fmla="*/ 1485282 h 1494290"/>
              <a:gd name="connsiteX40" fmla="*/ 3418242 w 3516297"/>
              <a:gd name="connsiteY40" fmla="*/ 1491304 h 1494290"/>
              <a:gd name="connsiteX41" fmla="*/ 3368040 w 3516297"/>
              <a:gd name="connsiteY41" fmla="*/ 1463040 h 1494290"/>
              <a:gd name="connsiteX42" fmla="*/ 3295650 w 3516297"/>
              <a:gd name="connsiteY42" fmla="*/ 1398270 h 1494290"/>
              <a:gd name="connsiteX43" fmla="*/ 3242310 w 3516297"/>
              <a:gd name="connsiteY43" fmla="*/ 1341120 h 1494290"/>
              <a:gd name="connsiteX44" fmla="*/ 3204210 w 3516297"/>
              <a:gd name="connsiteY44" fmla="*/ 1291590 h 1494290"/>
              <a:gd name="connsiteX45" fmla="*/ 3162300 w 3516297"/>
              <a:gd name="connsiteY45" fmla="*/ 1230630 h 1494290"/>
              <a:gd name="connsiteX46" fmla="*/ 3128010 w 3516297"/>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0 w 3531196"/>
              <a:gd name="connsiteY27" fmla="*/ 506730 h 1494290"/>
              <a:gd name="connsiteX28" fmla="*/ 3114040 w 3531196"/>
              <a:gd name="connsiteY28" fmla="*/ 551180 h 1494290"/>
              <a:gd name="connsiteX29" fmla="*/ 3200400 w 3531196"/>
              <a:gd name="connsiteY29" fmla="*/ 605790 h 1494290"/>
              <a:gd name="connsiteX30" fmla="*/ 3261360 w 3531196"/>
              <a:gd name="connsiteY30" fmla="*/ 659130 h 1494290"/>
              <a:gd name="connsiteX31" fmla="*/ 3322320 w 3531196"/>
              <a:gd name="connsiteY31" fmla="*/ 727710 h 1494290"/>
              <a:gd name="connsiteX32" fmla="*/ 3379470 w 3531196"/>
              <a:gd name="connsiteY32" fmla="*/ 825500 h 1494290"/>
              <a:gd name="connsiteX33" fmla="*/ 3406775 w 3531196"/>
              <a:gd name="connsiteY33" fmla="*/ 897890 h 1494290"/>
              <a:gd name="connsiteX34" fmla="*/ 3444240 w 3531196"/>
              <a:gd name="connsiteY34" fmla="*/ 1040130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0 w 3531196"/>
              <a:gd name="connsiteY27" fmla="*/ 506730 h 1494290"/>
              <a:gd name="connsiteX28" fmla="*/ 3114040 w 3531196"/>
              <a:gd name="connsiteY28" fmla="*/ 551180 h 1494290"/>
              <a:gd name="connsiteX29" fmla="*/ 3200400 w 3531196"/>
              <a:gd name="connsiteY29" fmla="*/ 605790 h 1494290"/>
              <a:gd name="connsiteX30" fmla="*/ 3261360 w 3531196"/>
              <a:gd name="connsiteY30" fmla="*/ 659130 h 1494290"/>
              <a:gd name="connsiteX31" fmla="*/ 3322320 w 3531196"/>
              <a:gd name="connsiteY31" fmla="*/ 727710 h 1494290"/>
              <a:gd name="connsiteX32" fmla="*/ 3379470 w 3531196"/>
              <a:gd name="connsiteY32" fmla="*/ 825500 h 1494290"/>
              <a:gd name="connsiteX33" fmla="*/ 3406775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0 w 3531196"/>
              <a:gd name="connsiteY27" fmla="*/ 506730 h 1494290"/>
              <a:gd name="connsiteX28" fmla="*/ 3114040 w 3531196"/>
              <a:gd name="connsiteY28" fmla="*/ 551180 h 1494290"/>
              <a:gd name="connsiteX29" fmla="*/ 3200400 w 3531196"/>
              <a:gd name="connsiteY29" fmla="*/ 605790 h 1494290"/>
              <a:gd name="connsiteX30" fmla="*/ 3261360 w 3531196"/>
              <a:gd name="connsiteY30" fmla="*/ 659130 h 1494290"/>
              <a:gd name="connsiteX31" fmla="*/ 3322320 w 3531196"/>
              <a:gd name="connsiteY31" fmla="*/ 727710 h 1494290"/>
              <a:gd name="connsiteX32" fmla="*/ 3379470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0 w 3531196"/>
              <a:gd name="connsiteY27" fmla="*/ 506730 h 1494290"/>
              <a:gd name="connsiteX28" fmla="*/ 3114040 w 3531196"/>
              <a:gd name="connsiteY28" fmla="*/ 551180 h 1494290"/>
              <a:gd name="connsiteX29" fmla="*/ 3200400 w 3531196"/>
              <a:gd name="connsiteY29" fmla="*/ 605790 h 1494290"/>
              <a:gd name="connsiteX30" fmla="*/ 3261360 w 3531196"/>
              <a:gd name="connsiteY30" fmla="*/ 659130 h 1494290"/>
              <a:gd name="connsiteX31" fmla="*/ 3322320 w 3531196"/>
              <a:gd name="connsiteY31" fmla="*/ 727710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0 w 3531196"/>
              <a:gd name="connsiteY27" fmla="*/ 506730 h 1494290"/>
              <a:gd name="connsiteX28" fmla="*/ 3114040 w 3531196"/>
              <a:gd name="connsiteY28" fmla="*/ 551180 h 1494290"/>
              <a:gd name="connsiteX29" fmla="*/ 3200400 w 3531196"/>
              <a:gd name="connsiteY29" fmla="*/ 605790 h 1494290"/>
              <a:gd name="connsiteX30" fmla="*/ 3261360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0 w 3531196"/>
              <a:gd name="connsiteY27" fmla="*/ 506730 h 1494290"/>
              <a:gd name="connsiteX28" fmla="*/ 3114040 w 3531196"/>
              <a:gd name="connsiteY28" fmla="*/ 551180 h 1494290"/>
              <a:gd name="connsiteX29" fmla="*/ 3200400 w 3531196"/>
              <a:gd name="connsiteY29" fmla="*/ 605790 h 1494290"/>
              <a:gd name="connsiteX30" fmla="*/ 3261360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0 w 3531196"/>
              <a:gd name="connsiteY27" fmla="*/ 506730 h 1494290"/>
              <a:gd name="connsiteX28" fmla="*/ 3114040 w 3531196"/>
              <a:gd name="connsiteY28" fmla="*/ 551180 h 1494290"/>
              <a:gd name="connsiteX29" fmla="*/ 3189304 w 3531196"/>
              <a:gd name="connsiteY29" fmla="*/ 622627 h 1494290"/>
              <a:gd name="connsiteX30" fmla="*/ 3261360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0 w 3531196"/>
              <a:gd name="connsiteY27" fmla="*/ 506730 h 1494290"/>
              <a:gd name="connsiteX28" fmla="*/ 3114040 w 3531196"/>
              <a:gd name="connsiteY28" fmla="*/ 551180 h 1494290"/>
              <a:gd name="connsiteX29" fmla="*/ 3205943 w 3531196"/>
              <a:gd name="connsiteY29" fmla="*/ 611405 h 1494290"/>
              <a:gd name="connsiteX30" fmla="*/ 3261360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0 w 3531196"/>
              <a:gd name="connsiteY27" fmla="*/ 506730 h 1494290"/>
              <a:gd name="connsiteX28" fmla="*/ 3102947 w 3531196"/>
              <a:gd name="connsiteY28" fmla="*/ 551179 h 1494290"/>
              <a:gd name="connsiteX29" fmla="*/ 3205943 w 3531196"/>
              <a:gd name="connsiteY29" fmla="*/ 611405 h 1494290"/>
              <a:gd name="connsiteX30" fmla="*/ 3261360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06729 h 1494290"/>
              <a:gd name="connsiteX28" fmla="*/ 3102947 w 3531196"/>
              <a:gd name="connsiteY28" fmla="*/ 551179 h 1494290"/>
              <a:gd name="connsiteX29" fmla="*/ 3205943 w 3531196"/>
              <a:gd name="connsiteY29" fmla="*/ 611405 h 1494290"/>
              <a:gd name="connsiteX30" fmla="*/ 3261360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5943 w 3531196"/>
              <a:gd name="connsiteY29" fmla="*/ 611405 h 1494290"/>
              <a:gd name="connsiteX30" fmla="*/ 3261360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61360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37944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37944 h 1494290"/>
              <a:gd name="connsiteX14" fmla="*/ 1591908 w 3531196"/>
              <a:gd name="connsiteY14" fmla="*/ 411481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37944 h 1494290"/>
              <a:gd name="connsiteX14" fmla="*/ 1591908 w 3531196"/>
              <a:gd name="connsiteY14" fmla="*/ 411481 h 1494290"/>
              <a:gd name="connsiteX15" fmla="*/ 1697189 w 3531196"/>
              <a:gd name="connsiteY15" fmla="*/ 39804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37944 h 1494290"/>
              <a:gd name="connsiteX14" fmla="*/ 1591908 w 3531196"/>
              <a:gd name="connsiteY14" fmla="*/ 428317 h 1494290"/>
              <a:gd name="connsiteX15" fmla="*/ 1697189 w 3531196"/>
              <a:gd name="connsiteY15" fmla="*/ 39804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1 w 3531196"/>
              <a:gd name="connsiteY12" fmla="*/ 441960 h 1494290"/>
              <a:gd name="connsiteX13" fmla="*/ 1478280 w 3531196"/>
              <a:gd name="connsiteY13" fmla="*/ 437944 h 1494290"/>
              <a:gd name="connsiteX14" fmla="*/ 1591908 w 3531196"/>
              <a:gd name="connsiteY14" fmla="*/ 428317 h 1494290"/>
              <a:gd name="connsiteX15" fmla="*/ 1697189 w 3531196"/>
              <a:gd name="connsiteY15" fmla="*/ 39804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90314 w 3531196"/>
              <a:gd name="connsiteY12" fmla="*/ 447571 h 1494290"/>
              <a:gd name="connsiteX13" fmla="*/ 1478280 w 3531196"/>
              <a:gd name="connsiteY13" fmla="*/ 437944 h 1494290"/>
              <a:gd name="connsiteX14" fmla="*/ 1591908 w 3531196"/>
              <a:gd name="connsiteY14" fmla="*/ 428317 h 1494290"/>
              <a:gd name="connsiteX15" fmla="*/ 1697189 w 3531196"/>
              <a:gd name="connsiteY15" fmla="*/ 39804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90314 w 3531196"/>
              <a:gd name="connsiteY12" fmla="*/ 447571 h 1494290"/>
              <a:gd name="connsiteX13" fmla="*/ 1478280 w 3531196"/>
              <a:gd name="connsiteY13" fmla="*/ 437944 h 1494290"/>
              <a:gd name="connsiteX14" fmla="*/ 1591908 w 3531196"/>
              <a:gd name="connsiteY14" fmla="*/ 411481 h 1494290"/>
              <a:gd name="connsiteX15" fmla="*/ 1697189 w 3531196"/>
              <a:gd name="connsiteY15" fmla="*/ 39804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90314 w 3531196"/>
              <a:gd name="connsiteY12" fmla="*/ 447571 h 1494290"/>
              <a:gd name="connsiteX13" fmla="*/ 1478280 w 3531196"/>
              <a:gd name="connsiteY13" fmla="*/ 437944 h 1494290"/>
              <a:gd name="connsiteX14" fmla="*/ 1591908 w 3531196"/>
              <a:gd name="connsiteY14" fmla="*/ 428317 h 1494290"/>
              <a:gd name="connsiteX15" fmla="*/ 1697189 w 3531196"/>
              <a:gd name="connsiteY15" fmla="*/ 39804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90314 w 3531196"/>
              <a:gd name="connsiteY12" fmla="*/ 447571 h 1494290"/>
              <a:gd name="connsiteX13" fmla="*/ 1478280 w 3531196"/>
              <a:gd name="connsiteY13" fmla="*/ 437944 h 1494290"/>
              <a:gd name="connsiteX14" fmla="*/ 1597454 w 3531196"/>
              <a:gd name="connsiteY14" fmla="*/ 422703 h 1494290"/>
              <a:gd name="connsiteX15" fmla="*/ 1697189 w 3531196"/>
              <a:gd name="connsiteY15" fmla="*/ 39804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90314 w 3531196"/>
              <a:gd name="connsiteY12" fmla="*/ 447571 h 1494290"/>
              <a:gd name="connsiteX13" fmla="*/ 1478280 w 3531196"/>
              <a:gd name="connsiteY13" fmla="*/ 437944 h 1494290"/>
              <a:gd name="connsiteX14" fmla="*/ 1597454 w 3531196"/>
              <a:gd name="connsiteY14" fmla="*/ 422703 h 1494290"/>
              <a:gd name="connsiteX15" fmla="*/ 1697189 w 3531196"/>
              <a:gd name="connsiteY15" fmla="*/ 398040 h 1494290"/>
              <a:gd name="connsiteX16" fmla="*/ 1817370 w 3531196"/>
              <a:gd name="connsiteY16" fmla="*/ 36375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31196" h="1494290">
                <a:moveTo>
                  <a:pt x="0" y="0"/>
                </a:moveTo>
                <a:cubicBezTo>
                  <a:pt x="12700" y="25400"/>
                  <a:pt x="43180" y="68580"/>
                  <a:pt x="64770" y="83820"/>
                </a:cubicBezTo>
                <a:cubicBezTo>
                  <a:pt x="86360" y="99060"/>
                  <a:pt x="102235" y="120095"/>
                  <a:pt x="129540" y="140970"/>
                </a:cubicBezTo>
                <a:cubicBezTo>
                  <a:pt x="156845" y="161845"/>
                  <a:pt x="195580" y="182403"/>
                  <a:pt x="228600" y="209073"/>
                </a:cubicBezTo>
                <a:cubicBezTo>
                  <a:pt x="262890" y="231933"/>
                  <a:pt x="295037" y="253683"/>
                  <a:pt x="335280" y="274797"/>
                </a:cubicBezTo>
                <a:cubicBezTo>
                  <a:pt x="375523" y="295911"/>
                  <a:pt x="424339" y="315436"/>
                  <a:pt x="470059" y="335756"/>
                </a:cubicBezTo>
                <a:cubicBezTo>
                  <a:pt x="511969" y="348456"/>
                  <a:pt x="546814" y="359648"/>
                  <a:pt x="598646" y="372904"/>
                </a:cubicBezTo>
                <a:cubicBezTo>
                  <a:pt x="650478" y="386160"/>
                  <a:pt x="720249" y="401161"/>
                  <a:pt x="781050" y="415290"/>
                </a:cubicBezTo>
                <a:lnTo>
                  <a:pt x="952500" y="441960"/>
                </a:lnTo>
                <a:lnTo>
                  <a:pt x="1093470" y="449580"/>
                </a:lnTo>
                <a:lnTo>
                  <a:pt x="1207770" y="452914"/>
                </a:lnTo>
                <a:cubicBezTo>
                  <a:pt x="1241742" y="452914"/>
                  <a:pt x="1266881" y="450471"/>
                  <a:pt x="1297305" y="449580"/>
                </a:cubicBezTo>
                <a:cubicBezTo>
                  <a:pt x="1327729" y="448690"/>
                  <a:pt x="1360152" y="449510"/>
                  <a:pt x="1390314" y="447571"/>
                </a:cubicBezTo>
                <a:cubicBezTo>
                  <a:pt x="1420476" y="445632"/>
                  <a:pt x="1446530" y="443024"/>
                  <a:pt x="1478280" y="437944"/>
                </a:cubicBezTo>
                <a:lnTo>
                  <a:pt x="1597454" y="422703"/>
                </a:lnTo>
                <a:lnTo>
                  <a:pt x="1697189" y="398040"/>
                </a:lnTo>
                <a:lnTo>
                  <a:pt x="1817370" y="363750"/>
                </a:lnTo>
                <a:lnTo>
                  <a:pt x="1916430" y="331470"/>
                </a:lnTo>
                <a:lnTo>
                  <a:pt x="2014855" y="294640"/>
                </a:lnTo>
                <a:lnTo>
                  <a:pt x="2108835" y="271780"/>
                </a:lnTo>
                <a:cubicBezTo>
                  <a:pt x="2143760" y="263525"/>
                  <a:pt x="2183051" y="255640"/>
                  <a:pt x="2221230" y="251460"/>
                </a:cubicBezTo>
                <a:cubicBezTo>
                  <a:pt x="2259409" y="247280"/>
                  <a:pt x="2297509" y="245349"/>
                  <a:pt x="2337911" y="246698"/>
                </a:cubicBezTo>
                <a:cubicBezTo>
                  <a:pt x="2378313" y="248047"/>
                  <a:pt x="2423001" y="253206"/>
                  <a:pt x="2463641" y="259556"/>
                </a:cubicBezTo>
                <a:cubicBezTo>
                  <a:pt x="2502217" y="269557"/>
                  <a:pt x="2540397" y="277574"/>
                  <a:pt x="2579370" y="289560"/>
                </a:cubicBezTo>
                <a:cubicBezTo>
                  <a:pt x="2618343" y="301546"/>
                  <a:pt x="2659380" y="316230"/>
                  <a:pt x="2697480" y="331470"/>
                </a:cubicBezTo>
                <a:lnTo>
                  <a:pt x="2807970" y="381000"/>
                </a:lnTo>
                <a:lnTo>
                  <a:pt x="2926080" y="443230"/>
                </a:lnTo>
                <a:lnTo>
                  <a:pt x="3042921" y="512341"/>
                </a:lnTo>
                <a:lnTo>
                  <a:pt x="3102947" y="551179"/>
                </a:lnTo>
                <a:lnTo>
                  <a:pt x="3200397" y="611405"/>
                </a:lnTo>
                <a:lnTo>
                  <a:pt x="3255811" y="659130"/>
                </a:lnTo>
                <a:lnTo>
                  <a:pt x="3327867" y="744547"/>
                </a:lnTo>
                <a:lnTo>
                  <a:pt x="3368376" y="825500"/>
                </a:lnTo>
                <a:lnTo>
                  <a:pt x="3395683" y="897890"/>
                </a:lnTo>
                <a:lnTo>
                  <a:pt x="3438694" y="1034518"/>
                </a:lnTo>
                <a:lnTo>
                  <a:pt x="3463290" y="1146810"/>
                </a:lnTo>
                <a:lnTo>
                  <a:pt x="3486150" y="1242060"/>
                </a:lnTo>
                <a:lnTo>
                  <a:pt x="3516297" y="1350337"/>
                </a:lnTo>
                <a:lnTo>
                  <a:pt x="3531196" y="1418918"/>
                </a:lnTo>
                <a:cubicBezTo>
                  <a:pt x="3530561" y="1438603"/>
                  <a:pt x="3501166" y="1473218"/>
                  <a:pt x="3482340" y="1485282"/>
                </a:cubicBezTo>
                <a:cubicBezTo>
                  <a:pt x="3463514" y="1497346"/>
                  <a:pt x="3437292" y="1495011"/>
                  <a:pt x="3418242" y="1491304"/>
                </a:cubicBezTo>
                <a:cubicBezTo>
                  <a:pt x="3399192" y="1487597"/>
                  <a:pt x="3388472" y="1478546"/>
                  <a:pt x="3368040" y="1463040"/>
                </a:cubicBezTo>
                <a:cubicBezTo>
                  <a:pt x="3347608" y="1447534"/>
                  <a:pt x="3316605" y="1418590"/>
                  <a:pt x="3295650" y="1398270"/>
                </a:cubicBezTo>
                <a:lnTo>
                  <a:pt x="3242310" y="1341120"/>
                </a:lnTo>
                <a:lnTo>
                  <a:pt x="3204210" y="1291590"/>
                </a:lnTo>
                <a:lnTo>
                  <a:pt x="3162300" y="1230630"/>
                </a:lnTo>
                <a:lnTo>
                  <a:pt x="3128010" y="1169670"/>
                </a:lnTo>
              </a:path>
            </a:pathLst>
          </a:custGeom>
          <a:noFill/>
          <a:ln w="85725" cap="rnd"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Freeform 24"/>
          <p:cNvSpPr/>
          <p:nvPr/>
        </p:nvSpPr>
        <p:spPr>
          <a:xfrm>
            <a:off x="1632813" y="5429354"/>
            <a:ext cx="1134199" cy="642834"/>
          </a:xfrm>
          <a:custGeom>
            <a:avLst/>
            <a:gdLst>
              <a:gd name="connsiteX0" fmla="*/ 2632166 w 2632166"/>
              <a:gd name="connsiteY0" fmla="*/ 1012371 h 1525088"/>
              <a:gd name="connsiteX1" fmla="*/ 2628900 w 2632166"/>
              <a:gd name="connsiteY1" fmla="*/ 1067888 h 1525088"/>
              <a:gd name="connsiteX2" fmla="*/ 2619103 w 2632166"/>
              <a:gd name="connsiteY2" fmla="*/ 1123405 h 1525088"/>
              <a:gd name="connsiteX3" fmla="*/ 2622369 w 2632166"/>
              <a:gd name="connsiteY3" fmla="*/ 1172391 h 1525088"/>
              <a:gd name="connsiteX4" fmla="*/ 2609306 w 2632166"/>
              <a:gd name="connsiteY4" fmla="*/ 1234440 h 1525088"/>
              <a:gd name="connsiteX5" fmla="*/ 2596243 w 2632166"/>
              <a:gd name="connsiteY5" fmla="*/ 1280160 h 1525088"/>
              <a:gd name="connsiteX6" fmla="*/ 2557054 w 2632166"/>
              <a:gd name="connsiteY6" fmla="*/ 1312817 h 1525088"/>
              <a:gd name="connsiteX7" fmla="*/ 2501537 w 2632166"/>
              <a:gd name="connsiteY7" fmla="*/ 1322614 h 1525088"/>
              <a:gd name="connsiteX8" fmla="*/ 2449286 w 2632166"/>
              <a:gd name="connsiteY8" fmla="*/ 1325880 h 1525088"/>
              <a:gd name="connsiteX9" fmla="*/ 2403566 w 2632166"/>
              <a:gd name="connsiteY9" fmla="*/ 1325880 h 1525088"/>
              <a:gd name="connsiteX10" fmla="*/ 2348049 w 2632166"/>
              <a:gd name="connsiteY10" fmla="*/ 1338943 h 1525088"/>
              <a:gd name="connsiteX11" fmla="*/ 2312126 w 2632166"/>
              <a:gd name="connsiteY11" fmla="*/ 1378131 h 1525088"/>
              <a:gd name="connsiteX12" fmla="*/ 2282734 w 2632166"/>
              <a:gd name="connsiteY12" fmla="*/ 1407523 h 1525088"/>
              <a:gd name="connsiteX13" fmla="*/ 2243546 w 2632166"/>
              <a:gd name="connsiteY13" fmla="*/ 1449977 h 1525088"/>
              <a:gd name="connsiteX14" fmla="*/ 2184763 w 2632166"/>
              <a:gd name="connsiteY14" fmla="*/ 1472837 h 1525088"/>
              <a:gd name="connsiteX15" fmla="*/ 2119449 w 2632166"/>
              <a:gd name="connsiteY15" fmla="*/ 1459774 h 1525088"/>
              <a:gd name="connsiteX16" fmla="*/ 2050869 w 2632166"/>
              <a:gd name="connsiteY16" fmla="*/ 1463040 h 1525088"/>
              <a:gd name="connsiteX17" fmla="*/ 2008414 w 2632166"/>
              <a:gd name="connsiteY17" fmla="*/ 1476103 h 1525088"/>
              <a:gd name="connsiteX18" fmla="*/ 1972491 w 2632166"/>
              <a:gd name="connsiteY18" fmla="*/ 1495697 h 1525088"/>
              <a:gd name="connsiteX19" fmla="*/ 1926771 w 2632166"/>
              <a:gd name="connsiteY19" fmla="*/ 1508760 h 1525088"/>
              <a:gd name="connsiteX20" fmla="*/ 1871254 w 2632166"/>
              <a:gd name="connsiteY20" fmla="*/ 1525088 h 1525088"/>
              <a:gd name="connsiteX21" fmla="*/ 1799409 w 2632166"/>
              <a:gd name="connsiteY21" fmla="*/ 1502228 h 1525088"/>
              <a:gd name="connsiteX22" fmla="*/ 1730829 w 2632166"/>
              <a:gd name="connsiteY22" fmla="*/ 1443445 h 1525088"/>
              <a:gd name="connsiteX23" fmla="*/ 1668780 w 2632166"/>
              <a:gd name="connsiteY23" fmla="*/ 1400991 h 1525088"/>
              <a:gd name="connsiteX24" fmla="*/ 1557746 w 2632166"/>
              <a:gd name="connsiteY24" fmla="*/ 1371600 h 1525088"/>
              <a:gd name="connsiteX25" fmla="*/ 1476103 w 2632166"/>
              <a:gd name="connsiteY25" fmla="*/ 1352005 h 1525088"/>
              <a:gd name="connsiteX26" fmla="*/ 1397726 w 2632166"/>
              <a:gd name="connsiteY26" fmla="*/ 1352005 h 1525088"/>
              <a:gd name="connsiteX27" fmla="*/ 1306286 w 2632166"/>
              <a:gd name="connsiteY27" fmla="*/ 1338943 h 1525088"/>
              <a:gd name="connsiteX28" fmla="*/ 1224643 w 2632166"/>
              <a:gd name="connsiteY28" fmla="*/ 1325880 h 1525088"/>
              <a:gd name="connsiteX29" fmla="*/ 1107077 w 2632166"/>
              <a:gd name="connsiteY29" fmla="*/ 1286691 h 1525088"/>
              <a:gd name="connsiteX30" fmla="*/ 966651 w 2632166"/>
              <a:gd name="connsiteY30" fmla="*/ 1254034 h 1525088"/>
              <a:gd name="connsiteX31" fmla="*/ 849086 w 2632166"/>
              <a:gd name="connsiteY31" fmla="*/ 1208314 h 1525088"/>
              <a:gd name="connsiteX32" fmla="*/ 751114 w 2632166"/>
              <a:gd name="connsiteY32" fmla="*/ 1185454 h 1525088"/>
              <a:gd name="connsiteX33" fmla="*/ 659674 w 2632166"/>
              <a:gd name="connsiteY33" fmla="*/ 1156063 h 1525088"/>
              <a:gd name="connsiteX34" fmla="*/ 545374 w 2632166"/>
              <a:gd name="connsiteY34" fmla="*/ 1123405 h 1525088"/>
              <a:gd name="connsiteX35" fmla="*/ 453934 w 2632166"/>
              <a:gd name="connsiteY35" fmla="*/ 1120140 h 1525088"/>
              <a:gd name="connsiteX36" fmla="*/ 375557 w 2632166"/>
              <a:gd name="connsiteY36" fmla="*/ 1113608 h 1525088"/>
              <a:gd name="connsiteX37" fmla="*/ 241663 w 2632166"/>
              <a:gd name="connsiteY37" fmla="*/ 1080951 h 1525088"/>
              <a:gd name="connsiteX38" fmla="*/ 173083 w 2632166"/>
              <a:gd name="connsiteY38" fmla="*/ 1045028 h 1525088"/>
              <a:gd name="connsiteX39" fmla="*/ 84909 w 2632166"/>
              <a:gd name="connsiteY39" fmla="*/ 950323 h 1525088"/>
              <a:gd name="connsiteX40" fmla="*/ 78377 w 2632166"/>
              <a:gd name="connsiteY40" fmla="*/ 901337 h 1525088"/>
              <a:gd name="connsiteX41" fmla="*/ 32657 w 2632166"/>
              <a:gd name="connsiteY41" fmla="*/ 809897 h 1525088"/>
              <a:gd name="connsiteX42" fmla="*/ 6531 w 2632166"/>
              <a:gd name="connsiteY42" fmla="*/ 724988 h 1525088"/>
              <a:gd name="connsiteX43" fmla="*/ 0 w 2632166"/>
              <a:gd name="connsiteY43" fmla="*/ 613954 h 1525088"/>
              <a:gd name="connsiteX44" fmla="*/ 42454 w 2632166"/>
              <a:gd name="connsiteY44" fmla="*/ 525780 h 1525088"/>
              <a:gd name="connsiteX45" fmla="*/ 117566 w 2632166"/>
              <a:gd name="connsiteY45" fmla="*/ 450668 h 1525088"/>
              <a:gd name="connsiteX46" fmla="*/ 218803 w 2632166"/>
              <a:gd name="connsiteY46" fmla="*/ 372291 h 1525088"/>
              <a:gd name="connsiteX47" fmla="*/ 365760 w 2632166"/>
              <a:gd name="connsiteY47" fmla="*/ 303711 h 1525088"/>
              <a:gd name="connsiteX48" fmla="*/ 522514 w 2632166"/>
              <a:gd name="connsiteY48" fmla="*/ 257991 h 1525088"/>
              <a:gd name="connsiteX49" fmla="*/ 646611 w 2632166"/>
              <a:gd name="connsiteY49" fmla="*/ 218803 h 1525088"/>
              <a:gd name="connsiteX50" fmla="*/ 790303 w 2632166"/>
              <a:gd name="connsiteY50" fmla="*/ 186145 h 1525088"/>
              <a:gd name="connsiteX51" fmla="*/ 950323 w 2632166"/>
              <a:gd name="connsiteY51" fmla="*/ 156754 h 1525088"/>
              <a:gd name="connsiteX52" fmla="*/ 1103811 w 2632166"/>
              <a:gd name="connsiteY52" fmla="*/ 127363 h 1525088"/>
              <a:gd name="connsiteX53" fmla="*/ 1394460 w 2632166"/>
              <a:gd name="connsiteY53" fmla="*/ 39188 h 1525088"/>
              <a:gd name="connsiteX54" fmla="*/ 1544683 w 2632166"/>
              <a:gd name="connsiteY54" fmla="*/ 13063 h 1525088"/>
              <a:gd name="connsiteX55" fmla="*/ 1678577 w 2632166"/>
              <a:gd name="connsiteY55" fmla="*/ 0 h 1525088"/>
              <a:gd name="connsiteX56" fmla="*/ 1766751 w 2632166"/>
              <a:gd name="connsiteY56" fmla="*/ 0 h 1525088"/>
              <a:gd name="connsiteX57" fmla="*/ 1851660 w 2632166"/>
              <a:gd name="connsiteY57" fmla="*/ 52251 h 1525088"/>
              <a:gd name="connsiteX58" fmla="*/ 1956163 w 2632166"/>
              <a:gd name="connsiteY58" fmla="*/ 133894 h 1525088"/>
              <a:gd name="connsiteX59" fmla="*/ 2060666 w 2632166"/>
              <a:gd name="connsiteY59" fmla="*/ 218803 h 1525088"/>
              <a:gd name="connsiteX60" fmla="*/ 2152106 w 2632166"/>
              <a:gd name="connsiteY60" fmla="*/ 284117 h 1525088"/>
              <a:gd name="connsiteX61" fmla="*/ 2188029 w 2632166"/>
              <a:gd name="connsiteY61" fmla="*/ 329837 h 1525088"/>
              <a:gd name="connsiteX62" fmla="*/ 2194560 w 2632166"/>
              <a:gd name="connsiteY62" fmla="*/ 378823 h 1525088"/>
              <a:gd name="connsiteX63" fmla="*/ 2168434 w 2632166"/>
              <a:gd name="connsiteY63" fmla="*/ 440871 h 1525088"/>
              <a:gd name="connsiteX64" fmla="*/ 2063931 w 2632166"/>
              <a:gd name="connsiteY64" fmla="*/ 480060 h 1525088"/>
              <a:gd name="connsiteX65" fmla="*/ 1936569 w 2632166"/>
              <a:gd name="connsiteY65" fmla="*/ 486591 h 1525088"/>
              <a:gd name="connsiteX66" fmla="*/ 1854926 w 2632166"/>
              <a:gd name="connsiteY66" fmla="*/ 480060 h 1525088"/>
              <a:gd name="connsiteX67" fmla="*/ 1707969 w 2632166"/>
              <a:gd name="connsiteY67" fmla="*/ 457200 h 1525088"/>
              <a:gd name="connsiteX68" fmla="*/ 1567543 w 2632166"/>
              <a:gd name="connsiteY68" fmla="*/ 431074 h 1525088"/>
              <a:gd name="connsiteX69" fmla="*/ 1436914 w 2632166"/>
              <a:gd name="connsiteY69" fmla="*/ 411480 h 1525088"/>
              <a:gd name="connsiteX70" fmla="*/ 1322614 w 2632166"/>
              <a:gd name="connsiteY70" fmla="*/ 414745 h 1525088"/>
              <a:gd name="connsiteX71" fmla="*/ 1214846 w 2632166"/>
              <a:gd name="connsiteY71" fmla="*/ 437605 h 1525088"/>
              <a:gd name="connsiteX72" fmla="*/ 1136469 w 2632166"/>
              <a:gd name="connsiteY72" fmla="*/ 470263 h 1525088"/>
              <a:gd name="connsiteX73" fmla="*/ 1002574 w 2632166"/>
              <a:gd name="connsiteY73" fmla="*/ 515983 h 1525088"/>
              <a:gd name="connsiteX74" fmla="*/ 920931 w 2632166"/>
              <a:gd name="connsiteY74" fmla="*/ 555171 h 1525088"/>
              <a:gd name="connsiteX75" fmla="*/ 777240 w 2632166"/>
              <a:gd name="connsiteY75" fmla="*/ 568234 h 1525088"/>
              <a:gd name="connsiteX76" fmla="*/ 633549 w 2632166"/>
              <a:gd name="connsiteY76" fmla="*/ 587828 h 1525088"/>
              <a:gd name="connsiteX77" fmla="*/ 545374 w 2632166"/>
              <a:gd name="connsiteY77" fmla="*/ 591094 h 1525088"/>
              <a:gd name="connsiteX78" fmla="*/ 408214 w 2632166"/>
              <a:gd name="connsiteY78" fmla="*/ 574765 h 1525088"/>
              <a:gd name="connsiteX79" fmla="*/ 287383 w 2632166"/>
              <a:gd name="connsiteY79" fmla="*/ 555171 h 1525088"/>
              <a:gd name="connsiteX80" fmla="*/ 169817 w 2632166"/>
              <a:gd name="connsiteY80" fmla="*/ 545374 h 1525088"/>
              <a:gd name="connsiteX0" fmla="*/ 2632166 w 2632166"/>
              <a:gd name="connsiteY0" fmla="*/ 1012371 h 1525088"/>
              <a:gd name="connsiteX1" fmla="*/ 2628900 w 2632166"/>
              <a:gd name="connsiteY1" fmla="*/ 1067888 h 1525088"/>
              <a:gd name="connsiteX2" fmla="*/ 2619103 w 2632166"/>
              <a:gd name="connsiteY2" fmla="*/ 1123405 h 1525088"/>
              <a:gd name="connsiteX3" fmla="*/ 2622369 w 2632166"/>
              <a:gd name="connsiteY3" fmla="*/ 1172391 h 1525088"/>
              <a:gd name="connsiteX4" fmla="*/ 2609306 w 2632166"/>
              <a:gd name="connsiteY4" fmla="*/ 1234440 h 1525088"/>
              <a:gd name="connsiteX5" fmla="*/ 2596243 w 2632166"/>
              <a:gd name="connsiteY5" fmla="*/ 1280160 h 1525088"/>
              <a:gd name="connsiteX6" fmla="*/ 2557054 w 2632166"/>
              <a:gd name="connsiteY6" fmla="*/ 1312817 h 1525088"/>
              <a:gd name="connsiteX7" fmla="*/ 2501537 w 2632166"/>
              <a:gd name="connsiteY7" fmla="*/ 1322614 h 1525088"/>
              <a:gd name="connsiteX8" fmla="*/ 2449286 w 2632166"/>
              <a:gd name="connsiteY8" fmla="*/ 1325880 h 1525088"/>
              <a:gd name="connsiteX9" fmla="*/ 2403566 w 2632166"/>
              <a:gd name="connsiteY9" fmla="*/ 1325880 h 1525088"/>
              <a:gd name="connsiteX10" fmla="*/ 2348049 w 2632166"/>
              <a:gd name="connsiteY10" fmla="*/ 1338943 h 1525088"/>
              <a:gd name="connsiteX11" fmla="*/ 2312126 w 2632166"/>
              <a:gd name="connsiteY11" fmla="*/ 1378131 h 1525088"/>
              <a:gd name="connsiteX12" fmla="*/ 2282734 w 2632166"/>
              <a:gd name="connsiteY12" fmla="*/ 1407523 h 1525088"/>
              <a:gd name="connsiteX13" fmla="*/ 2243546 w 2632166"/>
              <a:gd name="connsiteY13" fmla="*/ 1449977 h 1525088"/>
              <a:gd name="connsiteX14" fmla="*/ 2184763 w 2632166"/>
              <a:gd name="connsiteY14" fmla="*/ 1472837 h 1525088"/>
              <a:gd name="connsiteX15" fmla="*/ 2119449 w 2632166"/>
              <a:gd name="connsiteY15" fmla="*/ 1459774 h 1525088"/>
              <a:gd name="connsiteX16" fmla="*/ 2050869 w 2632166"/>
              <a:gd name="connsiteY16" fmla="*/ 1463040 h 1525088"/>
              <a:gd name="connsiteX17" fmla="*/ 2008414 w 2632166"/>
              <a:gd name="connsiteY17" fmla="*/ 1476103 h 1525088"/>
              <a:gd name="connsiteX18" fmla="*/ 1972491 w 2632166"/>
              <a:gd name="connsiteY18" fmla="*/ 1495697 h 1525088"/>
              <a:gd name="connsiteX19" fmla="*/ 1926771 w 2632166"/>
              <a:gd name="connsiteY19" fmla="*/ 1508760 h 1525088"/>
              <a:gd name="connsiteX20" fmla="*/ 1871254 w 2632166"/>
              <a:gd name="connsiteY20" fmla="*/ 1525088 h 1525088"/>
              <a:gd name="connsiteX21" fmla="*/ 1799409 w 2632166"/>
              <a:gd name="connsiteY21" fmla="*/ 1502228 h 1525088"/>
              <a:gd name="connsiteX22" fmla="*/ 1730829 w 2632166"/>
              <a:gd name="connsiteY22" fmla="*/ 1443445 h 1525088"/>
              <a:gd name="connsiteX23" fmla="*/ 1668780 w 2632166"/>
              <a:gd name="connsiteY23" fmla="*/ 1400991 h 1525088"/>
              <a:gd name="connsiteX24" fmla="*/ 1557746 w 2632166"/>
              <a:gd name="connsiteY24" fmla="*/ 1371600 h 1525088"/>
              <a:gd name="connsiteX25" fmla="*/ 1476103 w 2632166"/>
              <a:gd name="connsiteY25" fmla="*/ 1352005 h 1525088"/>
              <a:gd name="connsiteX26" fmla="*/ 1397726 w 2632166"/>
              <a:gd name="connsiteY26" fmla="*/ 1352005 h 1525088"/>
              <a:gd name="connsiteX27" fmla="*/ 1306286 w 2632166"/>
              <a:gd name="connsiteY27" fmla="*/ 1338943 h 1525088"/>
              <a:gd name="connsiteX28" fmla="*/ 1224643 w 2632166"/>
              <a:gd name="connsiteY28" fmla="*/ 1325880 h 1525088"/>
              <a:gd name="connsiteX29" fmla="*/ 1107077 w 2632166"/>
              <a:gd name="connsiteY29" fmla="*/ 1286691 h 1525088"/>
              <a:gd name="connsiteX30" fmla="*/ 966651 w 2632166"/>
              <a:gd name="connsiteY30" fmla="*/ 1254034 h 1525088"/>
              <a:gd name="connsiteX31" fmla="*/ 849086 w 2632166"/>
              <a:gd name="connsiteY31" fmla="*/ 1208314 h 1525088"/>
              <a:gd name="connsiteX32" fmla="*/ 751114 w 2632166"/>
              <a:gd name="connsiteY32" fmla="*/ 1185454 h 1525088"/>
              <a:gd name="connsiteX33" fmla="*/ 659674 w 2632166"/>
              <a:gd name="connsiteY33" fmla="*/ 1156063 h 1525088"/>
              <a:gd name="connsiteX34" fmla="*/ 545374 w 2632166"/>
              <a:gd name="connsiteY34" fmla="*/ 1123405 h 1525088"/>
              <a:gd name="connsiteX35" fmla="*/ 453934 w 2632166"/>
              <a:gd name="connsiteY35" fmla="*/ 1120140 h 1525088"/>
              <a:gd name="connsiteX36" fmla="*/ 375557 w 2632166"/>
              <a:gd name="connsiteY36" fmla="*/ 1113608 h 1525088"/>
              <a:gd name="connsiteX37" fmla="*/ 241663 w 2632166"/>
              <a:gd name="connsiteY37" fmla="*/ 1080951 h 1525088"/>
              <a:gd name="connsiteX38" fmla="*/ 173083 w 2632166"/>
              <a:gd name="connsiteY38" fmla="*/ 1045028 h 1525088"/>
              <a:gd name="connsiteX39" fmla="*/ 84909 w 2632166"/>
              <a:gd name="connsiteY39" fmla="*/ 950323 h 1525088"/>
              <a:gd name="connsiteX40" fmla="*/ 78377 w 2632166"/>
              <a:gd name="connsiteY40" fmla="*/ 901337 h 1525088"/>
              <a:gd name="connsiteX41" fmla="*/ 32657 w 2632166"/>
              <a:gd name="connsiteY41" fmla="*/ 809897 h 1525088"/>
              <a:gd name="connsiteX42" fmla="*/ 6531 w 2632166"/>
              <a:gd name="connsiteY42" fmla="*/ 724988 h 1525088"/>
              <a:gd name="connsiteX43" fmla="*/ 0 w 2632166"/>
              <a:gd name="connsiteY43" fmla="*/ 613954 h 1525088"/>
              <a:gd name="connsiteX44" fmla="*/ 42454 w 2632166"/>
              <a:gd name="connsiteY44" fmla="*/ 525780 h 1525088"/>
              <a:gd name="connsiteX45" fmla="*/ 117566 w 2632166"/>
              <a:gd name="connsiteY45" fmla="*/ 450668 h 1525088"/>
              <a:gd name="connsiteX46" fmla="*/ 218803 w 2632166"/>
              <a:gd name="connsiteY46" fmla="*/ 372291 h 1525088"/>
              <a:gd name="connsiteX47" fmla="*/ 365760 w 2632166"/>
              <a:gd name="connsiteY47" fmla="*/ 303711 h 1525088"/>
              <a:gd name="connsiteX48" fmla="*/ 522514 w 2632166"/>
              <a:gd name="connsiteY48" fmla="*/ 257991 h 1525088"/>
              <a:gd name="connsiteX49" fmla="*/ 646611 w 2632166"/>
              <a:gd name="connsiteY49" fmla="*/ 218803 h 1525088"/>
              <a:gd name="connsiteX50" fmla="*/ 790303 w 2632166"/>
              <a:gd name="connsiteY50" fmla="*/ 186145 h 1525088"/>
              <a:gd name="connsiteX51" fmla="*/ 950323 w 2632166"/>
              <a:gd name="connsiteY51" fmla="*/ 156754 h 1525088"/>
              <a:gd name="connsiteX52" fmla="*/ 1103811 w 2632166"/>
              <a:gd name="connsiteY52" fmla="*/ 127363 h 1525088"/>
              <a:gd name="connsiteX53" fmla="*/ 1394460 w 2632166"/>
              <a:gd name="connsiteY53" fmla="*/ 39188 h 1525088"/>
              <a:gd name="connsiteX54" fmla="*/ 1544683 w 2632166"/>
              <a:gd name="connsiteY54" fmla="*/ 13063 h 1525088"/>
              <a:gd name="connsiteX55" fmla="*/ 1678577 w 2632166"/>
              <a:gd name="connsiteY55" fmla="*/ 0 h 1525088"/>
              <a:gd name="connsiteX56" fmla="*/ 1766751 w 2632166"/>
              <a:gd name="connsiteY56" fmla="*/ 0 h 1525088"/>
              <a:gd name="connsiteX57" fmla="*/ 1851660 w 2632166"/>
              <a:gd name="connsiteY57" fmla="*/ 52251 h 1525088"/>
              <a:gd name="connsiteX58" fmla="*/ 1956163 w 2632166"/>
              <a:gd name="connsiteY58" fmla="*/ 133894 h 1525088"/>
              <a:gd name="connsiteX59" fmla="*/ 2060666 w 2632166"/>
              <a:gd name="connsiteY59" fmla="*/ 218803 h 1525088"/>
              <a:gd name="connsiteX60" fmla="*/ 2152106 w 2632166"/>
              <a:gd name="connsiteY60" fmla="*/ 284117 h 1525088"/>
              <a:gd name="connsiteX61" fmla="*/ 2188029 w 2632166"/>
              <a:gd name="connsiteY61" fmla="*/ 329837 h 1525088"/>
              <a:gd name="connsiteX62" fmla="*/ 2194560 w 2632166"/>
              <a:gd name="connsiteY62" fmla="*/ 378823 h 1525088"/>
              <a:gd name="connsiteX63" fmla="*/ 2168434 w 2632166"/>
              <a:gd name="connsiteY63" fmla="*/ 440871 h 1525088"/>
              <a:gd name="connsiteX64" fmla="*/ 2063931 w 2632166"/>
              <a:gd name="connsiteY64" fmla="*/ 480060 h 1525088"/>
              <a:gd name="connsiteX65" fmla="*/ 1936569 w 2632166"/>
              <a:gd name="connsiteY65" fmla="*/ 486591 h 1525088"/>
              <a:gd name="connsiteX66" fmla="*/ 1854926 w 2632166"/>
              <a:gd name="connsiteY66" fmla="*/ 480060 h 1525088"/>
              <a:gd name="connsiteX67" fmla="*/ 1707969 w 2632166"/>
              <a:gd name="connsiteY67" fmla="*/ 457200 h 1525088"/>
              <a:gd name="connsiteX68" fmla="*/ 1567543 w 2632166"/>
              <a:gd name="connsiteY68" fmla="*/ 431074 h 1525088"/>
              <a:gd name="connsiteX69" fmla="*/ 1436914 w 2632166"/>
              <a:gd name="connsiteY69" fmla="*/ 411480 h 1525088"/>
              <a:gd name="connsiteX70" fmla="*/ 1322614 w 2632166"/>
              <a:gd name="connsiteY70" fmla="*/ 414745 h 1525088"/>
              <a:gd name="connsiteX71" fmla="*/ 1214846 w 2632166"/>
              <a:gd name="connsiteY71" fmla="*/ 437605 h 1525088"/>
              <a:gd name="connsiteX72" fmla="*/ 1136469 w 2632166"/>
              <a:gd name="connsiteY72" fmla="*/ 470263 h 1525088"/>
              <a:gd name="connsiteX73" fmla="*/ 1002574 w 2632166"/>
              <a:gd name="connsiteY73" fmla="*/ 515983 h 1525088"/>
              <a:gd name="connsiteX74" fmla="*/ 920931 w 2632166"/>
              <a:gd name="connsiteY74" fmla="*/ 555171 h 1525088"/>
              <a:gd name="connsiteX75" fmla="*/ 777240 w 2632166"/>
              <a:gd name="connsiteY75" fmla="*/ 568234 h 1525088"/>
              <a:gd name="connsiteX76" fmla="*/ 633549 w 2632166"/>
              <a:gd name="connsiteY76" fmla="*/ 587828 h 1525088"/>
              <a:gd name="connsiteX77" fmla="*/ 545374 w 2632166"/>
              <a:gd name="connsiteY77" fmla="*/ 591094 h 1525088"/>
              <a:gd name="connsiteX78" fmla="*/ 408214 w 2632166"/>
              <a:gd name="connsiteY78" fmla="*/ 574765 h 1525088"/>
              <a:gd name="connsiteX79" fmla="*/ 287383 w 2632166"/>
              <a:gd name="connsiteY79" fmla="*/ 555171 h 1525088"/>
              <a:gd name="connsiteX80" fmla="*/ 169817 w 2632166"/>
              <a:gd name="connsiteY80" fmla="*/ 545374 h 1525088"/>
              <a:gd name="connsiteX0" fmla="*/ 2632166 w 2632166"/>
              <a:gd name="connsiteY0" fmla="*/ 1012371 h 1525088"/>
              <a:gd name="connsiteX1" fmla="*/ 2628900 w 2632166"/>
              <a:gd name="connsiteY1" fmla="*/ 1067888 h 1525088"/>
              <a:gd name="connsiteX2" fmla="*/ 2619103 w 2632166"/>
              <a:gd name="connsiteY2" fmla="*/ 1123405 h 1525088"/>
              <a:gd name="connsiteX3" fmla="*/ 2622369 w 2632166"/>
              <a:gd name="connsiteY3" fmla="*/ 1172391 h 1525088"/>
              <a:gd name="connsiteX4" fmla="*/ 2609306 w 2632166"/>
              <a:gd name="connsiteY4" fmla="*/ 1234440 h 1525088"/>
              <a:gd name="connsiteX5" fmla="*/ 2596243 w 2632166"/>
              <a:gd name="connsiteY5" fmla="*/ 1280160 h 1525088"/>
              <a:gd name="connsiteX6" fmla="*/ 2557054 w 2632166"/>
              <a:gd name="connsiteY6" fmla="*/ 1312817 h 1525088"/>
              <a:gd name="connsiteX7" fmla="*/ 2501537 w 2632166"/>
              <a:gd name="connsiteY7" fmla="*/ 1322614 h 1525088"/>
              <a:gd name="connsiteX8" fmla="*/ 2449286 w 2632166"/>
              <a:gd name="connsiteY8" fmla="*/ 1325880 h 1525088"/>
              <a:gd name="connsiteX9" fmla="*/ 2403566 w 2632166"/>
              <a:gd name="connsiteY9" fmla="*/ 1325880 h 1525088"/>
              <a:gd name="connsiteX10" fmla="*/ 2348049 w 2632166"/>
              <a:gd name="connsiteY10" fmla="*/ 1338943 h 1525088"/>
              <a:gd name="connsiteX11" fmla="*/ 2312126 w 2632166"/>
              <a:gd name="connsiteY11" fmla="*/ 1378131 h 1525088"/>
              <a:gd name="connsiteX12" fmla="*/ 2282734 w 2632166"/>
              <a:gd name="connsiteY12" fmla="*/ 1407523 h 1525088"/>
              <a:gd name="connsiteX13" fmla="*/ 2243546 w 2632166"/>
              <a:gd name="connsiteY13" fmla="*/ 1449977 h 1525088"/>
              <a:gd name="connsiteX14" fmla="*/ 2184763 w 2632166"/>
              <a:gd name="connsiteY14" fmla="*/ 1472837 h 1525088"/>
              <a:gd name="connsiteX15" fmla="*/ 2119449 w 2632166"/>
              <a:gd name="connsiteY15" fmla="*/ 1459774 h 1525088"/>
              <a:gd name="connsiteX16" fmla="*/ 2050869 w 2632166"/>
              <a:gd name="connsiteY16" fmla="*/ 1463040 h 1525088"/>
              <a:gd name="connsiteX17" fmla="*/ 2008414 w 2632166"/>
              <a:gd name="connsiteY17" fmla="*/ 1476103 h 1525088"/>
              <a:gd name="connsiteX18" fmla="*/ 1972491 w 2632166"/>
              <a:gd name="connsiteY18" fmla="*/ 1495697 h 1525088"/>
              <a:gd name="connsiteX19" fmla="*/ 1926771 w 2632166"/>
              <a:gd name="connsiteY19" fmla="*/ 1508760 h 1525088"/>
              <a:gd name="connsiteX20" fmla="*/ 1871254 w 2632166"/>
              <a:gd name="connsiteY20" fmla="*/ 1525088 h 1525088"/>
              <a:gd name="connsiteX21" fmla="*/ 1799409 w 2632166"/>
              <a:gd name="connsiteY21" fmla="*/ 1502228 h 1525088"/>
              <a:gd name="connsiteX22" fmla="*/ 1730829 w 2632166"/>
              <a:gd name="connsiteY22" fmla="*/ 1443445 h 1525088"/>
              <a:gd name="connsiteX23" fmla="*/ 1668780 w 2632166"/>
              <a:gd name="connsiteY23" fmla="*/ 1400991 h 1525088"/>
              <a:gd name="connsiteX24" fmla="*/ 1557746 w 2632166"/>
              <a:gd name="connsiteY24" fmla="*/ 1371600 h 1525088"/>
              <a:gd name="connsiteX25" fmla="*/ 1476103 w 2632166"/>
              <a:gd name="connsiteY25" fmla="*/ 1352005 h 1525088"/>
              <a:gd name="connsiteX26" fmla="*/ 1397726 w 2632166"/>
              <a:gd name="connsiteY26" fmla="*/ 1352005 h 1525088"/>
              <a:gd name="connsiteX27" fmla="*/ 1306286 w 2632166"/>
              <a:gd name="connsiteY27" fmla="*/ 1338943 h 1525088"/>
              <a:gd name="connsiteX28" fmla="*/ 1224643 w 2632166"/>
              <a:gd name="connsiteY28" fmla="*/ 1325880 h 1525088"/>
              <a:gd name="connsiteX29" fmla="*/ 1107077 w 2632166"/>
              <a:gd name="connsiteY29" fmla="*/ 1286691 h 1525088"/>
              <a:gd name="connsiteX30" fmla="*/ 966651 w 2632166"/>
              <a:gd name="connsiteY30" fmla="*/ 1254034 h 1525088"/>
              <a:gd name="connsiteX31" fmla="*/ 849086 w 2632166"/>
              <a:gd name="connsiteY31" fmla="*/ 1208314 h 1525088"/>
              <a:gd name="connsiteX32" fmla="*/ 751114 w 2632166"/>
              <a:gd name="connsiteY32" fmla="*/ 1185454 h 1525088"/>
              <a:gd name="connsiteX33" fmla="*/ 659674 w 2632166"/>
              <a:gd name="connsiteY33" fmla="*/ 1156063 h 1525088"/>
              <a:gd name="connsiteX34" fmla="*/ 545374 w 2632166"/>
              <a:gd name="connsiteY34" fmla="*/ 1123405 h 1525088"/>
              <a:gd name="connsiteX35" fmla="*/ 453934 w 2632166"/>
              <a:gd name="connsiteY35" fmla="*/ 1120140 h 1525088"/>
              <a:gd name="connsiteX36" fmla="*/ 375557 w 2632166"/>
              <a:gd name="connsiteY36" fmla="*/ 1113608 h 1525088"/>
              <a:gd name="connsiteX37" fmla="*/ 241663 w 2632166"/>
              <a:gd name="connsiteY37" fmla="*/ 1080951 h 1525088"/>
              <a:gd name="connsiteX38" fmla="*/ 173083 w 2632166"/>
              <a:gd name="connsiteY38" fmla="*/ 1045028 h 1525088"/>
              <a:gd name="connsiteX39" fmla="*/ 84909 w 2632166"/>
              <a:gd name="connsiteY39" fmla="*/ 950323 h 1525088"/>
              <a:gd name="connsiteX40" fmla="*/ 78377 w 2632166"/>
              <a:gd name="connsiteY40" fmla="*/ 901337 h 1525088"/>
              <a:gd name="connsiteX41" fmla="*/ 32657 w 2632166"/>
              <a:gd name="connsiteY41" fmla="*/ 809897 h 1525088"/>
              <a:gd name="connsiteX42" fmla="*/ 6531 w 2632166"/>
              <a:gd name="connsiteY42" fmla="*/ 724988 h 1525088"/>
              <a:gd name="connsiteX43" fmla="*/ 0 w 2632166"/>
              <a:gd name="connsiteY43" fmla="*/ 613954 h 1525088"/>
              <a:gd name="connsiteX44" fmla="*/ 42454 w 2632166"/>
              <a:gd name="connsiteY44" fmla="*/ 525780 h 1525088"/>
              <a:gd name="connsiteX45" fmla="*/ 117566 w 2632166"/>
              <a:gd name="connsiteY45" fmla="*/ 450668 h 1525088"/>
              <a:gd name="connsiteX46" fmla="*/ 218803 w 2632166"/>
              <a:gd name="connsiteY46" fmla="*/ 372291 h 1525088"/>
              <a:gd name="connsiteX47" fmla="*/ 365760 w 2632166"/>
              <a:gd name="connsiteY47" fmla="*/ 303711 h 1525088"/>
              <a:gd name="connsiteX48" fmla="*/ 522514 w 2632166"/>
              <a:gd name="connsiteY48" fmla="*/ 257991 h 1525088"/>
              <a:gd name="connsiteX49" fmla="*/ 646611 w 2632166"/>
              <a:gd name="connsiteY49" fmla="*/ 218803 h 1525088"/>
              <a:gd name="connsiteX50" fmla="*/ 790303 w 2632166"/>
              <a:gd name="connsiteY50" fmla="*/ 186145 h 1525088"/>
              <a:gd name="connsiteX51" fmla="*/ 950323 w 2632166"/>
              <a:gd name="connsiteY51" fmla="*/ 156754 h 1525088"/>
              <a:gd name="connsiteX52" fmla="*/ 1103811 w 2632166"/>
              <a:gd name="connsiteY52" fmla="*/ 127363 h 1525088"/>
              <a:gd name="connsiteX53" fmla="*/ 1394460 w 2632166"/>
              <a:gd name="connsiteY53" fmla="*/ 39188 h 1525088"/>
              <a:gd name="connsiteX54" fmla="*/ 1544683 w 2632166"/>
              <a:gd name="connsiteY54" fmla="*/ 13063 h 1525088"/>
              <a:gd name="connsiteX55" fmla="*/ 1678577 w 2632166"/>
              <a:gd name="connsiteY55" fmla="*/ 0 h 1525088"/>
              <a:gd name="connsiteX56" fmla="*/ 1766751 w 2632166"/>
              <a:gd name="connsiteY56" fmla="*/ 0 h 1525088"/>
              <a:gd name="connsiteX57" fmla="*/ 1851660 w 2632166"/>
              <a:gd name="connsiteY57" fmla="*/ 52251 h 1525088"/>
              <a:gd name="connsiteX58" fmla="*/ 1956163 w 2632166"/>
              <a:gd name="connsiteY58" fmla="*/ 133894 h 1525088"/>
              <a:gd name="connsiteX59" fmla="*/ 2060666 w 2632166"/>
              <a:gd name="connsiteY59" fmla="*/ 218803 h 1525088"/>
              <a:gd name="connsiteX60" fmla="*/ 2152106 w 2632166"/>
              <a:gd name="connsiteY60" fmla="*/ 284117 h 1525088"/>
              <a:gd name="connsiteX61" fmla="*/ 2188029 w 2632166"/>
              <a:gd name="connsiteY61" fmla="*/ 329837 h 1525088"/>
              <a:gd name="connsiteX62" fmla="*/ 2194560 w 2632166"/>
              <a:gd name="connsiteY62" fmla="*/ 378823 h 1525088"/>
              <a:gd name="connsiteX63" fmla="*/ 2168434 w 2632166"/>
              <a:gd name="connsiteY63" fmla="*/ 440871 h 1525088"/>
              <a:gd name="connsiteX64" fmla="*/ 2063931 w 2632166"/>
              <a:gd name="connsiteY64" fmla="*/ 480060 h 1525088"/>
              <a:gd name="connsiteX65" fmla="*/ 1936569 w 2632166"/>
              <a:gd name="connsiteY65" fmla="*/ 486591 h 1525088"/>
              <a:gd name="connsiteX66" fmla="*/ 1854926 w 2632166"/>
              <a:gd name="connsiteY66" fmla="*/ 480060 h 1525088"/>
              <a:gd name="connsiteX67" fmla="*/ 1707969 w 2632166"/>
              <a:gd name="connsiteY67" fmla="*/ 457200 h 1525088"/>
              <a:gd name="connsiteX68" fmla="*/ 1567543 w 2632166"/>
              <a:gd name="connsiteY68" fmla="*/ 431074 h 1525088"/>
              <a:gd name="connsiteX69" fmla="*/ 1436914 w 2632166"/>
              <a:gd name="connsiteY69" fmla="*/ 411480 h 1525088"/>
              <a:gd name="connsiteX70" fmla="*/ 1322614 w 2632166"/>
              <a:gd name="connsiteY70" fmla="*/ 414745 h 1525088"/>
              <a:gd name="connsiteX71" fmla="*/ 1214846 w 2632166"/>
              <a:gd name="connsiteY71" fmla="*/ 437605 h 1525088"/>
              <a:gd name="connsiteX72" fmla="*/ 1136469 w 2632166"/>
              <a:gd name="connsiteY72" fmla="*/ 470263 h 1525088"/>
              <a:gd name="connsiteX73" fmla="*/ 1002574 w 2632166"/>
              <a:gd name="connsiteY73" fmla="*/ 515983 h 1525088"/>
              <a:gd name="connsiteX74" fmla="*/ 920931 w 2632166"/>
              <a:gd name="connsiteY74" fmla="*/ 555171 h 1525088"/>
              <a:gd name="connsiteX75" fmla="*/ 777240 w 2632166"/>
              <a:gd name="connsiteY75" fmla="*/ 568234 h 1525088"/>
              <a:gd name="connsiteX76" fmla="*/ 633549 w 2632166"/>
              <a:gd name="connsiteY76" fmla="*/ 587828 h 1525088"/>
              <a:gd name="connsiteX77" fmla="*/ 545374 w 2632166"/>
              <a:gd name="connsiteY77" fmla="*/ 591094 h 1525088"/>
              <a:gd name="connsiteX78" fmla="*/ 408214 w 2632166"/>
              <a:gd name="connsiteY78" fmla="*/ 574765 h 1525088"/>
              <a:gd name="connsiteX79" fmla="*/ 287383 w 2632166"/>
              <a:gd name="connsiteY79" fmla="*/ 555171 h 1525088"/>
              <a:gd name="connsiteX80" fmla="*/ 169817 w 2632166"/>
              <a:gd name="connsiteY80" fmla="*/ 545374 h 1525088"/>
              <a:gd name="connsiteX0" fmla="*/ 2632166 w 2632166"/>
              <a:gd name="connsiteY0" fmla="*/ 1012371 h 1525088"/>
              <a:gd name="connsiteX1" fmla="*/ 2628900 w 2632166"/>
              <a:gd name="connsiteY1" fmla="*/ 1067888 h 1525088"/>
              <a:gd name="connsiteX2" fmla="*/ 2619103 w 2632166"/>
              <a:gd name="connsiteY2" fmla="*/ 1123405 h 1525088"/>
              <a:gd name="connsiteX3" fmla="*/ 2622369 w 2632166"/>
              <a:gd name="connsiteY3" fmla="*/ 1172391 h 1525088"/>
              <a:gd name="connsiteX4" fmla="*/ 2609306 w 2632166"/>
              <a:gd name="connsiteY4" fmla="*/ 1234440 h 1525088"/>
              <a:gd name="connsiteX5" fmla="*/ 2596243 w 2632166"/>
              <a:gd name="connsiteY5" fmla="*/ 1280160 h 1525088"/>
              <a:gd name="connsiteX6" fmla="*/ 2557054 w 2632166"/>
              <a:gd name="connsiteY6" fmla="*/ 1312817 h 1525088"/>
              <a:gd name="connsiteX7" fmla="*/ 2501537 w 2632166"/>
              <a:gd name="connsiteY7" fmla="*/ 1322614 h 1525088"/>
              <a:gd name="connsiteX8" fmla="*/ 2449286 w 2632166"/>
              <a:gd name="connsiteY8" fmla="*/ 1325880 h 1525088"/>
              <a:gd name="connsiteX9" fmla="*/ 2403566 w 2632166"/>
              <a:gd name="connsiteY9" fmla="*/ 1325880 h 1525088"/>
              <a:gd name="connsiteX10" fmla="*/ 2348049 w 2632166"/>
              <a:gd name="connsiteY10" fmla="*/ 1338943 h 1525088"/>
              <a:gd name="connsiteX11" fmla="*/ 2312126 w 2632166"/>
              <a:gd name="connsiteY11" fmla="*/ 1378131 h 1525088"/>
              <a:gd name="connsiteX12" fmla="*/ 2282734 w 2632166"/>
              <a:gd name="connsiteY12" fmla="*/ 1407523 h 1525088"/>
              <a:gd name="connsiteX13" fmla="*/ 2243546 w 2632166"/>
              <a:gd name="connsiteY13" fmla="*/ 1449977 h 1525088"/>
              <a:gd name="connsiteX14" fmla="*/ 2184763 w 2632166"/>
              <a:gd name="connsiteY14" fmla="*/ 1472837 h 1525088"/>
              <a:gd name="connsiteX15" fmla="*/ 2119449 w 2632166"/>
              <a:gd name="connsiteY15" fmla="*/ 1459774 h 1525088"/>
              <a:gd name="connsiteX16" fmla="*/ 2050869 w 2632166"/>
              <a:gd name="connsiteY16" fmla="*/ 1463040 h 1525088"/>
              <a:gd name="connsiteX17" fmla="*/ 2008414 w 2632166"/>
              <a:gd name="connsiteY17" fmla="*/ 1476103 h 1525088"/>
              <a:gd name="connsiteX18" fmla="*/ 1972491 w 2632166"/>
              <a:gd name="connsiteY18" fmla="*/ 1495697 h 1525088"/>
              <a:gd name="connsiteX19" fmla="*/ 1926771 w 2632166"/>
              <a:gd name="connsiteY19" fmla="*/ 1508760 h 1525088"/>
              <a:gd name="connsiteX20" fmla="*/ 1871254 w 2632166"/>
              <a:gd name="connsiteY20" fmla="*/ 1525088 h 1525088"/>
              <a:gd name="connsiteX21" fmla="*/ 1799409 w 2632166"/>
              <a:gd name="connsiteY21" fmla="*/ 1502228 h 1525088"/>
              <a:gd name="connsiteX22" fmla="*/ 1730829 w 2632166"/>
              <a:gd name="connsiteY22" fmla="*/ 1443445 h 1525088"/>
              <a:gd name="connsiteX23" fmla="*/ 1668780 w 2632166"/>
              <a:gd name="connsiteY23" fmla="*/ 1400991 h 1525088"/>
              <a:gd name="connsiteX24" fmla="*/ 1557746 w 2632166"/>
              <a:gd name="connsiteY24" fmla="*/ 1371600 h 1525088"/>
              <a:gd name="connsiteX25" fmla="*/ 1476103 w 2632166"/>
              <a:gd name="connsiteY25" fmla="*/ 1352005 h 1525088"/>
              <a:gd name="connsiteX26" fmla="*/ 1397726 w 2632166"/>
              <a:gd name="connsiteY26" fmla="*/ 1352005 h 1525088"/>
              <a:gd name="connsiteX27" fmla="*/ 1306286 w 2632166"/>
              <a:gd name="connsiteY27" fmla="*/ 1338943 h 1525088"/>
              <a:gd name="connsiteX28" fmla="*/ 1224643 w 2632166"/>
              <a:gd name="connsiteY28" fmla="*/ 1325880 h 1525088"/>
              <a:gd name="connsiteX29" fmla="*/ 1107077 w 2632166"/>
              <a:gd name="connsiteY29" fmla="*/ 1286691 h 1525088"/>
              <a:gd name="connsiteX30" fmla="*/ 966651 w 2632166"/>
              <a:gd name="connsiteY30" fmla="*/ 1254034 h 1525088"/>
              <a:gd name="connsiteX31" fmla="*/ 849086 w 2632166"/>
              <a:gd name="connsiteY31" fmla="*/ 1208314 h 1525088"/>
              <a:gd name="connsiteX32" fmla="*/ 751114 w 2632166"/>
              <a:gd name="connsiteY32" fmla="*/ 1185454 h 1525088"/>
              <a:gd name="connsiteX33" fmla="*/ 659674 w 2632166"/>
              <a:gd name="connsiteY33" fmla="*/ 1156063 h 1525088"/>
              <a:gd name="connsiteX34" fmla="*/ 545374 w 2632166"/>
              <a:gd name="connsiteY34" fmla="*/ 1123405 h 1525088"/>
              <a:gd name="connsiteX35" fmla="*/ 453934 w 2632166"/>
              <a:gd name="connsiteY35" fmla="*/ 1120140 h 1525088"/>
              <a:gd name="connsiteX36" fmla="*/ 375557 w 2632166"/>
              <a:gd name="connsiteY36" fmla="*/ 1113608 h 1525088"/>
              <a:gd name="connsiteX37" fmla="*/ 241663 w 2632166"/>
              <a:gd name="connsiteY37" fmla="*/ 1080951 h 1525088"/>
              <a:gd name="connsiteX38" fmla="*/ 173083 w 2632166"/>
              <a:gd name="connsiteY38" fmla="*/ 1045028 h 1525088"/>
              <a:gd name="connsiteX39" fmla="*/ 84909 w 2632166"/>
              <a:gd name="connsiteY39" fmla="*/ 950323 h 1525088"/>
              <a:gd name="connsiteX40" fmla="*/ 78377 w 2632166"/>
              <a:gd name="connsiteY40" fmla="*/ 901337 h 1525088"/>
              <a:gd name="connsiteX41" fmla="*/ 32657 w 2632166"/>
              <a:gd name="connsiteY41" fmla="*/ 809897 h 1525088"/>
              <a:gd name="connsiteX42" fmla="*/ 6531 w 2632166"/>
              <a:gd name="connsiteY42" fmla="*/ 724988 h 1525088"/>
              <a:gd name="connsiteX43" fmla="*/ 0 w 2632166"/>
              <a:gd name="connsiteY43" fmla="*/ 613954 h 1525088"/>
              <a:gd name="connsiteX44" fmla="*/ 42454 w 2632166"/>
              <a:gd name="connsiteY44" fmla="*/ 525780 h 1525088"/>
              <a:gd name="connsiteX45" fmla="*/ 117566 w 2632166"/>
              <a:gd name="connsiteY45" fmla="*/ 450668 h 1525088"/>
              <a:gd name="connsiteX46" fmla="*/ 218803 w 2632166"/>
              <a:gd name="connsiteY46" fmla="*/ 372291 h 1525088"/>
              <a:gd name="connsiteX47" fmla="*/ 365760 w 2632166"/>
              <a:gd name="connsiteY47" fmla="*/ 303711 h 1525088"/>
              <a:gd name="connsiteX48" fmla="*/ 522514 w 2632166"/>
              <a:gd name="connsiteY48" fmla="*/ 257991 h 1525088"/>
              <a:gd name="connsiteX49" fmla="*/ 646611 w 2632166"/>
              <a:gd name="connsiteY49" fmla="*/ 218803 h 1525088"/>
              <a:gd name="connsiteX50" fmla="*/ 790303 w 2632166"/>
              <a:gd name="connsiteY50" fmla="*/ 186145 h 1525088"/>
              <a:gd name="connsiteX51" fmla="*/ 950323 w 2632166"/>
              <a:gd name="connsiteY51" fmla="*/ 156754 h 1525088"/>
              <a:gd name="connsiteX52" fmla="*/ 1103811 w 2632166"/>
              <a:gd name="connsiteY52" fmla="*/ 127363 h 1525088"/>
              <a:gd name="connsiteX53" fmla="*/ 1394460 w 2632166"/>
              <a:gd name="connsiteY53" fmla="*/ 39188 h 1525088"/>
              <a:gd name="connsiteX54" fmla="*/ 1544683 w 2632166"/>
              <a:gd name="connsiteY54" fmla="*/ 13063 h 1525088"/>
              <a:gd name="connsiteX55" fmla="*/ 1678577 w 2632166"/>
              <a:gd name="connsiteY55" fmla="*/ 0 h 1525088"/>
              <a:gd name="connsiteX56" fmla="*/ 1766751 w 2632166"/>
              <a:gd name="connsiteY56" fmla="*/ 0 h 1525088"/>
              <a:gd name="connsiteX57" fmla="*/ 1851660 w 2632166"/>
              <a:gd name="connsiteY57" fmla="*/ 52251 h 1525088"/>
              <a:gd name="connsiteX58" fmla="*/ 1956163 w 2632166"/>
              <a:gd name="connsiteY58" fmla="*/ 133894 h 1525088"/>
              <a:gd name="connsiteX59" fmla="*/ 2060666 w 2632166"/>
              <a:gd name="connsiteY59" fmla="*/ 218803 h 1525088"/>
              <a:gd name="connsiteX60" fmla="*/ 2152106 w 2632166"/>
              <a:gd name="connsiteY60" fmla="*/ 284117 h 1525088"/>
              <a:gd name="connsiteX61" fmla="*/ 2188029 w 2632166"/>
              <a:gd name="connsiteY61" fmla="*/ 329837 h 1525088"/>
              <a:gd name="connsiteX62" fmla="*/ 2194560 w 2632166"/>
              <a:gd name="connsiteY62" fmla="*/ 378823 h 1525088"/>
              <a:gd name="connsiteX63" fmla="*/ 2168434 w 2632166"/>
              <a:gd name="connsiteY63" fmla="*/ 440871 h 1525088"/>
              <a:gd name="connsiteX64" fmla="*/ 2063931 w 2632166"/>
              <a:gd name="connsiteY64" fmla="*/ 480060 h 1525088"/>
              <a:gd name="connsiteX65" fmla="*/ 1936569 w 2632166"/>
              <a:gd name="connsiteY65" fmla="*/ 486591 h 1525088"/>
              <a:gd name="connsiteX66" fmla="*/ 1854926 w 2632166"/>
              <a:gd name="connsiteY66" fmla="*/ 480060 h 1525088"/>
              <a:gd name="connsiteX67" fmla="*/ 1707969 w 2632166"/>
              <a:gd name="connsiteY67" fmla="*/ 457200 h 1525088"/>
              <a:gd name="connsiteX68" fmla="*/ 1567543 w 2632166"/>
              <a:gd name="connsiteY68" fmla="*/ 431074 h 1525088"/>
              <a:gd name="connsiteX69" fmla="*/ 1436914 w 2632166"/>
              <a:gd name="connsiteY69" fmla="*/ 411480 h 1525088"/>
              <a:gd name="connsiteX70" fmla="*/ 1322614 w 2632166"/>
              <a:gd name="connsiteY70" fmla="*/ 414745 h 1525088"/>
              <a:gd name="connsiteX71" fmla="*/ 1214846 w 2632166"/>
              <a:gd name="connsiteY71" fmla="*/ 437605 h 1525088"/>
              <a:gd name="connsiteX72" fmla="*/ 1136469 w 2632166"/>
              <a:gd name="connsiteY72" fmla="*/ 470263 h 1525088"/>
              <a:gd name="connsiteX73" fmla="*/ 1002574 w 2632166"/>
              <a:gd name="connsiteY73" fmla="*/ 515983 h 1525088"/>
              <a:gd name="connsiteX74" fmla="*/ 920931 w 2632166"/>
              <a:gd name="connsiteY74" fmla="*/ 555171 h 1525088"/>
              <a:gd name="connsiteX75" fmla="*/ 777240 w 2632166"/>
              <a:gd name="connsiteY75" fmla="*/ 568234 h 1525088"/>
              <a:gd name="connsiteX76" fmla="*/ 633549 w 2632166"/>
              <a:gd name="connsiteY76" fmla="*/ 587828 h 1525088"/>
              <a:gd name="connsiteX77" fmla="*/ 545374 w 2632166"/>
              <a:gd name="connsiteY77" fmla="*/ 591094 h 1525088"/>
              <a:gd name="connsiteX78" fmla="*/ 408214 w 2632166"/>
              <a:gd name="connsiteY78" fmla="*/ 574765 h 1525088"/>
              <a:gd name="connsiteX79" fmla="*/ 287383 w 2632166"/>
              <a:gd name="connsiteY79" fmla="*/ 555171 h 1525088"/>
              <a:gd name="connsiteX80" fmla="*/ 169817 w 2632166"/>
              <a:gd name="connsiteY80" fmla="*/ 545374 h 1525088"/>
              <a:gd name="connsiteX0" fmla="*/ 2632166 w 2632166"/>
              <a:gd name="connsiteY0" fmla="*/ 1012371 h 1525088"/>
              <a:gd name="connsiteX1" fmla="*/ 2628900 w 2632166"/>
              <a:gd name="connsiteY1" fmla="*/ 1067888 h 1525088"/>
              <a:gd name="connsiteX2" fmla="*/ 2619103 w 2632166"/>
              <a:gd name="connsiteY2" fmla="*/ 1123405 h 1525088"/>
              <a:gd name="connsiteX3" fmla="*/ 2622369 w 2632166"/>
              <a:gd name="connsiteY3" fmla="*/ 1172391 h 1525088"/>
              <a:gd name="connsiteX4" fmla="*/ 2609306 w 2632166"/>
              <a:gd name="connsiteY4" fmla="*/ 1234440 h 1525088"/>
              <a:gd name="connsiteX5" fmla="*/ 2596243 w 2632166"/>
              <a:gd name="connsiteY5" fmla="*/ 1280160 h 1525088"/>
              <a:gd name="connsiteX6" fmla="*/ 2557054 w 2632166"/>
              <a:gd name="connsiteY6" fmla="*/ 1312817 h 1525088"/>
              <a:gd name="connsiteX7" fmla="*/ 2501537 w 2632166"/>
              <a:gd name="connsiteY7" fmla="*/ 1322614 h 1525088"/>
              <a:gd name="connsiteX8" fmla="*/ 2449286 w 2632166"/>
              <a:gd name="connsiteY8" fmla="*/ 1325880 h 1525088"/>
              <a:gd name="connsiteX9" fmla="*/ 2403566 w 2632166"/>
              <a:gd name="connsiteY9" fmla="*/ 1325880 h 1525088"/>
              <a:gd name="connsiteX10" fmla="*/ 2348049 w 2632166"/>
              <a:gd name="connsiteY10" fmla="*/ 1338943 h 1525088"/>
              <a:gd name="connsiteX11" fmla="*/ 2312126 w 2632166"/>
              <a:gd name="connsiteY11" fmla="*/ 1378131 h 1525088"/>
              <a:gd name="connsiteX12" fmla="*/ 2282734 w 2632166"/>
              <a:gd name="connsiteY12" fmla="*/ 1407523 h 1525088"/>
              <a:gd name="connsiteX13" fmla="*/ 2243546 w 2632166"/>
              <a:gd name="connsiteY13" fmla="*/ 1449977 h 1525088"/>
              <a:gd name="connsiteX14" fmla="*/ 2184763 w 2632166"/>
              <a:gd name="connsiteY14" fmla="*/ 1472837 h 1525088"/>
              <a:gd name="connsiteX15" fmla="*/ 2119449 w 2632166"/>
              <a:gd name="connsiteY15" fmla="*/ 1459774 h 1525088"/>
              <a:gd name="connsiteX16" fmla="*/ 2050869 w 2632166"/>
              <a:gd name="connsiteY16" fmla="*/ 1463040 h 1525088"/>
              <a:gd name="connsiteX17" fmla="*/ 2008414 w 2632166"/>
              <a:gd name="connsiteY17" fmla="*/ 1476103 h 1525088"/>
              <a:gd name="connsiteX18" fmla="*/ 1972491 w 2632166"/>
              <a:gd name="connsiteY18" fmla="*/ 1495697 h 1525088"/>
              <a:gd name="connsiteX19" fmla="*/ 1926771 w 2632166"/>
              <a:gd name="connsiteY19" fmla="*/ 1508760 h 1525088"/>
              <a:gd name="connsiteX20" fmla="*/ 1871254 w 2632166"/>
              <a:gd name="connsiteY20" fmla="*/ 1525088 h 1525088"/>
              <a:gd name="connsiteX21" fmla="*/ 1799409 w 2632166"/>
              <a:gd name="connsiteY21" fmla="*/ 1502228 h 1525088"/>
              <a:gd name="connsiteX22" fmla="*/ 1730829 w 2632166"/>
              <a:gd name="connsiteY22" fmla="*/ 1443445 h 1525088"/>
              <a:gd name="connsiteX23" fmla="*/ 1668780 w 2632166"/>
              <a:gd name="connsiteY23" fmla="*/ 1400991 h 1525088"/>
              <a:gd name="connsiteX24" fmla="*/ 1557746 w 2632166"/>
              <a:gd name="connsiteY24" fmla="*/ 1371600 h 1525088"/>
              <a:gd name="connsiteX25" fmla="*/ 1476103 w 2632166"/>
              <a:gd name="connsiteY25" fmla="*/ 1352005 h 1525088"/>
              <a:gd name="connsiteX26" fmla="*/ 1397726 w 2632166"/>
              <a:gd name="connsiteY26" fmla="*/ 1352005 h 1525088"/>
              <a:gd name="connsiteX27" fmla="*/ 1306286 w 2632166"/>
              <a:gd name="connsiteY27" fmla="*/ 1338943 h 1525088"/>
              <a:gd name="connsiteX28" fmla="*/ 1224643 w 2632166"/>
              <a:gd name="connsiteY28" fmla="*/ 1325880 h 1525088"/>
              <a:gd name="connsiteX29" fmla="*/ 1107077 w 2632166"/>
              <a:gd name="connsiteY29" fmla="*/ 1286691 h 1525088"/>
              <a:gd name="connsiteX30" fmla="*/ 966651 w 2632166"/>
              <a:gd name="connsiteY30" fmla="*/ 1254034 h 1525088"/>
              <a:gd name="connsiteX31" fmla="*/ 849086 w 2632166"/>
              <a:gd name="connsiteY31" fmla="*/ 1208314 h 1525088"/>
              <a:gd name="connsiteX32" fmla="*/ 751114 w 2632166"/>
              <a:gd name="connsiteY32" fmla="*/ 1185454 h 1525088"/>
              <a:gd name="connsiteX33" fmla="*/ 659674 w 2632166"/>
              <a:gd name="connsiteY33" fmla="*/ 1156063 h 1525088"/>
              <a:gd name="connsiteX34" fmla="*/ 545374 w 2632166"/>
              <a:gd name="connsiteY34" fmla="*/ 1123405 h 1525088"/>
              <a:gd name="connsiteX35" fmla="*/ 453934 w 2632166"/>
              <a:gd name="connsiteY35" fmla="*/ 1120140 h 1525088"/>
              <a:gd name="connsiteX36" fmla="*/ 375557 w 2632166"/>
              <a:gd name="connsiteY36" fmla="*/ 1113608 h 1525088"/>
              <a:gd name="connsiteX37" fmla="*/ 241663 w 2632166"/>
              <a:gd name="connsiteY37" fmla="*/ 1080951 h 1525088"/>
              <a:gd name="connsiteX38" fmla="*/ 173083 w 2632166"/>
              <a:gd name="connsiteY38" fmla="*/ 1045028 h 1525088"/>
              <a:gd name="connsiteX39" fmla="*/ 84909 w 2632166"/>
              <a:gd name="connsiteY39" fmla="*/ 950323 h 1525088"/>
              <a:gd name="connsiteX40" fmla="*/ 78377 w 2632166"/>
              <a:gd name="connsiteY40" fmla="*/ 901337 h 1525088"/>
              <a:gd name="connsiteX41" fmla="*/ 32657 w 2632166"/>
              <a:gd name="connsiteY41" fmla="*/ 809897 h 1525088"/>
              <a:gd name="connsiteX42" fmla="*/ 6531 w 2632166"/>
              <a:gd name="connsiteY42" fmla="*/ 724988 h 1525088"/>
              <a:gd name="connsiteX43" fmla="*/ 0 w 2632166"/>
              <a:gd name="connsiteY43" fmla="*/ 613954 h 1525088"/>
              <a:gd name="connsiteX44" fmla="*/ 42454 w 2632166"/>
              <a:gd name="connsiteY44" fmla="*/ 525780 h 1525088"/>
              <a:gd name="connsiteX45" fmla="*/ 117566 w 2632166"/>
              <a:gd name="connsiteY45" fmla="*/ 450668 h 1525088"/>
              <a:gd name="connsiteX46" fmla="*/ 218803 w 2632166"/>
              <a:gd name="connsiteY46" fmla="*/ 372291 h 1525088"/>
              <a:gd name="connsiteX47" fmla="*/ 365760 w 2632166"/>
              <a:gd name="connsiteY47" fmla="*/ 303711 h 1525088"/>
              <a:gd name="connsiteX48" fmla="*/ 522514 w 2632166"/>
              <a:gd name="connsiteY48" fmla="*/ 257991 h 1525088"/>
              <a:gd name="connsiteX49" fmla="*/ 646611 w 2632166"/>
              <a:gd name="connsiteY49" fmla="*/ 218803 h 1525088"/>
              <a:gd name="connsiteX50" fmla="*/ 790303 w 2632166"/>
              <a:gd name="connsiteY50" fmla="*/ 186145 h 1525088"/>
              <a:gd name="connsiteX51" fmla="*/ 950323 w 2632166"/>
              <a:gd name="connsiteY51" fmla="*/ 156754 h 1525088"/>
              <a:gd name="connsiteX52" fmla="*/ 1103811 w 2632166"/>
              <a:gd name="connsiteY52" fmla="*/ 127363 h 1525088"/>
              <a:gd name="connsiteX53" fmla="*/ 1394460 w 2632166"/>
              <a:gd name="connsiteY53" fmla="*/ 39188 h 1525088"/>
              <a:gd name="connsiteX54" fmla="*/ 1544683 w 2632166"/>
              <a:gd name="connsiteY54" fmla="*/ 13063 h 1525088"/>
              <a:gd name="connsiteX55" fmla="*/ 1678577 w 2632166"/>
              <a:gd name="connsiteY55" fmla="*/ 0 h 1525088"/>
              <a:gd name="connsiteX56" fmla="*/ 1766751 w 2632166"/>
              <a:gd name="connsiteY56" fmla="*/ 0 h 1525088"/>
              <a:gd name="connsiteX57" fmla="*/ 1851660 w 2632166"/>
              <a:gd name="connsiteY57" fmla="*/ 52251 h 1525088"/>
              <a:gd name="connsiteX58" fmla="*/ 1956163 w 2632166"/>
              <a:gd name="connsiteY58" fmla="*/ 133894 h 1525088"/>
              <a:gd name="connsiteX59" fmla="*/ 2060666 w 2632166"/>
              <a:gd name="connsiteY59" fmla="*/ 218803 h 1525088"/>
              <a:gd name="connsiteX60" fmla="*/ 2152106 w 2632166"/>
              <a:gd name="connsiteY60" fmla="*/ 284117 h 1525088"/>
              <a:gd name="connsiteX61" fmla="*/ 2188029 w 2632166"/>
              <a:gd name="connsiteY61" fmla="*/ 329837 h 1525088"/>
              <a:gd name="connsiteX62" fmla="*/ 2194560 w 2632166"/>
              <a:gd name="connsiteY62" fmla="*/ 378823 h 1525088"/>
              <a:gd name="connsiteX63" fmla="*/ 2168434 w 2632166"/>
              <a:gd name="connsiteY63" fmla="*/ 440871 h 1525088"/>
              <a:gd name="connsiteX64" fmla="*/ 2063931 w 2632166"/>
              <a:gd name="connsiteY64" fmla="*/ 480060 h 1525088"/>
              <a:gd name="connsiteX65" fmla="*/ 1936569 w 2632166"/>
              <a:gd name="connsiteY65" fmla="*/ 486591 h 1525088"/>
              <a:gd name="connsiteX66" fmla="*/ 1854926 w 2632166"/>
              <a:gd name="connsiteY66" fmla="*/ 480060 h 1525088"/>
              <a:gd name="connsiteX67" fmla="*/ 1707969 w 2632166"/>
              <a:gd name="connsiteY67" fmla="*/ 457200 h 1525088"/>
              <a:gd name="connsiteX68" fmla="*/ 1567543 w 2632166"/>
              <a:gd name="connsiteY68" fmla="*/ 431074 h 1525088"/>
              <a:gd name="connsiteX69" fmla="*/ 1436914 w 2632166"/>
              <a:gd name="connsiteY69" fmla="*/ 411480 h 1525088"/>
              <a:gd name="connsiteX70" fmla="*/ 1322614 w 2632166"/>
              <a:gd name="connsiteY70" fmla="*/ 414745 h 1525088"/>
              <a:gd name="connsiteX71" fmla="*/ 1214846 w 2632166"/>
              <a:gd name="connsiteY71" fmla="*/ 437605 h 1525088"/>
              <a:gd name="connsiteX72" fmla="*/ 1136469 w 2632166"/>
              <a:gd name="connsiteY72" fmla="*/ 470263 h 1525088"/>
              <a:gd name="connsiteX73" fmla="*/ 1002574 w 2632166"/>
              <a:gd name="connsiteY73" fmla="*/ 515983 h 1525088"/>
              <a:gd name="connsiteX74" fmla="*/ 920931 w 2632166"/>
              <a:gd name="connsiteY74" fmla="*/ 555171 h 1525088"/>
              <a:gd name="connsiteX75" fmla="*/ 777240 w 2632166"/>
              <a:gd name="connsiteY75" fmla="*/ 568234 h 1525088"/>
              <a:gd name="connsiteX76" fmla="*/ 633549 w 2632166"/>
              <a:gd name="connsiteY76" fmla="*/ 587828 h 1525088"/>
              <a:gd name="connsiteX77" fmla="*/ 545374 w 2632166"/>
              <a:gd name="connsiteY77" fmla="*/ 591094 h 1525088"/>
              <a:gd name="connsiteX78" fmla="*/ 408214 w 2632166"/>
              <a:gd name="connsiteY78" fmla="*/ 574765 h 1525088"/>
              <a:gd name="connsiteX79" fmla="*/ 287383 w 2632166"/>
              <a:gd name="connsiteY79" fmla="*/ 555171 h 1525088"/>
              <a:gd name="connsiteX80" fmla="*/ 169817 w 2632166"/>
              <a:gd name="connsiteY80" fmla="*/ 545374 h 1525088"/>
              <a:gd name="connsiteX0" fmla="*/ 2632166 w 2632166"/>
              <a:gd name="connsiteY0" fmla="*/ 1012371 h 1525088"/>
              <a:gd name="connsiteX1" fmla="*/ 2628900 w 2632166"/>
              <a:gd name="connsiteY1" fmla="*/ 1067888 h 1525088"/>
              <a:gd name="connsiteX2" fmla="*/ 2623865 w 2632166"/>
              <a:gd name="connsiteY2" fmla="*/ 1125787 h 1525088"/>
              <a:gd name="connsiteX3" fmla="*/ 2622369 w 2632166"/>
              <a:gd name="connsiteY3" fmla="*/ 1172391 h 1525088"/>
              <a:gd name="connsiteX4" fmla="*/ 2609306 w 2632166"/>
              <a:gd name="connsiteY4" fmla="*/ 1234440 h 1525088"/>
              <a:gd name="connsiteX5" fmla="*/ 2596243 w 2632166"/>
              <a:gd name="connsiteY5" fmla="*/ 1280160 h 1525088"/>
              <a:gd name="connsiteX6" fmla="*/ 2557054 w 2632166"/>
              <a:gd name="connsiteY6" fmla="*/ 1312817 h 1525088"/>
              <a:gd name="connsiteX7" fmla="*/ 2501537 w 2632166"/>
              <a:gd name="connsiteY7" fmla="*/ 1322614 h 1525088"/>
              <a:gd name="connsiteX8" fmla="*/ 2449286 w 2632166"/>
              <a:gd name="connsiteY8" fmla="*/ 1325880 h 1525088"/>
              <a:gd name="connsiteX9" fmla="*/ 2403566 w 2632166"/>
              <a:gd name="connsiteY9" fmla="*/ 1325880 h 1525088"/>
              <a:gd name="connsiteX10" fmla="*/ 2348049 w 2632166"/>
              <a:gd name="connsiteY10" fmla="*/ 1338943 h 1525088"/>
              <a:gd name="connsiteX11" fmla="*/ 2312126 w 2632166"/>
              <a:gd name="connsiteY11" fmla="*/ 1378131 h 1525088"/>
              <a:gd name="connsiteX12" fmla="*/ 2282734 w 2632166"/>
              <a:gd name="connsiteY12" fmla="*/ 1407523 h 1525088"/>
              <a:gd name="connsiteX13" fmla="*/ 2243546 w 2632166"/>
              <a:gd name="connsiteY13" fmla="*/ 1449977 h 1525088"/>
              <a:gd name="connsiteX14" fmla="*/ 2184763 w 2632166"/>
              <a:gd name="connsiteY14" fmla="*/ 1472837 h 1525088"/>
              <a:gd name="connsiteX15" fmla="*/ 2119449 w 2632166"/>
              <a:gd name="connsiteY15" fmla="*/ 1459774 h 1525088"/>
              <a:gd name="connsiteX16" fmla="*/ 2050869 w 2632166"/>
              <a:gd name="connsiteY16" fmla="*/ 1463040 h 1525088"/>
              <a:gd name="connsiteX17" fmla="*/ 2008414 w 2632166"/>
              <a:gd name="connsiteY17" fmla="*/ 1476103 h 1525088"/>
              <a:gd name="connsiteX18" fmla="*/ 1972491 w 2632166"/>
              <a:gd name="connsiteY18" fmla="*/ 1495697 h 1525088"/>
              <a:gd name="connsiteX19" fmla="*/ 1926771 w 2632166"/>
              <a:gd name="connsiteY19" fmla="*/ 1508760 h 1525088"/>
              <a:gd name="connsiteX20" fmla="*/ 1871254 w 2632166"/>
              <a:gd name="connsiteY20" fmla="*/ 1525088 h 1525088"/>
              <a:gd name="connsiteX21" fmla="*/ 1799409 w 2632166"/>
              <a:gd name="connsiteY21" fmla="*/ 1502228 h 1525088"/>
              <a:gd name="connsiteX22" fmla="*/ 1730829 w 2632166"/>
              <a:gd name="connsiteY22" fmla="*/ 1443445 h 1525088"/>
              <a:gd name="connsiteX23" fmla="*/ 1668780 w 2632166"/>
              <a:gd name="connsiteY23" fmla="*/ 1400991 h 1525088"/>
              <a:gd name="connsiteX24" fmla="*/ 1557746 w 2632166"/>
              <a:gd name="connsiteY24" fmla="*/ 1371600 h 1525088"/>
              <a:gd name="connsiteX25" fmla="*/ 1476103 w 2632166"/>
              <a:gd name="connsiteY25" fmla="*/ 1352005 h 1525088"/>
              <a:gd name="connsiteX26" fmla="*/ 1397726 w 2632166"/>
              <a:gd name="connsiteY26" fmla="*/ 1352005 h 1525088"/>
              <a:gd name="connsiteX27" fmla="*/ 1306286 w 2632166"/>
              <a:gd name="connsiteY27" fmla="*/ 1338943 h 1525088"/>
              <a:gd name="connsiteX28" fmla="*/ 1224643 w 2632166"/>
              <a:gd name="connsiteY28" fmla="*/ 1325880 h 1525088"/>
              <a:gd name="connsiteX29" fmla="*/ 1107077 w 2632166"/>
              <a:gd name="connsiteY29" fmla="*/ 1286691 h 1525088"/>
              <a:gd name="connsiteX30" fmla="*/ 966651 w 2632166"/>
              <a:gd name="connsiteY30" fmla="*/ 1254034 h 1525088"/>
              <a:gd name="connsiteX31" fmla="*/ 849086 w 2632166"/>
              <a:gd name="connsiteY31" fmla="*/ 1208314 h 1525088"/>
              <a:gd name="connsiteX32" fmla="*/ 751114 w 2632166"/>
              <a:gd name="connsiteY32" fmla="*/ 1185454 h 1525088"/>
              <a:gd name="connsiteX33" fmla="*/ 659674 w 2632166"/>
              <a:gd name="connsiteY33" fmla="*/ 1156063 h 1525088"/>
              <a:gd name="connsiteX34" fmla="*/ 545374 w 2632166"/>
              <a:gd name="connsiteY34" fmla="*/ 1123405 h 1525088"/>
              <a:gd name="connsiteX35" fmla="*/ 453934 w 2632166"/>
              <a:gd name="connsiteY35" fmla="*/ 1120140 h 1525088"/>
              <a:gd name="connsiteX36" fmla="*/ 375557 w 2632166"/>
              <a:gd name="connsiteY36" fmla="*/ 1113608 h 1525088"/>
              <a:gd name="connsiteX37" fmla="*/ 241663 w 2632166"/>
              <a:gd name="connsiteY37" fmla="*/ 1080951 h 1525088"/>
              <a:gd name="connsiteX38" fmla="*/ 173083 w 2632166"/>
              <a:gd name="connsiteY38" fmla="*/ 1045028 h 1525088"/>
              <a:gd name="connsiteX39" fmla="*/ 84909 w 2632166"/>
              <a:gd name="connsiteY39" fmla="*/ 950323 h 1525088"/>
              <a:gd name="connsiteX40" fmla="*/ 78377 w 2632166"/>
              <a:gd name="connsiteY40" fmla="*/ 901337 h 1525088"/>
              <a:gd name="connsiteX41" fmla="*/ 32657 w 2632166"/>
              <a:gd name="connsiteY41" fmla="*/ 809897 h 1525088"/>
              <a:gd name="connsiteX42" fmla="*/ 6531 w 2632166"/>
              <a:gd name="connsiteY42" fmla="*/ 724988 h 1525088"/>
              <a:gd name="connsiteX43" fmla="*/ 0 w 2632166"/>
              <a:gd name="connsiteY43" fmla="*/ 613954 h 1525088"/>
              <a:gd name="connsiteX44" fmla="*/ 42454 w 2632166"/>
              <a:gd name="connsiteY44" fmla="*/ 525780 h 1525088"/>
              <a:gd name="connsiteX45" fmla="*/ 117566 w 2632166"/>
              <a:gd name="connsiteY45" fmla="*/ 450668 h 1525088"/>
              <a:gd name="connsiteX46" fmla="*/ 218803 w 2632166"/>
              <a:gd name="connsiteY46" fmla="*/ 372291 h 1525088"/>
              <a:gd name="connsiteX47" fmla="*/ 365760 w 2632166"/>
              <a:gd name="connsiteY47" fmla="*/ 303711 h 1525088"/>
              <a:gd name="connsiteX48" fmla="*/ 522514 w 2632166"/>
              <a:gd name="connsiteY48" fmla="*/ 257991 h 1525088"/>
              <a:gd name="connsiteX49" fmla="*/ 646611 w 2632166"/>
              <a:gd name="connsiteY49" fmla="*/ 218803 h 1525088"/>
              <a:gd name="connsiteX50" fmla="*/ 790303 w 2632166"/>
              <a:gd name="connsiteY50" fmla="*/ 186145 h 1525088"/>
              <a:gd name="connsiteX51" fmla="*/ 950323 w 2632166"/>
              <a:gd name="connsiteY51" fmla="*/ 156754 h 1525088"/>
              <a:gd name="connsiteX52" fmla="*/ 1103811 w 2632166"/>
              <a:gd name="connsiteY52" fmla="*/ 127363 h 1525088"/>
              <a:gd name="connsiteX53" fmla="*/ 1394460 w 2632166"/>
              <a:gd name="connsiteY53" fmla="*/ 39188 h 1525088"/>
              <a:gd name="connsiteX54" fmla="*/ 1544683 w 2632166"/>
              <a:gd name="connsiteY54" fmla="*/ 13063 h 1525088"/>
              <a:gd name="connsiteX55" fmla="*/ 1678577 w 2632166"/>
              <a:gd name="connsiteY55" fmla="*/ 0 h 1525088"/>
              <a:gd name="connsiteX56" fmla="*/ 1766751 w 2632166"/>
              <a:gd name="connsiteY56" fmla="*/ 0 h 1525088"/>
              <a:gd name="connsiteX57" fmla="*/ 1851660 w 2632166"/>
              <a:gd name="connsiteY57" fmla="*/ 52251 h 1525088"/>
              <a:gd name="connsiteX58" fmla="*/ 1956163 w 2632166"/>
              <a:gd name="connsiteY58" fmla="*/ 133894 h 1525088"/>
              <a:gd name="connsiteX59" fmla="*/ 2060666 w 2632166"/>
              <a:gd name="connsiteY59" fmla="*/ 218803 h 1525088"/>
              <a:gd name="connsiteX60" fmla="*/ 2152106 w 2632166"/>
              <a:gd name="connsiteY60" fmla="*/ 284117 h 1525088"/>
              <a:gd name="connsiteX61" fmla="*/ 2188029 w 2632166"/>
              <a:gd name="connsiteY61" fmla="*/ 329837 h 1525088"/>
              <a:gd name="connsiteX62" fmla="*/ 2194560 w 2632166"/>
              <a:gd name="connsiteY62" fmla="*/ 378823 h 1525088"/>
              <a:gd name="connsiteX63" fmla="*/ 2168434 w 2632166"/>
              <a:gd name="connsiteY63" fmla="*/ 440871 h 1525088"/>
              <a:gd name="connsiteX64" fmla="*/ 2063931 w 2632166"/>
              <a:gd name="connsiteY64" fmla="*/ 480060 h 1525088"/>
              <a:gd name="connsiteX65" fmla="*/ 1936569 w 2632166"/>
              <a:gd name="connsiteY65" fmla="*/ 486591 h 1525088"/>
              <a:gd name="connsiteX66" fmla="*/ 1854926 w 2632166"/>
              <a:gd name="connsiteY66" fmla="*/ 480060 h 1525088"/>
              <a:gd name="connsiteX67" fmla="*/ 1707969 w 2632166"/>
              <a:gd name="connsiteY67" fmla="*/ 457200 h 1525088"/>
              <a:gd name="connsiteX68" fmla="*/ 1567543 w 2632166"/>
              <a:gd name="connsiteY68" fmla="*/ 431074 h 1525088"/>
              <a:gd name="connsiteX69" fmla="*/ 1436914 w 2632166"/>
              <a:gd name="connsiteY69" fmla="*/ 411480 h 1525088"/>
              <a:gd name="connsiteX70" fmla="*/ 1322614 w 2632166"/>
              <a:gd name="connsiteY70" fmla="*/ 414745 h 1525088"/>
              <a:gd name="connsiteX71" fmla="*/ 1214846 w 2632166"/>
              <a:gd name="connsiteY71" fmla="*/ 437605 h 1525088"/>
              <a:gd name="connsiteX72" fmla="*/ 1136469 w 2632166"/>
              <a:gd name="connsiteY72" fmla="*/ 470263 h 1525088"/>
              <a:gd name="connsiteX73" fmla="*/ 1002574 w 2632166"/>
              <a:gd name="connsiteY73" fmla="*/ 515983 h 1525088"/>
              <a:gd name="connsiteX74" fmla="*/ 920931 w 2632166"/>
              <a:gd name="connsiteY74" fmla="*/ 555171 h 1525088"/>
              <a:gd name="connsiteX75" fmla="*/ 777240 w 2632166"/>
              <a:gd name="connsiteY75" fmla="*/ 568234 h 1525088"/>
              <a:gd name="connsiteX76" fmla="*/ 633549 w 2632166"/>
              <a:gd name="connsiteY76" fmla="*/ 587828 h 1525088"/>
              <a:gd name="connsiteX77" fmla="*/ 545374 w 2632166"/>
              <a:gd name="connsiteY77" fmla="*/ 591094 h 1525088"/>
              <a:gd name="connsiteX78" fmla="*/ 408214 w 2632166"/>
              <a:gd name="connsiteY78" fmla="*/ 574765 h 1525088"/>
              <a:gd name="connsiteX79" fmla="*/ 287383 w 2632166"/>
              <a:gd name="connsiteY79" fmla="*/ 555171 h 1525088"/>
              <a:gd name="connsiteX80" fmla="*/ 169817 w 2632166"/>
              <a:gd name="connsiteY80" fmla="*/ 545374 h 1525088"/>
              <a:gd name="connsiteX0" fmla="*/ 2632166 w 2632166"/>
              <a:gd name="connsiteY0" fmla="*/ 1012371 h 1525088"/>
              <a:gd name="connsiteX1" fmla="*/ 2628900 w 2632166"/>
              <a:gd name="connsiteY1" fmla="*/ 1067888 h 1525088"/>
              <a:gd name="connsiteX2" fmla="*/ 2623865 w 2632166"/>
              <a:gd name="connsiteY2" fmla="*/ 1125787 h 1525088"/>
              <a:gd name="connsiteX3" fmla="*/ 2622369 w 2632166"/>
              <a:gd name="connsiteY3" fmla="*/ 1172391 h 1525088"/>
              <a:gd name="connsiteX4" fmla="*/ 2618831 w 2632166"/>
              <a:gd name="connsiteY4" fmla="*/ 1227296 h 1525088"/>
              <a:gd name="connsiteX5" fmla="*/ 2596243 w 2632166"/>
              <a:gd name="connsiteY5" fmla="*/ 1280160 h 1525088"/>
              <a:gd name="connsiteX6" fmla="*/ 2557054 w 2632166"/>
              <a:gd name="connsiteY6" fmla="*/ 1312817 h 1525088"/>
              <a:gd name="connsiteX7" fmla="*/ 2501537 w 2632166"/>
              <a:gd name="connsiteY7" fmla="*/ 1322614 h 1525088"/>
              <a:gd name="connsiteX8" fmla="*/ 2449286 w 2632166"/>
              <a:gd name="connsiteY8" fmla="*/ 1325880 h 1525088"/>
              <a:gd name="connsiteX9" fmla="*/ 2403566 w 2632166"/>
              <a:gd name="connsiteY9" fmla="*/ 1325880 h 1525088"/>
              <a:gd name="connsiteX10" fmla="*/ 2348049 w 2632166"/>
              <a:gd name="connsiteY10" fmla="*/ 1338943 h 1525088"/>
              <a:gd name="connsiteX11" fmla="*/ 2312126 w 2632166"/>
              <a:gd name="connsiteY11" fmla="*/ 1378131 h 1525088"/>
              <a:gd name="connsiteX12" fmla="*/ 2282734 w 2632166"/>
              <a:gd name="connsiteY12" fmla="*/ 1407523 h 1525088"/>
              <a:gd name="connsiteX13" fmla="*/ 2243546 w 2632166"/>
              <a:gd name="connsiteY13" fmla="*/ 1449977 h 1525088"/>
              <a:gd name="connsiteX14" fmla="*/ 2184763 w 2632166"/>
              <a:gd name="connsiteY14" fmla="*/ 1472837 h 1525088"/>
              <a:gd name="connsiteX15" fmla="*/ 2119449 w 2632166"/>
              <a:gd name="connsiteY15" fmla="*/ 1459774 h 1525088"/>
              <a:gd name="connsiteX16" fmla="*/ 2050869 w 2632166"/>
              <a:gd name="connsiteY16" fmla="*/ 1463040 h 1525088"/>
              <a:gd name="connsiteX17" fmla="*/ 2008414 w 2632166"/>
              <a:gd name="connsiteY17" fmla="*/ 1476103 h 1525088"/>
              <a:gd name="connsiteX18" fmla="*/ 1972491 w 2632166"/>
              <a:gd name="connsiteY18" fmla="*/ 1495697 h 1525088"/>
              <a:gd name="connsiteX19" fmla="*/ 1926771 w 2632166"/>
              <a:gd name="connsiteY19" fmla="*/ 1508760 h 1525088"/>
              <a:gd name="connsiteX20" fmla="*/ 1871254 w 2632166"/>
              <a:gd name="connsiteY20" fmla="*/ 1525088 h 1525088"/>
              <a:gd name="connsiteX21" fmla="*/ 1799409 w 2632166"/>
              <a:gd name="connsiteY21" fmla="*/ 1502228 h 1525088"/>
              <a:gd name="connsiteX22" fmla="*/ 1730829 w 2632166"/>
              <a:gd name="connsiteY22" fmla="*/ 1443445 h 1525088"/>
              <a:gd name="connsiteX23" fmla="*/ 1668780 w 2632166"/>
              <a:gd name="connsiteY23" fmla="*/ 1400991 h 1525088"/>
              <a:gd name="connsiteX24" fmla="*/ 1557746 w 2632166"/>
              <a:gd name="connsiteY24" fmla="*/ 1371600 h 1525088"/>
              <a:gd name="connsiteX25" fmla="*/ 1476103 w 2632166"/>
              <a:gd name="connsiteY25" fmla="*/ 1352005 h 1525088"/>
              <a:gd name="connsiteX26" fmla="*/ 1397726 w 2632166"/>
              <a:gd name="connsiteY26" fmla="*/ 1352005 h 1525088"/>
              <a:gd name="connsiteX27" fmla="*/ 1306286 w 2632166"/>
              <a:gd name="connsiteY27" fmla="*/ 1338943 h 1525088"/>
              <a:gd name="connsiteX28" fmla="*/ 1224643 w 2632166"/>
              <a:gd name="connsiteY28" fmla="*/ 1325880 h 1525088"/>
              <a:gd name="connsiteX29" fmla="*/ 1107077 w 2632166"/>
              <a:gd name="connsiteY29" fmla="*/ 1286691 h 1525088"/>
              <a:gd name="connsiteX30" fmla="*/ 966651 w 2632166"/>
              <a:gd name="connsiteY30" fmla="*/ 1254034 h 1525088"/>
              <a:gd name="connsiteX31" fmla="*/ 849086 w 2632166"/>
              <a:gd name="connsiteY31" fmla="*/ 1208314 h 1525088"/>
              <a:gd name="connsiteX32" fmla="*/ 751114 w 2632166"/>
              <a:gd name="connsiteY32" fmla="*/ 1185454 h 1525088"/>
              <a:gd name="connsiteX33" fmla="*/ 659674 w 2632166"/>
              <a:gd name="connsiteY33" fmla="*/ 1156063 h 1525088"/>
              <a:gd name="connsiteX34" fmla="*/ 545374 w 2632166"/>
              <a:gd name="connsiteY34" fmla="*/ 1123405 h 1525088"/>
              <a:gd name="connsiteX35" fmla="*/ 453934 w 2632166"/>
              <a:gd name="connsiteY35" fmla="*/ 1120140 h 1525088"/>
              <a:gd name="connsiteX36" fmla="*/ 375557 w 2632166"/>
              <a:gd name="connsiteY36" fmla="*/ 1113608 h 1525088"/>
              <a:gd name="connsiteX37" fmla="*/ 241663 w 2632166"/>
              <a:gd name="connsiteY37" fmla="*/ 1080951 h 1525088"/>
              <a:gd name="connsiteX38" fmla="*/ 173083 w 2632166"/>
              <a:gd name="connsiteY38" fmla="*/ 1045028 h 1525088"/>
              <a:gd name="connsiteX39" fmla="*/ 84909 w 2632166"/>
              <a:gd name="connsiteY39" fmla="*/ 950323 h 1525088"/>
              <a:gd name="connsiteX40" fmla="*/ 78377 w 2632166"/>
              <a:gd name="connsiteY40" fmla="*/ 901337 h 1525088"/>
              <a:gd name="connsiteX41" fmla="*/ 32657 w 2632166"/>
              <a:gd name="connsiteY41" fmla="*/ 809897 h 1525088"/>
              <a:gd name="connsiteX42" fmla="*/ 6531 w 2632166"/>
              <a:gd name="connsiteY42" fmla="*/ 724988 h 1525088"/>
              <a:gd name="connsiteX43" fmla="*/ 0 w 2632166"/>
              <a:gd name="connsiteY43" fmla="*/ 613954 h 1525088"/>
              <a:gd name="connsiteX44" fmla="*/ 42454 w 2632166"/>
              <a:gd name="connsiteY44" fmla="*/ 525780 h 1525088"/>
              <a:gd name="connsiteX45" fmla="*/ 117566 w 2632166"/>
              <a:gd name="connsiteY45" fmla="*/ 450668 h 1525088"/>
              <a:gd name="connsiteX46" fmla="*/ 218803 w 2632166"/>
              <a:gd name="connsiteY46" fmla="*/ 372291 h 1525088"/>
              <a:gd name="connsiteX47" fmla="*/ 365760 w 2632166"/>
              <a:gd name="connsiteY47" fmla="*/ 303711 h 1525088"/>
              <a:gd name="connsiteX48" fmla="*/ 522514 w 2632166"/>
              <a:gd name="connsiteY48" fmla="*/ 257991 h 1525088"/>
              <a:gd name="connsiteX49" fmla="*/ 646611 w 2632166"/>
              <a:gd name="connsiteY49" fmla="*/ 218803 h 1525088"/>
              <a:gd name="connsiteX50" fmla="*/ 790303 w 2632166"/>
              <a:gd name="connsiteY50" fmla="*/ 186145 h 1525088"/>
              <a:gd name="connsiteX51" fmla="*/ 950323 w 2632166"/>
              <a:gd name="connsiteY51" fmla="*/ 156754 h 1525088"/>
              <a:gd name="connsiteX52" fmla="*/ 1103811 w 2632166"/>
              <a:gd name="connsiteY52" fmla="*/ 127363 h 1525088"/>
              <a:gd name="connsiteX53" fmla="*/ 1394460 w 2632166"/>
              <a:gd name="connsiteY53" fmla="*/ 39188 h 1525088"/>
              <a:gd name="connsiteX54" fmla="*/ 1544683 w 2632166"/>
              <a:gd name="connsiteY54" fmla="*/ 13063 h 1525088"/>
              <a:gd name="connsiteX55" fmla="*/ 1678577 w 2632166"/>
              <a:gd name="connsiteY55" fmla="*/ 0 h 1525088"/>
              <a:gd name="connsiteX56" fmla="*/ 1766751 w 2632166"/>
              <a:gd name="connsiteY56" fmla="*/ 0 h 1525088"/>
              <a:gd name="connsiteX57" fmla="*/ 1851660 w 2632166"/>
              <a:gd name="connsiteY57" fmla="*/ 52251 h 1525088"/>
              <a:gd name="connsiteX58" fmla="*/ 1956163 w 2632166"/>
              <a:gd name="connsiteY58" fmla="*/ 133894 h 1525088"/>
              <a:gd name="connsiteX59" fmla="*/ 2060666 w 2632166"/>
              <a:gd name="connsiteY59" fmla="*/ 218803 h 1525088"/>
              <a:gd name="connsiteX60" fmla="*/ 2152106 w 2632166"/>
              <a:gd name="connsiteY60" fmla="*/ 284117 h 1525088"/>
              <a:gd name="connsiteX61" fmla="*/ 2188029 w 2632166"/>
              <a:gd name="connsiteY61" fmla="*/ 329837 h 1525088"/>
              <a:gd name="connsiteX62" fmla="*/ 2194560 w 2632166"/>
              <a:gd name="connsiteY62" fmla="*/ 378823 h 1525088"/>
              <a:gd name="connsiteX63" fmla="*/ 2168434 w 2632166"/>
              <a:gd name="connsiteY63" fmla="*/ 440871 h 1525088"/>
              <a:gd name="connsiteX64" fmla="*/ 2063931 w 2632166"/>
              <a:gd name="connsiteY64" fmla="*/ 480060 h 1525088"/>
              <a:gd name="connsiteX65" fmla="*/ 1936569 w 2632166"/>
              <a:gd name="connsiteY65" fmla="*/ 486591 h 1525088"/>
              <a:gd name="connsiteX66" fmla="*/ 1854926 w 2632166"/>
              <a:gd name="connsiteY66" fmla="*/ 480060 h 1525088"/>
              <a:gd name="connsiteX67" fmla="*/ 1707969 w 2632166"/>
              <a:gd name="connsiteY67" fmla="*/ 457200 h 1525088"/>
              <a:gd name="connsiteX68" fmla="*/ 1567543 w 2632166"/>
              <a:gd name="connsiteY68" fmla="*/ 431074 h 1525088"/>
              <a:gd name="connsiteX69" fmla="*/ 1436914 w 2632166"/>
              <a:gd name="connsiteY69" fmla="*/ 411480 h 1525088"/>
              <a:gd name="connsiteX70" fmla="*/ 1322614 w 2632166"/>
              <a:gd name="connsiteY70" fmla="*/ 414745 h 1525088"/>
              <a:gd name="connsiteX71" fmla="*/ 1214846 w 2632166"/>
              <a:gd name="connsiteY71" fmla="*/ 437605 h 1525088"/>
              <a:gd name="connsiteX72" fmla="*/ 1136469 w 2632166"/>
              <a:gd name="connsiteY72" fmla="*/ 470263 h 1525088"/>
              <a:gd name="connsiteX73" fmla="*/ 1002574 w 2632166"/>
              <a:gd name="connsiteY73" fmla="*/ 515983 h 1525088"/>
              <a:gd name="connsiteX74" fmla="*/ 920931 w 2632166"/>
              <a:gd name="connsiteY74" fmla="*/ 555171 h 1525088"/>
              <a:gd name="connsiteX75" fmla="*/ 777240 w 2632166"/>
              <a:gd name="connsiteY75" fmla="*/ 568234 h 1525088"/>
              <a:gd name="connsiteX76" fmla="*/ 633549 w 2632166"/>
              <a:gd name="connsiteY76" fmla="*/ 587828 h 1525088"/>
              <a:gd name="connsiteX77" fmla="*/ 545374 w 2632166"/>
              <a:gd name="connsiteY77" fmla="*/ 591094 h 1525088"/>
              <a:gd name="connsiteX78" fmla="*/ 408214 w 2632166"/>
              <a:gd name="connsiteY78" fmla="*/ 574765 h 1525088"/>
              <a:gd name="connsiteX79" fmla="*/ 287383 w 2632166"/>
              <a:gd name="connsiteY79" fmla="*/ 555171 h 1525088"/>
              <a:gd name="connsiteX80" fmla="*/ 169817 w 2632166"/>
              <a:gd name="connsiteY80" fmla="*/ 545374 h 1525088"/>
              <a:gd name="connsiteX0" fmla="*/ 2632166 w 2632166"/>
              <a:gd name="connsiteY0" fmla="*/ 1012371 h 1525088"/>
              <a:gd name="connsiteX1" fmla="*/ 2628900 w 2632166"/>
              <a:gd name="connsiteY1" fmla="*/ 1067888 h 1525088"/>
              <a:gd name="connsiteX2" fmla="*/ 2623865 w 2632166"/>
              <a:gd name="connsiteY2" fmla="*/ 1125787 h 1525088"/>
              <a:gd name="connsiteX3" fmla="*/ 2622369 w 2632166"/>
              <a:gd name="connsiteY3" fmla="*/ 1172391 h 1525088"/>
              <a:gd name="connsiteX4" fmla="*/ 2618831 w 2632166"/>
              <a:gd name="connsiteY4" fmla="*/ 1227296 h 1525088"/>
              <a:gd name="connsiteX5" fmla="*/ 2596243 w 2632166"/>
              <a:gd name="connsiteY5" fmla="*/ 1280160 h 1525088"/>
              <a:gd name="connsiteX6" fmla="*/ 2557054 w 2632166"/>
              <a:gd name="connsiteY6" fmla="*/ 1312817 h 1525088"/>
              <a:gd name="connsiteX7" fmla="*/ 2501537 w 2632166"/>
              <a:gd name="connsiteY7" fmla="*/ 1322614 h 1525088"/>
              <a:gd name="connsiteX8" fmla="*/ 2449286 w 2632166"/>
              <a:gd name="connsiteY8" fmla="*/ 1325880 h 1525088"/>
              <a:gd name="connsiteX9" fmla="*/ 2403566 w 2632166"/>
              <a:gd name="connsiteY9" fmla="*/ 1325880 h 1525088"/>
              <a:gd name="connsiteX10" fmla="*/ 2348049 w 2632166"/>
              <a:gd name="connsiteY10" fmla="*/ 1338943 h 1525088"/>
              <a:gd name="connsiteX11" fmla="*/ 2312126 w 2632166"/>
              <a:gd name="connsiteY11" fmla="*/ 1378131 h 1525088"/>
              <a:gd name="connsiteX12" fmla="*/ 2282734 w 2632166"/>
              <a:gd name="connsiteY12" fmla="*/ 1407523 h 1525088"/>
              <a:gd name="connsiteX13" fmla="*/ 2243546 w 2632166"/>
              <a:gd name="connsiteY13" fmla="*/ 1449977 h 1525088"/>
              <a:gd name="connsiteX14" fmla="*/ 2184763 w 2632166"/>
              <a:gd name="connsiteY14" fmla="*/ 1472837 h 1525088"/>
              <a:gd name="connsiteX15" fmla="*/ 2119449 w 2632166"/>
              <a:gd name="connsiteY15" fmla="*/ 1459774 h 1525088"/>
              <a:gd name="connsiteX16" fmla="*/ 2050869 w 2632166"/>
              <a:gd name="connsiteY16" fmla="*/ 1463040 h 1525088"/>
              <a:gd name="connsiteX17" fmla="*/ 2008414 w 2632166"/>
              <a:gd name="connsiteY17" fmla="*/ 1476103 h 1525088"/>
              <a:gd name="connsiteX18" fmla="*/ 1972491 w 2632166"/>
              <a:gd name="connsiteY18" fmla="*/ 1495697 h 1525088"/>
              <a:gd name="connsiteX19" fmla="*/ 1926771 w 2632166"/>
              <a:gd name="connsiteY19" fmla="*/ 1508760 h 1525088"/>
              <a:gd name="connsiteX20" fmla="*/ 1871254 w 2632166"/>
              <a:gd name="connsiteY20" fmla="*/ 1525088 h 1525088"/>
              <a:gd name="connsiteX21" fmla="*/ 1799409 w 2632166"/>
              <a:gd name="connsiteY21" fmla="*/ 1502228 h 1525088"/>
              <a:gd name="connsiteX22" fmla="*/ 1730829 w 2632166"/>
              <a:gd name="connsiteY22" fmla="*/ 1443445 h 1525088"/>
              <a:gd name="connsiteX23" fmla="*/ 1668780 w 2632166"/>
              <a:gd name="connsiteY23" fmla="*/ 1400991 h 1525088"/>
              <a:gd name="connsiteX24" fmla="*/ 1557746 w 2632166"/>
              <a:gd name="connsiteY24" fmla="*/ 1371600 h 1525088"/>
              <a:gd name="connsiteX25" fmla="*/ 1476103 w 2632166"/>
              <a:gd name="connsiteY25" fmla="*/ 1352005 h 1525088"/>
              <a:gd name="connsiteX26" fmla="*/ 1397726 w 2632166"/>
              <a:gd name="connsiteY26" fmla="*/ 1352005 h 1525088"/>
              <a:gd name="connsiteX27" fmla="*/ 1306286 w 2632166"/>
              <a:gd name="connsiteY27" fmla="*/ 1338943 h 1525088"/>
              <a:gd name="connsiteX28" fmla="*/ 1224643 w 2632166"/>
              <a:gd name="connsiteY28" fmla="*/ 1325880 h 1525088"/>
              <a:gd name="connsiteX29" fmla="*/ 1107077 w 2632166"/>
              <a:gd name="connsiteY29" fmla="*/ 1286691 h 1525088"/>
              <a:gd name="connsiteX30" fmla="*/ 966651 w 2632166"/>
              <a:gd name="connsiteY30" fmla="*/ 1254034 h 1525088"/>
              <a:gd name="connsiteX31" fmla="*/ 849086 w 2632166"/>
              <a:gd name="connsiteY31" fmla="*/ 1208314 h 1525088"/>
              <a:gd name="connsiteX32" fmla="*/ 751114 w 2632166"/>
              <a:gd name="connsiteY32" fmla="*/ 1185454 h 1525088"/>
              <a:gd name="connsiteX33" fmla="*/ 659674 w 2632166"/>
              <a:gd name="connsiteY33" fmla="*/ 1156063 h 1525088"/>
              <a:gd name="connsiteX34" fmla="*/ 545374 w 2632166"/>
              <a:gd name="connsiteY34" fmla="*/ 1123405 h 1525088"/>
              <a:gd name="connsiteX35" fmla="*/ 453934 w 2632166"/>
              <a:gd name="connsiteY35" fmla="*/ 1120140 h 1525088"/>
              <a:gd name="connsiteX36" fmla="*/ 375557 w 2632166"/>
              <a:gd name="connsiteY36" fmla="*/ 1113608 h 1525088"/>
              <a:gd name="connsiteX37" fmla="*/ 241663 w 2632166"/>
              <a:gd name="connsiteY37" fmla="*/ 1080951 h 1525088"/>
              <a:gd name="connsiteX38" fmla="*/ 173083 w 2632166"/>
              <a:gd name="connsiteY38" fmla="*/ 1045028 h 1525088"/>
              <a:gd name="connsiteX39" fmla="*/ 84909 w 2632166"/>
              <a:gd name="connsiteY39" fmla="*/ 950323 h 1525088"/>
              <a:gd name="connsiteX40" fmla="*/ 78377 w 2632166"/>
              <a:gd name="connsiteY40" fmla="*/ 901337 h 1525088"/>
              <a:gd name="connsiteX41" fmla="*/ 32657 w 2632166"/>
              <a:gd name="connsiteY41" fmla="*/ 809897 h 1525088"/>
              <a:gd name="connsiteX42" fmla="*/ 6531 w 2632166"/>
              <a:gd name="connsiteY42" fmla="*/ 724988 h 1525088"/>
              <a:gd name="connsiteX43" fmla="*/ 0 w 2632166"/>
              <a:gd name="connsiteY43" fmla="*/ 613954 h 1525088"/>
              <a:gd name="connsiteX44" fmla="*/ 42454 w 2632166"/>
              <a:gd name="connsiteY44" fmla="*/ 525780 h 1525088"/>
              <a:gd name="connsiteX45" fmla="*/ 117566 w 2632166"/>
              <a:gd name="connsiteY45" fmla="*/ 450668 h 1525088"/>
              <a:gd name="connsiteX46" fmla="*/ 218803 w 2632166"/>
              <a:gd name="connsiteY46" fmla="*/ 372291 h 1525088"/>
              <a:gd name="connsiteX47" fmla="*/ 365760 w 2632166"/>
              <a:gd name="connsiteY47" fmla="*/ 303711 h 1525088"/>
              <a:gd name="connsiteX48" fmla="*/ 522514 w 2632166"/>
              <a:gd name="connsiteY48" fmla="*/ 257991 h 1525088"/>
              <a:gd name="connsiteX49" fmla="*/ 646611 w 2632166"/>
              <a:gd name="connsiteY49" fmla="*/ 218803 h 1525088"/>
              <a:gd name="connsiteX50" fmla="*/ 790303 w 2632166"/>
              <a:gd name="connsiteY50" fmla="*/ 186145 h 1525088"/>
              <a:gd name="connsiteX51" fmla="*/ 950323 w 2632166"/>
              <a:gd name="connsiteY51" fmla="*/ 156754 h 1525088"/>
              <a:gd name="connsiteX52" fmla="*/ 1103811 w 2632166"/>
              <a:gd name="connsiteY52" fmla="*/ 127363 h 1525088"/>
              <a:gd name="connsiteX53" fmla="*/ 1394460 w 2632166"/>
              <a:gd name="connsiteY53" fmla="*/ 39188 h 1525088"/>
              <a:gd name="connsiteX54" fmla="*/ 1544683 w 2632166"/>
              <a:gd name="connsiteY54" fmla="*/ 13063 h 1525088"/>
              <a:gd name="connsiteX55" fmla="*/ 1678577 w 2632166"/>
              <a:gd name="connsiteY55" fmla="*/ 0 h 1525088"/>
              <a:gd name="connsiteX56" fmla="*/ 1766751 w 2632166"/>
              <a:gd name="connsiteY56" fmla="*/ 0 h 1525088"/>
              <a:gd name="connsiteX57" fmla="*/ 1851660 w 2632166"/>
              <a:gd name="connsiteY57" fmla="*/ 52251 h 1525088"/>
              <a:gd name="connsiteX58" fmla="*/ 1956163 w 2632166"/>
              <a:gd name="connsiteY58" fmla="*/ 133894 h 1525088"/>
              <a:gd name="connsiteX59" fmla="*/ 2060666 w 2632166"/>
              <a:gd name="connsiteY59" fmla="*/ 218803 h 1525088"/>
              <a:gd name="connsiteX60" fmla="*/ 2152106 w 2632166"/>
              <a:gd name="connsiteY60" fmla="*/ 284117 h 1525088"/>
              <a:gd name="connsiteX61" fmla="*/ 2188029 w 2632166"/>
              <a:gd name="connsiteY61" fmla="*/ 329837 h 1525088"/>
              <a:gd name="connsiteX62" fmla="*/ 2194560 w 2632166"/>
              <a:gd name="connsiteY62" fmla="*/ 378823 h 1525088"/>
              <a:gd name="connsiteX63" fmla="*/ 2168434 w 2632166"/>
              <a:gd name="connsiteY63" fmla="*/ 440871 h 1525088"/>
              <a:gd name="connsiteX64" fmla="*/ 2063931 w 2632166"/>
              <a:gd name="connsiteY64" fmla="*/ 480060 h 1525088"/>
              <a:gd name="connsiteX65" fmla="*/ 1936569 w 2632166"/>
              <a:gd name="connsiteY65" fmla="*/ 486591 h 1525088"/>
              <a:gd name="connsiteX66" fmla="*/ 1854926 w 2632166"/>
              <a:gd name="connsiteY66" fmla="*/ 480060 h 1525088"/>
              <a:gd name="connsiteX67" fmla="*/ 1707969 w 2632166"/>
              <a:gd name="connsiteY67" fmla="*/ 457200 h 1525088"/>
              <a:gd name="connsiteX68" fmla="*/ 1567543 w 2632166"/>
              <a:gd name="connsiteY68" fmla="*/ 431074 h 1525088"/>
              <a:gd name="connsiteX69" fmla="*/ 1436914 w 2632166"/>
              <a:gd name="connsiteY69" fmla="*/ 411480 h 1525088"/>
              <a:gd name="connsiteX70" fmla="*/ 1322614 w 2632166"/>
              <a:gd name="connsiteY70" fmla="*/ 414745 h 1525088"/>
              <a:gd name="connsiteX71" fmla="*/ 1214846 w 2632166"/>
              <a:gd name="connsiteY71" fmla="*/ 437605 h 1525088"/>
              <a:gd name="connsiteX72" fmla="*/ 1136469 w 2632166"/>
              <a:gd name="connsiteY72" fmla="*/ 470263 h 1525088"/>
              <a:gd name="connsiteX73" fmla="*/ 1002574 w 2632166"/>
              <a:gd name="connsiteY73" fmla="*/ 515983 h 1525088"/>
              <a:gd name="connsiteX74" fmla="*/ 920931 w 2632166"/>
              <a:gd name="connsiteY74" fmla="*/ 555171 h 1525088"/>
              <a:gd name="connsiteX75" fmla="*/ 777240 w 2632166"/>
              <a:gd name="connsiteY75" fmla="*/ 568234 h 1525088"/>
              <a:gd name="connsiteX76" fmla="*/ 633549 w 2632166"/>
              <a:gd name="connsiteY76" fmla="*/ 587828 h 1525088"/>
              <a:gd name="connsiteX77" fmla="*/ 545374 w 2632166"/>
              <a:gd name="connsiteY77" fmla="*/ 591094 h 1525088"/>
              <a:gd name="connsiteX78" fmla="*/ 408214 w 2632166"/>
              <a:gd name="connsiteY78" fmla="*/ 574765 h 1525088"/>
              <a:gd name="connsiteX79" fmla="*/ 287383 w 2632166"/>
              <a:gd name="connsiteY79" fmla="*/ 555171 h 1525088"/>
              <a:gd name="connsiteX80" fmla="*/ 169817 w 2632166"/>
              <a:gd name="connsiteY80" fmla="*/ 545374 h 1525088"/>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57746 w 2632166"/>
              <a:gd name="connsiteY24" fmla="*/ 1371600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7077 w 2632166"/>
              <a:gd name="connsiteY29" fmla="*/ 1286691 h 1525154"/>
              <a:gd name="connsiteX30" fmla="*/ 966651 w 2632166"/>
              <a:gd name="connsiteY30" fmla="*/ 1254034 h 1525154"/>
              <a:gd name="connsiteX31" fmla="*/ 849086 w 2632166"/>
              <a:gd name="connsiteY31" fmla="*/ 1208314 h 1525154"/>
              <a:gd name="connsiteX32" fmla="*/ 751114 w 2632166"/>
              <a:gd name="connsiteY32" fmla="*/ 1185454 h 1525154"/>
              <a:gd name="connsiteX33" fmla="*/ 659674 w 2632166"/>
              <a:gd name="connsiteY33" fmla="*/ 1156063 h 1525154"/>
              <a:gd name="connsiteX34" fmla="*/ 545374 w 2632166"/>
              <a:gd name="connsiteY34" fmla="*/ 1123405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57746 w 2632166"/>
              <a:gd name="connsiteY24" fmla="*/ 1371600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7077 w 2632166"/>
              <a:gd name="connsiteY29" fmla="*/ 1286691 h 1525154"/>
              <a:gd name="connsiteX30" fmla="*/ 966651 w 2632166"/>
              <a:gd name="connsiteY30" fmla="*/ 1254034 h 1525154"/>
              <a:gd name="connsiteX31" fmla="*/ 849086 w 2632166"/>
              <a:gd name="connsiteY31" fmla="*/ 1208314 h 1525154"/>
              <a:gd name="connsiteX32" fmla="*/ 751114 w 2632166"/>
              <a:gd name="connsiteY32" fmla="*/ 1185454 h 1525154"/>
              <a:gd name="connsiteX33" fmla="*/ 659674 w 2632166"/>
              <a:gd name="connsiteY33" fmla="*/ 1156063 h 1525154"/>
              <a:gd name="connsiteX34" fmla="*/ 545374 w 2632166"/>
              <a:gd name="connsiteY34" fmla="*/ 1123405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57746 w 2632166"/>
              <a:gd name="connsiteY24" fmla="*/ 1371600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7077 w 2632166"/>
              <a:gd name="connsiteY29" fmla="*/ 1286691 h 1525154"/>
              <a:gd name="connsiteX30" fmla="*/ 966651 w 2632166"/>
              <a:gd name="connsiteY30" fmla="*/ 1254034 h 1525154"/>
              <a:gd name="connsiteX31" fmla="*/ 849086 w 2632166"/>
              <a:gd name="connsiteY31" fmla="*/ 1208314 h 1525154"/>
              <a:gd name="connsiteX32" fmla="*/ 751114 w 2632166"/>
              <a:gd name="connsiteY32" fmla="*/ 1185454 h 1525154"/>
              <a:gd name="connsiteX33" fmla="*/ 659674 w 2632166"/>
              <a:gd name="connsiteY33" fmla="*/ 1156063 h 1525154"/>
              <a:gd name="connsiteX34" fmla="*/ 545374 w 2632166"/>
              <a:gd name="connsiteY34" fmla="*/ 1123405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57746 w 2632166"/>
              <a:gd name="connsiteY24" fmla="*/ 1371600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7077 w 2632166"/>
              <a:gd name="connsiteY29" fmla="*/ 1286691 h 1525154"/>
              <a:gd name="connsiteX30" fmla="*/ 966651 w 2632166"/>
              <a:gd name="connsiteY30" fmla="*/ 1254034 h 1525154"/>
              <a:gd name="connsiteX31" fmla="*/ 849086 w 2632166"/>
              <a:gd name="connsiteY31" fmla="*/ 1208314 h 1525154"/>
              <a:gd name="connsiteX32" fmla="*/ 751114 w 2632166"/>
              <a:gd name="connsiteY32" fmla="*/ 1185454 h 1525154"/>
              <a:gd name="connsiteX33" fmla="*/ 659674 w 2632166"/>
              <a:gd name="connsiteY33" fmla="*/ 1156063 h 1525154"/>
              <a:gd name="connsiteX34" fmla="*/ 545374 w 2632166"/>
              <a:gd name="connsiteY34" fmla="*/ 1123405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7077 w 2632166"/>
              <a:gd name="connsiteY29" fmla="*/ 1286691 h 1525154"/>
              <a:gd name="connsiteX30" fmla="*/ 966651 w 2632166"/>
              <a:gd name="connsiteY30" fmla="*/ 1254034 h 1525154"/>
              <a:gd name="connsiteX31" fmla="*/ 849086 w 2632166"/>
              <a:gd name="connsiteY31" fmla="*/ 1208314 h 1525154"/>
              <a:gd name="connsiteX32" fmla="*/ 751114 w 2632166"/>
              <a:gd name="connsiteY32" fmla="*/ 1185454 h 1525154"/>
              <a:gd name="connsiteX33" fmla="*/ 659674 w 2632166"/>
              <a:gd name="connsiteY33" fmla="*/ 1156063 h 1525154"/>
              <a:gd name="connsiteX34" fmla="*/ 545374 w 2632166"/>
              <a:gd name="connsiteY34" fmla="*/ 1123405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7077 w 2632166"/>
              <a:gd name="connsiteY29" fmla="*/ 1286691 h 1525154"/>
              <a:gd name="connsiteX30" fmla="*/ 966651 w 2632166"/>
              <a:gd name="connsiteY30" fmla="*/ 1254034 h 1525154"/>
              <a:gd name="connsiteX31" fmla="*/ 849086 w 2632166"/>
              <a:gd name="connsiteY31" fmla="*/ 1208314 h 1525154"/>
              <a:gd name="connsiteX32" fmla="*/ 751114 w 2632166"/>
              <a:gd name="connsiteY32" fmla="*/ 1185454 h 1525154"/>
              <a:gd name="connsiteX33" fmla="*/ 659674 w 2632166"/>
              <a:gd name="connsiteY33" fmla="*/ 1156063 h 1525154"/>
              <a:gd name="connsiteX34" fmla="*/ 545374 w 2632166"/>
              <a:gd name="connsiteY34" fmla="*/ 1123405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7077 w 2632166"/>
              <a:gd name="connsiteY29" fmla="*/ 1286691 h 1525154"/>
              <a:gd name="connsiteX30" fmla="*/ 966651 w 2632166"/>
              <a:gd name="connsiteY30" fmla="*/ 1254034 h 1525154"/>
              <a:gd name="connsiteX31" fmla="*/ 849086 w 2632166"/>
              <a:gd name="connsiteY31" fmla="*/ 1208314 h 1525154"/>
              <a:gd name="connsiteX32" fmla="*/ 751114 w 2632166"/>
              <a:gd name="connsiteY32" fmla="*/ 1185454 h 1525154"/>
              <a:gd name="connsiteX33" fmla="*/ 659674 w 2632166"/>
              <a:gd name="connsiteY33" fmla="*/ 1156063 h 1525154"/>
              <a:gd name="connsiteX34" fmla="*/ 545374 w 2632166"/>
              <a:gd name="connsiteY34" fmla="*/ 1123405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2315 w 2632166"/>
              <a:gd name="connsiteY29" fmla="*/ 1291453 h 1525154"/>
              <a:gd name="connsiteX30" fmla="*/ 966651 w 2632166"/>
              <a:gd name="connsiteY30" fmla="*/ 1254034 h 1525154"/>
              <a:gd name="connsiteX31" fmla="*/ 849086 w 2632166"/>
              <a:gd name="connsiteY31" fmla="*/ 1208314 h 1525154"/>
              <a:gd name="connsiteX32" fmla="*/ 751114 w 2632166"/>
              <a:gd name="connsiteY32" fmla="*/ 1185454 h 1525154"/>
              <a:gd name="connsiteX33" fmla="*/ 659674 w 2632166"/>
              <a:gd name="connsiteY33" fmla="*/ 1156063 h 1525154"/>
              <a:gd name="connsiteX34" fmla="*/ 545374 w 2632166"/>
              <a:gd name="connsiteY34" fmla="*/ 1123405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2315 w 2632166"/>
              <a:gd name="connsiteY29" fmla="*/ 1291453 h 1525154"/>
              <a:gd name="connsiteX30" fmla="*/ 966651 w 2632166"/>
              <a:gd name="connsiteY30" fmla="*/ 1254034 h 1525154"/>
              <a:gd name="connsiteX31" fmla="*/ 853849 w 2632166"/>
              <a:gd name="connsiteY31" fmla="*/ 1217839 h 1525154"/>
              <a:gd name="connsiteX32" fmla="*/ 751114 w 2632166"/>
              <a:gd name="connsiteY32" fmla="*/ 1185454 h 1525154"/>
              <a:gd name="connsiteX33" fmla="*/ 659674 w 2632166"/>
              <a:gd name="connsiteY33" fmla="*/ 1156063 h 1525154"/>
              <a:gd name="connsiteX34" fmla="*/ 545374 w 2632166"/>
              <a:gd name="connsiteY34" fmla="*/ 1123405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2315 w 2632166"/>
              <a:gd name="connsiteY29" fmla="*/ 1291453 h 1525154"/>
              <a:gd name="connsiteX30" fmla="*/ 966651 w 2632166"/>
              <a:gd name="connsiteY30" fmla="*/ 1254034 h 1525154"/>
              <a:gd name="connsiteX31" fmla="*/ 853849 w 2632166"/>
              <a:gd name="connsiteY31" fmla="*/ 1217839 h 1525154"/>
              <a:gd name="connsiteX32" fmla="*/ 751114 w 2632166"/>
              <a:gd name="connsiteY32" fmla="*/ 1185454 h 1525154"/>
              <a:gd name="connsiteX33" fmla="*/ 659674 w 2632166"/>
              <a:gd name="connsiteY33" fmla="*/ 1156063 h 1525154"/>
              <a:gd name="connsiteX34" fmla="*/ 545374 w 2632166"/>
              <a:gd name="connsiteY34" fmla="*/ 1123405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2315 w 2632166"/>
              <a:gd name="connsiteY29" fmla="*/ 1291453 h 1525154"/>
              <a:gd name="connsiteX30" fmla="*/ 966651 w 2632166"/>
              <a:gd name="connsiteY30" fmla="*/ 1254034 h 1525154"/>
              <a:gd name="connsiteX31" fmla="*/ 853849 w 2632166"/>
              <a:gd name="connsiteY31" fmla="*/ 1217839 h 1525154"/>
              <a:gd name="connsiteX32" fmla="*/ 751114 w 2632166"/>
              <a:gd name="connsiteY32" fmla="*/ 1185454 h 1525154"/>
              <a:gd name="connsiteX33" fmla="*/ 659674 w 2632166"/>
              <a:gd name="connsiteY33" fmla="*/ 1156063 h 1525154"/>
              <a:gd name="connsiteX34" fmla="*/ 557280 w 2632166"/>
              <a:gd name="connsiteY34" fmla="*/ 1130549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2315 w 2632166"/>
              <a:gd name="connsiteY29" fmla="*/ 1291453 h 1525154"/>
              <a:gd name="connsiteX30" fmla="*/ 966651 w 2632166"/>
              <a:gd name="connsiteY30" fmla="*/ 1254034 h 1525154"/>
              <a:gd name="connsiteX31" fmla="*/ 853849 w 2632166"/>
              <a:gd name="connsiteY31" fmla="*/ 1217839 h 1525154"/>
              <a:gd name="connsiteX32" fmla="*/ 751114 w 2632166"/>
              <a:gd name="connsiteY32" fmla="*/ 1185454 h 1525154"/>
              <a:gd name="connsiteX33" fmla="*/ 659674 w 2632166"/>
              <a:gd name="connsiteY33" fmla="*/ 1156063 h 1525154"/>
              <a:gd name="connsiteX34" fmla="*/ 557280 w 2632166"/>
              <a:gd name="connsiteY34" fmla="*/ 1130549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101577 w 2632166"/>
              <a:gd name="connsiteY39" fmla="*/ 971754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2315 w 2632166"/>
              <a:gd name="connsiteY29" fmla="*/ 1291453 h 1525154"/>
              <a:gd name="connsiteX30" fmla="*/ 966651 w 2632166"/>
              <a:gd name="connsiteY30" fmla="*/ 1254034 h 1525154"/>
              <a:gd name="connsiteX31" fmla="*/ 853849 w 2632166"/>
              <a:gd name="connsiteY31" fmla="*/ 1217839 h 1525154"/>
              <a:gd name="connsiteX32" fmla="*/ 751114 w 2632166"/>
              <a:gd name="connsiteY32" fmla="*/ 1185454 h 1525154"/>
              <a:gd name="connsiteX33" fmla="*/ 659674 w 2632166"/>
              <a:gd name="connsiteY33" fmla="*/ 1156063 h 1525154"/>
              <a:gd name="connsiteX34" fmla="*/ 557280 w 2632166"/>
              <a:gd name="connsiteY34" fmla="*/ 1130549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101577 w 2632166"/>
              <a:gd name="connsiteY39" fmla="*/ 971754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2315 w 2632166"/>
              <a:gd name="connsiteY29" fmla="*/ 1291453 h 1525154"/>
              <a:gd name="connsiteX30" fmla="*/ 966651 w 2632166"/>
              <a:gd name="connsiteY30" fmla="*/ 1254034 h 1525154"/>
              <a:gd name="connsiteX31" fmla="*/ 853849 w 2632166"/>
              <a:gd name="connsiteY31" fmla="*/ 1217839 h 1525154"/>
              <a:gd name="connsiteX32" fmla="*/ 751114 w 2632166"/>
              <a:gd name="connsiteY32" fmla="*/ 1185454 h 1525154"/>
              <a:gd name="connsiteX33" fmla="*/ 659674 w 2632166"/>
              <a:gd name="connsiteY33" fmla="*/ 1156063 h 1525154"/>
              <a:gd name="connsiteX34" fmla="*/ 557280 w 2632166"/>
              <a:gd name="connsiteY34" fmla="*/ 1130549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101577 w 2632166"/>
              <a:gd name="connsiteY39" fmla="*/ 971754 h 1525154"/>
              <a:gd name="connsiteX40" fmla="*/ 68852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2315 w 2632166"/>
              <a:gd name="connsiteY29" fmla="*/ 1291453 h 1525154"/>
              <a:gd name="connsiteX30" fmla="*/ 966651 w 2632166"/>
              <a:gd name="connsiteY30" fmla="*/ 1254034 h 1525154"/>
              <a:gd name="connsiteX31" fmla="*/ 853849 w 2632166"/>
              <a:gd name="connsiteY31" fmla="*/ 1217839 h 1525154"/>
              <a:gd name="connsiteX32" fmla="*/ 751114 w 2632166"/>
              <a:gd name="connsiteY32" fmla="*/ 1185454 h 1525154"/>
              <a:gd name="connsiteX33" fmla="*/ 659674 w 2632166"/>
              <a:gd name="connsiteY33" fmla="*/ 1156063 h 1525154"/>
              <a:gd name="connsiteX34" fmla="*/ 557280 w 2632166"/>
              <a:gd name="connsiteY34" fmla="*/ 1130549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101577 w 2632166"/>
              <a:gd name="connsiteY39" fmla="*/ 971754 h 1525154"/>
              <a:gd name="connsiteX40" fmla="*/ 68852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2315 w 2632166"/>
              <a:gd name="connsiteY29" fmla="*/ 1291453 h 1525154"/>
              <a:gd name="connsiteX30" fmla="*/ 966651 w 2632166"/>
              <a:gd name="connsiteY30" fmla="*/ 1254034 h 1525154"/>
              <a:gd name="connsiteX31" fmla="*/ 853849 w 2632166"/>
              <a:gd name="connsiteY31" fmla="*/ 1217839 h 1525154"/>
              <a:gd name="connsiteX32" fmla="*/ 751114 w 2632166"/>
              <a:gd name="connsiteY32" fmla="*/ 1185454 h 1525154"/>
              <a:gd name="connsiteX33" fmla="*/ 659674 w 2632166"/>
              <a:gd name="connsiteY33" fmla="*/ 1156063 h 1525154"/>
              <a:gd name="connsiteX34" fmla="*/ 557280 w 2632166"/>
              <a:gd name="connsiteY34" fmla="*/ 1130549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101577 w 2632166"/>
              <a:gd name="connsiteY39" fmla="*/ 971754 h 1525154"/>
              <a:gd name="connsiteX40" fmla="*/ 61708 w 2632166"/>
              <a:gd name="connsiteY40" fmla="*/ 898956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4448 w 2634448"/>
              <a:gd name="connsiteY0" fmla="*/ 1012371 h 1525154"/>
              <a:gd name="connsiteX1" fmla="*/ 2631182 w 2634448"/>
              <a:gd name="connsiteY1" fmla="*/ 1067888 h 1525154"/>
              <a:gd name="connsiteX2" fmla="*/ 2626147 w 2634448"/>
              <a:gd name="connsiteY2" fmla="*/ 1125787 h 1525154"/>
              <a:gd name="connsiteX3" fmla="*/ 2624651 w 2634448"/>
              <a:gd name="connsiteY3" fmla="*/ 1172391 h 1525154"/>
              <a:gd name="connsiteX4" fmla="*/ 2621113 w 2634448"/>
              <a:gd name="connsiteY4" fmla="*/ 1227296 h 1525154"/>
              <a:gd name="connsiteX5" fmla="*/ 2598525 w 2634448"/>
              <a:gd name="connsiteY5" fmla="*/ 1280160 h 1525154"/>
              <a:gd name="connsiteX6" fmla="*/ 2559336 w 2634448"/>
              <a:gd name="connsiteY6" fmla="*/ 1312817 h 1525154"/>
              <a:gd name="connsiteX7" fmla="*/ 2503819 w 2634448"/>
              <a:gd name="connsiteY7" fmla="*/ 1322614 h 1525154"/>
              <a:gd name="connsiteX8" fmla="*/ 2451568 w 2634448"/>
              <a:gd name="connsiteY8" fmla="*/ 1325880 h 1525154"/>
              <a:gd name="connsiteX9" fmla="*/ 2405848 w 2634448"/>
              <a:gd name="connsiteY9" fmla="*/ 1325880 h 1525154"/>
              <a:gd name="connsiteX10" fmla="*/ 2350331 w 2634448"/>
              <a:gd name="connsiteY10" fmla="*/ 1338943 h 1525154"/>
              <a:gd name="connsiteX11" fmla="*/ 2314408 w 2634448"/>
              <a:gd name="connsiteY11" fmla="*/ 1378131 h 1525154"/>
              <a:gd name="connsiteX12" fmla="*/ 2285016 w 2634448"/>
              <a:gd name="connsiteY12" fmla="*/ 1407523 h 1525154"/>
              <a:gd name="connsiteX13" fmla="*/ 2245828 w 2634448"/>
              <a:gd name="connsiteY13" fmla="*/ 1449977 h 1525154"/>
              <a:gd name="connsiteX14" fmla="*/ 2187045 w 2634448"/>
              <a:gd name="connsiteY14" fmla="*/ 1472837 h 1525154"/>
              <a:gd name="connsiteX15" fmla="*/ 2121731 w 2634448"/>
              <a:gd name="connsiteY15" fmla="*/ 1459774 h 1525154"/>
              <a:gd name="connsiteX16" fmla="*/ 2053151 w 2634448"/>
              <a:gd name="connsiteY16" fmla="*/ 1463040 h 1525154"/>
              <a:gd name="connsiteX17" fmla="*/ 2010696 w 2634448"/>
              <a:gd name="connsiteY17" fmla="*/ 1476103 h 1525154"/>
              <a:gd name="connsiteX18" fmla="*/ 1974773 w 2634448"/>
              <a:gd name="connsiteY18" fmla="*/ 1495697 h 1525154"/>
              <a:gd name="connsiteX19" fmla="*/ 1929053 w 2634448"/>
              <a:gd name="connsiteY19" fmla="*/ 1508760 h 1525154"/>
              <a:gd name="connsiteX20" fmla="*/ 1873536 w 2634448"/>
              <a:gd name="connsiteY20" fmla="*/ 1525088 h 1525154"/>
              <a:gd name="connsiteX21" fmla="*/ 1801691 w 2634448"/>
              <a:gd name="connsiteY21" fmla="*/ 1502228 h 1525154"/>
              <a:gd name="connsiteX22" fmla="*/ 1733111 w 2634448"/>
              <a:gd name="connsiteY22" fmla="*/ 1443445 h 1525154"/>
              <a:gd name="connsiteX23" fmla="*/ 1671062 w 2634448"/>
              <a:gd name="connsiteY23" fmla="*/ 1400991 h 1525154"/>
              <a:gd name="connsiteX24" fmla="*/ 1586221 w 2634448"/>
              <a:gd name="connsiteY24" fmla="*/ 1362075 h 1525154"/>
              <a:gd name="connsiteX25" fmla="*/ 1478385 w 2634448"/>
              <a:gd name="connsiteY25" fmla="*/ 1352005 h 1525154"/>
              <a:gd name="connsiteX26" fmla="*/ 1400008 w 2634448"/>
              <a:gd name="connsiteY26" fmla="*/ 1352005 h 1525154"/>
              <a:gd name="connsiteX27" fmla="*/ 1308568 w 2634448"/>
              <a:gd name="connsiteY27" fmla="*/ 1338943 h 1525154"/>
              <a:gd name="connsiteX28" fmla="*/ 1226925 w 2634448"/>
              <a:gd name="connsiteY28" fmla="*/ 1325880 h 1525154"/>
              <a:gd name="connsiteX29" fmla="*/ 1104597 w 2634448"/>
              <a:gd name="connsiteY29" fmla="*/ 1291453 h 1525154"/>
              <a:gd name="connsiteX30" fmla="*/ 968933 w 2634448"/>
              <a:gd name="connsiteY30" fmla="*/ 1254034 h 1525154"/>
              <a:gd name="connsiteX31" fmla="*/ 856131 w 2634448"/>
              <a:gd name="connsiteY31" fmla="*/ 1217839 h 1525154"/>
              <a:gd name="connsiteX32" fmla="*/ 753396 w 2634448"/>
              <a:gd name="connsiteY32" fmla="*/ 1185454 h 1525154"/>
              <a:gd name="connsiteX33" fmla="*/ 661956 w 2634448"/>
              <a:gd name="connsiteY33" fmla="*/ 1156063 h 1525154"/>
              <a:gd name="connsiteX34" fmla="*/ 559562 w 2634448"/>
              <a:gd name="connsiteY34" fmla="*/ 1130549 h 1525154"/>
              <a:gd name="connsiteX35" fmla="*/ 456216 w 2634448"/>
              <a:gd name="connsiteY35" fmla="*/ 1120140 h 1525154"/>
              <a:gd name="connsiteX36" fmla="*/ 377839 w 2634448"/>
              <a:gd name="connsiteY36" fmla="*/ 1113608 h 1525154"/>
              <a:gd name="connsiteX37" fmla="*/ 243945 w 2634448"/>
              <a:gd name="connsiteY37" fmla="*/ 1080951 h 1525154"/>
              <a:gd name="connsiteX38" fmla="*/ 175365 w 2634448"/>
              <a:gd name="connsiteY38" fmla="*/ 1045028 h 1525154"/>
              <a:gd name="connsiteX39" fmla="*/ 103859 w 2634448"/>
              <a:gd name="connsiteY39" fmla="*/ 971754 h 1525154"/>
              <a:gd name="connsiteX40" fmla="*/ 63990 w 2634448"/>
              <a:gd name="connsiteY40" fmla="*/ 898956 h 1525154"/>
              <a:gd name="connsiteX41" fmla="*/ 34939 w 2634448"/>
              <a:gd name="connsiteY41" fmla="*/ 809897 h 1525154"/>
              <a:gd name="connsiteX42" fmla="*/ 8813 w 2634448"/>
              <a:gd name="connsiteY42" fmla="*/ 724988 h 1525154"/>
              <a:gd name="connsiteX43" fmla="*/ 2282 w 2634448"/>
              <a:gd name="connsiteY43" fmla="*/ 613954 h 1525154"/>
              <a:gd name="connsiteX44" fmla="*/ 44736 w 2634448"/>
              <a:gd name="connsiteY44" fmla="*/ 525780 h 1525154"/>
              <a:gd name="connsiteX45" fmla="*/ 119848 w 2634448"/>
              <a:gd name="connsiteY45" fmla="*/ 450668 h 1525154"/>
              <a:gd name="connsiteX46" fmla="*/ 221085 w 2634448"/>
              <a:gd name="connsiteY46" fmla="*/ 372291 h 1525154"/>
              <a:gd name="connsiteX47" fmla="*/ 368042 w 2634448"/>
              <a:gd name="connsiteY47" fmla="*/ 303711 h 1525154"/>
              <a:gd name="connsiteX48" fmla="*/ 524796 w 2634448"/>
              <a:gd name="connsiteY48" fmla="*/ 257991 h 1525154"/>
              <a:gd name="connsiteX49" fmla="*/ 648893 w 2634448"/>
              <a:gd name="connsiteY49" fmla="*/ 218803 h 1525154"/>
              <a:gd name="connsiteX50" fmla="*/ 792585 w 2634448"/>
              <a:gd name="connsiteY50" fmla="*/ 186145 h 1525154"/>
              <a:gd name="connsiteX51" fmla="*/ 952605 w 2634448"/>
              <a:gd name="connsiteY51" fmla="*/ 156754 h 1525154"/>
              <a:gd name="connsiteX52" fmla="*/ 1106093 w 2634448"/>
              <a:gd name="connsiteY52" fmla="*/ 127363 h 1525154"/>
              <a:gd name="connsiteX53" fmla="*/ 1396742 w 2634448"/>
              <a:gd name="connsiteY53" fmla="*/ 39188 h 1525154"/>
              <a:gd name="connsiteX54" fmla="*/ 1546965 w 2634448"/>
              <a:gd name="connsiteY54" fmla="*/ 13063 h 1525154"/>
              <a:gd name="connsiteX55" fmla="*/ 1680859 w 2634448"/>
              <a:gd name="connsiteY55" fmla="*/ 0 h 1525154"/>
              <a:gd name="connsiteX56" fmla="*/ 1769033 w 2634448"/>
              <a:gd name="connsiteY56" fmla="*/ 0 h 1525154"/>
              <a:gd name="connsiteX57" fmla="*/ 1853942 w 2634448"/>
              <a:gd name="connsiteY57" fmla="*/ 52251 h 1525154"/>
              <a:gd name="connsiteX58" fmla="*/ 1958445 w 2634448"/>
              <a:gd name="connsiteY58" fmla="*/ 133894 h 1525154"/>
              <a:gd name="connsiteX59" fmla="*/ 2062948 w 2634448"/>
              <a:gd name="connsiteY59" fmla="*/ 218803 h 1525154"/>
              <a:gd name="connsiteX60" fmla="*/ 2154388 w 2634448"/>
              <a:gd name="connsiteY60" fmla="*/ 284117 h 1525154"/>
              <a:gd name="connsiteX61" fmla="*/ 2190311 w 2634448"/>
              <a:gd name="connsiteY61" fmla="*/ 329837 h 1525154"/>
              <a:gd name="connsiteX62" fmla="*/ 2196842 w 2634448"/>
              <a:gd name="connsiteY62" fmla="*/ 378823 h 1525154"/>
              <a:gd name="connsiteX63" fmla="*/ 2170716 w 2634448"/>
              <a:gd name="connsiteY63" fmla="*/ 440871 h 1525154"/>
              <a:gd name="connsiteX64" fmla="*/ 2066213 w 2634448"/>
              <a:gd name="connsiteY64" fmla="*/ 480060 h 1525154"/>
              <a:gd name="connsiteX65" fmla="*/ 1938851 w 2634448"/>
              <a:gd name="connsiteY65" fmla="*/ 486591 h 1525154"/>
              <a:gd name="connsiteX66" fmla="*/ 1857208 w 2634448"/>
              <a:gd name="connsiteY66" fmla="*/ 480060 h 1525154"/>
              <a:gd name="connsiteX67" fmla="*/ 1710251 w 2634448"/>
              <a:gd name="connsiteY67" fmla="*/ 457200 h 1525154"/>
              <a:gd name="connsiteX68" fmla="*/ 1569825 w 2634448"/>
              <a:gd name="connsiteY68" fmla="*/ 431074 h 1525154"/>
              <a:gd name="connsiteX69" fmla="*/ 1439196 w 2634448"/>
              <a:gd name="connsiteY69" fmla="*/ 411480 h 1525154"/>
              <a:gd name="connsiteX70" fmla="*/ 1324896 w 2634448"/>
              <a:gd name="connsiteY70" fmla="*/ 414745 h 1525154"/>
              <a:gd name="connsiteX71" fmla="*/ 1217128 w 2634448"/>
              <a:gd name="connsiteY71" fmla="*/ 437605 h 1525154"/>
              <a:gd name="connsiteX72" fmla="*/ 1138751 w 2634448"/>
              <a:gd name="connsiteY72" fmla="*/ 470263 h 1525154"/>
              <a:gd name="connsiteX73" fmla="*/ 1004856 w 2634448"/>
              <a:gd name="connsiteY73" fmla="*/ 515983 h 1525154"/>
              <a:gd name="connsiteX74" fmla="*/ 923213 w 2634448"/>
              <a:gd name="connsiteY74" fmla="*/ 555171 h 1525154"/>
              <a:gd name="connsiteX75" fmla="*/ 779522 w 2634448"/>
              <a:gd name="connsiteY75" fmla="*/ 568234 h 1525154"/>
              <a:gd name="connsiteX76" fmla="*/ 635831 w 2634448"/>
              <a:gd name="connsiteY76" fmla="*/ 587828 h 1525154"/>
              <a:gd name="connsiteX77" fmla="*/ 547656 w 2634448"/>
              <a:gd name="connsiteY77" fmla="*/ 591094 h 1525154"/>
              <a:gd name="connsiteX78" fmla="*/ 410496 w 2634448"/>
              <a:gd name="connsiteY78" fmla="*/ 574765 h 1525154"/>
              <a:gd name="connsiteX79" fmla="*/ 289665 w 2634448"/>
              <a:gd name="connsiteY79" fmla="*/ 555171 h 1525154"/>
              <a:gd name="connsiteX80" fmla="*/ 172099 w 2634448"/>
              <a:gd name="connsiteY80" fmla="*/ 545374 h 1525154"/>
              <a:gd name="connsiteX0" fmla="*/ 2634448 w 2634448"/>
              <a:gd name="connsiteY0" fmla="*/ 1012371 h 1525154"/>
              <a:gd name="connsiteX1" fmla="*/ 2631182 w 2634448"/>
              <a:gd name="connsiteY1" fmla="*/ 1067888 h 1525154"/>
              <a:gd name="connsiteX2" fmla="*/ 2626147 w 2634448"/>
              <a:gd name="connsiteY2" fmla="*/ 1125787 h 1525154"/>
              <a:gd name="connsiteX3" fmla="*/ 2624651 w 2634448"/>
              <a:gd name="connsiteY3" fmla="*/ 1172391 h 1525154"/>
              <a:gd name="connsiteX4" fmla="*/ 2621113 w 2634448"/>
              <a:gd name="connsiteY4" fmla="*/ 1227296 h 1525154"/>
              <a:gd name="connsiteX5" fmla="*/ 2598525 w 2634448"/>
              <a:gd name="connsiteY5" fmla="*/ 1280160 h 1525154"/>
              <a:gd name="connsiteX6" fmla="*/ 2559336 w 2634448"/>
              <a:gd name="connsiteY6" fmla="*/ 1312817 h 1525154"/>
              <a:gd name="connsiteX7" fmla="*/ 2503819 w 2634448"/>
              <a:gd name="connsiteY7" fmla="*/ 1322614 h 1525154"/>
              <a:gd name="connsiteX8" fmla="*/ 2451568 w 2634448"/>
              <a:gd name="connsiteY8" fmla="*/ 1325880 h 1525154"/>
              <a:gd name="connsiteX9" fmla="*/ 2405848 w 2634448"/>
              <a:gd name="connsiteY9" fmla="*/ 1325880 h 1525154"/>
              <a:gd name="connsiteX10" fmla="*/ 2350331 w 2634448"/>
              <a:gd name="connsiteY10" fmla="*/ 1338943 h 1525154"/>
              <a:gd name="connsiteX11" fmla="*/ 2314408 w 2634448"/>
              <a:gd name="connsiteY11" fmla="*/ 1378131 h 1525154"/>
              <a:gd name="connsiteX12" fmla="*/ 2285016 w 2634448"/>
              <a:gd name="connsiteY12" fmla="*/ 1407523 h 1525154"/>
              <a:gd name="connsiteX13" fmla="*/ 2245828 w 2634448"/>
              <a:gd name="connsiteY13" fmla="*/ 1449977 h 1525154"/>
              <a:gd name="connsiteX14" fmla="*/ 2187045 w 2634448"/>
              <a:gd name="connsiteY14" fmla="*/ 1472837 h 1525154"/>
              <a:gd name="connsiteX15" fmla="*/ 2121731 w 2634448"/>
              <a:gd name="connsiteY15" fmla="*/ 1459774 h 1525154"/>
              <a:gd name="connsiteX16" fmla="*/ 2053151 w 2634448"/>
              <a:gd name="connsiteY16" fmla="*/ 1463040 h 1525154"/>
              <a:gd name="connsiteX17" fmla="*/ 2010696 w 2634448"/>
              <a:gd name="connsiteY17" fmla="*/ 1476103 h 1525154"/>
              <a:gd name="connsiteX18" fmla="*/ 1974773 w 2634448"/>
              <a:gd name="connsiteY18" fmla="*/ 1495697 h 1525154"/>
              <a:gd name="connsiteX19" fmla="*/ 1929053 w 2634448"/>
              <a:gd name="connsiteY19" fmla="*/ 1508760 h 1525154"/>
              <a:gd name="connsiteX20" fmla="*/ 1873536 w 2634448"/>
              <a:gd name="connsiteY20" fmla="*/ 1525088 h 1525154"/>
              <a:gd name="connsiteX21" fmla="*/ 1801691 w 2634448"/>
              <a:gd name="connsiteY21" fmla="*/ 1502228 h 1525154"/>
              <a:gd name="connsiteX22" fmla="*/ 1733111 w 2634448"/>
              <a:gd name="connsiteY22" fmla="*/ 1443445 h 1525154"/>
              <a:gd name="connsiteX23" fmla="*/ 1671062 w 2634448"/>
              <a:gd name="connsiteY23" fmla="*/ 1400991 h 1525154"/>
              <a:gd name="connsiteX24" fmla="*/ 1586221 w 2634448"/>
              <a:gd name="connsiteY24" fmla="*/ 1362075 h 1525154"/>
              <a:gd name="connsiteX25" fmla="*/ 1478385 w 2634448"/>
              <a:gd name="connsiteY25" fmla="*/ 1352005 h 1525154"/>
              <a:gd name="connsiteX26" fmla="*/ 1400008 w 2634448"/>
              <a:gd name="connsiteY26" fmla="*/ 1352005 h 1525154"/>
              <a:gd name="connsiteX27" fmla="*/ 1308568 w 2634448"/>
              <a:gd name="connsiteY27" fmla="*/ 1338943 h 1525154"/>
              <a:gd name="connsiteX28" fmla="*/ 1226925 w 2634448"/>
              <a:gd name="connsiteY28" fmla="*/ 1325880 h 1525154"/>
              <a:gd name="connsiteX29" fmla="*/ 1104597 w 2634448"/>
              <a:gd name="connsiteY29" fmla="*/ 1291453 h 1525154"/>
              <a:gd name="connsiteX30" fmla="*/ 968933 w 2634448"/>
              <a:gd name="connsiteY30" fmla="*/ 1254034 h 1525154"/>
              <a:gd name="connsiteX31" fmla="*/ 856131 w 2634448"/>
              <a:gd name="connsiteY31" fmla="*/ 1217839 h 1525154"/>
              <a:gd name="connsiteX32" fmla="*/ 753396 w 2634448"/>
              <a:gd name="connsiteY32" fmla="*/ 1185454 h 1525154"/>
              <a:gd name="connsiteX33" fmla="*/ 661956 w 2634448"/>
              <a:gd name="connsiteY33" fmla="*/ 1156063 h 1525154"/>
              <a:gd name="connsiteX34" fmla="*/ 559562 w 2634448"/>
              <a:gd name="connsiteY34" fmla="*/ 1130549 h 1525154"/>
              <a:gd name="connsiteX35" fmla="*/ 456216 w 2634448"/>
              <a:gd name="connsiteY35" fmla="*/ 1120140 h 1525154"/>
              <a:gd name="connsiteX36" fmla="*/ 377839 w 2634448"/>
              <a:gd name="connsiteY36" fmla="*/ 1113608 h 1525154"/>
              <a:gd name="connsiteX37" fmla="*/ 243945 w 2634448"/>
              <a:gd name="connsiteY37" fmla="*/ 1080951 h 1525154"/>
              <a:gd name="connsiteX38" fmla="*/ 175365 w 2634448"/>
              <a:gd name="connsiteY38" fmla="*/ 1045028 h 1525154"/>
              <a:gd name="connsiteX39" fmla="*/ 103859 w 2634448"/>
              <a:gd name="connsiteY39" fmla="*/ 971754 h 1525154"/>
              <a:gd name="connsiteX40" fmla="*/ 63990 w 2634448"/>
              <a:gd name="connsiteY40" fmla="*/ 898956 h 1525154"/>
              <a:gd name="connsiteX41" fmla="*/ 30176 w 2634448"/>
              <a:gd name="connsiteY41" fmla="*/ 809897 h 1525154"/>
              <a:gd name="connsiteX42" fmla="*/ 8813 w 2634448"/>
              <a:gd name="connsiteY42" fmla="*/ 724988 h 1525154"/>
              <a:gd name="connsiteX43" fmla="*/ 2282 w 2634448"/>
              <a:gd name="connsiteY43" fmla="*/ 613954 h 1525154"/>
              <a:gd name="connsiteX44" fmla="*/ 44736 w 2634448"/>
              <a:gd name="connsiteY44" fmla="*/ 525780 h 1525154"/>
              <a:gd name="connsiteX45" fmla="*/ 119848 w 2634448"/>
              <a:gd name="connsiteY45" fmla="*/ 450668 h 1525154"/>
              <a:gd name="connsiteX46" fmla="*/ 221085 w 2634448"/>
              <a:gd name="connsiteY46" fmla="*/ 372291 h 1525154"/>
              <a:gd name="connsiteX47" fmla="*/ 368042 w 2634448"/>
              <a:gd name="connsiteY47" fmla="*/ 303711 h 1525154"/>
              <a:gd name="connsiteX48" fmla="*/ 524796 w 2634448"/>
              <a:gd name="connsiteY48" fmla="*/ 257991 h 1525154"/>
              <a:gd name="connsiteX49" fmla="*/ 648893 w 2634448"/>
              <a:gd name="connsiteY49" fmla="*/ 218803 h 1525154"/>
              <a:gd name="connsiteX50" fmla="*/ 792585 w 2634448"/>
              <a:gd name="connsiteY50" fmla="*/ 186145 h 1525154"/>
              <a:gd name="connsiteX51" fmla="*/ 952605 w 2634448"/>
              <a:gd name="connsiteY51" fmla="*/ 156754 h 1525154"/>
              <a:gd name="connsiteX52" fmla="*/ 1106093 w 2634448"/>
              <a:gd name="connsiteY52" fmla="*/ 127363 h 1525154"/>
              <a:gd name="connsiteX53" fmla="*/ 1396742 w 2634448"/>
              <a:gd name="connsiteY53" fmla="*/ 39188 h 1525154"/>
              <a:gd name="connsiteX54" fmla="*/ 1546965 w 2634448"/>
              <a:gd name="connsiteY54" fmla="*/ 13063 h 1525154"/>
              <a:gd name="connsiteX55" fmla="*/ 1680859 w 2634448"/>
              <a:gd name="connsiteY55" fmla="*/ 0 h 1525154"/>
              <a:gd name="connsiteX56" fmla="*/ 1769033 w 2634448"/>
              <a:gd name="connsiteY56" fmla="*/ 0 h 1525154"/>
              <a:gd name="connsiteX57" fmla="*/ 1853942 w 2634448"/>
              <a:gd name="connsiteY57" fmla="*/ 52251 h 1525154"/>
              <a:gd name="connsiteX58" fmla="*/ 1958445 w 2634448"/>
              <a:gd name="connsiteY58" fmla="*/ 133894 h 1525154"/>
              <a:gd name="connsiteX59" fmla="*/ 2062948 w 2634448"/>
              <a:gd name="connsiteY59" fmla="*/ 218803 h 1525154"/>
              <a:gd name="connsiteX60" fmla="*/ 2154388 w 2634448"/>
              <a:gd name="connsiteY60" fmla="*/ 284117 h 1525154"/>
              <a:gd name="connsiteX61" fmla="*/ 2190311 w 2634448"/>
              <a:gd name="connsiteY61" fmla="*/ 329837 h 1525154"/>
              <a:gd name="connsiteX62" fmla="*/ 2196842 w 2634448"/>
              <a:gd name="connsiteY62" fmla="*/ 378823 h 1525154"/>
              <a:gd name="connsiteX63" fmla="*/ 2170716 w 2634448"/>
              <a:gd name="connsiteY63" fmla="*/ 440871 h 1525154"/>
              <a:gd name="connsiteX64" fmla="*/ 2066213 w 2634448"/>
              <a:gd name="connsiteY64" fmla="*/ 480060 h 1525154"/>
              <a:gd name="connsiteX65" fmla="*/ 1938851 w 2634448"/>
              <a:gd name="connsiteY65" fmla="*/ 486591 h 1525154"/>
              <a:gd name="connsiteX66" fmla="*/ 1857208 w 2634448"/>
              <a:gd name="connsiteY66" fmla="*/ 480060 h 1525154"/>
              <a:gd name="connsiteX67" fmla="*/ 1710251 w 2634448"/>
              <a:gd name="connsiteY67" fmla="*/ 457200 h 1525154"/>
              <a:gd name="connsiteX68" fmla="*/ 1569825 w 2634448"/>
              <a:gd name="connsiteY68" fmla="*/ 431074 h 1525154"/>
              <a:gd name="connsiteX69" fmla="*/ 1439196 w 2634448"/>
              <a:gd name="connsiteY69" fmla="*/ 411480 h 1525154"/>
              <a:gd name="connsiteX70" fmla="*/ 1324896 w 2634448"/>
              <a:gd name="connsiteY70" fmla="*/ 414745 h 1525154"/>
              <a:gd name="connsiteX71" fmla="*/ 1217128 w 2634448"/>
              <a:gd name="connsiteY71" fmla="*/ 437605 h 1525154"/>
              <a:gd name="connsiteX72" fmla="*/ 1138751 w 2634448"/>
              <a:gd name="connsiteY72" fmla="*/ 470263 h 1525154"/>
              <a:gd name="connsiteX73" fmla="*/ 1004856 w 2634448"/>
              <a:gd name="connsiteY73" fmla="*/ 515983 h 1525154"/>
              <a:gd name="connsiteX74" fmla="*/ 923213 w 2634448"/>
              <a:gd name="connsiteY74" fmla="*/ 555171 h 1525154"/>
              <a:gd name="connsiteX75" fmla="*/ 779522 w 2634448"/>
              <a:gd name="connsiteY75" fmla="*/ 568234 h 1525154"/>
              <a:gd name="connsiteX76" fmla="*/ 635831 w 2634448"/>
              <a:gd name="connsiteY76" fmla="*/ 587828 h 1525154"/>
              <a:gd name="connsiteX77" fmla="*/ 547656 w 2634448"/>
              <a:gd name="connsiteY77" fmla="*/ 591094 h 1525154"/>
              <a:gd name="connsiteX78" fmla="*/ 410496 w 2634448"/>
              <a:gd name="connsiteY78" fmla="*/ 574765 h 1525154"/>
              <a:gd name="connsiteX79" fmla="*/ 289665 w 2634448"/>
              <a:gd name="connsiteY79" fmla="*/ 555171 h 1525154"/>
              <a:gd name="connsiteX80" fmla="*/ 172099 w 2634448"/>
              <a:gd name="connsiteY80" fmla="*/ 545374 h 1525154"/>
              <a:gd name="connsiteX0" fmla="*/ 2634448 w 2634448"/>
              <a:gd name="connsiteY0" fmla="*/ 1012371 h 1525154"/>
              <a:gd name="connsiteX1" fmla="*/ 2631182 w 2634448"/>
              <a:gd name="connsiteY1" fmla="*/ 1067888 h 1525154"/>
              <a:gd name="connsiteX2" fmla="*/ 2626147 w 2634448"/>
              <a:gd name="connsiteY2" fmla="*/ 1125787 h 1525154"/>
              <a:gd name="connsiteX3" fmla="*/ 2624651 w 2634448"/>
              <a:gd name="connsiteY3" fmla="*/ 1172391 h 1525154"/>
              <a:gd name="connsiteX4" fmla="*/ 2621113 w 2634448"/>
              <a:gd name="connsiteY4" fmla="*/ 1227296 h 1525154"/>
              <a:gd name="connsiteX5" fmla="*/ 2598525 w 2634448"/>
              <a:gd name="connsiteY5" fmla="*/ 1280160 h 1525154"/>
              <a:gd name="connsiteX6" fmla="*/ 2559336 w 2634448"/>
              <a:gd name="connsiteY6" fmla="*/ 1312817 h 1525154"/>
              <a:gd name="connsiteX7" fmla="*/ 2503819 w 2634448"/>
              <a:gd name="connsiteY7" fmla="*/ 1322614 h 1525154"/>
              <a:gd name="connsiteX8" fmla="*/ 2451568 w 2634448"/>
              <a:gd name="connsiteY8" fmla="*/ 1325880 h 1525154"/>
              <a:gd name="connsiteX9" fmla="*/ 2405848 w 2634448"/>
              <a:gd name="connsiteY9" fmla="*/ 1325880 h 1525154"/>
              <a:gd name="connsiteX10" fmla="*/ 2350331 w 2634448"/>
              <a:gd name="connsiteY10" fmla="*/ 1338943 h 1525154"/>
              <a:gd name="connsiteX11" fmla="*/ 2314408 w 2634448"/>
              <a:gd name="connsiteY11" fmla="*/ 1378131 h 1525154"/>
              <a:gd name="connsiteX12" fmla="*/ 2285016 w 2634448"/>
              <a:gd name="connsiteY12" fmla="*/ 1407523 h 1525154"/>
              <a:gd name="connsiteX13" fmla="*/ 2245828 w 2634448"/>
              <a:gd name="connsiteY13" fmla="*/ 1449977 h 1525154"/>
              <a:gd name="connsiteX14" fmla="*/ 2187045 w 2634448"/>
              <a:gd name="connsiteY14" fmla="*/ 1472837 h 1525154"/>
              <a:gd name="connsiteX15" fmla="*/ 2121731 w 2634448"/>
              <a:gd name="connsiteY15" fmla="*/ 1459774 h 1525154"/>
              <a:gd name="connsiteX16" fmla="*/ 2053151 w 2634448"/>
              <a:gd name="connsiteY16" fmla="*/ 1463040 h 1525154"/>
              <a:gd name="connsiteX17" fmla="*/ 2010696 w 2634448"/>
              <a:gd name="connsiteY17" fmla="*/ 1476103 h 1525154"/>
              <a:gd name="connsiteX18" fmla="*/ 1974773 w 2634448"/>
              <a:gd name="connsiteY18" fmla="*/ 1495697 h 1525154"/>
              <a:gd name="connsiteX19" fmla="*/ 1929053 w 2634448"/>
              <a:gd name="connsiteY19" fmla="*/ 1508760 h 1525154"/>
              <a:gd name="connsiteX20" fmla="*/ 1873536 w 2634448"/>
              <a:gd name="connsiteY20" fmla="*/ 1525088 h 1525154"/>
              <a:gd name="connsiteX21" fmla="*/ 1801691 w 2634448"/>
              <a:gd name="connsiteY21" fmla="*/ 1502228 h 1525154"/>
              <a:gd name="connsiteX22" fmla="*/ 1733111 w 2634448"/>
              <a:gd name="connsiteY22" fmla="*/ 1443445 h 1525154"/>
              <a:gd name="connsiteX23" fmla="*/ 1671062 w 2634448"/>
              <a:gd name="connsiteY23" fmla="*/ 1400991 h 1525154"/>
              <a:gd name="connsiteX24" fmla="*/ 1586221 w 2634448"/>
              <a:gd name="connsiteY24" fmla="*/ 1362075 h 1525154"/>
              <a:gd name="connsiteX25" fmla="*/ 1478385 w 2634448"/>
              <a:gd name="connsiteY25" fmla="*/ 1352005 h 1525154"/>
              <a:gd name="connsiteX26" fmla="*/ 1400008 w 2634448"/>
              <a:gd name="connsiteY26" fmla="*/ 1352005 h 1525154"/>
              <a:gd name="connsiteX27" fmla="*/ 1308568 w 2634448"/>
              <a:gd name="connsiteY27" fmla="*/ 1338943 h 1525154"/>
              <a:gd name="connsiteX28" fmla="*/ 1226925 w 2634448"/>
              <a:gd name="connsiteY28" fmla="*/ 1325880 h 1525154"/>
              <a:gd name="connsiteX29" fmla="*/ 1104597 w 2634448"/>
              <a:gd name="connsiteY29" fmla="*/ 1291453 h 1525154"/>
              <a:gd name="connsiteX30" fmla="*/ 968933 w 2634448"/>
              <a:gd name="connsiteY30" fmla="*/ 1254034 h 1525154"/>
              <a:gd name="connsiteX31" fmla="*/ 856131 w 2634448"/>
              <a:gd name="connsiteY31" fmla="*/ 1217839 h 1525154"/>
              <a:gd name="connsiteX32" fmla="*/ 753396 w 2634448"/>
              <a:gd name="connsiteY32" fmla="*/ 1185454 h 1525154"/>
              <a:gd name="connsiteX33" fmla="*/ 661956 w 2634448"/>
              <a:gd name="connsiteY33" fmla="*/ 1156063 h 1525154"/>
              <a:gd name="connsiteX34" fmla="*/ 559562 w 2634448"/>
              <a:gd name="connsiteY34" fmla="*/ 1130549 h 1525154"/>
              <a:gd name="connsiteX35" fmla="*/ 456216 w 2634448"/>
              <a:gd name="connsiteY35" fmla="*/ 1120140 h 1525154"/>
              <a:gd name="connsiteX36" fmla="*/ 377839 w 2634448"/>
              <a:gd name="connsiteY36" fmla="*/ 1113608 h 1525154"/>
              <a:gd name="connsiteX37" fmla="*/ 243945 w 2634448"/>
              <a:gd name="connsiteY37" fmla="*/ 1080951 h 1525154"/>
              <a:gd name="connsiteX38" fmla="*/ 175365 w 2634448"/>
              <a:gd name="connsiteY38" fmla="*/ 1045028 h 1525154"/>
              <a:gd name="connsiteX39" fmla="*/ 103859 w 2634448"/>
              <a:gd name="connsiteY39" fmla="*/ 971754 h 1525154"/>
              <a:gd name="connsiteX40" fmla="*/ 63990 w 2634448"/>
              <a:gd name="connsiteY40" fmla="*/ 898956 h 1525154"/>
              <a:gd name="connsiteX41" fmla="*/ 30176 w 2634448"/>
              <a:gd name="connsiteY41" fmla="*/ 809897 h 1525154"/>
              <a:gd name="connsiteX42" fmla="*/ 8813 w 2634448"/>
              <a:gd name="connsiteY42" fmla="*/ 724988 h 1525154"/>
              <a:gd name="connsiteX43" fmla="*/ 2282 w 2634448"/>
              <a:gd name="connsiteY43" fmla="*/ 613954 h 1525154"/>
              <a:gd name="connsiteX44" fmla="*/ 44736 w 2634448"/>
              <a:gd name="connsiteY44" fmla="*/ 525780 h 1525154"/>
              <a:gd name="connsiteX45" fmla="*/ 119848 w 2634448"/>
              <a:gd name="connsiteY45" fmla="*/ 450668 h 1525154"/>
              <a:gd name="connsiteX46" fmla="*/ 221085 w 2634448"/>
              <a:gd name="connsiteY46" fmla="*/ 372291 h 1525154"/>
              <a:gd name="connsiteX47" fmla="*/ 368042 w 2634448"/>
              <a:gd name="connsiteY47" fmla="*/ 303711 h 1525154"/>
              <a:gd name="connsiteX48" fmla="*/ 524796 w 2634448"/>
              <a:gd name="connsiteY48" fmla="*/ 257991 h 1525154"/>
              <a:gd name="connsiteX49" fmla="*/ 648893 w 2634448"/>
              <a:gd name="connsiteY49" fmla="*/ 218803 h 1525154"/>
              <a:gd name="connsiteX50" fmla="*/ 792585 w 2634448"/>
              <a:gd name="connsiteY50" fmla="*/ 186145 h 1525154"/>
              <a:gd name="connsiteX51" fmla="*/ 952605 w 2634448"/>
              <a:gd name="connsiteY51" fmla="*/ 156754 h 1525154"/>
              <a:gd name="connsiteX52" fmla="*/ 1106093 w 2634448"/>
              <a:gd name="connsiteY52" fmla="*/ 127363 h 1525154"/>
              <a:gd name="connsiteX53" fmla="*/ 1396742 w 2634448"/>
              <a:gd name="connsiteY53" fmla="*/ 39188 h 1525154"/>
              <a:gd name="connsiteX54" fmla="*/ 1546965 w 2634448"/>
              <a:gd name="connsiteY54" fmla="*/ 13063 h 1525154"/>
              <a:gd name="connsiteX55" fmla="*/ 1680859 w 2634448"/>
              <a:gd name="connsiteY55" fmla="*/ 0 h 1525154"/>
              <a:gd name="connsiteX56" fmla="*/ 1769033 w 2634448"/>
              <a:gd name="connsiteY56" fmla="*/ 0 h 1525154"/>
              <a:gd name="connsiteX57" fmla="*/ 1853942 w 2634448"/>
              <a:gd name="connsiteY57" fmla="*/ 52251 h 1525154"/>
              <a:gd name="connsiteX58" fmla="*/ 1958445 w 2634448"/>
              <a:gd name="connsiteY58" fmla="*/ 133894 h 1525154"/>
              <a:gd name="connsiteX59" fmla="*/ 2062948 w 2634448"/>
              <a:gd name="connsiteY59" fmla="*/ 218803 h 1525154"/>
              <a:gd name="connsiteX60" fmla="*/ 2154388 w 2634448"/>
              <a:gd name="connsiteY60" fmla="*/ 284117 h 1525154"/>
              <a:gd name="connsiteX61" fmla="*/ 2190311 w 2634448"/>
              <a:gd name="connsiteY61" fmla="*/ 329837 h 1525154"/>
              <a:gd name="connsiteX62" fmla="*/ 2196842 w 2634448"/>
              <a:gd name="connsiteY62" fmla="*/ 378823 h 1525154"/>
              <a:gd name="connsiteX63" fmla="*/ 2170716 w 2634448"/>
              <a:gd name="connsiteY63" fmla="*/ 440871 h 1525154"/>
              <a:gd name="connsiteX64" fmla="*/ 2066213 w 2634448"/>
              <a:gd name="connsiteY64" fmla="*/ 480060 h 1525154"/>
              <a:gd name="connsiteX65" fmla="*/ 1938851 w 2634448"/>
              <a:gd name="connsiteY65" fmla="*/ 486591 h 1525154"/>
              <a:gd name="connsiteX66" fmla="*/ 1857208 w 2634448"/>
              <a:gd name="connsiteY66" fmla="*/ 480060 h 1525154"/>
              <a:gd name="connsiteX67" fmla="*/ 1710251 w 2634448"/>
              <a:gd name="connsiteY67" fmla="*/ 457200 h 1525154"/>
              <a:gd name="connsiteX68" fmla="*/ 1569825 w 2634448"/>
              <a:gd name="connsiteY68" fmla="*/ 431074 h 1525154"/>
              <a:gd name="connsiteX69" fmla="*/ 1439196 w 2634448"/>
              <a:gd name="connsiteY69" fmla="*/ 411480 h 1525154"/>
              <a:gd name="connsiteX70" fmla="*/ 1324896 w 2634448"/>
              <a:gd name="connsiteY70" fmla="*/ 414745 h 1525154"/>
              <a:gd name="connsiteX71" fmla="*/ 1217128 w 2634448"/>
              <a:gd name="connsiteY71" fmla="*/ 437605 h 1525154"/>
              <a:gd name="connsiteX72" fmla="*/ 1138751 w 2634448"/>
              <a:gd name="connsiteY72" fmla="*/ 470263 h 1525154"/>
              <a:gd name="connsiteX73" fmla="*/ 1004856 w 2634448"/>
              <a:gd name="connsiteY73" fmla="*/ 515983 h 1525154"/>
              <a:gd name="connsiteX74" fmla="*/ 923213 w 2634448"/>
              <a:gd name="connsiteY74" fmla="*/ 555171 h 1525154"/>
              <a:gd name="connsiteX75" fmla="*/ 779522 w 2634448"/>
              <a:gd name="connsiteY75" fmla="*/ 568234 h 1525154"/>
              <a:gd name="connsiteX76" fmla="*/ 635831 w 2634448"/>
              <a:gd name="connsiteY76" fmla="*/ 587828 h 1525154"/>
              <a:gd name="connsiteX77" fmla="*/ 547656 w 2634448"/>
              <a:gd name="connsiteY77" fmla="*/ 591094 h 1525154"/>
              <a:gd name="connsiteX78" fmla="*/ 410496 w 2634448"/>
              <a:gd name="connsiteY78" fmla="*/ 574765 h 1525154"/>
              <a:gd name="connsiteX79" fmla="*/ 289665 w 2634448"/>
              <a:gd name="connsiteY79" fmla="*/ 555171 h 1525154"/>
              <a:gd name="connsiteX80" fmla="*/ 172099 w 2634448"/>
              <a:gd name="connsiteY80" fmla="*/ 545374 h 1525154"/>
              <a:gd name="connsiteX0" fmla="*/ 2634448 w 2634448"/>
              <a:gd name="connsiteY0" fmla="*/ 1012371 h 1525154"/>
              <a:gd name="connsiteX1" fmla="*/ 2631182 w 2634448"/>
              <a:gd name="connsiteY1" fmla="*/ 1067888 h 1525154"/>
              <a:gd name="connsiteX2" fmla="*/ 2626147 w 2634448"/>
              <a:gd name="connsiteY2" fmla="*/ 1125787 h 1525154"/>
              <a:gd name="connsiteX3" fmla="*/ 2624651 w 2634448"/>
              <a:gd name="connsiteY3" fmla="*/ 1172391 h 1525154"/>
              <a:gd name="connsiteX4" fmla="*/ 2621113 w 2634448"/>
              <a:gd name="connsiteY4" fmla="*/ 1227296 h 1525154"/>
              <a:gd name="connsiteX5" fmla="*/ 2598525 w 2634448"/>
              <a:gd name="connsiteY5" fmla="*/ 1280160 h 1525154"/>
              <a:gd name="connsiteX6" fmla="*/ 2559336 w 2634448"/>
              <a:gd name="connsiteY6" fmla="*/ 1312817 h 1525154"/>
              <a:gd name="connsiteX7" fmla="*/ 2503819 w 2634448"/>
              <a:gd name="connsiteY7" fmla="*/ 1322614 h 1525154"/>
              <a:gd name="connsiteX8" fmla="*/ 2451568 w 2634448"/>
              <a:gd name="connsiteY8" fmla="*/ 1325880 h 1525154"/>
              <a:gd name="connsiteX9" fmla="*/ 2405848 w 2634448"/>
              <a:gd name="connsiteY9" fmla="*/ 1325880 h 1525154"/>
              <a:gd name="connsiteX10" fmla="*/ 2350331 w 2634448"/>
              <a:gd name="connsiteY10" fmla="*/ 1338943 h 1525154"/>
              <a:gd name="connsiteX11" fmla="*/ 2314408 w 2634448"/>
              <a:gd name="connsiteY11" fmla="*/ 1378131 h 1525154"/>
              <a:gd name="connsiteX12" fmla="*/ 2285016 w 2634448"/>
              <a:gd name="connsiteY12" fmla="*/ 1407523 h 1525154"/>
              <a:gd name="connsiteX13" fmla="*/ 2245828 w 2634448"/>
              <a:gd name="connsiteY13" fmla="*/ 1449977 h 1525154"/>
              <a:gd name="connsiteX14" fmla="*/ 2187045 w 2634448"/>
              <a:gd name="connsiteY14" fmla="*/ 1472837 h 1525154"/>
              <a:gd name="connsiteX15" fmla="*/ 2121731 w 2634448"/>
              <a:gd name="connsiteY15" fmla="*/ 1459774 h 1525154"/>
              <a:gd name="connsiteX16" fmla="*/ 2053151 w 2634448"/>
              <a:gd name="connsiteY16" fmla="*/ 1463040 h 1525154"/>
              <a:gd name="connsiteX17" fmla="*/ 2010696 w 2634448"/>
              <a:gd name="connsiteY17" fmla="*/ 1476103 h 1525154"/>
              <a:gd name="connsiteX18" fmla="*/ 1974773 w 2634448"/>
              <a:gd name="connsiteY18" fmla="*/ 1495697 h 1525154"/>
              <a:gd name="connsiteX19" fmla="*/ 1929053 w 2634448"/>
              <a:gd name="connsiteY19" fmla="*/ 1508760 h 1525154"/>
              <a:gd name="connsiteX20" fmla="*/ 1873536 w 2634448"/>
              <a:gd name="connsiteY20" fmla="*/ 1525088 h 1525154"/>
              <a:gd name="connsiteX21" fmla="*/ 1801691 w 2634448"/>
              <a:gd name="connsiteY21" fmla="*/ 1502228 h 1525154"/>
              <a:gd name="connsiteX22" fmla="*/ 1733111 w 2634448"/>
              <a:gd name="connsiteY22" fmla="*/ 1443445 h 1525154"/>
              <a:gd name="connsiteX23" fmla="*/ 1671062 w 2634448"/>
              <a:gd name="connsiteY23" fmla="*/ 1400991 h 1525154"/>
              <a:gd name="connsiteX24" fmla="*/ 1586221 w 2634448"/>
              <a:gd name="connsiteY24" fmla="*/ 1362075 h 1525154"/>
              <a:gd name="connsiteX25" fmla="*/ 1478385 w 2634448"/>
              <a:gd name="connsiteY25" fmla="*/ 1352005 h 1525154"/>
              <a:gd name="connsiteX26" fmla="*/ 1400008 w 2634448"/>
              <a:gd name="connsiteY26" fmla="*/ 1352005 h 1525154"/>
              <a:gd name="connsiteX27" fmla="*/ 1308568 w 2634448"/>
              <a:gd name="connsiteY27" fmla="*/ 1338943 h 1525154"/>
              <a:gd name="connsiteX28" fmla="*/ 1226925 w 2634448"/>
              <a:gd name="connsiteY28" fmla="*/ 1325880 h 1525154"/>
              <a:gd name="connsiteX29" fmla="*/ 1104597 w 2634448"/>
              <a:gd name="connsiteY29" fmla="*/ 1291453 h 1525154"/>
              <a:gd name="connsiteX30" fmla="*/ 968933 w 2634448"/>
              <a:gd name="connsiteY30" fmla="*/ 1254034 h 1525154"/>
              <a:gd name="connsiteX31" fmla="*/ 856131 w 2634448"/>
              <a:gd name="connsiteY31" fmla="*/ 1217839 h 1525154"/>
              <a:gd name="connsiteX32" fmla="*/ 753396 w 2634448"/>
              <a:gd name="connsiteY32" fmla="*/ 1185454 h 1525154"/>
              <a:gd name="connsiteX33" fmla="*/ 661956 w 2634448"/>
              <a:gd name="connsiteY33" fmla="*/ 1156063 h 1525154"/>
              <a:gd name="connsiteX34" fmla="*/ 559562 w 2634448"/>
              <a:gd name="connsiteY34" fmla="*/ 1130549 h 1525154"/>
              <a:gd name="connsiteX35" fmla="*/ 456216 w 2634448"/>
              <a:gd name="connsiteY35" fmla="*/ 1120140 h 1525154"/>
              <a:gd name="connsiteX36" fmla="*/ 377839 w 2634448"/>
              <a:gd name="connsiteY36" fmla="*/ 1113608 h 1525154"/>
              <a:gd name="connsiteX37" fmla="*/ 243945 w 2634448"/>
              <a:gd name="connsiteY37" fmla="*/ 1080951 h 1525154"/>
              <a:gd name="connsiteX38" fmla="*/ 175365 w 2634448"/>
              <a:gd name="connsiteY38" fmla="*/ 1045028 h 1525154"/>
              <a:gd name="connsiteX39" fmla="*/ 103859 w 2634448"/>
              <a:gd name="connsiteY39" fmla="*/ 971754 h 1525154"/>
              <a:gd name="connsiteX40" fmla="*/ 63990 w 2634448"/>
              <a:gd name="connsiteY40" fmla="*/ 898956 h 1525154"/>
              <a:gd name="connsiteX41" fmla="*/ 30176 w 2634448"/>
              <a:gd name="connsiteY41" fmla="*/ 809897 h 1525154"/>
              <a:gd name="connsiteX42" fmla="*/ 8813 w 2634448"/>
              <a:gd name="connsiteY42" fmla="*/ 724988 h 1525154"/>
              <a:gd name="connsiteX43" fmla="*/ 2282 w 2634448"/>
              <a:gd name="connsiteY43" fmla="*/ 613954 h 1525154"/>
              <a:gd name="connsiteX44" fmla="*/ 44736 w 2634448"/>
              <a:gd name="connsiteY44" fmla="*/ 525780 h 1525154"/>
              <a:gd name="connsiteX45" fmla="*/ 119848 w 2634448"/>
              <a:gd name="connsiteY45" fmla="*/ 450668 h 1525154"/>
              <a:gd name="connsiteX46" fmla="*/ 221085 w 2634448"/>
              <a:gd name="connsiteY46" fmla="*/ 372291 h 1525154"/>
              <a:gd name="connsiteX47" fmla="*/ 368042 w 2634448"/>
              <a:gd name="connsiteY47" fmla="*/ 303711 h 1525154"/>
              <a:gd name="connsiteX48" fmla="*/ 524796 w 2634448"/>
              <a:gd name="connsiteY48" fmla="*/ 257991 h 1525154"/>
              <a:gd name="connsiteX49" fmla="*/ 648893 w 2634448"/>
              <a:gd name="connsiteY49" fmla="*/ 218803 h 1525154"/>
              <a:gd name="connsiteX50" fmla="*/ 792585 w 2634448"/>
              <a:gd name="connsiteY50" fmla="*/ 186145 h 1525154"/>
              <a:gd name="connsiteX51" fmla="*/ 952605 w 2634448"/>
              <a:gd name="connsiteY51" fmla="*/ 156754 h 1525154"/>
              <a:gd name="connsiteX52" fmla="*/ 1106093 w 2634448"/>
              <a:gd name="connsiteY52" fmla="*/ 127363 h 1525154"/>
              <a:gd name="connsiteX53" fmla="*/ 1396742 w 2634448"/>
              <a:gd name="connsiteY53" fmla="*/ 39188 h 1525154"/>
              <a:gd name="connsiteX54" fmla="*/ 1546965 w 2634448"/>
              <a:gd name="connsiteY54" fmla="*/ 13063 h 1525154"/>
              <a:gd name="connsiteX55" fmla="*/ 1680859 w 2634448"/>
              <a:gd name="connsiteY55" fmla="*/ 0 h 1525154"/>
              <a:gd name="connsiteX56" fmla="*/ 1769033 w 2634448"/>
              <a:gd name="connsiteY56" fmla="*/ 0 h 1525154"/>
              <a:gd name="connsiteX57" fmla="*/ 1853942 w 2634448"/>
              <a:gd name="connsiteY57" fmla="*/ 52251 h 1525154"/>
              <a:gd name="connsiteX58" fmla="*/ 1958445 w 2634448"/>
              <a:gd name="connsiteY58" fmla="*/ 133894 h 1525154"/>
              <a:gd name="connsiteX59" fmla="*/ 2062948 w 2634448"/>
              <a:gd name="connsiteY59" fmla="*/ 218803 h 1525154"/>
              <a:gd name="connsiteX60" fmla="*/ 2154388 w 2634448"/>
              <a:gd name="connsiteY60" fmla="*/ 284117 h 1525154"/>
              <a:gd name="connsiteX61" fmla="*/ 2190311 w 2634448"/>
              <a:gd name="connsiteY61" fmla="*/ 329837 h 1525154"/>
              <a:gd name="connsiteX62" fmla="*/ 2196842 w 2634448"/>
              <a:gd name="connsiteY62" fmla="*/ 378823 h 1525154"/>
              <a:gd name="connsiteX63" fmla="*/ 2170716 w 2634448"/>
              <a:gd name="connsiteY63" fmla="*/ 440871 h 1525154"/>
              <a:gd name="connsiteX64" fmla="*/ 2066213 w 2634448"/>
              <a:gd name="connsiteY64" fmla="*/ 480060 h 1525154"/>
              <a:gd name="connsiteX65" fmla="*/ 1938851 w 2634448"/>
              <a:gd name="connsiteY65" fmla="*/ 486591 h 1525154"/>
              <a:gd name="connsiteX66" fmla="*/ 1857208 w 2634448"/>
              <a:gd name="connsiteY66" fmla="*/ 480060 h 1525154"/>
              <a:gd name="connsiteX67" fmla="*/ 1710251 w 2634448"/>
              <a:gd name="connsiteY67" fmla="*/ 457200 h 1525154"/>
              <a:gd name="connsiteX68" fmla="*/ 1569825 w 2634448"/>
              <a:gd name="connsiteY68" fmla="*/ 431074 h 1525154"/>
              <a:gd name="connsiteX69" fmla="*/ 1439196 w 2634448"/>
              <a:gd name="connsiteY69" fmla="*/ 411480 h 1525154"/>
              <a:gd name="connsiteX70" fmla="*/ 1324896 w 2634448"/>
              <a:gd name="connsiteY70" fmla="*/ 414745 h 1525154"/>
              <a:gd name="connsiteX71" fmla="*/ 1217128 w 2634448"/>
              <a:gd name="connsiteY71" fmla="*/ 437605 h 1525154"/>
              <a:gd name="connsiteX72" fmla="*/ 1138751 w 2634448"/>
              <a:gd name="connsiteY72" fmla="*/ 470263 h 1525154"/>
              <a:gd name="connsiteX73" fmla="*/ 1004856 w 2634448"/>
              <a:gd name="connsiteY73" fmla="*/ 515983 h 1525154"/>
              <a:gd name="connsiteX74" fmla="*/ 923213 w 2634448"/>
              <a:gd name="connsiteY74" fmla="*/ 555171 h 1525154"/>
              <a:gd name="connsiteX75" fmla="*/ 779522 w 2634448"/>
              <a:gd name="connsiteY75" fmla="*/ 568234 h 1525154"/>
              <a:gd name="connsiteX76" fmla="*/ 635831 w 2634448"/>
              <a:gd name="connsiteY76" fmla="*/ 587828 h 1525154"/>
              <a:gd name="connsiteX77" fmla="*/ 547656 w 2634448"/>
              <a:gd name="connsiteY77" fmla="*/ 591094 h 1525154"/>
              <a:gd name="connsiteX78" fmla="*/ 410496 w 2634448"/>
              <a:gd name="connsiteY78" fmla="*/ 574765 h 1525154"/>
              <a:gd name="connsiteX79" fmla="*/ 289665 w 2634448"/>
              <a:gd name="connsiteY79" fmla="*/ 555171 h 1525154"/>
              <a:gd name="connsiteX80" fmla="*/ 172099 w 2634448"/>
              <a:gd name="connsiteY80" fmla="*/ 545374 h 1525154"/>
              <a:gd name="connsiteX0" fmla="*/ 2634448 w 2634448"/>
              <a:gd name="connsiteY0" fmla="*/ 1012371 h 1525154"/>
              <a:gd name="connsiteX1" fmla="*/ 2631182 w 2634448"/>
              <a:gd name="connsiteY1" fmla="*/ 1067888 h 1525154"/>
              <a:gd name="connsiteX2" fmla="*/ 2626147 w 2634448"/>
              <a:gd name="connsiteY2" fmla="*/ 1125787 h 1525154"/>
              <a:gd name="connsiteX3" fmla="*/ 2624651 w 2634448"/>
              <a:gd name="connsiteY3" fmla="*/ 1172391 h 1525154"/>
              <a:gd name="connsiteX4" fmla="*/ 2621113 w 2634448"/>
              <a:gd name="connsiteY4" fmla="*/ 1227296 h 1525154"/>
              <a:gd name="connsiteX5" fmla="*/ 2598525 w 2634448"/>
              <a:gd name="connsiteY5" fmla="*/ 1280160 h 1525154"/>
              <a:gd name="connsiteX6" fmla="*/ 2559336 w 2634448"/>
              <a:gd name="connsiteY6" fmla="*/ 1312817 h 1525154"/>
              <a:gd name="connsiteX7" fmla="*/ 2503819 w 2634448"/>
              <a:gd name="connsiteY7" fmla="*/ 1322614 h 1525154"/>
              <a:gd name="connsiteX8" fmla="*/ 2451568 w 2634448"/>
              <a:gd name="connsiteY8" fmla="*/ 1325880 h 1525154"/>
              <a:gd name="connsiteX9" fmla="*/ 2405848 w 2634448"/>
              <a:gd name="connsiteY9" fmla="*/ 1325880 h 1525154"/>
              <a:gd name="connsiteX10" fmla="*/ 2350331 w 2634448"/>
              <a:gd name="connsiteY10" fmla="*/ 1338943 h 1525154"/>
              <a:gd name="connsiteX11" fmla="*/ 2314408 w 2634448"/>
              <a:gd name="connsiteY11" fmla="*/ 1378131 h 1525154"/>
              <a:gd name="connsiteX12" fmla="*/ 2285016 w 2634448"/>
              <a:gd name="connsiteY12" fmla="*/ 1407523 h 1525154"/>
              <a:gd name="connsiteX13" fmla="*/ 2245828 w 2634448"/>
              <a:gd name="connsiteY13" fmla="*/ 1449977 h 1525154"/>
              <a:gd name="connsiteX14" fmla="*/ 2187045 w 2634448"/>
              <a:gd name="connsiteY14" fmla="*/ 1472837 h 1525154"/>
              <a:gd name="connsiteX15" fmla="*/ 2121731 w 2634448"/>
              <a:gd name="connsiteY15" fmla="*/ 1459774 h 1525154"/>
              <a:gd name="connsiteX16" fmla="*/ 2053151 w 2634448"/>
              <a:gd name="connsiteY16" fmla="*/ 1463040 h 1525154"/>
              <a:gd name="connsiteX17" fmla="*/ 2010696 w 2634448"/>
              <a:gd name="connsiteY17" fmla="*/ 1476103 h 1525154"/>
              <a:gd name="connsiteX18" fmla="*/ 1974773 w 2634448"/>
              <a:gd name="connsiteY18" fmla="*/ 1495697 h 1525154"/>
              <a:gd name="connsiteX19" fmla="*/ 1929053 w 2634448"/>
              <a:gd name="connsiteY19" fmla="*/ 1508760 h 1525154"/>
              <a:gd name="connsiteX20" fmla="*/ 1873536 w 2634448"/>
              <a:gd name="connsiteY20" fmla="*/ 1525088 h 1525154"/>
              <a:gd name="connsiteX21" fmla="*/ 1801691 w 2634448"/>
              <a:gd name="connsiteY21" fmla="*/ 1502228 h 1525154"/>
              <a:gd name="connsiteX22" fmla="*/ 1733111 w 2634448"/>
              <a:gd name="connsiteY22" fmla="*/ 1443445 h 1525154"/>
              <a:gd name="connsiteX23" fmla="*/ 1671062 w 2634448"/>
              <a:gd name="connsiteY23" fmla="*/ 1400991 h 1525154"/>
              <a:gd name="connsiteX24" fmla="*/ 1586221 w 2634448"/>
              <a:gd name="connsiteY24" fmla="*/ 1362075 h 1525154"/>
              <a:gd name="connsiteX25" fmla="*/ 1478385 w 2634448"/>
              <a:gd name="connsiteY25" fmla="*/ 1352005 h 1525154"/>
              <a:gd name="connsiteX26" fmla="*/ 1400008 w 2634448"/>
              <a:gd name="connsiteY26" fmla="*/ 1352005 h 1525154"/>
              <a:gd name="connsiteX27" fmla="*/ 1308568 w 2634448"/>
              <a:gd name="connsiteY27" fmla="*/ 1338943 h 1525154"/>
              <a:gd name="connsiteX28" fmla="*/ 1226925 w 2634448"/>
              <a:gd name="connsiteY28" fmla="*/ 1325880 h 1525154"/>
              <a:gd name="connsiteX29" fmla="*/ 1104597 w 2634448"/>
              <a:gd name="connsiteY29" fmla="*/ 1291453 h 1525154"/>
              <a:gd name="connsiteX30" fmla="*/ 968933 w 2634448"/>
              <a:gd name="connsiteY30" fmla="*/ 1254034 h 1525154"/>
              <a:gd name="connsiteX31" fmla="*/ 856131 w 2634448"/>
              <a:gd name="connsiteY31" fmla="*/ 1217839 h 1525154"/>
              <a:gd name="connsiteX32" fmla="*/ 753396 w 2634448"/>
              <a:gd name="connsiteY32" fmla="*/ 1185454 h 1525154"/>
              <a:gd name="connsiteX33" fmla="*/ 661956 w 2634448"/>
              <a:gd name="connsiteY33" fmla="*/ 1156063 h 1525154"/>
              <a:gd name="connsiteX34" fmla="*/ 559562 w 2634448"/>
              <a:gd name="connsiteY34" fmla="*/ 1130549 h 1525154"/>
              <a:gd name="connsiteX35" fmla="*/ 456216 w 2634448"/>
              <a:gd name="connsiteY35" fmla="*/ 1120140 h 1525154"/>
              <a:gd name="connsiteX36" fmla="*/ 377839 w 2634448"/>
              <a:gd name="connsiteY36" fmla="*/ 1113608 h 1525154"/>
              <a:gd name="connsiteX37" fmla="*/ 243945 w 2634448"/>
              <a:gd name="connsiteY37" fmla="*/ 1080951 h 1525154"/>
              <a:gd name="connsiteX38" fmla="*/ 175365 w 2634448"/>
              <a:gd name="connsiteY38" fmla="*/ 1045028 h 1525154"/>
              <a:gd name="connsiteX39" fmla="*/ 103859 w 2634448"/>
              <a:gd name="connsiteY39" fmla="*/ 971754 h 1525154"/>
              <a:gd name="connsiteX40" fmla="*/ 63990 w 2634448"/>
              <a:gd name="connsiteY40" fmla="*/ 898956 h 1525154"/>
              <a:gd name="connsiteX41" fmla="*/ 30176 w 2634448"/>
              <a:gd name="connsiteY41" fmla="*/ 809897 h 1525154"/>
              <a:gd name="connsiteX42" fmla="*/ 8813 w 2634448"/>
              <a:gd name="connsiteY42" fmla="*/ 724988 h 1525154"/>
              <a:gd name="connsiteX43" fmla="*/ 2282 w 2634448"/>
              <a:gd name="connsiteY43" fmla="*/ 613954 h 1525154"/>
              <a:gd name="connsiteX44" fmla="*/ 44736 w 2634448"/>
              <a:gd name="connsiteY44" fmla="*/ 525780 h 1525154"/>
              <a:gd name="connsiteX45" fmla="*/ 119848 w 2634448"/>
              <a:gd name="connsiteY45" fmla="*/ 450668 h 1525154"/>
              <a:gd name="connsiteX46" fmla="*/ 221085 w 2634448"/>
              <a:gd name="connsiteY46" fmla="*/ 372291 h 1525154"/>
              <a:gd name="connsiteX47" fmla="*/ 368042 w 2634448"/>
              <a:gd name="connsiteY47" fmla="*/ 303711 h 1525154"/>
              <a:gd name="connsiteX48" fmla="*/ 524796 w 2634448"/>
              <a:gd name="connsiteY48" fmla="*/ 257991 h 1525154"/>
              <a:gd name="connsiteX49" fmla="*/ 648893 w 2634448"/>
              <a:gd name="connsiteY49" fmla="*/ 225947 h 1525154"/>
              <a:gd name="connsiteX50" fmla="*/ 792585 w 2634448"/>
              <a:gd name="connsiteY50" fmla="*/ 186145 h 1525154"/>
              <a:gd name="connsiteX51" fmla="*/ 952605 w 2634448"/>
              <a:gd name="connsiteY51" fmla="*/ 156754 h 1525154"/>
              <a:gd name="connsiteX52" fmla="*/ 1106093 w 2634448"/>
              <a:gd name="connsiteY52" fmla="*/ 127363 h 1525154"/>
              <a:gd name="connsiteX53" fmla="*/ 1396742 w 2634448"/>
              <a:gd name="connsiteY53" fmla="*/ 39188 h 1525154"/>
              <a:gd name="connsiteX54" fmla="*/ 1546965 w 2634448"/>
              <a:gd name="connsiteY54" fmla="*/ 13063 h 1525154"/>
              <a:gd name="connsiteX55" fmla="*/ 1680859 w 2634448"/>
              <a:gd name="connsiteY55" fmla="*/ 0 h 1525154"/>
              <a:gd name="connsiteX56" fmla="*/ 1769033 w 2634448"/>
              <a:gd name="connsiteY56" fmla="*/ 0 h 1525154"/>
              <a:gd name="connsiteX57" fmla="*/ 1853942 w 2634448"/>
              <a:gd name="connsiteY57" fmla="*/ 52251 h 1525154"/>
              <a:gd name="connsiteX58" fmla="*/ 1958445 w 2634448"/>
              <a:gd name="connsiteY58" fmla="*/ 133894 h 1525154"/>
              <a:gd name="connsiteX59" fmla="*/ 2062948 w 2634448"/>
              <a:gd name="connsiteY59" fmla="*/ 218803 h 1525154"/>
              <a:gd name="connsiteX60" fmla="*/ 2154388 w 2634448"/>
              <a:gd name="connsiteY60" fmla="*/ 284117 h 1525154"/>
              <a:gd name="connsiteX61" fmla="*/ 2190311 w 2634448"/>
              <a:gd name="connsiteY61" fmla="*/ 329837 h 1525154"/>
              <a:gd name="connsiteX62" fmla="*/ 2196842 w 2634448"/>
              <a:gd name="connsiteY62" fmla="*/ 378823 h 1525154"/>
              <a:gd name="connsiteX63" fmla="*/ 2170716 w 2634448"/>
              <a:gd name="connsiteY63" fmla="*/ 440871 h 1525154"/>
              <a:gd name="connsiteX64" fmla="*/ 2066213 w 2634448"/>
              <a:gd name="connsiteY64" fmla="*/ 480060 h 1525154"/>
              <a:gd name="connsiteX65" fmla="*/ 1938851 w 2634448"/>
              <a:gd name="connsiteY65" fmla="*/ 486591 h 1525154"/>
              <a:gd name="connsiteX66" fmla="*/ 1857208 w 2634448"/>
              <a:gd name="connsiteY66" fmla="*/ 480060 h 1525154"/>
              <a:gd name="connsiteX67" fmla="*/ 1710251 w 2634448"/>
              <a:gd name="connsiteY67" fmla="*/ 457200 h 1525154"/>
              <a:gd name="connsiteX68" fmla="*/ 1569825 w 2634448"/>
              <a:gd name="connsiteY68" fmla="*/ 431074 h 1525154"/>
              <a:gd name="connsiteX69" fmla="*/ 1439196 w 2634448"/>
              <a:gd name="connsiteY69" fmla="*/ 411480 h 1525154"/>
              <a:gd name="connsiteX70" fmla="*/ 1324896 w 2634448"/>
              <a:gd name="connsiteY70" fmla="*/ 414745 h 1525154"/>
              <a:gd name="connsiteX71" fmla="*/ 1217128 w 2634448"/>
              <a:gd name="connsiteY71" fmla="*/ 437605 h 1525154"/>
              <a:gd name="connsiteX72" fmla="*/ 1138751 w 2634448"/>
              <a:gd name="connsiteY72" fmla="*/ 470263 h 1525154"/>
              <a:gd name="connsiteX73" fmla="*/ 1004856 w 2634448"/>
              <a:gd name="connsiteY73" fmla="*/ 515983 h 1525154"/>
              <a:gd name="connsiteX74" fmla="*/ 923213 w 2634448"/>
              <a:gd name="connsiteY74" fmla="*/ 555171 h 1525154"/>
              <a:gd name="connsiteX75" fmla="*/ 779522 w 2634448"/>
              <a:gd name="connsiteY75" fmla="*/ 568234 h 1525154"/>
              <a:gd name="connsiteX76" fmla="*/ 635831 w 2634448"/>
              <a:gd name="connsiteY76" fmla="*/ 587828 h 1525154"/>
              <a:gd name="connsiteX77" fmla="*/ 547656 w 2634448"/>
              <a:gd name="connsiteY77" fmla="*/ 591094 h 1525154"/>
              <a:gd name="connsiteX78" fmla="*/ 410496 w 2634448"/>
              <a:gd name="connsiteY78" fmla="*/ 574765 h 1525154"/>
              <a:gd name="connsiteX79" fmla="*/ 289665 w 2634448"/>
              <a:gd name="connsiteY79" fmla="*/ 555171 h 1525154"/>
              <a:gd name="connsiteX80" fmla="*/ 172099 w 2634448"/>
              <a:gd name="connsiteY80" fmla="*/ 545374 h 1525154"/>
              <a:gd name="connsiteX0" fmla="*/ 2634448 w 2634448"/>
              <a:gd name="connsiteY0" fmla="*/ 1016771 h 1529554"/>
              <a:gd name="connsiteX1" fmla="*/ 2631182 w 2634448"/>
              <a:gd name="connsiteY1" fmla="*/ 1072288 h 1529554"/>
              <a:gd name="connsiteX2" fmla="*/ 2626147 w 2634448"/>
              <a:gd name="connsiteY2" fmla="*/ 1130187 h 1529554"/>
              <a:gd name="connsiteX3" fmla="*/ 2624651 w 2634448"/>
              <a:gd name="connsiteY3" fmla="*/ 1176791 h 1529554"/>
              <a:gd name="connsiteX4" fmla="*/ 2621113 w 2634448"/>
              <a:gd name="connsiteY4" fmla="*/ 1231696 h 1529554"/>
              <a:gd name="connsiteX5" fmla="*/ 2598525 w 2634448"/>
              <a:gd name="connsiteY5" fmla="*/ 1284560 h 1529554"/>
              <a:gd name="connsiteX6" fmla="*/ 2559336 w 2634448"/>
              <a:gd name="connsiteY6" fmla="*/ 1317217 h 1529554"/>
              <a:gd name="connsiteX7" fmla="*/ 2503819 w 2634448"/>
              <a:gd name="connsiteY7" fmla="*/ 1327014 h 1529554"/>
              <a:gd name="connsiteX8" fmla="*/ 2451568 w 2634448"/>
              <a:gd name="connsiteY8" fmla="*/ 1330280 h 1529554"/>
              <a:gd name="connsiteX9" fmla="*/ 2405848 w 2634448"/>
              <a:gd name="connsiteY9" fmla="*/ 1330280 h 1529554"/>
              <a:gd name="connsiteX10" fmla="*/ 2350331 w 2634448"/>
              <a:gd name="connsiteY10" fmla="*/ 1343343 h 1529554"/>
              <a:gd name="connsiteX11" fmla="*/ 2314408 w 2634448"/>
              <a:gd name="connsiteY11" fmla="*/ 1382531 h 1529554"/>
              <a:gd name="connsiteX12" fmla="*/ 2285016 w 2634448"/>
              <a:gd name="connsiteY12" fmla="*/ 1411923 h 1529554"/>
              <a:gd name="connsiteX13" fmla="*/ 2245828 w 2634448"/>
              <a:gd name="connsiteY13" fmla="*/ 1454377 h 1529554"/>
              <a:gd name="connsiteX14" fmla="*/ 2187045 w 2634448"/>
              <a:gd name="connsiteY14" fmla="*/ 1477237 h 1529554"/>
              <a:gd name="connsiteX15" fmla="*/ 2121731 w 2634448"/>
              <a:gd name="connsiteY15" fmla="*/ 1464174 h 1529554"/>
              <a:gd name="connsiteX16" fmla="*/ 2053151 w 2634448"/>
              <a:gd name="connsiteY16" fmla="*/ 1467440 h 1529554"/>
              <a:gd name="connsiteX17" fmla="*/ 2010696 w 2634448"/>
              <a:gd name="connsiteY17" fmla="*/ 1480503 h 1529554"/>
              <a:gd name="connsiteX18" fmla="*/ 1974773 w 2634448"/>
              <a:gd name="connsiteY18" fmla="*/ 1500097 h 1529554"/>
              <a:gd name="connsiteX19" fmla="*/ 1929053 w 2634448"/>
              <a:gd name="connsiteY19" fmla="*/ 1513160 h 1529554"/>
              <a:gd name="connsiteX20" fmla="*/ 1873536 w 2634448"/>
              <a:gd name="connsiteY20" fmla="*/ 1529488 h 1529554"/>
              <a:gd name="connsiteX21" fmla="*/ 1801691 w 2634448"/>
              <a:gd name="connsiteY21" fmla="*/ 1506628 h 1529554"/>
              <a:gd name="connsiteX22" fmla="*/ 1733111 w 2634448"/>
              <a:gd name="connsiteY22" fmla="*/ 1447845 h 1529554"/>
              <a:gd name="connsiteX23" fmla="*/ 1671062 w 2634448"/>
              <a:gd name="connsiteY23" fmla="*/ 1405391 h 1529554"/>
              <a:gd name="connsiteX24" fmla="*/ 1586221 w 2634448"/>
              <a:gd name="connsiteY24" fmla="*/ 1366475 h 1529554"/>
              <a:gd name="connsiteX25" fmla="*/ 1478385 w 2634448"/>
              <a:gd name="connsiteY25" fmla="*/ 1356405 h 1529554"/>
              <a:gd name="connsiteX26" fmla="*/ 1400008 w 2634448"/>
              <a:gd name="connsiteY26" fmla="*/ 1356405 h 1529554"/>
              <a:gd name="connsiteX27" fmla="*/ 1308568 w 2634448"/>
              <a:gd name="connsiteY27" fmla="*/ 1343343 h 1529554"/>
              <a:gd name="connsiteX28" fmla="*/ 1226925 w 2634448"/>
              <a:gd name="connsiteY28" fmla="*/ 1330280 h 1529554"/>
              <a:gd name="connsiteX29" fmla="*/ 1104597 w 2634448"/>
              <a:gd name="connsiteY29" fmla="*/ 1295853 h 1529554"/>
              <a:gd name="connsiteX30" fmla="*/ 968933 w 2634448"/>
              <a:gd name="connsiteY30" fmla="*/ 1258434 h 1529554"/>
              <a:gd name="connsiteX31" fmla="*/ 856131 w 2634448"/>
              <a:gd name="connsiteY31" fmla="*/ 1222239 h 1529554"/>
              <a:gd name="connsiteX32" fmla="*/ 753396 w 2634448"/>
              <a:gd name="connsiteY32" fmla="*/ 1189854 h 1529554"/>
              <a:gd name="connsiteX33" fmla="*/ 661956 w 2634448"/>
              <a:gd name="connsiteY33" fmla="*/ 1160463 h 1529554"/>
              <a:gd name="connsiteX34" fmla="*/ 559562 w 2634448"/>
              <a:gd name="connsiteY34" fmla="*/ 1134949 h 1529554"/>
              <a:gd name="connsiteX35" fmla="*/ 456216 w 2634448"/>
              <a:gd name="connsiteY35" fmla="*/ 1124540 h 1529554"/>
              <a:gd name="connsiteX36" fmla="*/ 377839 w 2634448"/>
              <a:gd name="connsiteY36" fmla="*/ 1118008 h 1529554"/>
              <a:gd name="connsiteX37" fmla="*/ 243945 w 2634448"/>
              <a:gd name="connsiteY37" fmla="*/ 1085351 h 1529554"/>
              <a:gd name="connsiteX38" fmla="*/ 175365 w 2634448"/>
              <a:gd name="connsiteY38" fmla="*/ 1049428 h 1529554"/>
              <a:gd name="connsiteX39" fmla="*/ 103859 w 2634448"/>
              <a:gd name="connsiteY39" fmla="*/ 976154 h 1529554"/>
              <a:gd name="connsiteX40" fmla="*/ 63990 w 2634448"/>
              <a:gd name="connsiteY40" fmla="*/ 903356 h 1529554"/>
              <a:gd name="connsiteX41" fmla="*/ 30176 w 2634448"/>
              <a:gd name="connsiteY41" fmla="*/ 814297 h 1529554"/>
              <a:gd name="connsiteX42" fmla="*/ 8813 w 2634448"/>
              <a:gd name="connsiteY42" fmla="*/ 729388 h 1529554"/>
              <a:gd name="connsiteX43" fmla="*/ 2282 w 2634448"/>
              <a:gd name="connsiteY43" fmla="*/ 618354 h 1529554"/>
              <a:gd name="connsiteX44" fmla="*/ 44736 w 2634448"/>
              <a:gd name="connsiteY44" fmla="*/ 530180 h 1529554"/>
              <a:gd name="connsiteX45" fmla="*/ 119848 w 2634448"/>
              <a:gd name="connsiteY45" fmla="*/ 455068 h 1529554"/>
              <a:gd name="connsiteX46" fmla="*/ 221085 w 2634448"/>
              <a:gd name="connsiteY46" fmla="*/ 376691 h 1529554"/>
              <a:gd name="connsiteX47" fmla="*/ 368042 w 2634448"/>
              <a:gd name="connsiteY47" fmla="*/ 308111 h 1529554"/>
              <a:gd name="connsiteX48" fmla="*/ 524796 w 2634448"/>
              <a:gd name="connsiteY48" fmla="*/ 262391 h 1529554"/>
              <a:gd name="connsiteX49" fmla="*/ 648893 w 2634448"/>
              <a:gd name="connsiteY49" fmla="*/ 230347 h 1529554"/>
              <a:gd name="connsiteX50" fmla="*/ 792585 w 2634448"/>
              <a:gd name="connsiteY50" fmla="*/ 190545 h 1529554"/>
              <a:gd name="connsiteX51" fmla="*/ 952605 w 2634448"/>
              <a:gd name="connsiteY51" fmla="*/ 161154 h 1529554"/>
              <a:gd name="connsiteX52" fmla="*/ 1106093 w 2634448"/>
              <a:gd name="connsiteY52" fmla="*/ 131763 h 1529554"/>
              <a:gd name="connsiteX53" fmla="*/ 1396742 w 2634448"/>
              <a:gd name="connsiteY53" fmla="*/ 43588 h 1529554"/>
              <a:gd name="connsiteX54" fmla="*/ 1546965 w 2634448"/>
              <a:gd name="connsiteY54" fmla="*/ 17463 h 1529554"/>
              <a:gd name="connsiteX55" fmla="*/ 1680859 w 2634448"/>
              <a:gd name="connsiteY55" fmla="*/ 4400 h 1529554"/>
              <a:gd name="connsiteX56" fmla="*/ 1769033 w 2634448"/>
              <a:gd name="connsiteY56" fmla="*/ 4400 h 1529554"/>
              <a:gd name="connsiteX57" fmla="*/ 1853942 w 2634448"/>
              <a:gd name="connsiteY57" fmla="*/ 56651 h 1529554"/>
              <a:gd name="connsiteX58" fmla="*/ 1958445 w 2634448"/>
              <a:gd name="connsiteY58" fmla="*/ 138294 h 1529554"/>
              <a:gd name="connsiteX59" fmla="*/ 2062948 w 2634448"/>
              <a:gd name="connsiteY59" fmla="*/ 223203 h 1529554"/>
              <a:gd name="connsiteX60" fmla="*/ 2154388 w 2634448"/>
              <a:gd name="connsiteY60" fmla="*/ 288517 h 1529554"/>
              <a:gd name="connsiteX61" fmla="*/ 2190311 w 2634448"/>
              <a:gd name="connsiteY61" fmla="*/ 334237 h 1529554"/>
              <a:gd name="connsiteX62" fmla="*/ 2196842 w 2634448"/>
              <a:gd name="connsiteY62" fmla="*/ 383223 h 1529554"/>
              <a:gd name="connsiteX63" fmla="*/ 2170716 w 2634448"/>
              <a:gd name="connsiteY63" fmla="*/ 445271 h 1529554"/>
              <a:gd name="connsiteX64" fmla="*/ 2066213 w 2634448"/>
              <a:gd name="connsiteY64" fmla="*/ 484460 h 1529554"/>
              <a:gd name="connsiteX65" fmla="*/ 1938851 w 2634448"/>
              <a:gd name="connsiteY65" fmla="*/ 490991 h 1529554"/>
              <a:gd name="connsiteX66" fmla="*/ 1857208 w 2634448"/>
              <a:gd name="connsiteY66" fmla="*/ 484460 h 1529554"/>
              <a:gd name="connsiteX67" fmla="*/ 1710251 w 2634448"/>
              <a:gd name="connsiteY67" fmla="*/ 461600 h 1529554"/>
              <a:gd name="connsiteX68" fmla="*/ 1569825 w 2634448"/>
              <a:gd name="connsiteY68" fmla="*/ 435474 h 1529554"/>
              <a:gd name="connsiteX69" fmla="*/ 1439196 w 2634448"/>
              <a:gd name="connsiteY69" fmla="*/ 415880 h 1529554"/>
              <a:gd name="connsiteX70" fmla="*/ 1324896 w 2634448"/>
              <a:gd name="connsiteY70" fmla="*/ 419145 h 1529554"/>
              <a:gd name="connsiteX71" fmla="*/ 1217128 w 2634448"/>
              <a:gd name="connsiteY71" fmla="*/ 442005 h 1529554"/>
              <a:gd name="connsiteX72" fmla="*/ 1138751 w 2634448"/>
              <a:gd name="connsiteY72" fmla="*/ 474663 h 1529554"/>
              <a:gd name="connsiteX73" fmla="*/ 1004856 w 2634448"/>
              <a:gd name="connsiteY73" fmla="*/ 520383 h 1529554"/>
              <a:gd name="connsiteX74" fmla="*/ 923213 w 2634448"/>
              <a:gd name="connsiteY74" fmla="*/ 559571 h 1529554"/>
              <a:gd name="connsiteX75" fmla="*/ 779522 w 2634448"/>
              <a:gd name="connsiteY75" fmla="*/ 572634 h 1529554"/>
              <a:gd name="connsiteX76" fmla="*/ 635831 w 2634448"/>
              <a:gd name="connsiteY76" fmla="*/ 592228 h 1529554"/>
              <a:gd name="connsiteX77" fmla="*/ 547656 w 2634448"/>
              <a:gd name="connsiteY77" fmla="*/ 595494 h 1529554"/>
              <a:gd name="connsiteX78" fmla="*/ 410496 w 2634448"/>
              <a:gd name="connsiteY78" fmla="*/ 579165 h 1529554"/>
              <a:gd name="connsiteX79" fmla="*/ 289665 w 2634448"/>
              <a:gd name="connsiteY79" fmla="*/ 559571 h 1529554"/>
              <a:gd name="connsiteX80" fmla="*/ 172099 w 2634448"/>
              <a:gd name="connsiteY80" fmla="*/ 549774 h 1529554"/>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53942 w 2634448"/>
              <a:gd name="connsiteY57" fmla="*/ 62654 h 1535557"/>
              <a:gd name="connsiteX58" fmla="*/ 1958445 w 2634448"/>
              <a:gd name="connsiteY58" fmla="*/ 144297 h 1535557"/>
              <a:gd name="connsiteX59" fmla="*/ 2062948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6213 w 2634448"/>
              <a:gd name="connsiteY64" fmla="*/ 490463 h 1535557"/>
              <a:gd name="connsiteX65" fmla="*/ 1938851 w 2634448"/>
              <a:gd name="connsiteY65" fmla="*/ 496994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58445 w 2634448"/>
              <a:gd name="connsiteY58" fmla="*/ 144297 h 1535557"/>
              <a:gd name="connsiteX59" fmla="*/ 2062948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6213 w 2634448"/>
              <a:gd name="connsiteY64" fmla="*/ 490463 h 1535557"/>
              <a:gd name="connsiteX65" fmla="*/ 1938851 w 2634448"/>
              <a:gd name="connsiteY65" fmla="*/ 496994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58445 w 2634448"/>
              <a:gd name="connsiteY58" fmla="*/ 144297 h 1535557"/>
              <a:gd name="connsiteX59" fmla="*/ 2062948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6213 w 2634448"/>
              <a:gd name="connsiteY64" fmla="*/ 490463 h 1535557"/>
              <a:gd name="connsiteX65" fmla="*/ 1938851 w 2634448"/>
              <a:gd name="connsiteY65" fmla="*/ 496994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58445 w 2634448"/>
              <a:gd name="connsiteY58" fmla="*/ 144297 h 1535557"/>
              <a:gd name="connsiteX59" fmla="*/ 2062948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6213 w 2634448"/>
              <a:gd name="connsiteY64" fmla="*/ 490463 h 1535557"/>
              <a:gd name="connsiteX65" fmla="*/ 1938851 w 2634448"/>
              <a:gd name="connsiteY65" fmla="*/ 496994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58445 w 2634448"/>
              <a:gd name="connsiteY58" fmla="*/ 144297 h 1535557"/>
              <a:gd name="connsiteX59" fmla="*/ 2062948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6213 w 2634448"/>
              <a:gd name="connsiteY64" fmla="*/ 490463 h 1535557"/>
              <a:gd name="connsiteX65" fmla="*/ 1938851 w 2634448"/>
              <a:gd name="connsiteY65" fmla="*/ 496994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58445 w 2634448"/>
              <a:gd name="connsiteY58" fmla="*/ 144297 h 1535557"/>
              <a:gd name="connsiteX59" fmla="*/ 2062948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6213 w 2634448"/>
              <a:gd name="connsiteY64" fmla="*/ 490463 h 1535557"/>
              <a:gd name="connsiteX65" fmla="*/ 1938851 w 2634448"/>
              <a:gd name="connsiteY65" fmla="*/ 496994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58445 w 2634448"/>
              <a:gd name="connsiteY58" fmla="*/ 144297 h 1535557"/>
              <a:gd name="connsiteX59" fmla="*/ 2062948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6213 w 2634448"/>
              <a:gd name="connsiteY64" fmla="*/ 490463 h 1535557"/>
              <a:gd name="connsiteX65" fmla="*/ 1938851 w 2634448"/>
              <a:gd name="connsiteY65" fmla="*/ 496994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58445 w 2634448"/>
              <a:gd name="connsiteY58" fmla="*/ 144297 h 1535557"/>
              <a:gd name="connsiteX59" fmla="*/ 2062948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8851 w 2634448"/>
              <a:gd name="connsiteY65" fmla="*/ 496994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58445 w 2634448"/>
              <a:gd name="connsiteY58" fmla="*/ 144297 h 1535557"/>
              <a:gd name="connsiteX59" fmla="*/ 2062948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58445 w 2634448"/>
              <a:gd name="connsiteY58" fmla="*/ 144297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2379 w 2634448"/>
              <a:gd name="connsiteY75" fmla="*/ 585781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2379 w 2634448"/>
              <a:gd name="connsiteY75" fmla="*/ 585781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3192 h 1535557"/>
              <a:gd name="connsiteX75" fmla="*/ 772379 w 2634448"/>
              <a:gd name="connsiteY75" fmla="*/ 585781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5168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5168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51088 w 2634448"/>
              <a:gd name="connsiteY37" fmla="*/ 1088973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51088 w 2634448"/>
              <a:gd name="connsiteY37" fmla="*/ 1088973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51088 w 2634448"/>
              <a:gd name="connsiteY37" fmla="*/ 1088973 h 1535557"/>
              <a:gd name="connsiteX38" fmla="*/ 177746 w 2634448"/>
              <a:gd name="connsiteY38" fmla="*/ 1045906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51088 w 2634448"/>
              <a:gd name="connsiteY37" fmla="*/ 1088973 h 1535557"/>
              <a:gd name="connsiteX38" fmla="*/ 177746 w 2634448"/>
              <a:gd name="connsiteY38" fmla="*/ 1045906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51088 w 2634448"/>
              <a:gd name="connsiteY37" fmla="*/ 1088973 h 1535557"/>
              <a:gd name="connsiteX38" fmla="*/ 177746 w 2634448"/>
              <a:gd name="connsiteY38" fmla="*/ 1045906 h 1535557"/>
              <a:gd name="connsiteX39" fmla="*/ 103859 w 2634448"/>
              <a:gd name="connsiteY39" fmla="*/ 982157 h 1535557"/>
              <a:gd name="connsiteX40" fmla="*/ 63990 w 2634448"/>
              <a:gd name="connsiteY40" fmla="*/ 909359 h 1535557"/>
              <a:gd name="connsiteX41" fmla="*/ 30176 w 2634448"/>
              <a:gd name="connsiteY41" fmla="*/ 827444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51088 w 2634448"/>
              <a:gd name="connsiteY37" fmla="*/ 1088973 h 1535557"/>
              <a:gd name="connsiteX38" fmla="*/ 177746 w 2634448"/>
              <a:gd name="connsiteY38" fmla="*/ 1045906 h 1535557"/>
              <a:gd name="connsiteX39" fmla="*/ 103859 w 2634448"/>
              <a:gd name="connsiteY39" fmla="*/ 982157 h 1535557"/>
              <a:gd name="connsiteX40" fmla="*/ 63990 w 2634448"/>
              <a:gd name="connsiteY40" fmla="*/ 909359 h 1535557"/>
              <a:gd name="connsiteX41" fmla="*/ 30176 w 2634448"/>
              <a:gd name="connsiteY41" fmla="*/ 827444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51088 w 2634448"/>
              <a:gd name="connsiteY37" fmla="*/ 1088973 h 1535557"/>
              <a:gd name="connsiteX38" fmla="*/ 177746 w 2634448"/>
              <a:gd name="connsiteY38" fmla="*/ 1045906 h 1535557"/>
              <a:gd name="connsiteX39" fmla="*/ 103859 w 2634448"/>
              <a:gd name="connsiteY39" fmla="*/ 982157 h 1535557"/>
              <a:gd name="connsiteX40" fmla="*/ 63990 w 2634448"/>
              <a:gd name="connsiteY40" fmla="*/ 909359 h 1535557"/>
              <a:gd name="connsiteX41" fmla="*/ 23032 w 2634448"/>
              <a:gd name="connsiteY41" fmla="*/ 834588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51088 w 2634448"/>
              <a:gd name="connsiteY37" fmla="*/ 1088973 h 1535557"/>
              <a:gd name="connsiteX38" fmla="*/ 177746 w 2634448"/>
              <a:gd name="connsiteY38" fmla="*/ 1045906 h 1535557"/>
              <a:gd name="connsiteX39" fmla="*/ 103859 w 2634448"/>
              <a:gd name="connsiteY39" fmla="*/ 982157 h 1535557"/>
              <a:gd name="connsiteX40" fmla="*/ 63990 w 2634448"/>
              <a:gd name="connsiteY40" fmla="*/ 909359 h 1535557"/>
              <a:gd name="connsiteX41" fmla="*/ 23032 w 2634448"/>
              <a:gd name="connsiteY41" fmla="*/ 834588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51088 w 2634448"/>
              <a:gd name="connsiteY37" fmla="*/ 1088973 h 1535557"/>
              <a:gd name="connsiteX38" fmla="*/ 177746 w 2634448"/>
              <a:gd name="connsiteY38" fmla="*/ 1045906 h 1535557"/>
              <a:gd name="connsiteX39" fmla="*/ 103859 w 2634448"/>
              <a:gd name="connsiteY39" fmla="*/ 982157 h 1535557"/>
              <a:gd name="connsiteX40" fmla="*/ 59228 w 2634448"/>
              <a:gd name="connsiteY40" fmla="*/ 923646 h 1535557"/>
              <a:gd name="connsiteX41" fmla="*/ 23032 w 2634448"/>
              <a:gd name="connsiteY41" fmla="*/ 834588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7207 w 2637207"/>
              <a:gd name="connsiteY0" fmla="*/ 1022774 h 1535557"/>
              <a:gd name="connsiteX1" fmla="*/ 2633941 w 2637207"/>
              <a:gd name="connsiteY1" fmla="*/ 1078291 h 1535557"/>
              <a:gd name="connsiteX2" fmla="*/ 2628906 w 2637207"/>
              <a:gd name="connsiteY2" fmla="*/ 1136190 h 1535557"/>
              <a:gd name="connsiteX3" fmla="*/ 2627410 w 2637207"/>
              <a:gd name="connsiteY3" fmla="*/ 1182794 h 1535557"/>
              <a:gd name="connsiteX4" fmla="*/ 2623872 w 2637207"/>
              <a:gd name="connsiteY4" fmla="*/ 1237699 h 1535557"/>
              <a:gd name="connsiteX5" fmla="*/ 2601284 w 2637207"/>
              <a:gd name="connsiteY5" fmla="*/ 1290563 h 1535557"/>
              <a:gd name="connsiteX6" fmla="*/ 2562095 w 2637207"/>
              <a:gd name="connsiteY6" fmla="*/ 1323220 h 1535557"/>
              <a:gd name="connsiteX7" fmla="*/ 2506578 w 2637207"/>
              <a:gd name="connsiteY7" fmla="*/ 1333017 h 1535557"/>
              <a:gd name="connsiteX8" fmla="*/ 2454327 w 2637207"/>
              <a:gd name="connsiteY8" fmla="*/ 1336283 h 1535557"/>
              <a:gd name="connsiteX9" fmla="*/ 2408607 w 2637207"/>
              <a:gd name="connsiteY9" fmla="*/ 1336283 h 1535557"/>
              <a:gd name="connsiteX10" fmla="*/ 2353090 w 2637207"/>
              <a:gd name="connsiteY10" fmla="*/ 1349346 h 1535557"/>
              <a:gd name="connsiteX11" fmla="*/ 2317167 w 2637207"/>
              <a:gd name="connsiteY11" fmla="*/ 1388534 h 1535557"/>
              <a:gd name="connsiteX12" fmla="*/ 2287775 w 2637207"/>
              <a:gd name="connsiteY12" fmla="*/ 1417926 h 1535557"/>
              <a:gd name="connsiteX13" fmla="*/ 2248587 w 2637207"/>
              <a:gd name="connsiteY13" fmla="*/ 1460380 h 1535557"/>
              <a:gd name="connsiteX14" fmla="*/ 2189804 w 2637207"/>
              <a:gd name="connsiteY14" fmla="*/ 1483240 h 1535557"/>
              <a:gd name="connsiteX15" fmla="*/ 2124490 w 2637207"/>
              <a:gd name="connsiteY15" fmla="*/ 1470177 h 1535557"/>
              <a:gd name="connsiteX16" fmla="*/ 2055910 w 2637207"/>
              <a:gd name="connsiteY16" fmla="*/ 1473443 h 1535557"/>
              <a:gd name="connsiteX17" fmla="*/ 2013455 w 2637207"/>
              <a:gd name="connsiteY17" fmla="*/ 1486506 h 1535557"/>
              <a:gd name="connsiteX18" fmla="*/ 1977532 w 2637207"/>
              <a:gd name="connsiteY18" fmla="*/ 1506100 h 1535557"/>
              <a:gd name="connsiteX19" fmla="*/ 1931812 w 2637207"/>
              <a:gd name="connsiteY19" fmla="*/ 1519163 h 1535557"/>
              <a:gd name="connsiteX20" fmla="*/ 1876295 w 2637207"/>
              <a:gd name="connsiteY20" fmla="*/ 1535491 h 1535557"/>
              <a:gd name="connsiteX21" fmla="*/ 1804450 w 2637207"/>
              <a:gd name="connsiteY21" fmla="*/ 1512631 h 1535557"/>
              <a:gd name="connsiteX22" fmla="*/ 1735870 w 2637207"/>
              <a:gd name="connsiteY22" fmla="*/ 1453848 h 1535557"/>
              <a:gd name="connsiteX23" fmla="*/ 1673821 w 2637207"/>
              <a:gd name="connsiteY23" fmla="*/ 1411394 h 1535557"/>
              <a:gd name="connsiteX24" fmla="*/ 1588980 w 2637207"/>
              <a:gd name="connsiteY24" fmla="*/ 1372478 h 1535557"/>
              <a:gd name="connsiteX25" fmla="*/ 1481144 w 2637207"/>
              <a:gd name="connsiteY25" fmla="*/ 1362408 h 1535557"/>
              <a:gd name="connsiteX26" fmla="*/ 1402767 w 2637207"/>
              <a:gd name="connsiteY26" fmla="*/ 1362408 h 1535557"/>
              <a:gd name="connsiteX27" fmla="*/ 1311327 w 2637207"/>
              <a:gd name="connsiteY27" fmla="*/ 1349346 h 1535557"/>
              <a:gd name="connsiteX28" fmla="*/ 1229684 w 2637207"/>
              <a:gd name="connsiteY28" fmla="*/ 1336283 h 1535557"/>
              <a:gd name="connsiteX29" fmla="*/ 1107356 w 2637207"/>
              <a:gd name="connsiteY29" fmla="*/ 1301856 h 1535557"/>
              <a:gd name="connsiteX30" fmla="*/ 971692 w 2637207"/>
              <a:gd name="connsiteY30" fmla="*/ 1264437 h 1535557"/>
              <a:gd name="connsiteX31" fmla="*/ 858890 w 2637207"/>
              <a:gd name="connsiteY31" fmla="*/ 1228242 h 1535557"/>
              <a:gd name="connsiteX32" fmla="*/ 756155 w 2637207"/>
              <a:gd name="connsiteY32" fmla="*/ 1195857 h 1535557"/>
              <a:gd name="connsiteX33" fmla="*/ 664715 w 2637207"/>
              <a:gd name="connsiteY33" fmla="*/ 1166466 h 1535557"/>
              <a:gd name="connsiteX34" fmla="*/ 562321 w 2637207"/>
              <a:gd name="connsiteY34" fmla="*/ 1140952 h 1535557"/>
              <a:gd name="connsiteX35" fmla="*/ 458975 w 2637207"/>
              <a:gd name="connsiteY35" fmla="*/ 1130543 h 1535557"/>
              <a:gd name="connsiteX36" fmla="*/ 380598 w 2637207"/>
              <a:gd name="connsiteY36" fmla="*/ 1124011 h 1535557"/>
              <a:gd name="connsiteX37" fmla="*/ 253847 w 2637207"/>
              <a:gd name="connsiteY37" fmla="*/ 1088973 h 1535557"/>
              <a:gd name="connsiteX38" fmla="*/ 180505 w 2637207"/>
              <a:gd name="connsiteY38" fmla="*/ 1045906 h 1535557"/>
              <a:gd name="connsiteX39" fmla="*/ 106618 w 2637207"/>
              <a:gd name="connsiteY39" fmla="*/ 982157 h 1535557"/>
              <a:gd name="connsiteX40" fmla="*/ 61987 w 2637207"/>
              <a:gd name="connsiteY40" fmla="*/ 923646 h 1535557"/>
              <a:gd name="connsiteX41" fmla="*/ 25791 w 2637207"/>
              <a:gd name="connsiteY41" fmla="*/ 834588 h 1535557"/>
              <a:gd name="connsiteX42" fmla="*/ 4428 w 2637207"/>
              <a:gd name="connsiteY42" fmla="*/ 735391 h 1535557"/>
              <a:gd name="connsiteX43" fmla="*/ 5041 w 2637207"/>
              <a:gd name="connsiteY43" fmla="*/ 624357 h 1535557"/>
              <a:gd name="connsiteX44" fmla="*/ 47495 w 2637207"/>
              <a:gd name="connsiteY44" fmla="*/ 536183 h 1535557"/>
              <a:gd name="connsiteX45" fmla="*/ 122607 w 2637207"/>
              <a:gd name="connsiteY45" fmla="*/ 461071 h 1535557"/>
              <a:gd name="connsiteX46" fmla="*/ 223844 w 2637207"/>
              <a:gd name="connsiteY46" fmla="*/ 382694 h 1535557"/>
              <a:gd name="connsiteX47" fmla="*/ 370801 w 2637207"/>
              <a:gd name="connsiteY47" fmla="*/ 314114 h 1535557"/>
              <a:gd name="connsiteX48" fmla="*/ 527555 w 2637207"/>
              <a:gd name="connsiteY48" fmla="*/ 268394 h 1535557"/>
              <a:gd name="connsiteX49" fmla="*/ 651652 w 2637207"/>
              <a:gd name="connsiteY49" fmla="*/ 236350 h 1535557"/>
              <a:gd name="connsiteX50" fmla="*/ 797725 w 2637207"/>
              <a:gd name="connsiteY50" fmla="*/ 201310 h 1535557"/>
              <a:gd name="connsiteX51" fmla="*/ 955364 w 2637207"/>
              <a:gd name="connsiteY51" fmla="*/ 167157 h 1535557"/>
              <a:gd name="connsiteX52" fmla="*/ 1146952 w 2637207"/>
              <a:gd name="connsiteY52" fmla="*/ 116335 h 1535557"/>
              <a:gd name="connsiteX53" fmla="*/ 1399501 w 2637207"/>
              <a:gd name="connsiteY53" fmla="*/ 49591 h 1535557"/>
              <a:gd name="connsiteX54" fmla="*/ 1549724 w 2637207"/>
              <a:gd name="connsiteY54" fmla="*/ 18704 h 1535557"/>
              <a:gd name="connsiteX55" fmla="*/ 1662187 w 2637207"/>
              <a:gd name="connsiteY55" fmla="*/ 878 h 1535557"/>
              <a:gd name="connsiteX56" fmla="*/ 1771792 w 2637207"/>
              <a:gd name="connsiteY56" fmla="*/ 10403 h 1535557"/>
              <a:gd name="connsiteX57" fmla="*/ 1878133 w 2637207"/>
              <a:gd name="connsiteY57" fmla="*/ 62654 h 1535557"/>
              <a:gd name="connsiteX58" fmla="*/ 1977873 w 2637207"/>
              <a:gd name="connsiteY58" fmla="*/ 151441 h 1535557"/>
              <a:gd name="connsiteX59" fmla="*/ 2072851 w 2637207"/>
              <a:gd name="connsiteY59" fmla="*/ 229206 h 1535557"/>
              <a:gd name="connsiteX60" fmla="*/ 2157147 w 2637207"/>
              <a:gd name="connsiteY60" fmla="*/ 294520 h 1535557"/>
              <a:gd name="connsiteX61" fmla="*/ 2193070 w 2637207"/>
              <a:gd name="connsiteY61" fmla="*/ 340240 h 1535557"/>
              <a:gd name="connsiteX62" fmla="*/ 2199601 w 2637207"/>
              <a:gd name="connsiteY62" fmla="*/ 389226 h 1535557"/>
              <a:gd name="connsiteX63" fmla="*/ 2173475 w 2637207"/>
              <a:gd name="connsiteY63" fmla="*/ 451274 h 1535557"/>
              <a:gd name="connsiteX64" fmla="*/ 2064210 w 2637207"/>
              <a:gd name="connsiteY64" fmla="*/ 499988 h 1535557"/>
              <a:gd name="connsiteX65" fmla="*/ 1939229 w 2637207"/>
              <a:gd name="connsiteY65" fmla="*/ 501757 h 1535557"/>
              <a:gd name="connsiteX66" fmla="*/ 1859967 w 2637207"/>
              <a:gd name="connsiteY66" fmla="*/ 490463 h 1535557"/>
              <a:gd name="connsiteX67" fmla="*/ 1713010 w 2637207"/>
              <a:gd name="connsiteY67" fmla="*/ 467603 h 1535557"/>
              <a:gd name="connsiteX68" fmla="*/ 1572584 w 2637207"/>
              <a:gd name="connsiteY68" fmla="*/ 441477 h 1535557"/>
              <a:gd name="connsiteX69" fmla="*/ 1441955 w 2637207"/>
              <a:gd name="connsiteY69" fmla="*/ 421883 h 1535557"/>
              <a:gd name="connsiteX70" fmla="*/ 1327655 w 2637207"/>
              <a:gd name="connsiteY70" fmla="*/ 425148 h 1535557"/>
              <a:gd name="connsiteX71" fmla="*/ 1219887 w 2637207"/>
              <a:gd name="connsiteY71" fmla="*/ 448008 h 1535557"/>
              <a:gd name="connsiteX72" fmla="*/ 1141510 w 2637207"/>
              <a:gd name="connsiteY72" fmla="*/ 480666 h 1535557"/>
              <a:gd name="connsiteX73" fmla="*/ 1026665 w 2637207"/>
              <a:gd name="connsiteY73" fmla="*/ 526386 h 1535557"/>
              <a:gd name="connsiteX74" fmla="*/ 925972 w 2637207"/>
              <a:gd name="connsiteY74" fmla="*/ 563192 h 1535557"/>
              <a:gd name="connsiteX75" fmla="*/ 775138 w 2637207"/>
              <a:gd name="connsiteY75" fmla="*/ 585781 h 1535557"/>
              <a:gd name="connsiteX76" fmla="*/ 660021 w 2637207"/>
              <a:gd name="connsiteY76" fmla="*/ 600612 h 1535557"/>
              <a:gd name="connsiteX77" fmla="*/ 550415 w 2637207"/>
              <a:gd name="connsiteY77" fmla="*/ 601497 h 1535557"/>
              <a:gd name="connsiteX78" fmla="*/ 413255 w 2637207"/>
              <a:gd name="connsiteY78" fmla="*/ 587549 h 1535557"/>
              <a:gd name="connsiteX79" fmla="*/ 294805 w 2637207"/>
              <a:gd name="connsiteY79" fmla="*/ 572718 h 1535557"/>
              <a:gd name="connsiteX80" fmla="*/ 174858 w 2637207"/>
              <a:gd name="connsiteY80" fmla="*/ 555777 h 1535557"/>
              <a:gd name="connsiteX0" fmla="*/ 2637207 w 2637207"/>
              <a:gd name="connsiteY0" fmla="*/ 1022774 h 1535557"/>
              <a:gd name="connsiteX1" fmla="*/ 2633941 w 2637207"/>
              <a:gd name="connsiteY1" fmla="*/ 1078291 h 1535557"/>
              <a:gd name="connsiteX2" fmla="*/ 2628906 w 2637207"/>
              <a:gd name="connsiteY2" fmla="*/ 1136190 h 1535557"/>
              <a:gd name="connsiteX3" fmla="*/ 2627410 w 2637207"/>
              <a:gd name="connsiteY3" fmla="*/ 1182794 h 1535557"/>
              <a:gd name="connsiteX4" fmla="*/ 2623872 w 2637207"/>
              <a:gd name="connsiteY4" fmla="*/ 1237699 h 1535557"/>
              <a:gd name="connsiteX5" fmla="*/ 2601284 w 2637207"/>
              <a:gd name="connsiteY5" fmla="*/ 1290563 h 1535557"/>
              <a:gd name="connsiteX6" fmla="*/ 2562095 w 2637207"/>
              <a:gd name="connsiteY6" fmla="*/ 1323220 h 1535557"/>
              <a:gd name="connsiteX7" fmla="*/ 2506578 w 2637207"/>
              <a:gd name="connsiteY7" fmla="*/ 1333017 h 1535557"/>
              <a:gd name="connsiteX8" fmla="*/ 2454327 w 2637207"/>
              <a:gd name="connsiteY8" fmla="*/ 1336283 h 1535557"/>
              <a:gd name="connsiteX9" fmla="*/ 2408607 w 2637207"/>
              <a:gd name="connsiteY9" fmla="*/ 1336283 h 1535557"/>
              <a:gd name="connsiteX10" fmla="*/ 2353090 w 2637207"/>
              <a:gd name="connsiteY10" fmla="*/ 1349346 h 1535557"/>
              <a:gd name="connsiteX11" fmla="*/ 2317167 w 2637207"/>
              <a:gd name="connsiteY11" fmla="*/ 1388534 h 1535557"/>
              <a:gd name="connsiteX12" fmla="*/ 2287775 w 2637207"/>
              <a:gd name="connsiteY12" fmla="*/ 1417926 h 1535557"/>
              <a:gd name="connsiteX13" fmla="*/ 2248587 w 2637207"/>
              <a:gd name="connsiteY13" fmla="*/ 1460380 h 1535557"/>
              <a:gd name="connsiteX14" fmla="*/ 2189804 w 2637207"/>
              <a:gd name="connsiteY14" fmla="*/ 1483240 h 1535557"/>
              <a:gd name="connsiteX15" fmla="*/ 2124490 w 2637207"/>
              <a:gd name="connsiteY15" fmla="*/ 1470177 h 1535557"/>
              <a:gd name="connsiteX16" fmla="*/ 2055910 w 2637207"/>
              <a:gd name="connsiteY16" fmla="*/ 1473443 h 1535557"/>
              <a:gd name="connsiteX17" fmla="*/ 2013455 w 2637207"/>
              <a:gd name="connsiteY17" fmla="*/ 1486506 h 1535557"/>
              <a:gd name="connsiteX18" fmla="*/ 1977532 w 2637207"/>
              <a:gd name="connsiteY18" fmla="*/ 1506100 h 1535557"/>
              <a:gd name="connsiteX19" fmla="*/ 1931812 w 2637207"/>
              <a:gd name="connsiteY19" fmla="*/ 1519163 h 1535557"/>
              <a:gd name="connsiteX20" fmla="*/ 1876295 w 2637207"/>
              <a:gd name="connsiteY20" fmla="*/ 1535491 h 1535557"/>
              <a:gd name="connsiteX21" fmla="*/ 1804450 w 2637207"/>
              <a:gd name="connsiteY21" fmla="*/ 1512631 h 1535557"/>
              <a:gd name="connsiteX22" fmla="*/ 1735870 w 2637207"/>
              <a:gd name="connsiteY22" fmla="*/ 1453848 h 1535557"/>
              <a:gd name="connsiteX23" fmla="*/ 1673821 w 2637207"/>
              <a:gd name="connsiteY23" fmla="*/ 1411394 h 1535557"/>
              <a:gd name="connsiteX24" fmla="*/ 1588980 w 2637207"/>
              <a:gd name="connsiteY24" fmla="*/ 1372478 h 1535557"/>
              <a:gd name="connsiteX25" fmla="*/ 1481144 w 2637207"/>
              <a:gd name="connsiteY25" fmla="*/ 1362408 h 1535557"/>
              <a:gd name="connsiteX26" fmla="*/ 1402767 w 2637207"/>
              <a:gd name="connsiteY26" fmla="*/ 1362408 h 1535557"/>
              <a:gd name="connsiteX27" fmla="*/ 1311327 w 2637207"/>
              <a:gd name="connsiteY27" fmla="*/ 1349346 h 1535557"/>
              <a:gd name="connsiteX28" fmla="*/ 1229684 w 2637207"/>
              <a:gd name="connsiteY28" fmla="*/ 1336283 h 1535557"/>
              <a:gd name="connsiteX29" fmla="*/ 1107356 w 2637207"/>
              <a:gd name="connsiteY29" fmla="*/ 1301856 h 1535557"/>
              <a:gd name="connsiteX30" fmla="*/ 971692 w 2637207"/>
              <a:gd name="connsiteY30" fmla="*/ 1264437 h 1535557"/>
              <a:gd name="connsiteX31" fmla="*/ 858890 w 2637207"/>
              <a:gd name="connsiteY31" fmla="*/ 1228242 h 1535557"/>
              <a:gd name="connsiteX32" fmla="*/ 756155 w 2637207"/>
              <a:gd name="connsiteY32" fmla="*/ 1195857 h 1535557"/>
              <a:gd name="connsiteX33" fmla="*/ 664715 w 2637207"/>
              <a:gd name="connsiteY33" fmla="*/ 1166466 h 1535557"/>
              <a:gd name="connsiteX34" fmla="*/ 562321 w 2637207"/>
              <a:gd name="connsiteY34" fmla="*/ 1140952 h 1535557"/>
              <a:gd name="connsiteX35" fmla="*/ 458975 w 2637207"/>
              <a:gd name="connsiteY35" fmla="*/ 1130543 h 1535557"/>
              <a:gd name="connsiteX36" fmla="*/ 380598 w 2637207"/>
              <a:gd name="connsiteY36" fmla="*/ 1124011 h 1535557"/>
              <a:gd name="connsiteX37" fmla="*/ 253847 w 2637207"/>
              <a:gd name="connsiteY37" fmla="*/ 1088973 h 1535557"/>
              <a:gd name="connsiteX38" fmla="*/ 180505 w 2637207"/>
              <a:gd name="connsiteY38" fmla="*/ 1045906 h 1535557"/>
              <a:gd name="connsiteX39" fmla="*/ 106618 w 2637207"/>
              <a:gd name="connsiteY39" fmla="*/ 982157 h 1535557"/>
              <a:gd name="connsiteX40" fmla="*/ 61987 w 2637207"/>
              <a:gd name="connsiteY40" fmla="*/ 923646 h 1535557"/>
              <a:gd name="connsiteX41" fmla="*/ 25791 w 2637207"/>
              <a:gd name="connsiteY41" fmla="*/ 834588 h 1535557"/>
              <a:gd name="connsiteX42" fmla="*/ 4428 w 2637207"/>
              <a:gd name="connsiteY42" fmla="*/ 735391 h 1535557"/>
              <a:gd name="connsiteX43" fmla="*/ 5041 w 2637207"/>
              <a:gd name="connsiteY43" fmla="*/ 624357 h 1535557"/>
              <a:gd name="connsiteX44" fmla="*/ 47495 w 2637207"/>
              <a:gd name="connsiteY44" fmla="*/ 536183 h 1535557"/>
              <a:gd name="connsiteX45" fmla="*/ 122607 w 2637207"/>
              <a:gd name="connsiteY45" fmla="*/ 461071 h 1535557"/>
              <a:gd name="connsiteX46" fmla="*/ 223844 w 2637207"/>
              <a:gd name="connsiteY46" fmla="*/ 382694 h 1535557"/>
              <a:gd name="connsiteX47" fmla="*/ 370801 w 2637207"/>
              <a:gd name="connsiteY47" fmla="*/ 314114 h 1535557"/>
              <a:gd name="connsiteX48" fmla="*/ 527555 w 2637207"/>
              <a:gd name="connsiteY48" fmla="*/ 268394 h 1535557"/>
              <a:gd name="connsiteX49" fmla="*/ 651652 w 2637207"/>
              <a:gd name="connsiteY49" fmla="*/ 236350 h 1535557"/>
              <a:gd name="connsiteX50" fmla="*/ 797725 w 2637207"/>
              <a:gd name="connsiteY50" fmla="*/ 201310 h 1535557"/>
              <a:gd name="connsiteX51" fmla="*/ 955364 w 2637207"/>
              <a:gd name="connsiteY51" fmla="*/ 167157 h 1535557"/>
              <a:gd name="connsiteX52" fmla="*/ 1146952 w 2637207"/>
              <a:gd name="connsiteY52" fmla="*/ 116335 h 1535557"/>
              <a:gd name="connsiteX53" fmla="*/ 1399501 w 2637207"/>
              <a:gd name="connsiteY53" fmla="*/ 49591 h 1535557"/>
              <a:gd name="connsiteX54" fmla="*/ 1549724 w 2637207"/>
              <a:gd name="connsiteY54" fmla="*/ 18704 h 1535557"/>
              <a:gd name="connsiteX55" fmla="*/ 1662187 w 2637207"/>
              <a:gd name="connsiteY55" fmla="*/ 878 h 1535557"/>
              <a:gd name="connsiteX56" fmla="*/ 1771792 w 2637207"/>
              <a:gd name="connsiteY56" fmla="*/ 10403 h 1535557"/>
              <a:gd name="connsiteX57" fmla="*/ 1878133 w 2637207"/>
              <a:gd name="connsiteY57" fmla="*/ 62654 h 1535557"/>
              <a:gd name="connsiteX58" fmla="*/ 1977873 w 2637207"/>
              <a:gd name="connsiteY58" fmla="*/ 151441 h 1535557"/>
              <a:gd name="connsiteX59" fmla="*/ 2072851 w 2637207"/>
              <a:gd name="connsiteY59" fmla="*/ 229206 h 1535557"/>
              <a:gd name="connsiteX60" fmla="*/ 2157147 w 2637207"/>
              <a:gd name="connsiteY60" fmla="*/ 294520 h 1535557"/>
              <a:gd name="connsiteX61" fmla="*/ 2193070 w 2637207"/>
              <a:gd name="connsiteY61" fmla="*/ 340240 h 1535557"/>
              <a:gd name="connsiteX62" fmla="*/ 2199601 w 2637207"/>
              <a:gd name="connsiteY62" fmla="*/ 389226 h 1535557"/>
              <a:gd name="connsiteX63" fmla="*/ 2173475 w 2637207"/>
              <a:gd name="connsiteY63" fmla="*/ 451274 h 1535557"/>
              <a:gd name="connsiteX64" fmla="*/ 2064210 w 2637207"/>
              <a:gd name="connsiteY64" fmla="*/ 499988 h 1535557"/>
              <a:gd name="connsiteX65" fmla="*/ 1939229 w 2637207"/>
              <a:gd name="connsiteY65" fmla="*/ 501757 h 1535557"/>
              <a:gd name="connsiteX66" fmla="*/ 1859967 w 2637207"/>
              <a:gd name="connsiteY66" fmla="*/ 490463 h 1535557"/>
              <a:gd name="connsiteX67" fmla="*/ 1713010 w 2637207"/>
              <a:gd name="connsiteY67" fmla="*/ 467603 h 1535557"/>
              <a:gd name="connsiteX68" fmla="*/ 1572584 w 2637207"/>
              <a:gd name="connsiteY68" fmla="*/ 441477 h 1535557"/>
              <a:gd name="connsiteX69" fmla="*/ 1441955 w 2637207"/>
              <a:gd name="connsiteY69" fmla="*/ 421883 h 1535557"/>
              <a:gd name="connsiteX70" fmla="*/ 1327655 w 2637207"/>
              <a:gd name="connsiteY70" fmla="*/ 425148 h 1535557"/>
              <a:gd name="connsiteX71" fmla="*/ 1219887 w 2637207"/>
              <a:gd name="connsiteY71" fmla="*/ 448008 h 1535557"/>
              <a:gd name="connsiteX72" fmla="*/ 1141510 w 2637207"/>
              <a:gd name="connsiteY72" fmla="*/ 480666 h 1535557"/>
              <a:gd name="connsiteX73" fmla="*/ 1026665 w 2637207"/>
              <a:gd name="connsiteY73" fmla="*/ 526386 h 1535557"/>
              <a:gd name="connsiteX74" fmla="*/ 925972 w 2637207"/>
              <a:gd name="connsiteY74" fmla="*/ 563192 h 1535557"/>
              <a:gd name="connsiteX75" fmla="*/ 775138 w 2637207"/>
              <a:gd name="connsiteY75" fmla="*/ 585781 h 1535557"/>
              <a:gd name="connsiteX76" fmla="*/ 660021 w 2637207"/>
              <a:gd name="connsiteY76" fmla="*/ 600612 h 1535557"/>
              <a:gd name="connsiteX77" fmla="*/ 550415 w 2637207"/>
              <a:gd name="connsiteY77" fmla="*/ 601497 h 1535557"/>
              <a:gd name="connsiteX78" fmla="*/ 413255 w 2637207"/>
              <a:gd name="connsiteY78" fmla="*/ 587549 h 1535557"/>
              <a:gd name="connsiteX79" fmla="*/ 294805 w 2637207"/>
              <a:gd name="connsiteY79" fmla="*/ 572718 h 1535557"/>
              <a:gd name="connsiteX80" fmla="*/ 174858 w 2637207"/>
              <a:gd name="connsiteY80" fmla="*/ 555777 h 1535557"/>
              <a:gd name="connsiteX0" fmla="*/ 2637207 w 2637207"/>
              <a:gd name="connsiteY0" fmla="*/ 1022774 h 1535557"/>
              <a:gd name="connsiteX1" fmla="*/ 2633941 w 2637207"/>
              <a:gd name="connsiteY1" fmla="*/ 1078291 h 1535557"/>
              <a:gd name="connsiteX2" fmla="*/ 2628906 w 2637207"/>
              <a:gd name="connsiteY2" fmla="*/ 1136190 h 1535557"/>
              <a:gd name="connsiteX3" fmla="*/ 2627410 w 2637207"/>
              <a:gd name="connsiteY3" fmla="*/ 1182794 h 1535557"/>
              <a:gd name="connsiteX4" fmla="*/ 2623872 w 2637207"/>
              <a:gd name="connsiteY4" fmla="*/ 1237699 h 1535557"/>
              <a:gd name="connsiteX5" fmla="*/ 2601284 w 2637207"/>
              <a:gd name="connsiteY5" fmla="*/ 1290563 h 1535557"/>
              <a:gd name="connsiteX6" fmla="*/ 2562095 w 2637207"/>
              <a:gd name="connsiteY6" fmla="*/ 1323220 h 1535557"/>
              <a:gd name="connsiteX7" fmla="*/ 2506578 w 2637207"/>
              <a:gd name="connsiteY7" fmla="*/ 1333017 h 1535557"/>
              <a:gd name="connsiteX8" fmla="*/ 2454327 w 2637207"/>
              <a:gd name="connsiteY8" fmla="*/ 1336283 h 1535557"/>
              <a:gd name="connsiteX9" fmla="*/ 2408607 w 2637207"/>
              <a:gd name="connsiteY9" fmla="*/ 1336283 h 1535557"/>
              <a:gd name="connsiteX10" fmla="*/ 2353090 w 2637207"/>
              <a:gd name="connsiteY10" fmla="*/ 1349346 h 1535557"/>
              <a:gd name="connsiteX11" fmla="*/ 2317167 w 2637207"/>
              <a:gd name="connsiteY11" fmla="*/ 1388534 h 1535557"/>
              <a:gd name="connsiteX12" fmla="*/ 2287775 w 2637207"/>
              <a:gd name="connsiteY12" fmla="*/ 1417926 h 1535557"/>
              <a:gd name="connsiteX13" fmla="*/ 2248587 w 2637207"/>
              <a:gd name="connsiteY13" fmla="*/ 1460380 h 1535557"/>
              <a:gd name="connsiteX14" fmla="*/ 2189804 w 2637207"/>
              <a:gd name="connsiteY14" fmla="*/ 1483240 h 1535557"/>
              <a:gd name="connsiteX15" fmla="*/ 2124490 w 2637207"/>
              <a:gd name="connsiteY15" fmla="*/ 1470177 h 1535557"/>
              <a:gd name="connsiteX16" fmla="*/ 2055910 w 2637207"/>
              <a:gd name="connsiteY16" fmla="*/ 1473443 h 1535557"/>
              <a:gd name="connsiteX17" fmla="*/ 2013455 w 2637207"/>
              <a:gd name="connsiteY17" fmla="*/ 1486506 h 1535557"/>
              <a:gd name="connsiteX18" fmla="*/ 1977532 w 2637207"/>
              <a:gd name="connsiteY18" fmla="*/ 1506100 h 1535557"/>
              <a:gd name="connsiteX19" fmla="*/ 1931812 w 2637207"/>
              <a:gd name="connsiteY19" fmla="*/ 1519163 h 1535557"/>
              <a:gd name="connsiteX20" fmla="*/ 1876295 w 2637207"/>
              <a:gd name="connsiteY20" fmla="*/ 1535491 h 1535557"/>
              <a:gd name="connsiteX21" fmla="*/ 1804450 w 2637207"/>
              <a:gd name="connsiteY21" fmla="*/ 1512631 h 1535557"/>
              <a:gd name="connsiteX22" fmla="*/ 1735870 w 2637207"/>
              <a:gd name="connsiteY22" fmla="*/ 1453848 h 1535557"/>
              <a:gd name="connsiteX23" fmla="*/ 1673821 w 2637207"/>
              <a:gd name="connsiteY23" fmla="*/ 1411394 h 1535557"/>
              <a:gd name="connsiteX24" fmla="*/ 1588980 w 2637207"/>
              <a:gd name="connsiteY24" fmla="*/ 1372478 h 1535557"/>
              <a:gd name="connsiteX25" fmla="*/ 1481144 w 2637207"/>
              <a:gd name="connsiteY25" fmla="*/ 1362408 h 1535557"/>
              <a:gd name="connsiteX26" fmla="*/ 1402767 w 2637207"/>
              <a:gd name="connsiteY26" fmla="*/ 1362408 h 1535557"/>
              <a:gd name="connsiteX27" fmla="*/ 1311327 w 2637207"/>
              <a:gd name="connsiteY27" fmla="*/ 1349346 h 1535557"/>
              <a:gd name="connsiteX28" fmla="*/ 1229684 w 2637207"/>
              <a:gd name="connsiteY28" fmla="*/ 1336283 h 1535557"/>
              <a:gd name="connsiteX29" fmla="*/ 1107356 w 2637207"/>
              <a:gd name="connsiteY29" fmla="*/ 1301856 h 1535557"/>
              <a:gd name="connsiteX30" fmla="*/ 971692 w 2637207"/>
              <a:gd name="connsiteY30" fmla="*/ 1264437 h 1535557"/>
              <a:gd name="connsiteX31" fmla="*/ 858890 w 2637207"/>
              <a:gd name="connsiteY31" fmla="*/ 1228242 h 1535557"/>
              <a:gd name="connsiteX32" fmla="*/ 756155 w 2637207"/>
              <a:gd name="connsiteY32" fmla="*/ 1195857 h 1535557"/>
              <a:gd name="connsiteX33" fmla="*/ 664715 w 2637207"/>
              <a:gd name="connsiteY33" fmla="*/ 1166466 h 1535557"/>
              <a:gd name="connsiteX34" fmla="*/ 562321 w 2637207"/>
              <a:gd name="connsiteY34" fmla="*/ 1140952 h 1535557"/>
              <a:gd name="connsiteX35" fmla="*/ 458975 w 2637207"/>
              <a:gd name="connsiteY35" fmla="*/ 1130543 h 1535557"/>
              <a:gd name="connsiteX36" fmla="*/ 380598 w 2637207"/>
              <a:gd name="connsiteY36" fmla="*/ 1124011 h 1535557"/>
              <a:gd name="connsiteX37" fmla="*/ 253847 w 2637207"/>
              <a:gd name="connsiteY37" fmla="*/ 1088973 h 1535557"/>
              <a:gd name="connsiteX38" fmla="*/ 180505 w 2637207"/>
              <a:gd name="connsiteY38" fmla="*/ 1045906 h 1535557"/>
              <a:gd name="connsiteX39" fmla="*/ 106618 w 2637207"/>
              <a:gd name="connsiteY39" fmla="*/ 982157 h 1535557"/>
              <a:gd name="connsiteX40" fmla="*/ 61987 w 2637207"/>
              <a:gd name="connsiteY40" fmla="*/ 923646 h 1535557"/>
              <a:gd name="connsiteX41" fmla="*/ 25791 w 2637207"/>
              <a:gd name="connsiteY41" fmla="*/ 834588 h 1535557"/>
              <a:gd name="connsiteX42" fmla="*/ 4428 w 2637207"/>
              <a:gd name="connsiteY42" fmla="*/ 735391 h 1535557"/>
              <a:gd name="connsiteX43" fmla="*/ 5041 w 2637207"/>
              <a:gd name="connsiteY43" fmla="*/ 624357 h 1535557"/>
              <a:gd name="connsiteX44" fmla="*/ 47495 w 2637207"/>
              <a:gd name="connsiteY44" fmla="*/ 536183 h 1535557"/>
              <a:gd name="connsiteX45" fmla="*/ 122607 w 2637207"/>
              <a:gd name="connsiteY45" fmla="*/ 461071 h 1535557"/>
              <a:gd name="connsiteX46" fmla="*/ 223844 w 2637207"/>
              <a:gd name="connsiteY46" fmla="*/ 382694 h 1535557"/>
              <a:gd name="connsiteX47" fmla="*/ 370801 w 2637207"/>
              <a:gd name="connsiteY47" fmla="*/ 314114 h 1535557"/>
              <a:gd name="connsiteX48" fmla="*/ 527555 w 2637207"/>
              <a:gd name="connsiteY48" fmla="*/ 268394 h 1535557"/>
              <a:gd name="connsiteX49" fmla="*/ 651652 w 2637207"/>
              <a:gd name="connsiteY49" fmla="*/ 236350 h 1535557"/>
              <a:gd name="connsiteX50" fmla="*/ 797725 w 2637207"/>
              <a:gd name="connsiteY50" fmla="*/ 201310 h 1535557"/>
              <a:gd name="connsiteX51" fmla="*/ 955364 w 2637207"/>
              <a:gd name="connsiteY51" fmla="*/ 167157 h 1535557"/>
              <a:gd name="connsiteX52" fmla="*/ 1146952 w 2637207"/>
              <a:gd name="connsiteY52" fmla="*/ 116335 h 1535557"/>
              <a:gd name="connsiteX53" fmla="*/ 1399501 w 2637207"/>
              <a:gd name="connsiteY53" fmla="*/ 49591 h 1535557"/>
              <a:gd name="connsiteX54" fmla="*/ 1549724 w 2637207"/>
              <a:gd name="connsiteY54" fmla="*/ 18704 h 1535557"/>
              <a:gd name="connsiteX55" fmla="*/ 1662187 w 2637207"/>
              <a:gd name="connsiteY55" fmla="*/ 878 h 1535557"/>
              <a:gd name="connsiteX56" fmla="*/ 1771792 w 2637207"/>
              <a:gd name="connsiteY56" fmla="*/ 10403 h 1535557"/>
              <a:gd name="connsiteX57" fmla="*/ 1878133 w 2637207"/>
              <a:gd name="connsiteY57" fmla="*/ 62654 h 1535557"/>
              <a:gd name="connsiteX58" fmla="*/ 1977873 w 2637207"/>
              <a:gd name="connsiteY58" fmla="*/ 151441 h 1535557"/>
              <a:gd name="connsiteX59" fmla="*/ 2072851 w 2637207"/>
              <a:gd name="connsiteY59" fmla="*/ 229206 h 1535557"/>
              <a:gd name="connsiteX60" fmla="*/ 2157147 w 2637207"/>
              <a:gd name="connsiteY60" fmla="*/ 294520 h 1535557"/>
              <a:gd name="connsiteX61" fmla="*/ 2193070 w 2637207"/>
              <a:gd name="connsiteY61" fmla="*/ 340240 h 1535557"/>
              <a:gd name="connsiteX62" fmla="*/ 2199601 w 2637207"/>
              <a:gd name="connsiteY62" fmla="*/ 389226 h 1535557"/>
              <a:gd name="connsiteX63" fmla="*/ 2173475 w 2637207"/>
              <a:gd name="connsiteY63" fmla="*/ 451274 h 1535557"/>
              <a:gd name="connsiteX64" fmla="*/ 2064210 w 2637207"/>
              <a:gd name="connsiteY64" fmla="*/ 499988 h 1535557"/>
              <a:gd name="connsiteX65" fmla="*/ 1939229 w 2637207"/>
              <a:gd name="connsiteY65" fmla="*/ 501757 h 1535557"/>
              <a:gd name="connsiteX66" fmla="*/ 1859967 w 2637207"/>
              <a:gd name="connsiteY66" fmla="*/ 490463 h 1535557"/>
              <a:gd name="connsiteX67" fmla="*/ 1713010 w 2637207"/>
              <a:gd name="connsiteY67" fmla="*/ 467603 h 1535557"/>
              <a:gd name="connsiteX68" fmla="*/ 1572584 w 2637207"/>
              <a:gd name="connsiteY68" fmla="*/ 441477 h 1535557"/>
              <a:gd name="connsiteX69" fmla="*/ 1441955 w 2637207"/>
              <a:gd name="connsiteY69" fmla="*/ 421883 h 1535557"/>
              <a:gd name="connsiteX70" fmla="*/ 1327655 w 2637207"/>
              <a:gd name="connsiteY70" fmla="*/ 425148 h 1535557"/>
              <a:gd name="connsiteX71" fmla="*/ 1219887 w 2637207"/>
              <a:gd name="connsiteY71" fmla="*/ 448008 h 1535557"/>
              <a:gd name="connsiteX72" fmla="*/ 1141510 w 2637207"/>
              <a:gd name="connsiteY72" fmla="*/ 480666 h 1535557"/>
              <a:gd name="connsiteX73" fmla="*/ 1026665 w 2637207"/>
              <a:gd name="connsiteY73" fmla="*/ 526386 h 1535557"/>
              <a:gd name="connsiteX74" fmla="*/ 925972 w 2637207"/>
              <a:gd name="connsiteY74" fmla="*/ 563192 h 1535557"/>
              <a:gd name="connsiteX75" fmla="*/ 775138 w 2637207"/>
              <a:gd name="connsiteY75" fmla="*/ 585781 h 1535557"/>
              <a:gd name="connsiteX76" fmla="*/ 660021 w 2637207"/>
              <a:gd name="connsiteY76" fmla="*/ 600612 h 1535557"/>
              <a:gd name="connsiteX77" fmla="*/ 550415 w 2637207"/>
              <a:gd name="connsiteY77" fmla="*/ 601497 h 1535557"/>
              <a:gd name="connsiteX78" fmla="*/ 413255 w 2637207"/>
              <a:gd name="connsiteY78" fmla="*/ 587549 h 1535557"/>
              <a:gd name="connsiteX79" fmla="*/ 294805 w 2637207"/>
              <a:gd name="connsiteY79" fmla="*/ 572718 h 1535557"/>
              <a:gd name="connsiteX80" fmla="*/ 174858 w 2637207"/>
              <a:gd name="connsiteY80" fmla="*/ 555777 h 1535557"/>
              <a:gd name="connsiteX0" fmla="*/ 2637207 w 2637207"/>
              <a:gd name="connsiteY0" fmla="*/ 1022774 h 1535557"/>
              <a:gd name="connsiteX1" fmla="*/ 2633941 w 2637207"/>
              <a:gd name="connsiteY1" fmla="*/ 1078291 h 1535557"/>
              <a:gd name="connsiteX2" fmla="*/ 2628906 w 2637207"/>
              <a:gd name="connsiteY2" fmla="*/ 1136190 h 1535557"/>
              <a:gd name="connsiteX3" fmla="*/ 2627410 w 2637207"/>
              <a:gd name="connsiteY3" fmla="*/ 1182794 h 1535557"/>
              <a:gd name="connsiteX4" fmla="*/ 2623872 w 2637207"/>
              <a:gd name="connsiteY4" fmla="*/ 1237699 h 1535557"/>
              <a:gd name="connsiteX5" fmla="*/ 2601284 w 2637207"/>
              <a:gd name="connsiteY5" fmla="*/ 1290563 h 1535557"/>
              <a:gd name="connsiteX6" fmla="*/ 2562095 w 2637207"/>
              <a:gd name="connsiteY6" fmla="*/ 1323220 h 1535557"/>
              <a:gd name="connsiteX7" fmla="*/ 2506578 w 2637207"/>
              <a:gd name="connsiteY7" fmla="*/ 1333017 h 1535557"/>
              <a:gd name="connsiteX8" fmla="*/ 2454327 w 2637207"/>
              <a:gd name="connsiteY8" fmla="*/ 1336283 h 1535557"/>
              <a:gd name="connsiteX9" fmla="*/ 2408607 w 2637207"/>
              <a:gd name="connsiteY9" fmla="*/ 1336283 h 1535557"/>
              <a:gd name="connsiteX10" fmla="*/ 2353090 w 2637207"/>
              <a:gd name="connsiteY10" fmla="*/ 1349346 h 1535557"/>
              <a:gd name="connsiteX11" fmla="*/ 2317167 w 2637207"/>
              <a:gd name="connsiteY11" fmla="*/ 1388534 h 1535557"/>
              <a:gd name="connsiteX12" fmla="*/ 2287775 w 2637207"/>
              <a:gd name="connsiteY12" fmla="*/ 1417926 h 1535557"/>
              <a:gd name="connsiteX13" fmla="*/ 2248587 w 2637207"/>
              <a:gd name="connsiteY13" fmla="*/ 1460380 h 1535557"/>
              <a:gd name="connsiteX14" fmla="*/ 2189804 w 2637207"/>
              <a:gd name="connsiteY14" fmla="*/ 1483240 h 1535557"/>
              <a:gd name="connsiteX15" fmla="*/ 2124490 w 2637207"/>
              <a:gd name="connsiteY15" fmla="*/ 1470177 h 1535557"/>
              <a:gd name="connsiteX16" fmla="*/ 2055910 w 2637207"/>
              <a:gd name="connsiteY16" fmla="*/ 1473443 h 1535557"/>
              <a:gd name="connsiteX17" fmla="*/ 2013455 w 2637207"/>
              <a:gd name="connsiteY17" fmla="*/ 1486506 h 1535557"/>
              <a:gd name="connsiteX18" fmla="*/ 1977532 w 2637207"/>
              <a:gd name="connsiteY18" fmla="*/ 1506100 h 1535557"/>
              <a:gd name="connsiteX19" fmla="*/ 1931812 w 2637207"/>
              <a:gd name="connsiteY19" fmla="*/ 1519163 h 1535557"/>
              <a:gd name="connsiteX20" fmla="*/ 1876295 w 2637207"/>
              <a:gd name="connsiteY20" fmla="*/ 1535491 h 1535557"/>
              <a:gd name="connsiteX21" fmla="*/ 1804450 w 2637207"/>
              <a:gd name="connsiteY21" fmla="*/ 1512631 h 1535557"/>
              <a:gd name="connsiteX22" fmla="*/ 1735870 w 2637207"/>
              <a:gd name="connsiteY22" fmla="*/ 1453848 h 1535557"/>
              <a:gd name="connsiteX23" fmla="*/ 1673821 w 2637207"/>
              <a:gd name="connsiteY23" fmla="*/ 1411394 h 1535557"/>
              <a:gd name="connsiteX24" fmla="*/ 1588980 w 2637207"/>
              <a:gd name="connsiteY24" fmla="*/ 1372478 h 1535557"/>
              <a:gd name="connsiteX25" fmla="*/ 1481144 w 2637207"/>
              <a:gd name="connsiteY25" fmla="*/ 1362408 h 1535557"/>
              <a:gd name="connsiteX26" fmla="*/ 1402767 w 2637207"/>
              <a:gd name="connsiteY26" fmla="*/ 1362408 h 1535557"/>
              <a:gd name="connsiteX27" fmla="*/ 1311327 w 2637207"/>
              <a:gd name="connsiteY27" fmla="*/ 1349346 h 1535557"/>
              <a:gd name="connsiteX28" fmla="*/ 1229684 w 2637207"/>
              <a:gd name="connsiteY28" fmla="*/ 1336283 h 1535557"/>
              <a:gd name="connsiteX29" fmla="*/ 1107356 w 2637207"/>
              <a:gd name="connsiteY29" fmla="*/ 1301856 h 1535557"/>
              <a:gd name="connsiteX30" fmla="*/ 971692 w 2637207"/>
              <a:gd name="connsiteY30" fmla="*/ 1264437 h 1535557"/>
              <a:gd name="connsiteX31" fmla="*/ 858890 w 2637207"/>
              <a:gd name="connsiteY31" fmla="*/ 1228242 h 1535557"/>
              <a:gd name="connsiteX32" fmla="*/ 756155 w 2637207"/>
              <a:gd name="connsiteY32" fmla="*/ 1195857 h 1535557"/>
              <a:gd name="connsiteX33" fmla="*/ 664715 w 2637207"/>
              <a:gd name="connsiteY33" fmla="*/ 1166466 h 1535557"/>
              <a:gd name="connsiteX34" fmla="*/ 562321 w 2637207"/>
              <a:gd name="connsiteY34" fmla="*/ 1140952 h 1535557"/>
              <a:gd name="connsiteX35" fmla="*/ 458975 w 2637207"/>
              <a:gd name="connsiteY35" fmla="*/ 1130543 h 1535557"/>
              <a:gd name="connsiteX36" fmla="*/ 380598 w 2637207"/>
              <a:gd name="connsiteY36" fmla="*/ 1124011 h 1535557"/>
              <a:gd name="connsiteX37" fmla="*/ 253847 w 2637207"/>
              <a:gd name="connsiteY37" fmla="*/ 1088973 h 1535557"/>
              <a:gd name="connsiteX38" fmla="*/ 180505 w 2637207"/>
              <a:gd name="connsiteY38" fmla="*/ 1045906 h 1535557"/>
              <a:gd name="connsiteX39" fmla="*/ 106618 w 2637207"/>
              <a:gd name="connsiteY39" fmla="*/ 982157 h 1535557"/>
              <a:gd name="connsiteX40" fmla="*/ 61987 w 2637207"/>
              <a:gd name="connsiteY40" fmla="*/ 923646 h 1535557"/>
              <a:gd name="connsiteX41" fmla="*/ 25791 w 2637207"/>
              <a:gd name="connsiteY41" fmla="*/ 834588 h 1535557"/>
              <a:gd name="connsiteX42" fmla="*/ 4428 w 2637207"/>
              <a:gd name="connsiteY42" fmla="*/ 735391 h 1535557"/>
              <a:gd name="connsiteX43" fmla="*/ 5041 w 2637207"/>
              <a:gd name="connsiteY43" fmla="*/ 624357 h 1535557"/>
              <a:gd name="connsiteX44" fmla="*/ 47495 w 2637207"/>
              <a:gd name="connsiteY44" fmla="*/ 536183 h 1535557"/>
              <a:gd name="connsiteX45" fmla="*/ 122607 w 2637207"/>
              <a:gd name="connsiteY45" fmla="*/ 461071 h 1535557"/>
              <a:gd name="connsiteX46" fmla="*/ 223844 w 2637207"/>
              <a:gd name="connsiteY46" fmla="*/ 382694 h 1535557"/>
              <a:gd name="connsiteX47" fmla="*/ 370801 w 2637207"/>
              <a:gd name="connsiteY47" fmla="*/ 314114 h 1535557"/>
              <a:gd name="connsiteX48" fmla="*/ 527555 w 2637207"/>
              <a:gd name="connsiteY48" fmla="*/ 268394 h 1535557"/>
              <a:gd name="connsiteX49" fmla="*/ 651652 w 2637207"/>
              <a:gd name="connsiteY49" fmla="*/ 236350 h 1535557"/>
              <a:gd name="connsiteX50" fmla="*/ 797725 w 2637207"/>
              <a:gd name="connsiteY50" fmla="*/ 201310 h 1535557"/>
              <a:gd name="connsiteX51" fmla="*/ 955364 w 2637207"/>
              <a:gd name="connsiteY51" fmla="*/ 167157 h 1535557"/>
              <a:gd name="connsiteX52" fmla="*/ 1146952 w 2637207"/>
              <a:gd name="connsiteY52" fmla="*/ 116335 h 1535557"/>
              <a:gd name="connsiteX53" fmla="*/ 1399501 w 2637207"/>
              <a:gd name="connsiteY53" fmla="*/ 49591 h 1535557"/>
              <a:gd name="connsiteX54" fmla="*/ 1549724 w 2637207"/>
              <a:gd name="connsiteY54" fmla="*/ 18704 h 1535557"/>
              <a:gd name="connsiteX55" fmla="*/ 1662187 w 2637207"/>
              <a:gd name="connsiteY55" fmla="*/ 878 h 1535557"/>
              <a:gd name="connsiteX56" fmla="*/ 1771792 w 2637207"/>
              <a:gd name="connsiteY56" fmla="*/ 10403 h 1535557"/>
              <a:gd name="connsiteX57" fmla="*/ 1878133 w 2637207"/>
              <a:gd name="connsiteY57" fmla="*/ 62654 h 1535557"/>
              <a:gd name="connsiteX58" fmla="*/ 1977873 w 2637207"/>
              <a:gd name="connsiteY58" fmla="*/ 151441 h 1535557"/>
              <a:gd name="connsiteX59" fmla="*/ 2072851 w 2637207"/>
              <a:gd name="connsiteY59" fmla="*/ 229206 h 1535557"/>
              <a:gd name="connsiteX60" fmla="*/ 2157147 w 2637207"/>
              <a:gd name="connsiteY60" fmla="*/ 294520 h 1535557"/>
              <a:gd name="connsiteX61" fmla="*/ 2193070 w 2637207"/>
              <a:gd name="connsiteY61" fmla="*/ 340240 h 1535557"/>
              <a:gd name="connsiteX62" fmla="*/ 2199601 w 2637207"/>
              <a:gd name="connsiteY62" fmla="*/ 389226 h 1535557"/>
              <a:gd name="connsiteX63" fmla="*/ 2173475 w 2637207"/>
              <a:gd name="connsiteY63" fmla="*/ 451274 h 1535557"/>
              <a:gd name="connsiteX64" fmla="*/ 2064210 w 2637207"/>
              <a:gd name="connsiteY64" fmla="*/ 499988 h 1535557"/>
              <a:gd name="connsiteX65" fmla="*/ 1939229 w 2637207"/>
              <a:gd name="connsiteY65" fmla="*/ 501757 h 1535557"/>
              <a:gd name="connsiteX66" fmla="*/ 1859967 w 2637207"/>
              <a:gd name="connsiteY66" fmla="*/ 490463 h 1535557"/>
              <a:gd name="connsiteX67" fmla="*/ 1713010 w 2637207"/>
              <a:gd name="connsiteY67" fmla="*/ 467603 h 1535557"/>
              <a:gd name="connsiteX68" fmla="*/ 1572584 w 2637207"/>
              <a:gd name="connsiteY68" fmla="*/ 441477 h 1535557"/>
              <a:gd name="connsiteX69" fmla="*/ 1441955 w 2637207"/>
              <a:gd name="connsiteY69" fmla="*/ 421883 h 1535557"/>
              <a:gd name="connsiteX70" fmla="*/ 1327655 w 2637207"/>
              <a:gd name="connsiteY70" fmla="*/ 425148 h 1535557"/>
              <a:gd name="connsiteX71" fmla="*/ 1219887 w 2637207"/>
              <a:gd name="connsiteY71" fmla="*/ 448008 h 1535557"/>
              <a:gd name="connsiteX72" fmla="*/ 1141510 w 2637207"/>
              <a:gd name="connsiteY72" fmla="*/ 480666 h 1535557"/>
              <a:gd name="connsiteX73" fmla="*/ 1026665 w 2637207"/>
              <a:gd name="connsiteY73" fmla="*/ 526386 h 1535557"/>
              <a:gd name="connsiteX74" fmla="*/ 925972 w 2637207"/>
              <a:gd name="connsiteY74" fmla="*/ 563192 h 1535557"/>
              <a:gd name="connsiteX75" fmla="*/ 775138 w 2637207"/>
              <a:gd name="connsiteY75" fmla="*/ 585781 h 1535557"/>
              <a:gd name="connsiteX76" fmla="*/ 660021 w 2637207"/>
              <a:gd name="connsiteY76" fmla="*/ 600612 h 1535557"/>
              <a:gd name="connsiteX77" fmla="*/ 550415 w 2637207"/>
              <a:gd name="connsiteY77" fmla="*/ 601497 h 1535557"/>
              <a:gd name="connsiteX78" fmla="*/ 413255 w 2637207"/>
              <a:gd name="connsiteY78" fmla="*/ 587549 h 1535557"/>
              <a:gd name="connsiteX79" fmla="*/ 294805 w 2637207"/>
              <a:gd name="connsiteY79" fmla="*/ 572718 h 1535557"/>
              <a:gd name="connsiteX80" fmla="*/ 174858 w 2637207"/>
              <a:gd name="connsiteY80" fmla="*/ 555777 h 1535557"/>
              <a:gd name="connsiteX0" fmla="*/ 2637207 w 2637207"/>
              <a:gd name="connsiteY0" fmla="*/ 1022774 h 1535557"/>
              <a:gd name="connsiteX1" fmla="*/ 2633941 w 2637207"/>
              <a:gd name="connsiteY1" fmla="*/ 1078291 h 1535557"/>
              <a:gd name="connsiteX2" fmla="*/ 2628906 w 2637207"/>
              <a:gd name="connsiteY2" fmla="*/ 1136190 h 1535557"/>
              <a:gd name="connsiteX3" fmla="*/ 2627410 w 2637207"/>
              <a:gd name="connsiteY3" fmla="*/ 1182794 h 1535557"/>
              <a:gd name="connsiteX4" fmla="*/ 2623872 w 2637207"/>
              <a:gd name="connsiteY4" fmla="*/ 1237699 h 1535557"/>
              <a:gd name="connsiteX5" fmla="*/ 2601284 w 2637207"/>
              <a:gd name="connsiteY5" fmla="*/ 1290563 h 1535557"/>
              <a:gd name="connsiteX6" fmla="*/ 2562095 w 2637207"/>
              <a:gd name="connsiteY6" fmla="*/ 1323220 h 1535557"/>
              <a:gd name="connsiteX7" fmla="*/ 2506578 w 2637207"/>
              <a:gd name="connsiteY7" fmla="*/ 1333017 h 1535557"/>
              <a:gd name="connsiteX8" fmla="*/ 2454327 w 2637207"/>
              <a:gd name="connsiteY8" fmla="*/ 1336283 h 1535557"/>
              <a:gd name="connsiteX9" fmla="*/ 2408607 w 2637207"/>
              <a:gd name="connsiteY9" fmla="*/ 1336283 h 1535557"/>
              <a:gd name="connsiteX10" fmla="*/ 2353090 w 2637207"/>
              <a:gd name="connsiteY10" fmla="*/ 1349346 h 1535557"/>
              <a:gd name="connsiteX11" fmla="*/ 2317167 w 2637207"/>
              <a:gd name="connsiteY11" fmla="*/ 1388534 h 1535557"/>
              <a:gd name="connsiteX12" fmla="*/ 2287775 w 2637207"/>
              <a:gd name="connsiteY12" fmla="*/ 1417926 h 1535557"/>
              <a:gd name="connsiteX13" fmla="*/ 2248587 w 2637207"/>
              <a:gd name="connsiteY13" fmla="*/ 1460380 h 1535557"/>
              <a:gd name="connsiteX14" fmla="*/ 2189804 w 2637207"/>
              <a:gd name="connsiteY14" fmla="*/ 1483240 h 1535557"/>
              <a:gd name="connsiteX15" fmla="*/ 2124490 w 2637207"/>
              <a:gd name="connsiteY15" fmla="*/ 1470177 h 1535557"/>
              <a:gd name="connsiteX16" fmla="*/ 2055910 w 2637207"/>
              <a:gd name="connsiteY16" fmla="*/ 1473443 h 1535557"/>
              <a:gd name="connsiteX17" fmla="*/ 2013455 w 2637207"/>
              <a:gd name="connsiteY17" fmla="*/ 1486506 h 1535557"/>
              <a:gd name="connsiteX18" fmla="*/ 1977532 w 2637207"/>
              <a:gd name="connsiteY18" fmla="*/ 1506100 h 1535557"/>
              <a:gd name="connsiteX19" fmla="*/ 1931812 w 2637207"/>
              <a:gd name="connsiteY19" fmla="*/ 1519163 h 1535557"/>
              <a:gd name="connsiteX20" fmla="*/ 1876295 w 2637207"/>
              <a:gd name="connsiteY20" fmla="*/ 1535491 h 1535557"/>
              <a:gd name="connsiteX21" fmla="*/ 1804450 w 2637207"/>
              <a:gd name="connsiteY21" fmla="*/ 1512631 h 1535557"/>
              <a:gd name="connsiteX22" fmla="*/ 1735870 w 2637207"/>
              <a:gd name="connsiteY22" fmla="*/ 1453848 h 1535557"/>
              <a:gd name="connsiteX23" fmla="*/ 1673821 w 2637207"/>
              <a:gd name="connsiteY23" fmla="*/ 1411394 h 1535557"/>
              <a:gd name="connsiteX24" fmla="*/ 1588980 w 2637207"/>
              <a:gd name="connsiteY24" fmla="*/ 1372478 h 1535557"/>
              <a:gd name="connsiteX25" fmla="*/ 1481144 w 2637207"/>
              <a:gd name="connsiteY25" fmla="*/ 1362408 h 1535557"/>
              <a:gd name="connsiteX26" fmla="*/ 1402767 w 2637207"/>
              <a:gd name="connsiteY26" fmla="*/ 1362408 h 1535557"/>
              <a:gd name="connsiteX27" fmla="*/ 1311327 w 2637207"/>
              <a:gd name="connsiteY27" fmla="*/ 1349346 h 1535557"/>
              <a:gd name="connsiteX28" fmla="*/ 1229684 w 2637207"/>
              <a:gd name="connsiteY28" fmla="*/ 1336283 h 1535557"/>
              <a:gd name="connsiteX29" fmla="*/ 1107356 w 2637207"/>
              <a:gd name="connsiteY29" fmla="*/ 1301856 h 1535557"/>
              <a:gd name="connsiteX30" fmla="*/ 971692 w 2637207"/>
              <a:gd name="connsiteY30" fmla="*/ 1264437 h 1535557"/>
              <a:gd name="connsiteX31" fmla="*/ 858890 w 2637207"/>
              <a:gd name="connsiteY31" fmla="*/ 1228242 h 1535557"/>
              <a:gd name="connsiteX32" fmla="*/ 756155 w 2637207"/>
              <a:gd name="connsiteY32" fmla="*/ 1195857 h 1535557"/>
              <a:gd name="connsiteX33" fmla="*/ 664715 w 2637207"/>
              <a:gd name="connsiteY33" fmla="*/ 1166466 h 1535557"/>
              <a:gd name="connsiteX34" fmla="*/ 562321 w 2637207"/>
              <a:gd name="connsiteY34" fmla="*/ 1140952 h 1535557"/>
              <a:gd name="connsiteX35" fmla="*/ 458975 w 2637207"/>
              <a:gd name="connsiteY35" fmla="*/ 1130543 h 1535557"/>
              <a:gd name="connsiteX36" fmla="*/ 380598 w 2637207"/>
              <a:gd name="connsiteY36" fmla="*/ 1124011 h 1535557"/>
              <a:gd name="connsiteX37" fmla="*/ 253847 w 2637207"/>
              <a:gd name="connsiteY37" fmla="*/ 1088973 h 1535557"/>
              <a:gd name="connsiteX38" fmla="*/ 180505 w 2637207"/>
              <a:gd name="connsiteY38" fmla="*/ 1045906 h 1535557"/>
              <a:gd name="connsiteX39" fmla="*/ 106618 w 2637207"/>
              <a:gd name="connsiteY39" fmla="*/ 982157 h 1535557"/>
              <a:gd name="connsiteX40" fmla="*/ 61987 w 2637207"/>
              <a:gd name="connsiteY40" fmla="*/ 923646 h 1535557"/>
              <a:gd name="connsiteX41" fmla="*/ 25791 w 2637207"/>
              <a:gd name="connsiteY41" fmla="*/ 834588 h 1535557"/>
              <a:gd name="connsiteX42" fmla="*/ 4428 w 2637207"/>
              <a:gd name="connsiteY42" fmla="*/ 735391 h 1535557"/>
              <a:gd name="connsiteX43" fmla="*/ 5041 w 2637207"/>
              <a:gd name="connsiteY43" fmla="*/ 624357 h 1535557"/>
              <a:gd name="connsiteX44" fmla="*/ 47495 w 2637207"/>
              <a:gd name="connsiteY44" fmla="*/ 536183 h 1535557"/>
              <a:gd name="connsiteX45" fmla="*/ 122607 w 2637207"/>
              <a:gd name="connsiteY45" fmla="*/ 461071 h 1535557"/>
              <a:gd name="connsiteX46" fmla="*/ 223844 w 2637207"/>
              <a:gd name="connsiteY46" fmla="*/ 382694 h 1535557"/>
              <a:gd name="connsiteX47" fmla="*/ 370801 w 2637207"/>
              <a:gd name="connsiteY47" fmla="*/ 314114 h 1535557"/>
              <a:gd name="connsiteX48" fmla="*/ 527555 w 2637207"/>
              <a:gd name="connsiteY48" fmla="*/ 268394 h 1535557"/>
              <a:gd name="connsiteX49" fmla="*/ 651652 w 2637207"/>
              <a:gd name="connsiteY49" fmla="*/ 236350 h 1535557"/>
              <a:gd name="connsiteX50" fmla="*/ 797725 w 2637207"/>
              <a:gd name="connsiteY50" fmla="*/ 201310 h 1535557"/>
              <a:gd name="connsiteX51" fmla="*/ 955364 w 2637207"/>
              <a:gd name="connsiteY51" fmla="*/ 167157 h 1535557"/>
              <a:gd name="connsiteX52" fmla="*/ 1146952 w 2637207"/>
              <a:gd name="connsiteY52" fmla="*/ 116335 h 1535557"/>
              <a:gd name="connsiteX53" fmla="*/ 1399501 w 2637207"/>
              <a:gd name="connsiteY53" fmla="*/ 49591 h 1535557"/>
              <a:gd name="connsiteX54" fmla="*/ 1549724 w 2637207"/>
              <a:gd name="connsiteY54" fmla="*/ 18704 h 1535557"/>
              <a:gd name="connsiteX55" fmla="*/ 1662187 w 2637207"/>
              <a:gd name="connsiteY55" fmla="*/ 878 h 1535557"/>
              <a:gd name="connsiteX56" fmla="*/ 1771792 w 2637207"/>
              <a:gd name="connsiteY56" fmla="*/ 10403 h 1535557"/>
              <a:gd name="connsiteX57" fmla="*/ 1878133 w 2637207"/>
              <a:gd name="connsiteY57" fmla="*/ 62654 h 1535557"/>
              <a:gd name="connsiteX58" fmla="*/ 1977873 w 2637207"/>
              <a:gd name="connsiteY58" fmla="*/ 151441 h 1535557"/>
              <a:gd name="connsiteX59" fmla="*/ 2072851 w 2637207"/>
              <a:gd name="connsiteY59" fmla="*/ 229206 h 1535557"/>
              <a:gd name="connsiteX60" fmla="*/ 2157147 w 2637207"/>
              <a:gd name="connsiteY60" fmla="*/ 294520 h 1535557"/>
              <a:gd name="connsiteX61" fmla="*/ 2193070 w 2637207"/>
              <a:gd name="connsiteY61" fmla="*/ 340240 h 1535557"/>
              <a:gd name="connsiteX62" fmla="*/ 2199601 w 2637207"/>
              <a:gd name="connsiteY62" fmla="*/ 389226 h 1535557"/>
              <a:gd name="connsiteX63" fmla="*/ 2173475 w 2637207"/>
              <a:gd name="connsiteY63" fmla="*/ 451274 h 1535557"/>
              <a:gd name="connsiteX64" fmla="*/ 2064210 w 2637207"/>
              <a:gd name="connsiteY64" fmla="*/ 499988 h 1535557"/>
              <a:gd name="connsiteX65" fmla="*/ 1939229 w 2637207"/>
              <a:gd name="connsiteY65" fmla="*/ 501757 h 1535557"/>
              <a:gd name="connsiteX66" fmla="*/ 1859967 w 2637207"/>
              <a:gd name="connsiteY66" fmla="*/ 490463 h 1535557"/>
              <a:gd name="connsiteX67" fmla="*/ 1713010 w 2637207"/>
              <a:gd name="connsiteY67" fmla="*/ 467603 h 1535557"/>
              <a:gd name="connsiteX68" fmla="*/ 1572584 w 2637207"/>
              <a:gd name="connsiteY68" fmla="*/ 441477 h 1535557"/>
              <a:gd name="connsiteX69" fmla="*/ 1441955 w 2637207"/>
              <a:gd name="connsiteY69" fmla="*/ 421883 h 1535557"/>
              <a:gd name="connsiteX70" fmla="*/ 1327655 w 2637207"/>
              <a:gd name="connsiteY70" fmla="*/ 425148 h 1535557"/>
              <a:gd name="connsiteX71" fmla="*/ 1219887 w 2637207"/>
              <a:gd name="connsiteY71" fmla="*/ 448008 h 1535557"/>
              <a:gd name="connsiteX72" fmla="*/ 1141510 w 2637207"/>
              <a:gd name="connsiteY72" fmla="*/ 480666 h 1535557"/>
              <a:gd name="connsiteX73" fmla="*/ 1026665 w 2637207"/>
              <a:gd name="connsiteY73" fmla="*/ 526386 h 1535557"/>
              <a:gd name="connsiteX74" fmla="*/ 925972 w 2637207"/>
              <a:gd name="connsiteY74" fmla="*/ 563192 h 1535557"/>
              <a:gd name="connsiteX75" fmla="*/ 775138 w 2637207"/>
              <a:gd name="connsiteY75" fmla="*/ 585781 h 1535557"/>
              <a:gd name="connsiteX76" fmla="*/ 660021 w 2637207"/>
              <a:gd name="connsiteY76" fmla="*/ 600612 h 1535557"/>
              <a:gd name="connsiteX77" fmla="*/ 550415 w 2637207"/>
              <a:gd name="connsiteY77" fmla="*/ 601497 h 1535557"/>
              <a:gd name="connsiteX78" fmla="*/ 413255 w 2637207"/>
              <a:gd name="connsiteY78" fmla="*/ 587549 h 1535557"/>
              <a:gd name="connsiteX79" fmla="*/ 294805 w 2637207"/>
              <a:gd name="connsiteY79" fmla="*/ 572718 h 1535557"/>
              <a:gd name="connsiteX80" fmla="*/ 174858 w 2637207"/>
              <a:gd name="connsiteY80" fmla="*/ 555777 h 1535557"/>
              <a:gd name="connsiteX0" fmla="*/ 2637207 w 2637207"/>
              <a:gd name="connsiteY0" fmla="*/ 1022774 h 1535557"/>
              <a:gd name="connsiteX1" fmla="*/ 2633941 w 2637207"/>
              <a:gd name="connsiteY1" fmla="*/ 1078291 h 1535557"/>
              <a:gd name="connsiteX2" fmla="*/ 2628906 w 2637207"/>
              <a:gd name="connsiteY2" fmla="*/ 1136190 h 1535557"/>
              <a:gd name="connsiteX3" fmla="*/ 2627410 w 2637207"/>
              <a:gd name="connsiteY3" fmla="*/ 1182794 h 1535557"/>
              <a:gd name="connsiteX4" fmla="*/ 2623872 w 2637207"/>
              <a:gd name="connsiteY4" fmla="*/ 1237699 h 1535557"/>
              <a:gd name="connsiteX5" fmla="*/ 2601284 w 2637207"/>
              <a:gd name="connsiteY5" fmla="*/ 1290563 h 1535557"/>
              <a:gd name="connsiteX6" fmla="*/ 2562095 w 2637207"/>
              <a:gd name="connsiteY6" fmla="*/ 1323220 h 1535557"/>
              <a:gd name="connsiteX7" fmla="*/ 2506578 w 2637207"/>
              <a:gd name="connsiteY7" fmla="*/ 1333017 h 1535557"/>
              <a:gd name="connsiteX8" fmla="*/ 2454327 w 2637207"/>
              <a:gd name="connsiteY8" fmla="*/ 1336283 h 1535557"/>
              <a:gd name="connsiteX9" fmla="*/ 2408607 w 2637207"/>
              <a:gd name="connsiteY9" fmla="*/ 1336283 h 1535557"/>
              <a:gd name="connsiteX10" fmla="*/ 2353090 w 2637207"/>
              <a:gd name="connsiteY10" fmla="*/ 1349346 h 1535557"/>
              <a:gd name="connsiteX11" fmla="*/ 2317167 w 2637207"/>
              <a:gd name="connsiteY11" fmla="*/ 1388534 h 1535557"/>
              <a:gd name="connsiteX12" fmla="*/ 2287775 w 2637207"/>
              <a:gd name="connsiteY12" fmla="*/ 1417926 h 1535557"/>
              <a:gd name="connsiteX13" fmla="*/ 2248587 w 2637207"/>
              <a:gd name="connsiteY13" fmla="*/ 1460380 h 1535557"/>
              <a:gd name="connsiteX14" fmla="*/ 2189804 w 2637207"/>
              <a:gd name="connsiteY14" fmla="*/ 1483240 h 1535557"/>
              <a:gd name="connsiteX15" fmla="*/ 2124490 w 2637207"/>
              <a:gd name="connsiteY15" fmla="*/ 1470177 h 1535557"/>
              <a:gd name="connsiteX16" fmla="*/ 2055910 w 2637207"/>
              <a:gd name="connsiteY16" fmla="*/ 1473443 h 1535557"/>
              <a:gd name="connsiteX17" fmla="*/ 2013455 w 2637207"/>
              <a:gd name="connsiteY17" fmla="*/ 1486506 h 1535557"/>
              <a:gd name="connsiteX18" fmla="*/ 1977532 w 2637207"/>
              <a:gd name="connsiteY18" fmla="*/ 1506100 h 1535557"/>
              <a:gd name="connsiteX19" fmla="*/ 1931812 w 2637207"/>
              <a:gd name="connsiteY19" fmla="*/ 1519163 h 1535557"/>
              <a:gd name="connsiteX20" fmla="*/ 1876295 w 2637207"/>
              <a:gd name="connsiteY20" fmla="*/ 1535491 h 1535557"/>
              <a:gd name="connsiteX21" fmla="*/ 1804450 w 2637207"/>
              <a:gd name="connsiteY21" fmla="*/ 1512631 h 1535557"/>
              <a:gd name="connsiteX22" fmla="*/ 1735870 w 2637207"/>
              <a:gd name="connsiteY22" fmla="*/ 1453848 h 1535557"/>
              <a:gd name="connsiteX23" fmla="*/ 1673821 w 2637207"/>
              <a:gd name="connsiteY23" fmla="*/ 1411394 h 1535557"/>
              <a:gd name="connsiteX24" fmla="*/ 1588980 w 2637207"/>
              <a:gd name="connsiteY24" fmla="*/ 1372478 h 1535557"/>
              <a:gd name="connsiteX25" fmla="*/ 1481144 w 2637207"/>
              <a:gd name="connsiteY25" fmla="*/ 1362408 h 1535557"/>
              <a:gd name="connsiteX26" fmla="*/ 1402767 w 2637207"/>
              <a:gd name="connsiteY26" fmla="*/ 1362408 h 1535557"/>
              <a:gd name="connsiteX27" fmla="*/ 1311327 w 2637207"/>
              <a:gd name="connsiteY27" fmla="*/ 1349346 h 1535557"/>
              <a:gd name="connsiteX28" fmla="*/ 1229684 w 2637207"/>
              <a:gd name="connsiteY28" fmla="*/ 1336283 h 1535557"/>
              <a:gd name="connsiteX29" fmla="*/ 1107356 w 2637207"/>
              <a:gd name="connsiteY29" fmla="*/ 1301856 h 1535557"/>
              <a:gd name="connsiteX30" fmla="*/ 971692 w 2637207"/>
              <a:gd name="connsiteY30" fmla="*/ 1264437 h 1535557"/>
              <a:gd name="connsiteX31" fmla="*/ 858890 w 2637207"/>
              <a:gd name="connsiteY31" fmla="*/ 1228242 h 1535557"/>
              <a:gd name="connsiteX32" fmla="*/ 756155 w 2637207"/>
              <a:gd name="connsiteY32" fmla="*/ 1195857 h 1535557"/>
              <a:gd name="connsiteX33" fmla="*/ 664715 w 2637207"/>
              <a:gd name="connsiteY33" fmla="*/ 1166466 h 1535557"/>
              <a:gd name="connsiteX34" fmla="*/ 562321 w 2637207"/>
              <a:gd name="connsiteY34" fmla="*/ 1140952 h 1535557"/>
              <a:gd name="connsiteX35" fmla="*/ 458975 w 2637207"/>
              <a:gd name="connsiteY35" fmla="*/ 1130543 h 1535557"/>
              <a:gd name="connsiteX36" fmla="*/ 380598 w 2637207"/>
              <a:gd name="connsiteY36" fmla="*/ 1124011 h 1535557"/>
              <a:gd name="connsiteX37" fmla="*/ 253847 w 2637207"/>
              <a:gd name="connsiteY37" fmla="*/ 1088973 h 1535557"/>
              <a:gd name="connsiteX38" fmla="*/ 180505 w 2637207"/>
              <a:gd name="connsiteY38" fmla="*/ 1045906 h 1535557"/>
              <a:gd name="connsiteX39" fmla="*/ 106618 w 2637207"/>
              <a:gd name="connsiteY39" fmla="*/ 982157 h 1535557"/>
              <a:gd name="connsiteX40" fmla="*/ 61987 w 2637207"/>
              <a:gd name="connsiteY40" fmla="*/ 923646 h 1535557"/>
              <a:gd name="connsiteX41" fmla="*/ 25791 w 2637207"/>
              <a:gd name="connsiteY41" fmla="*/ 834588 h 1535557"/>
              <a:gd name="connsiteX42" fmla="*/ 4428 w 2637207"/>
              <a:gd name="connsiteY42" fmla="*/ 735391 h 1535557"/>
              <a:gd name="connsiteX43" fmla="*/ 5041 w 2637207"/>
              <a:gd name="connsiteY43" fmla="*/ 624357 h 1535557"/>
              <a:gd name="connsiteX44" fmla="*/ 47495 w 2637207"/>
              <a:gd name="connsiteY44" fmla="*/ 536183 h 1535557"/>
              <a:gd name="connsiteX45" fmla="*/ 122607 w 2637207"/>
              <a:gd name="connsiteY45" fmla="*/ 461071 h 1535557"/>
              <a:gd name="connsiteX46" fmla="*/ 223844 w 2637207"/>
              <a:gd name="connsiteY46" fmla="*/ 382694 h 1535557"/>
              <a:gd name="connsiteX47" fmla="*/ 370801 w 2637207"/>
              <a:gd name="connsiteY47" fmla="*/ 314114 h 1535557"/>
              <a:gd name="connsiteX48" fmla="*/ 527555 w 2637207"/>
              <a:gd name="connsiteY48" fmla="*/ 268394 h 1535557"/>
              <a:gd name="connsiteX49" fmla="*/ 651652 w 2637207"/>
              <a:gd name="connsiteY49" fmla="*/ 236350 h 1535557"/>
              <a:gd name="connsiteX50" fmla="*/ 797725 w 2637207"/>
              <a:gd name="connsiteY50" fmla="*/ 201310 h 1535557"/>
              <a:gd name="connsiteX51" fmla="*/ 955364 w 2637207"/>
              <a:gd name="connsiteY51" fmla="*/ 167157 h 1535557"/>
              <a:gd name="connsiteX52" fmla="*/ 1146952 w 2637207"/>
              <a:gd name="connsiteY52" fmla="*/ 116335 h 1535557"/>
              <a:gd name="connsiteX53" fmla="*/ 1399501 w 2637207"/>
              <a:gd name="connsiteY53" fmla="*/ 49591 h 1535557"/>
              <a:gd name="connsiteX54" fmla="*/ 1549724 w 2637207"/>
              <a:gd name="connsiteY54" fmla="*/ 18704 h 1535557"/>
              <a:gd name="connsiteX55" fmla="*/ 1662187 w 2637207"/>
              <a:gd name="connsiteY55" fmla="*/ 878 h 1535557"/>
              <a:gd name="connsiteX56" fmla="*/ 1771792 w 2637207"/>
              <a:gd name="connsiteY56" fmla="*/ 10403 h 1535557"/>
              <a:gd name="connsiteX57" fmla="*/ 1878133 w 2637207"/>
              <a:gd name="connsiteY57" fmla="*/ 62654 h 1535557"/>
              <a:gd name="connsiteX58" fmla="*/ 1977873 w 2637207"/>
              <a:gd name="connsiteY58" fmla="*/ 151441 h 1535557"/>
              <a:gd name="connsiteX59" fmla="*/ 2072851 w 2637207"/>
              <a:gd name="connsiteY59" fmla="*/ 229206 h 1535557"/>
              <a:gd name="connsiteX60" fmla="*/ 2157147 w 2637207"/>
              <a:gd name="connsiteY60" fmla="*/ 294520 h 1535557"/>
              <a:gd name="connsiteX61" fmla="*/ 2193070 w 2637207"/>
              <a:gd name="connsiteY61" fmla="*/ 340240 h 1535557"/>
              <a:gd name="connsiteX62" fmla="*/ 2199601 w 2637207"/>
              <a:gd name="connsiteY62" fmla="*/ 389226 h 1535557"/>
              <a:gd name="connsiteX63" fmla="*/ 2173475 w 2637207"/>
              <a:gd name="connsiteY63" fmla="*/ 451274 h 1535557"/>
              <a:gd name="connsiteX64" fmla="*/ 2064210 w 2637207"/>
              <a:gd name="connsiteY64" fmla="*/ 499988 h 1535557"/>
              <a:gd name="connsiteX65" fmla="*/ 1939229 w 2637207"/>
              <a:gd name="connsiteY65" fmla="*/ 501757 h 1535557"/>
              <a:gd name="connsiteX66" fmla="*/ 1859967 w 2637207"/>
              <a:gd name="connsiteY66" fmla="*/ 490463 h 1535557"/>
              <a:gd name="connsiteX67" fmla="*/ 1713010 w 2637207"/>
              <a:gd name="connsiteY67" fmla="*/ 467603 h 1535557"/>
              <a:gd name="connsiteX68" fmla="*/ 1572584 w 2637207"/>
              <a:gd name="connsiteY68" fmla="*/ 441477 h 1535557"/>
              <a:gd name="connsiteX69" fmla="*/ 1441955 w 2637207"/>
              <a:gd name="connsiteY69" fmla="*/ 421883 h 1535557"/>
              <a:gd name="connsiteX70" fmla="*/ 1327655 w 2637207"/>
              <a:gd name="connsiteY70" fmla="*/ 425148 h 1535557"/>
              <a:gd name="connsiteX71" fmla="*/ 1219887 w 2637207"/>
              <a:gd name="connsiteY71" fmla="*/ 448008 h 1535557"/>
              <a:gd name="connsiteX72" fmla="*/ 1141510 w 2637207"/>
              <a:gd name="connsiteY72" fmla="*/ 480666 h 1535557"/>
              <a:gd name="connsiteX73" fmla="*/ 1026665 w 2637207"/>
              <a:gd name="connsiteY73" fmla="*/ 526386 h 1535557"/>
              <a:gd name="connsiteX74" fmla="*/ 925972 w 2637207"/>
              <a:gd name="connsiteY74" fmla="*/ 563192 h 1535557"/>
              <a:gd name="connsiteX75" fmla="*/ 775138 w 2637207"/>
              <a:gd name="connsiteY75" fmla="*/ 585781 h 1535557"/>
              <a:gd name="connsiteX76" fmla="*/ 660021 w 2637207"/>
              <a:gd name="connsiteY76" fmla="*/ 600612 h 1535557"/>
              <a:gd name="connsiteX77" fmla="*/ 550415 w 2637207"/>
              <a:gd name="connsiteY77" fmla="*/ 601497 h 1535557"/>
              <a:gd name="connsiteX78" fmla="*/ 413255 w 2637207"/>
              <a:gd name="connsiteY78" fmla="*/ 587549 h 1535557"/>
              <a:gd name="connsiteX79" fmla="*/ 294805 w 2637207"/>
              <a:gd name="connsiteY79" fmla="*/ 572718 h 1535557"/>
              <a:gd name="connsiteX80" fmla="*/ 174858 w 2637207"/>
              <a:gd name="connsiteY80" fmla="*/ 555777 h 1535557"/>
              <a:gd name="connsiteX0" fmla="*/ 2637207 w 2637207"/>
              <a:gd name="connsiteY0" fmla="*/ 1022774 h 1535557"/>
              <a:gd name="connsiteX1" fmla="*/ 2633941 w 2637207"/>
              <a:gd name="connsiteY1" fmla="*/ 1078291 h 1535557"/>
              <a:gd name="connsiteX2" fmla="*/ 2628906 w 2637207"/>
              <a:gd name="connsiteY2" fmla="*/ 1136190 h 1535557"/>
              <a:gd name="connsiteX3" fmla="*/ 2627410 w 2637207"/>
              <a:gd name="connsiteY3" fmla="*/ 1182794 h 1535557"/>
              <a:gd name="connsiteX4" fmla="*/ 2623872 w 2637207"/>
              <a:gd name="connsiteY4" fmla="*/ 1237699 h 1535557"/>
              <a:gd name="connsiteX5" fmla="*/ 2601284 w 2637207"/>
              <a:gd name="connsiteY5" fmla="*/ 1290563 h 1535557"/>
              <a:gd name="connsiteX6" fmla="*/ 2562095 w 2637207"/>
              <a:gd name="connsiteY6" fmla="*/ 1323220 h 1535557"/>
              <a:gd name="connsiteX7" fmla="*/ 2506578 w 2637207"/>
              <a:gd name="connsiteY7" fmla="*/ 1333017 h 1535557"/>
              <a:gd name="connsiteX8" fmla="*/ 2454327 w 2637207"/>
              <a:gd name="connsiteY8" fmla="*/ 1336283 h 1535557"/>
              <a:gd name="connsiteX9" fmla="*/ 2408607 w 2637207"/>
              <a:gd name="connsiteY9" fmla="*/ 1336283 h 1535557"/>
              <a:gd name="connsiteX10" fmla="*/ 2353090 w 2637207"/>
              <a:gd name="connsiteY10" fmla="*/ 1349346 h 1535557"/>
              <a:gd name="connsiteX11" fmla="*/ 2317167 w 2637207"/>
              <a:gd name="connsiteY11" fmla="*/ 1388534 h 1535557"/>
              <a:gd name="connsiteX12" fmla="*/ 2287775 w 2637207"/>
              <a:gd name="connsiteY12" fmla="*/ 1417926 h 1535557"/>
              <a:gd name="connsiteX13" fmla="*/ 2248587 w 2637207"/>
              <a:gd name="connsiteY13" fmla="*/ 1460380 h 1535557"/>
              <a:gd name="connsiteX14" fmla="*/ 2189804 w 2637207"/>
              <a:gd name="connsiteY14" fmla="*/ 1483240 h 1535557"/>
              <a:gd name="connsiteX15" fmla="*/ 2124490 w 2637207"/>
              <a:gd name="connsiteY15" fmla="*/ 1470177 h 1535557"/>
              <a:gd name="connsiteX16" fmla="*/ 2055910 w 2637207"/>
              <a:gd name="connsiteY16" fmla="*/ 1473443 h 1535557"/>
              <a:gd name="connsiteX17" fmla="*/ 2013455 w 2637207"/>
              <a:gd name="connsiteY17" fmla="*/ 1486506 h 1535557"/>
              <a:gd name="connsiteX18" fmla="*/ 1977532 w 2637207"/>
              <a:gd name="connsiteY18" fmla="*/ 1506100 h 1535557"/>
              <a:gd name="connsiteX19" fmla="*/ 1931812 w 2637207"/>
              <a:gd name="connsiteY19" fmla="*/ 1519163 h 1535557"/>
              <a:gd name="connsiteX20" fmla="*/ 1876295 w 2637207"/>
              <a:gd name="connsiteY20" fmla="*/ 1535491 h 1535557"/>
              <a:gd name="connsiteX21" fmla="*/ 1804450 w 2637207"/>
              <a:gd name="connsiteY21" fmla="*/ 1512631 h 1535557"/>
              <a:gd name="connsiteX22" fmla="*/ 1735870 w 2637207"/>
              <a:gd name="connsiteY22" fmla="*/ 1453848 h 1535557"/>
              <a:gd name="connsiteX23" fmla="*/ 1673821 w 2637207"/>
              <a:gd name="connsiteY23" fmla="*/ 1411394 h 1535557"/>
              <a:gd name="connsiteX24" fmla="*/ 1588980 w 2637207"/>
              <a:gd name="connsiteY24" fmla="*/ 1372478 h 1535557"/>
              <a:gd name="connsiteX25" fmla="*/ 1481144 w 2637207"/>
              <a:gd name="connsiteY25" fmla="*/ 1362408 h 1535557"/>
              <a:gd name="connsiteX26" fmla="*/ 1402767 w 2637207"/>
              <a:gd name="connsiteY26" fmla="*/ 1362408 h 1535557"/>
              <a:gd name="connsiteX27" fmla="*/ 1311327 w 2637207"/>
              <a:gd name="connsiteY27" fmla="*/ 1349346 h 1535557"/>
              <a:gd name="connsiteX28" fmla="*/ 1229684 w 2637207"/>
              <a:gd name="connsiteY28" fmla="*/ 1336283 h 1535557"/>
              <a:gd name="connsiteX29" fmla="*/ 1107356 w 2637207"/>
              <a:gd name="connsiteY29" fmla="*/ 1301856 h 1535557"/>
              <a:gd name="connsiteX30" fmla="*/ 971692 w 2637207"/>
              <a:gd name="connsiteY30" fmla="*/ 1264437 h 1535557"/>
              <a:gd name="connsiteX31" fmla="*/ 858890 w 2637207"/>
              <a:gd name="connsiteY31" fmla="*/ 1228242 h 1535557"/>
              <a:gd name="connsiteX32" fmla="*/ 756155 w 2637207"/>
              <a:gd name="connsiteY32" fmla="*/ 1195857 h 1535557"/>
              <a:gd name="connsiteX33" fmla="*/ 664715 w 2637207"/>
              <a:gd name="connsiteY33" fmla="*/ 1166466 h 1535557"/>
              <a:gd name="connsiteX34" fmla="*/ 562321 w 2637207"/>
              <a:gd name="connsiteY34" fmla="*/ 1140952 h 1535557"/>
              <a:gd name="connsiteX35" fmla="*/ 458975 w 2637207"/>
              <a:gd name="connsiteY35" fmla="*/ 1130543 h 1535557"/>
              <a:gd name="connsiteX36" fmla="*/ 380598 w 2637207"/>
              <a:gd name="connsiteY36" fmla="*/ 1124011 h 1535557"/>
              <a:gd name="connsiteX37" fmla="*/ 253847 w 2637207"/>
              <a:gd name="connsiteY37" fmla="*/ 1088973 h 1535557"/>
              <a:gd name="connsiteX38" fmla="*/ 180505 w 2637207"/>
              <a:gd name="connsiteY38" fmla="*/ 1045906 h 1535557"/>
              <a:gd name="connsiteX39" fmla="*/ 106618 w 2637207"/>
              <a:gd name="connsiteY39" fmla="*/ 982157 h 1535557"/>
              <a:gd name="connsiteX40" fmla="*/ 61987 w 2637207"/>
              <a:gd name="connsiteY40" fmla="*/ 923646 h 1535557"/>
              <a:gd name="connsiteX41" fmla="*/ 25791 w 2637207"/>
              <a:gd name="connsiteY41" fmla="*/ 834588 h 1535557"/>
              <a:gd name="connsiteX42" fmla="*/ 4428 w 2637207"/>
              <a:gd name="connsiteY42" fmla="*/ 735391 h 1535557"/>
              <a:gd name="connsiteX43" fmla="*/ 5041 w 2637207"/>
              <a:gd name="connsiteY43" fmla="*/ 624357 h 1535557"/>
              <a:gd name="connsiteX44" fmla="*/ 47495 w 2637207"/>
              <a:gd name="connsiteY44" fmla="*/ 536183 h 1535557"/>
              <a:gd name="connsiteX45" fmla="*/ 122607 w 2637207"/>
              <a:gd name="connsiteY45" fmla="*/ 461071 h 1535557"/>
              <a:gd name="connsiteX46" fmla="*/ 223844 w 2637207"/>
              <a:gd name="connsiteY46" fmla="*/ 382694 h 1535557"/>
              <a:gd name="connsiteX47" fmla="*/ 370801 w 2637207"/>
              <a:gd name="connsiteY47" fmla="*/ 314114 h 1535557"/>
              <a:gd name="connsiteX48" fmla="*/ 527555 w 2637207"/>
              <a:gd name="connsiteY48" fmla="*/ 268394 h 1535557"/>
              <a:gd name="connsiteX49" fmla="*/ 651652 w 2637207"/>
              <a:gd name="connsiteY49" fmla="*/ 236350 h 1535557"/>
              <a:gd name="connsiteX50" fmla="*/ 797725 w 2637207"/>
              <a:gd name="connsiteY50" fmla="*/ 201310 h 1535557"/>
              <a:gd name="connsiteX51" fmla="*/ 955364 w 2637207"/>
              <a:gd name="connsiteY51" fmla="*/ 167157 h 1535557"/>
              <a:gd name="connsiteX52" fmla="*/ 1146952 w 2637207"/>
              <a:gd name="connsiteY52" fmla="*/ 116335 h 1535557"/>
              <a:gd name="connsiteX53" fmla="*/ 1399501 w 2637207"/>
              <a:gd name="connsiteY53" fmla="*/ 49591 h 1535557"/>
              <a:gd name="connsiteX54" fmla="*/ 1549724 w 2637207"/>
              <a:gd name="connsiteY54" fmla="*/ 18704 h 1535557"/>
              <a:gd name="connsiteX55" fmla="*/ 1662187 w 2637207"/>
              <a:gd name="connsiteY55" fmla="*/ 878 h 1535557"/>
              <a:gd name="connsiteX56" fmla="*/ 1771792 w 2637207"/>
              <a:gd name="connsiteY56" fmla="*/ 10403 h 1535557"/>
              <a:gd name="connsiteX57" fmla="*/ 1878133 w 2637207"/>
              <a:gd name="connsiteY57" fmla="*/ 62654 h 1535557"/>
              <a:gd name="connsiteX58" fmla="*/ 1977873 w 2637207"/>
              <a:gd name="connsiteY58" fmla="*/ 151441 h 1535557"/>
              <a:gd name="connsiteX59" fmla="*/ 2072851 w 2637207"/>
              <a:gd name="connsiteY59" fmla="*/ 229206 h 1535557"/>
              <a:gd name="connsiteX60" fmla="*/ 2157147 w 2637207"/>
              <a:gd name="connsiteY60" fmla="*/ 294520 h 1535557"/>
              <a:gd name="connsiteX61" fmla="*/ 2193070 w 2637207"/>
              <a:gd name="connsiteY61" fmla="*/ 340240 h 1535557"/>
              <a:gd name="connsiteX62" fmla="*/ 2199601 w 2637207"/>
              <a:gd name="connsiteY62" fmla="*/ 389226 h 1535557"/>
              <a:gd name="connsiteX63" fmla="*/ 2173475 w 2637207"/>
              <a:gd name="connsiteY63" fmla="*/ 451274 h 1535557"/>
              <a:gd name="connsiteX64" fmla="*/ 2064210 w 2637207"/>
              <a:gd name="connsiteY64" fmla="*/ 499988 h 1535557"/>
              <a:gd name="connsiteX65" fmla="*/ 1939229 w 2637207"/>
              <a:gd name="connsiteY65" fmla="*/ 501757 h 1535557"/>
              <a:gd name="connsiteX66" fmla="*/ 1859967 w 2637207"/>
              <a:gd name="connsiteY66" fmla="*/ 490463 h 1535557"/>
              <a:gd name="connsiteX67" fmla="*/ 1713010 w 2637207"/>
              <a:gd name="connsiteY67" fmla="*/ 467603 h 1535557"/>
              <a:gd name="connsiteX68" fmla="*/ 1572584 w 2637207"/>
              <a:gd name="connsiteY68" fmla="*/ 441477 h 1535557"/>
              <a:gd name="connsiteX69" fmla="*/ 1441955 w 2637207"/>
              <a:gd name="connsiteY69" fmla="*/ 421883 h 1535557"/>
              <a:gd name="connsiteX70" fmla="*/ 1327655 w 2637207"/>
              <a:gd name="connsiteY70" fmla="*/ 425148 h 1535557"/>
              <a:gd name="connsiteX71" fmla="*/ 1227031 w 2637207"/>
              <a:gd name="connsiteY71" fmla="*/ 450389 h 1535557"/>
              <a:gd name="connsiteX72" fmla="*/ 1141510 w 2637207"/>
              <a:gd name="connsiteY72" fmla="*/ 480666 h 1535557"/>
              <a:gd name="connsiteX73" fmla="*/ 1026665 w 2637207"/>
              <a:gd name="connsiteY73" fmla="*/ 526386 h 1535557"/>
              <a:gd name="connsiteX74" fmla="*/ 925972 w 2637207"/>
              <a:gd name="connsiteY74" fmla="*/ 563192 h 1535557"/>
              <a:gd name="connsiteX75" fmla="*/ 775138 w 2637207"/>
              <a:gd name="connsiteY75" fmla="*/ 585781 h 1535557"/>
              <a:gd name="connsiteX76" fmla="*/ 660021 w 2637207"/>
              <a:gd name="connsiteY76" fmla="*/ 600612 h 1535557"/>
              <a:gd name="connsiteX77" fmla="*/ 550415 w 2637207"/>
              <a:gd name="connsiteY77" fmla="*/ 601497 h 1535557"/>
              <a:gd name="connsiteX78" fmla="*/ 413255 w 2637207"/>
              <a:gd name="connsiteY78" fmla="*/ 587549 h 1535557"/>
              <a:gd name="connsiteX79" fmla="*/ 294805 w 2637207"/>
              <a:gd name="connsiteY79" fmla="*/ 572718 h 1535557"/>
              <a:gd name="connsiteX80" fmla="*/ 174858 w 2637207"/>
              <a:gd name="connsiteY80" fmla="*/ 555777 h 1535557"/>
              <a:gd name="connsiteX0" fmla="*/ 2637207 w 2637207"/>
              <a:gd name="connsiteY0" fmla="*/ 1022774 h 1535557"/>
              <a:gd name="connsiteX1" fmla="*/ 2633941 w 2637207"/>
              <a:gd name="connsiteY1" fmla="*/ 1078291 h 1535557"/>
              <a:gd name="connsiteX2" fmla="*/ 2628906 w 2637207"/>
              <a:gd name="connsiteY2" fmla="*/ 1136190 h 1535557"/>
              <a:gd name="connsiteX3" fmla="*/ 2627410 w 2637207"/>
              <a:gd name="connsiteY3" fmla="*/ 1182794 h 1535557"/>
              <a:gd name="connsiteX4" fmla="*/ 2623872 w 2637207"/>
              <a:gd name="connsiteY4" fmla="*/ 1237699 h 1535557"/>
              <a:gd name="connsiteX5" fmla="*/ 2601284 w 2637207"/>
              <a:gd name="connsiteY5" fmla="*/ 1290563 h 1535557"/>
              <a:gd name="connsiteX6" fmla="*/ 2562095 w 2637207"/>
              <a:gd name="connsiteY6" fmla="*/ 1323220 h 1535557"/>
              <a:gd name="connsiteX7" fmla="*/ 2506578 w 2637207"/>
              <a:gd name="connsiteY7" fmla="*/ 1333017 h 1535557"/>
              <a:gd name="connsiteX8" fmla="*/ 2454327 w 2637207"/>
              <a:gd name="connsiteY8" fmla="*/ 1336283 h 1535557"/>
              <a:gd name="connsiteX9" fmla="*/ 2408607 w 2637207"/>
              <a:gd name="connsiteY9" fmla="*/ 1336283 h 1535557"/>
              <a:gd name="connsiteX10" fmla="*/ 2353090 w 2637207"/>
              <a:gd name="connsiteY10" fmla="*/ 1349346 h 1535557"/>
              <a:gd name="connsiteX11" fmla="*/ 2317167 w 2637207"/>
              <a:gd name="connsiteY11" fmla="*/ 1388534 h 1535557"/>
              <a:gd name="connsiteX12" fmla="*/ 2287775 w 2637207"/>
              <a:gd name="connsiteY12" fmla="*/ 1417926 h 1535557"/>
              <a:gd name="connsiteX13" fmla="*/ 2248587 w 2637207"/>
              <a:gd name="connsiteY13" fmla="*/ 1460380 h 1535557"/>
              <a:gd name="connsiteX14" fmla="*/ 2189804 w 2637207"/>
              <a:gd name="connsiteY14" fmla="*/ 1483240 h 1535557"/>
              <a:gd name="connsiteX15" fmla="*/ 2124490 w 2637207"/>
              <a:gd name="connsiteY15" fmla="*/ 1470177 h 1535557"/>
              <a:gd name="connsiteX16" fmla="*/ 2055910 w 2637207"/>
              <a:gd name="connsiteY16" fmla="*/ 1473443 h 1535557"/>
              <a:gd name="connsiteX17" fmla="*/ 2013455 w 2637207"/>
              <a:gd name="connsiteY17" fmla="*/ 1486506 h 1535557"/>
              <a:gd name="connsiteX18" fmla="*/ 1977532 w 2637207"/>
              <a:gd name="connsiteY18" fmla="*/ 1506100 h 1535557"/>
              <a:gd name="connsiteX19" fmla="*/ 1931812 w 2637207"/>
              <a:gd name="connsiteY19" fmla="*/ 1519163 h 1535557"/>
              <a:gd name="connsiteX20" fmla="*/ 1876295 w 2637207"/>
              <a:gd name="connsiteY20" fmla="*/ 1535491 h 1535557"/>
              <a:gd name="connsiteX21" fmla="*/ 1804450 w 2637207"/>
              <a:gd name="connsiteY21" fmla="*/ 1512631 h 1535557"/>
              <a:gd name="connsiteX22" fmla="*/ 1735870 w 2637207"/>
              <a:gd name="connsiteY22" fmla="*/ 1453848 h 1535557"/>
              <a:gd name="connsiteX23" fmla="*/ 1673821 w 2637207"/>
              <a:gd name="connsiteY23" fmla="*/ 1411394 h 1535557"/>
              <a:gd name="connsiteX24" fmla="*/ 1588980 w 2637207"/>
              <a:gd name="connsiteY24" fmla="*/ 1372478 h 1535557"/>
              <a:gd name="connsiteX25" fmla="*/ 1481144 w 2637207"/>
              <a:gd name="connsiteY25" fmla="*/ 1362408 h 1535557"/>
              <a:gd name="connsiteX26" fmla="*/ 1402767 w 2637207"/>
              <a:gd name="connsiteY26" fmla="*/ 1362408 h 1535557"/>
              <a:gd name="connsiteX27" fmla="*/ 1311327 w 2637207"/>
              <a:gd name="connsiteY27" fmla="*/ 1349346 h 1535557"/>
              <a:gd name="connsiteX28" fmla="*/ 1229684 w 2637207"/>
              <a:gd name="connsiteY28" fmla="*/ 1336283 h 1535557"/>
              <a:gd name="connsiteX29" fmla="*/ 1107356 w 2637207"/>
              <a:gd name="connsiteY29" fmla="*/ 1301856 h 1535557"/>
              <a:gd name="connsiteX30" fmla="*/ 971692 w 2637207"/>
              <a:gd name="connsiteY30" fmla="*/ 1264437 h 1535557"/>
              <a:gd name="connsiteX31" fmla="*/ 858890 w 2637207"/>
              <a:gd name="connsiteY31" fmla="*/ 1228242 h 1535557"/>
              <a:gd name="connsiteX32" fmla="*/ 756155 w 2637207"/>
              <a:gd name="connsiteY32" fmla="*/ 1195857 h 1535557"/>
              <a:gd name="connsiteX33" fmla="*/ 664715 w 2637207"/>
              <a:gd name="connsiteY33" fmla="*/ 1166466 h 1535557"/>
              <a:gd name="connsiteX34" fmla="*/ 562321 w 2637207"/>
              <a:gd name="connsiteY34" fmla="*/ 1140952 h 1535557"/>
              <a:gd name="connsiteX35" fmla="*/ 458975 w 2637207"/>
              <a:gd name="connsiteY35" fmla="*/ 1130543 h 1535557"/>
              <a:gd name="connsiteX36" fmla="*/ 380598 w 2637207"/>
              <a:gd name="connsiteY36" fmla="*/ 1124011 h 1535557"/>
              <a:gd name="connsiteX37" fmla="*/ 253847 w 2637207"/>
              <a:gd name="connsiteY37" fmla="*/ 1088973 h 1535557"/>
              <a:gd name="connsiteX38" fmla="*/ 180505 w 2637207"/>
              <a:gd name="connsiteY38" fmla="*/ 1045906 h 1535557"/>
              <a:gd name="connsiteX39" fmla="*/ 106618 w 2637207"/>
              <a:gd name="connsiteY39" fmla="*/ 982157 h 1535557"/>
              <a:gd name="connsiteX40" fmla="*/ 61987 w 2637207"/>
              <a:gd name="connsiteY40" fmla="*/ 923646 h 1535557"/>
              <a:gd name="connsiteX41" fmla="*/ 25791 w 2637207"/>
              <a:gd name="connsiteY41" fmla="*/ 834588 h 1535557"/>
              <a:gd name="connsiteX42" fmla="*/ 4428 w 2637207"/>
              <a:gd name="connsiteY42" fmla="*/ 735391 h 1535557"/>
              <a:gd name="connsiteX43" fmla="*/ 5041 w 2637207"/>
              <a:gd name="connsiteY43" fmla="*/ 624357 h 1535557"/>
              <a:gd name="connsiteX44" fmla="*/ 47495 w 2637207"/>
              <a:gd name="connsiteY44" fmla="*/ 536183 h 1535557"/>
              <a:gd name="connsiteX45" fmla="*/ 122607 w 2637207"/>
              <a:gd name="connsiteY45" fmla="*/ 461071 h 1535557"/>
              <a:gd name="connsiteX46" fmla="*/ 223844 w 2637207"/>
              <a:gd name="connsiteY46" fmla="*/ 382694 h 1535557"/>
              <a:gd name="connsiteX47" fmla="*/ 370801 w 2637207"/>
              <a:gd name="connsiteY47" fmla="*/ 314114 h 1535557"/>
              <a:gd name="connsiteX48" fmla="*/ 527555 w 2637207"/>
              <a:gd name="connsiteY48" fmla="*/ 268394 h 1535557"/>
              <a:gd name="connsiteX49" fmla="*/ 651652 w 2637207"/>
              <a:gd name="connsiteY49" fmla="*/ 236350 h 1535557"/>
              <a:gd name="connsiteX50" fmla="*/ 797725 w 2637207"/>
              <a:gd name="connsiteY50" fmla="*/ 201310 h 1535557"/>
              <a:gd name="connsiteX51" fmla="*/ 955364 w 2637207"/>
              <a:gd name="connsiteY51" fmla="*/ 167157 h 1535557"/>
              <a:gd name="connsiteX52" fmla="*/ 1146952 w 2637207"/>
              <a:gd name="connsiteY52" fmla="*/ 116335 h 1535557"/>
              <a:gd name="connsiteX53" fmla="*/ 1399501 w 2637207"/>
              <a:gd name="connsiteY53" fmla="*/ 49591 h 1535557"/>
              <a:gd name="connsiteX54" fmla="*/ 1549724 w 2637207"/>
              <a:gd name="connsiteY54" fmla="*/ 18704 h 1535557"/>
              <a:gd name="connsiteX55" fmla="*/ 1662187 w 2637207"/>
              <a:gd name="connsiteY55" fmla="*/ 878 h 1535557"/>
              <a:gd name="connsiteX56" fmla="*/ 1771792 w 2637207"/>
              <a:gd name="connsiteY56" fmla="*/ 10403 h 1535557"/>
              <a:gd name="connsiteX57" fmla="*/ 1878133 w 2637207"/>
              <a:gd name="connsiteY57" fmla="*/ 62654 h 1535557"/>
              <a:gd name="connsiteX58" fmla="*/ 1977873 w 2637207"/>
              <a:gd name="connsiteY58" fmla="*/ 151441 h 1535557"/>
              <a:gd name="connsiteX59" fmla="*/ 2072851 w 2637207"/>
              <a:gd name="connsiteY59" fmla="*/ 229206 h 1535557"/>
              <a:gd name="connsiteX60" fmla="*/ 2157147 w 2637207"/>
              <a:gd name="connsiteY60" fmla="*/ 294520 h 1535557"/>
              <a:gd name="connsiteX61" fmla="*/ 2193070 w 2637207"/>
              <a:gd name="connsiteY61" fmla="*/ 340240 h 1535557"/>
              <a:gd name="connsiteX62" fmla="*/ 2199601 w 2637207"/>
              <a:gd name="connsiteY62" fmla="*/ 389226 h 1535557"/>
              <a:gd name="connsiteX63" fmla="*/ 2173475 w 2637207"/>
              <a:gd name="connsiteY63" fmla="*/ 451274 h 1535557"/>
              <a:gd name="connsiteX64" fmla="*/ 2064210 w 2637207"/>
              <a:gd name="connsiteY64" fmla="*/ 499988 h 1535557"/>
              <a:gd name="connsiteX65" fmla="*/ 1939229 w 2637207"/>
              <a:gd name="connsiteY65" fmla="*/ 501757 h 1535557"/>
              <a:gd name="connsiteX66" fmla="*/ 1859967 w 2637207"/>
              <a:gd name="connsiteY66" fmla="*/ 490463 h 1535557"/>
              <a:gd name="connsiteX67" fmla="*/ 1713010 w 2637207"/>
              <a:gd name="connsiteY67" fmla="*/ 467603 h 1535557"/>
              <a:gd name="connsiteX68" fmla="*/ 1572584 w 2637207"/>
              <a:gd name="connsiteY68" fmla="*/ 441477 h 1535557"/>
              <a:gd name="connsiteX69" fmla="*/ 1441955 w 2637207"/>
              <a:gd name="connsiteY69" fmla="*/ 421883 h 1535557"/>
              <a:gd name="connsiteX70" fmla="*/ 1327655 w 2637207"/>
              <a:gd name="connsiteY70" fmla="*/ 425148 h 1535557"/>
              <a:gd name="connsiteX71" fmla="*/ 1227031 w 2637207"/>
              <a:gd name="connsiteY71" fmla="*/ 450389 h 1535557"/>
              <a:gd name="connsiteX72" fmla="*/ 1141510 w 2637207"/>
              <a:gd name="connsiteY72" fmla="*/ 480666 h 1535557"/>
              <a:gd name="connsiteX73" fmla="*/ 1026665 w 2637207"/>
              <a:gd name="connsiteY73" fmla="*/ 526386 h 1535557"/>
              <a:gd name="connsiteX74" fmla="*/ 925972 w 2637207"/>
              <a:gd name="connsiteY74" fmla="*/ 563192 h 1535557"/>
              <a:gd name="connsiteX75" fmla="*/ 775138 w 2637207"/>
              <a:gd name="connsiteY75" fmla="*/ 585781 h 1535557"/>
              <a:gd name="connsiteX76" fmla="*/ 660021 w 2637207"/>
              <a:gd name="connsiteY76" fmla="*/ 600612 h 1535557"/>
              <a:gd name="connsiteX77" fmla="*/ 550415 w 2637207"/>
              <a:gd name="connsiteY77" fmla="*/ 601497 h 1535557"/>
              <a:gd name="connsiteX78" fmla="*/ 413255 w 2637207"/>
              <a:gd name="connsiteY78" fmla="*/ 587549 h 1535557"/>
              <a:gd name="connsiteX79" fmla="*/ 294805 w 2637207"/>
              <a:gd name="connsiteY79" fmla="*/ 572718 h 1535557"/>
              <a:gd name="connsiteX80" fmla="*/ 174858 w 2637207"/>
              <a:gd name="connsiteY80" fmla="*/ 555777 h 1535557"/>
              <a:gd name="connsiteX0" fmla="*/ 2637207 w 2637207"/>
              <a:gd name="connsiteY0" fmla="*/ 1022774 h 1535557"/>
              <a:gd name="connsiteX1" fmla="*/ 2633941 w 2637207"/>
              <a:gd name="connsiteY1" fmla="*/ 1078291 h 1535557"/>
              <a:gd name="connsiteX2" fmla="*/ 2628906 w 2637207"/>
              <a:gd name="connsiteY2" fmla="*/ 1136190 h 1535557"/>
              <a:gd name="connsiteX3" fmla="*/ 2627410 w 2637207"/>
              <a:gd name="connsiteY3" fmla="*/ 1182794 h 1535557"/>
              <a:gd name="connsiteX4" fmla="*/ 2623872 w 2637207"/>
              <a:gd name="connsiteY4" fmla="*/ 1237699 h 1535557"/>
              <a:gd name="connsiteX5" fmla="*/ 2601284 w 2637207"/>
              <a:gd name="connsiteY5" fmla="*/ 1290563 h 1535557"/>
              <a:gd name="connsiteX6" fmla="*/ 2562095 w 2637207"/>
              <a:gd name="connsiteY6" fmla="*/ 1323220 h 1535557"/>
              <a:gd name="connsiteX7" fmla="*/ 2506578 w 2637207"/>
              <a:gd name="connsiteY7" fmla="*/ 1333017 h 1535557"/>
              <a:gd name="connsiteX8" fmla="*/ 2454327 w 2637207"/>
              <a:gd name="connsiteY8" fmla="*/ 1336283 h 1535557"/>
              <a:gd name="connsiteX9" fmla="*/ 2408607 w 2637207"/>
              <a:gd name="connsiteY9" fmla="*/ 1336283 h 1535557"/>
              <a:gd name="connsiteX10" fmla="*/ 2353090 w 2637207"/>
              <a:gd name="connsiteY10" fmla="*/ 1349346 h 1535557"/>
              <a:gd name="connsiteX11" fmla="*/ 2317167 w 2637207"/>
              <a:gd name="connsiteY11" fmla="*/ 1388534 h 1535557"/>
              <a:gd name="connsiteX12" fmla="*/ 2287775 w 2637207"/>
              <a:gd name="connsiteY12" fmla="*/ 1417926 h 1535557"/>
              <a:gd name="connsiteX13" fmla="*/ 2248587 w 2637207"/>
              <a:gd name="connsiteY13" fmla="*/ 1460380 h 1535557"/>
              <a:gd name="connsiteX14" fmla="*/ 2189804 w 2637207"/>
              <a:gd name="connsiteY14" fmla="*/ 1483240 h 1535557"/>
              <a:gd name="connsiteX15" fmla="*/ 2124490 w 2637207"/>
              <a:gd name="connsiteY15" fmla="*/ 1470177 h 1535557"/>
              <a:gd name="connsiteX16" fmla="*/ 2055910 w 2637207"/>
              <a:gd name="connsiteY16" fmla="*/ 1473443 h 1535557"/>
              <a:gd name="connsiteX17" fmla="*/ 2013455 w 2637207"/>
              <a:gd name="connsiteY17" fmla="*/ 1486506 h 1535557"/>
              <a:gd name="connsiteX18" fmla="*/ 1977532 w 2637207"/>
              <a:gd name="connsiteY18" fmla="*/ 1506100 h 1535557"/>
              <a:gd name="connsiteX19" fmla="*/ 1931812 w 2637207"/>
              <a:gd name="connsiteY19" fmla="*/ 1519163 h 1535557"/>
              <a:gd name="connsiteX20" fmla="*/ 1876295 w 2637207"/>
              <a:gd name="connsiteY20" fmla="*/ 1535491 h 1535557"/>
              <a:gd name="connsiteX21" fmla="*/ 1804450 w 2637207"/>
              <a:gd name="connsiteY21" fmla="*/ 1512631 h 1535557"/>
              <a:gd name="connsiteX22" fmla="*/ 1735870 w 2637207"/>
              <a:gd name="connsiteY22" fmla="*/ 1453848 h 1535557"/>
              <a:gd name="connsiteX23" fmla="*/ 1673821 w 2637207"/>
              <a:gd name="connsiteY23" fmla="*/ 1411394 h 1535557"/>
              <a:gd name="connsiteX24" fmla="*/ 1588980 w 2637207"/>
              <a:gd name="connsiteY24" fmla="*/ 1372478 h 1535557"/>
              <a:gd name="connsiteX25" fmla="*/ 1481144 w 2637207"/>
              <a:gd name="connsiteY25" fmla="*/ 1362408 h 1535557"/>
              <a:gd name="connsiteX26" fmla="*/ 1402767 w 2637207"/>
              <a:gd name="connsiteY26" fmla="*/ 1362408 h 1535557"/>
              <a:gd name="connsiteX27" fmla="*/ 1311327 w 2637207"/>
              <a:gd name="connsiteY27" fmla="*/ 1349346 h 1535557"/>
              <a:gd name="connsiteX28" fmla="*/ 1229684 w 2637207"/>
              <a:gd name="connsiteY28" fmla="*/ 1336283 h 1535557"/>
              <a:gd name="connsiteX29" fmla="*/ 1107356 w 2637207"/>
              <a:gd name="connsiteY29" fmla="*/ 1301856 h 1535557"/>
              <a:gd name="connsiteX30" fmla="*/ 971692 w 2637207"/>
              <a:gd name="connsiteY30" fmla="*/ 1264437 h 1535557"/>
              <a:gd name="connsiteX31" fmla="*/ 858890 w 2637207"/>
              <a:gd name="connsiteY31" fmla="*/ 1228242 h 1535557"/>
              <a:gd name="connsiteX32" fmla="*/ 756155 w 2637207"/>
              <a:gd name="connsiteY32" fmla="*/ 1195857 h 1535557"/>
              <a:gd name="connsiteX33" fmla="*/ 664715 w 2637207"/>
              <a:gd name="connsiteY33" fmla="*/ 1166466 h 1535557"/>
              <a:gd name="connsiteX34" fmla="*/ 562321 w 2637207"/>
              <a:gd name="connsiteY34" fmla="*/ 1140952 h 1535557"/>
              <a:gd name="connsiteX35" fmla="*/ 458975 w 2637207"/>
              <a:gd name="connsiteY35" fmla="*/ 1130543 h 1535557"/>
              <a:gd name="connsiteX36" fmla="*/ 380598 w 2637207"/>
              <a:gd name="connsiteY36" fmla="*/ 1124011 h 1535557"/>
              <a:gd name="connsiteX37" fmla="*/ 253847 w 2637207"/>
              <a:gd name="connsiteY37" fmla="*/ 1088973 h 1535557"/>
              <a:gd name="connsiteX38" fmla="*/ 180505 w 2637207"/>
              <a:gd name="connsiteY38" fmla="*/ 1045906 h 1535557"/>
              <a:gd name="connsiteX39" fmla="*/ 106618 w 2637207"/>
              <a:gd name="connsiteY39" fmla="*/ 982157 h 1535557"/>
              <a:gd name="connsiteX40" fmla="*/ 61987 w 2637207"/>
              <a:gd name="connsiteY40" fmla="*/ 923646 h 1535557"/>
              <a:gd name="connsiteX41" fmla="*/ 25791 w 2637207"/>
              <a:gd name="connsiteY41" fmla="*/ 834588 h 1535557"/>
              <a:gd name="connsiteX42" fmla="*/ 4428 w 2637207"/>
              <a:gd name="connsiteY42" fmla="*/ 735391 h 1535557"/>
              <a:gd name="connsiteX43" fmla="*/ 5041 w 2637207"/>
              <a:gd name="connsiteY43" fmla="*/ 624357 h 1535557"/>
              <a:gd name="connsiteX44" fmla="*/ 47495 w 2637207"/>
              <a:gd name="connsiteY44" fmla="*/ 536183 h 1535557"/>
              <a:gd name="connsiteX45" fmla="*/ 115463 w 2637207"/>
              <a:gd name="connsiteY45" fmla="*/ 461071 h 1535557"/>
              <a:gd name="connsiteX46" fmla="*/ 223844 w 2637207"/>
              <a:gd name="connsiteY46" fmla="*/ 382694 h 1535557"/>
              <a:gd name="connsiteX47" fmla="*/ 370801 w 2637207"/>
              <a:gd name="connsiteY47" fmla="*/ 314114 h 1535557"/>
              <a:gd name="connsiteX48" fmla="*/ 527555 w 2637207"/>
              <a:gd name="connsiteY48" fmla="*/ 268394 h 1535557"/>
              <a:gd name="connsiteX49" fmla="*/ 651652 w 2637207"/>
              <a:gd name="connsiteY49" fmla="*/ 236350 h 1535557"/>
              <a:gd name="connsiteX50" fmla="*/ 797725 w 2637207"/>
              <a:gd name="connsiteY50" fmla="*/ 201310 h 1535557"/>
              <a:gd name="connsiteX51" fmla="*/ 955364 w 2637207"/>
              <a:gd name="connsiteY51" fmla="*/ 167157 h 1535557"/>
              <a:gd name="connsiteX52" fmla="*/ 1146952 w 2637207"/>
              <a:gd name="connsiteY52" fmla="*/ 116335 h 1535557"/>
              <a:gd name="connsiteX53" fmla="*/ 1399501 w 2637207"/>
              <a:gd name="connsiteY53" fmla="*/ 49591 h 1535557"/>
              <a:gd name="connsiteX54" fmla="*/ 1549724 w 2637207"/>
              <a:gd name="connsiteY54" fmla="*/ 18704 h 1535557"/>
              <a:gd name="connsiteX55" fmla="*/ 1662187 w 2637207"/>
              <a:gd name="connsiteY55" fmla="*/ 878 h 1535557"/>
              <a:gd name="connsiteX56" fmla="*/ 1771792 w 2637207"/>
              <a:gd name="connsiteY56" fmla="*/ 10403 h 1535557"/>
              <a:gd name="connsiteX57" fmla="*/ 1878133 w 2637207"/>
              <a:gd name="connsiteY57" fmla="*/ 62654 h 1535557"/>
              <a:gd name="connsiteX58" fmla="*/ 1977873 w 2637207"/>
              <a:gd name="connsiteY58" fmla="*/ 151441 h 1535557"/>
              <a:gd name="connsiteX59" fmla="*/ 2072851 w 2637207"/>
              <a:gd name="connsiteY59" fmla="*/ 229206 h 1535557"/>
              <a:gd name="connsiteX60" fmla="*/ 2157147 w 2637207"/>
              <a:gd name="connsiteY60" fmla="*/ 294520 h 1535557"/>
              <a:gd name="connsiteX61" fmla="*/ 2193070 w 2637207"/>
              <a:gd name="connsiteY61" fmla="*/ 340240 h 1535557"/>
              <a:gd name="connsiteX62" fmla="*/ 2199601 w 2637207"/>
              <a:gd name="connsiteY62" fmla="*/ 389226 h 1535557"/>
              <a:gd name="connsiteX63" fmla="*/ 2173475 w 2637207"/>
              <a:gd name="connsiteY63" fmla="*/ 451274 h 1535557"/>
              <a:gd name="connsiteX64" fmla="*/ 2064210 w 2637207"/>
              <a:gd name="connsiteY64" fmla="*/ 499988 h 1535557"/>
              <a:gd name="connsiteX65" fmla="*/ 1939229 w 2637207"/>
              <a:gd name="connsiteY65" fmla="*/ 501757 h 1535557"/>
              <a:gd name="connsiteX66" fmla="*/ 1859967 w 2637207"/>
              <a:gd name="connsiteY66" fmla="*/ 490463 h 1535557"/>
              <a:gd name="connsiteX67" fmla="*/ 1713010 w 2637207"/>
              <a:gd name="connsiteY67" fmla="*/ 467603 h 1535557"/>
              <a:gd name="connsiteX68" fmla="*/ 1572584 w 2637207"/>
              <a:gd name="connsiteY68" fmla="*/ 441477 h 1535557"/>
              <a:gd name="connsiteX69" fmla="*/ 1441955 w 2637207"/>
              <a:gd name="connsiteY69" fmla="*/ 421883 h 1535557"/>
              <a:gd name="connsiteX70" fmla="*/ 1327655 w 2637207"/>
              <a:gd name="connsiteY70" fmla="*/ 425148 h 1535557"/>
              <a:gd name="connsiteX71" fmla="*/ 1227031 w 2637207"/>
              <a:gd name="connsiteY71" fmla="*/ 450389 h 1535557"/>
              <a:gd name="connsiteX72" fmla="*/ 1141510 w 2637207"/>
              <a:gd name="connsiteY72" fmla="*/ 480666 h 1535557"/>
              <a:gd name="connsiteX73" fmla="*/ 1026665 w 2637207"/>
              <a:gd name="connsiteY73" fmla="*/ 526386 h 1535557"/>
              <a:gd name="connsiteX74" fmla="*/ 925972 w 2637207"/>
              <a:gd name="connsiteY74" fmla="*/ 563192 h 1535557"/>
              <a:gd name="connsiteX75" fmla="*/ 775138 w 2637207"/>
              <a:gd name="connsiteY75" fmla="*/ 585781 h 1535557"/>
              <a:gd name="connsiteX76" fmla="*/ 660021 w 2637207"/>
              <a:gd name="connsiteY76" fmla="*/ 600612 h 1535557"/>
              <a:gd name="connsiteX77" fmla="*/ 550415 w 2637207"/>
              <a:gd name="connsiteY77" fmla="*/ 601497 h 1535557"/>
              <a:gd name="connsiteX78" fmla="*/ 413255 w 2637207"/>
              <a:gd name="connsiteY78" fmla="*/ 587549 h 1535557"/>
              <a:gd name="connsiteX79" fmla="*/ 294805 w 2637207"/>
              <a:gd name="connsiteY79" fmla="*/ 572718 h 1535557"/>
              <a:gd name="connsiteX80" fmla="*/ 174858 w 2637207"/>
              <a:gd name="connsiteY80" fmla="*/ 555777 h 1535557"/>
              <a:gd name="connsiteX0" fmla="*/ 2637207 w 2637207"/>
              <a:gd name="connsiteY0" fmla="*/ 1022774 h 1535557"/>
              <a:gd name="connsiteX1" fmla="*/ 2633941 w 2637207"/>
              <a:gd name="connsiteY1" fmla="*/ 1078291 h 1535557"/>
              <a:gd name="connsiteX2" fmla="*/ 2628906 w 2637207"/>
              <a:gd name="connsiteY2" fmla="*/ 1136190 h 1535557"/>
              <a:gd name="connsiteX3" fmla="*/ 2627410 w 2637207"/>
              <a:gd name="connsiteY3" fmla="*/ 1182794 h 1535557"/>
              <a:gd name="connsiteX4" fmla="*/ 2623872 w 2637207"/>
              <a:gd name="connsiteY4" fmla="*/ 1237699 h 1535557"/>
              <a:gd name="connsiteX5" fmla="*/ 2601284 w 2637207"/>
              <a:gd name="connsiteY5" fmla="*/ 1290563 h 1535557"/>
              <a:gd name="connsiteX6" fmla="*/ 2562095 w 2637207"/>
              <a:gd name="connsiteY6" fmla="*/ 1323220 h 1535557"/>
              <a:gd name="connsiteX7" fmla="*/ 2506578 w 2637207"/>
              <a:gd name="connsiteY7" fmla="*/ 1333017 h 1535557"/>
              <a:gd name="connsiteX8" fmla="*/ 2454327 w 2637207"/>
              <a:gd name="connsiteY8" fmla="*/ 1336283 h 1535557"/>
              <a:gd name="connsiteX9" fmla="*/ 2408607 w 2637207"/>
              <a:gd name="connsiteY9" fmla="*/ 1336283 h 1535557"/>
              <a:gd name="connsiteX10" fmla="*/ 2353090 w 2637207"/>
              <a:gd name="connsiteY10" fmla="*/ 1349346 h 1535557"/>
              <a:gd name="connsiteX11" fmla="*/ 2317167 w 2637207"/>
              <a:gd name="connsiteY11" fmla="*/ 1388534 h 1535557"/>
              <a:gd name="connsiteX12" fmla="*/ 2287775 w 2637207"/>
              <a:gd name="connsiteY12" fmla="*/ 1417926 h 1535557"/>
              <a:gd name="connsiteX13" fmla="*/ 2248587 w 2637207"/>
              <a:gd name="connsiteY13" fmla="*/ 1460380 h 1535557"/>
              <a:gd name="connsiteX14" fmla="*/ 2189804 w 2637207"/>
              <a:gd name="connsiteY14" fmla="*/ 1483240 h 1535557"/>
              <a:gd name="connsiteX15" fmla="*/ 2124490 w 2637207"/>
              <a:gd name="connsiteY15" fmla="*/ 1470177 h 1535557"/>
              <a:gd name="connsiteX16" fmla="*/ 2055910 w 2637207"/>
              <a:gd name="connsiteY16" fmla="*/ 1473443 h 1535557"/>
              <a:gd name="connsiteX17" fmla="*/ 2013455 w 2637207"/>
              <a:gd name="connsiteY17" fmla="*/ 1486506 h 1535557"/>
              <a:gd name="connsiteX18" fmla="*/ 1977532 w 2637207"/>
              <a:gd name="connsiteY18" fmla="*/ 1506100 h 1535557"/>
              <a:gd name="connsiteX19" fmla="*/ 1931812 w 2637207"/>
              <a:gd name="connsiteY19" fmla="*/ 1519163 h 1535557"/>
              <a:gd name="connsiteX20" fmla="*/ 1876295 w 2637207"/>
              <a:gd name="connsiteY20" fmla="*/ 1535491 h 1535557"/>
              <a:gd name="connsiteX21" fmla="*/ 1804450 w 2637207"/>
              <a:gd name="connsiteY21" fmla="*/ 1512631 h 1535557"/>
              <a:gd name="connsiteX22" fmla="*/ 1735870 w 2637207"/>
              <a:gd name="connsiteY22" fmla="*/ 1453848 h 1535557"/>
              <a:gd name="connsiteX23" fmla="*/ 1673821 w 2637207"/>
              <a:gd name="connsiteY23" fmla="*/ 1411394 h 1535557"/>
              <a:gd name="connsiteX24" fmla="*/ 1588980 w 2637207"/>
              <a:gd name="connsiteY24" fmla="*/ 1372478 h 1535557"/>
              <a:gd name="connsiteX25" fmla="*/ 1481144 w 2637207"/>
              <a:gd name="connsiteY25" fmla="*/ 1362408 h 1535557"/>
              <a:gd name="connsiteX26" fmla="*/ 1402767 w 2637207"/>
              <a:gd name="connsiteY26" fmla="*/ 1362408 h 1535557"/>
              <a:gd name="connsiteX27" fmla="*/ 1311327 w 2637207"/>
              <a:gd name="connsiteY27" fmla="*/ 1349346 h 1535557"/>
              <a:gd name="connsiteX28" fmla="*/ 1229684 w 2637207"/>
              <a:gd name="connsiteY28" fmla="*/ 1336283 h 1535557"/>
              <a:gd name="connsiteX29" fmla="*/ 1107356 w 2637207"/>
              <a:gd name="connsiteY29" fmla="*/ 1301856 h 1535557"/>
              <a:gd name="connsiteX30" fmla="*/ 971692 w 2637207"/>
              <a:gd name="connsiteY30" fmla="*/ 1264437 h 1535557"/>
              <a:gd name="connsiteX31" fmla="*/ 858890 w 2637207"/>
              <a:gd name="connsiteY31" fmla="*/ 1228242 h 1535557"/>
              <a:gd name="connsiteX32" fmla="*/ 756155 w 2637207"/>
              <a:gd name="connsiteY32" fmla="*/ 1195857 h 1535557"/>
              <a:gd name="connsiteX33" fmla="*/ 664715 w 2637207"/>
              <a:gd name="connsiteY33" fmla="*/ 1166466 h 1535557"/>
              <a:gd name="connsiteX34" fmla="*/ 562321 w 2637207"/>
              <a:gd name="connsiteY34" fmla="*/ 1140952 h 1535557"/>
              <a:gd name="connsiteX35" fmla="*/ 458975 w 2637207"/>
              <a:gd name="connsiteY35" fmla="*/ 1130543 h 1535557"/>
              <a:gd name="connsiteX36" fmla="*/ 380598 w 2637207"/>
              <a:gd name="connsiteY36" fmla="*/ 1124011 h 1535557"/>
              <a:gd name="connsiteX37" fmla="*/ 253847 w 2637207"/>
              <a:gd name="connsiteY37" fmla="*/ 1088973 h 1535557"/>
              <a:gd name="connsiteX38" fmla="*/ 178124 w 2637207"/>
              <a:gd name="connsiteY38" fmla="*/ 1050668 h 1535557"/>
              <a:gd name="connsiteX39" fmla="*/ 106618 w 2637207"/>
              <a:gd name="connsiteY39" fmla="*/ 982157 h 1535557"/>
              <a:gd name="connsiteX40" fmla="*/ 61987 w 2637207"/>
              <a:gd name="connsiteY40" fmla="*/ 923646 h 1535557"/>
              <a:gd name="connsiteX41" fmla="*/ 25791 w 2637207"/>
              <a:gd name="connsiteY41" fmla="*/ 834588 h 1535557"/>
              <a:gd name="connsiteX42" fmla="*/ 4428 w 2637207"/>
              <a:gd name="connsiteY42" fmla="*/ 735391 h 1535557"/>
              <a:gd name="connsiteX43" fmla="*/ 5041 w 2637207"/>
              <a:gd name="connsiteY43" fmla="*/ 624357 h 1535557"/>
              <a:gd name="connsiteX44" fmla="*/ 47495 w 2637207"/>
              <a:gd name="connsiteY44" fmla="*/ 536183 h 1535557"/>
              <a:gd name="connsiteX45" fmla="*/ 115463 w 2637207"/>
              <a:gd name="connsiteY45" fmla="*/ 461071 h 1535557"/>
              <a:gd name="connsiteX46" fmla="*/ 223844 w 2637207"/>
              <a:gd name="connsiteY46" fmla="*/ 382694 h 1535557"/>
              <a:gd name="connsiteX47" fmla="*/ 370801 w 2637207"/>
              <a:gd name="connsiteY47" fmla="*/ 314114 h 1535557"/>
              <a:gd name="connsiteX48" fmla="*/ 527555 w 2637207"/>
              <a:gd name="connsiteY48" fmla="*/ 268394 h 1535557"/>
              <a:gd name="connsiteX49" fmla="*/ 651652 w 2637207"/>
              <a:gd name="connsiteY49" fmla="*/ 236350 h 1535557"/>
              <a:gd name="connsiteX50" fmla="*/ 797725 w 2637207"/>
              <a:gd name="connsiteY50" fmla="*/ 201310 h 1535557"/>
              <a:gd name="connsiteX51" fmla="*/ 955364 w 2637207"/>
              <a:gd name="connsiteY51" fmla="*/ 167157 h 1535557"/>
              <a:gd name="connsiteX52" fmla="*/ 1146952 w 2637207"/>
              <a:gd name="connsiteY52" fmla="*/ 116335 h 1535557"/>
              <a:gd name="connsiteX53" fmla="*/ 1399501 w 2637207"/>
              <a:gd name="connsiteY53" fmla="*/ 49591 h 1535557"/>
              <a:gd name="connsiteX54" fmla="*/ 1549724 w 2637207"/>
              <a:gd name="connsiteY54" fmla="*/ 18704 h 1535557"/>
              <a:gd name="connsiteX55" fmla="*/ 1662187 w 2637207"/>
              <a:gd name="connsiteY55" fmla="*/ 878 h 1535557"/>
              <a:gd name="connsiteX56" fmla="*/ 1771792 w 2637207"/>
              <a:gd name="connsiteY56" fmla="*/ 10403 h 1535557"/>
              <a:gd name="connsiteX57" fmla="*/ 1878133 w 2637207"/>
              <a:gd name="connsiteY57" fmla="*/ 62654 h 1535557"/>
              <a:gd name="connsiteX58" fmla="*/ 1977873 w 2637207"/>
              <a:gd name="connsiteY58" fmla="*/ 151441 h 1535557"/>
              <a:gd name="connsiteX59" fmla="*/ 2072851 w 2637207"/>
              <a:gd name="connsiteY59" fmla="*/ 229206 h 1535557"/>
              <a:gd name="connsiteX60" fmla="*/ 2157147 w 2637207"/>
              <a:gd name="connsiteY60" fmla="*/ 294520 h 1535557"/>
              <a:gd name="connsiteX61" fmla="*/ 2193070 w 2637207"/>
              <a:gd name="connsiteY61" fmla="*/ 340240 h 1535557"/>
              <a:gd name="connsiteX62" fmla="*/ 2199601 w 2637207"/>
              <a:gd name="connsiteY62" fmla="*/ 389226 h 1535557"/>
              <a:gd name="connsiteX63" fmla="*/ 2173475 w 2637207"/>
              <a:gd name="connsiteY63" fmla="*/ 451274 h 1535557"/>
              <a:gd name="connsiteX64" fmla="*/ 2064210 w 2637207"/>
              <a:gd name="connsiteY64" fmla="*/ 499988 h 1535557"/>
              <a:gd name="connsiteX65" fmla="*/ 1939229 w 2637207"/>
              <a:gd name="connsiteY65" fmla="*/ 501757 h 1535557"/>
              <a:gd name="connsiteX66" fmla="*/ 1859967 w 2637207"/>
              <a:gd name="connsiteY66" fmla="*/ 490463 h 1535557"/>
              <a:gd name="connsiteX67" fmla="*/ 1713010 w 2637207"/>
              <a:gd name="connsiteY67" fmla="*/ 467603 h 1535557"/>
              <a:gd name="connsiteX68" fmla="*/ 1572584 w 2637207"/>
              <a:gd name="connsiteY68" fmla="*/ 441477 h 1535557"/>
              <a:gd name="connsiteX69" fmla="*/ 1441955 w 2637207"/>
              <a:gd name="connsiteY69" fmla="*/ 421883 h 1535557"/>
              <a:gd name="connsiteX70" fmla="*/ 1327655 w 2637207"/>
              <a:gd name="connsiteY70" fmla="*/ 425148 h 1535557"/>
              <a:gd name="connsiteX71" fmla="*/ 1227031 w 2637207"/>
              <a:gd name="connsiteY71" fmla="*/ 450389 h 1535557"/>
              <a:gd name="connsiteX72" fmla="*/ 1141510 w 2637207"/>
              <a:gd name="connsiteY72" fmla="*/ 480666 h 1535557"/>
              <a:gd name="connsiteX73" fmla="*/ 1026665 w 2637207"/>
              <a:gd name="connsiteY73" fmla="*/ 526386 h 1535557"/>
              <a:gd name="connsiteX74" fmla="*/ 925972 w 2637207"/>
              <a:gd name="connsiteY74" fmla="*/ 563192 h 1535557"/>
              <a:gd name="connsiteX75" fmla="*/ 775138 w 2637207"/>
              <a:gd name="connsiteY75" fmla="*/ 585781 h 1535557"/>
              <a:gd name="connsiteX76" fmla="*/ 660021 w 2637207"/>
              <a:gd name="connsiteY76" fmla="*/ 600612 h 1535557"/>
              <a:gd name="connsiteX77" fmla="*/ 550415 w 2637207"/>
              <a:gd name="connsiteY77" fmla="*/ 601497 h 1535557"/>
              <a:gd name="connsiteX78" fmla="*/ 413255 w 2637207"/>
              <a:gd name="connsiteY78" fmla="*/ 587549 h 1535557"/>
              <a:gd name="connsiteX79" fmla="*/ 294805 w 2637207"/>
              <a:gd name="connsiteY79" fmla="*/ 572718 h 1535557"/>
              <a:gd name="connsiteX80" fmla="*/ 174858 w 2637207"/>
              <a:gd name="connsiteY80" fmla="*/ 555777 h 1535557"/>
              <a:gd name="connsiteX0" fmla="*/ 2634884 w 2634884"/>
              <a:gd name="connsiteY0" fmla="*/ 1022774 h 1535557"/>
              <a:gd name="connsiteX1" fmla="*/ 2631618 w 2634884"/>
              <a:gd name="connsiteY1" fmla="*/ 1078291 h 1535557"/>
              <a:gd name="connsiteX2" fmla="*/ 2626583 w 2634884"/>
              <a:gd name="connsiteY2" fmla="*/ 1136190 h 1535557"/>
              <a:gd name="connsiteX3" fmla="*/ 2625087 w 2634884"/>
              <a:gd name="connsiteY3" fmla="*/ 1182794 h 1535557"/>
              <a:gd name="connsiteX4" fmla="*/ 2621549 w 2634884"/>
              <a:gd name="connsiteY4" fmla="*/ 1237699 h 1535557"/>
              <a:gd name="connsiteX5" fmla="*/ 2598961 w 2634884"/>
              <a:gd name="connsiteY5" fmla="*/ 1290563 h 1535557"/>
              <a:gd name="connsiteX6" fmla="*/ 2559772 w 2634884"/>
              <a:gd name="connsiteY6" fmla="*/ 1323220 h 1535557"/>
              <a:gd name="connsiteX7" fmla="*/ 2504255 w 2634884"/>
              <a:gd name="connsiteY7" fmla="*/ 1333017 h 1535557"/>
              <a:gd name="connsiteX8" fmla="*/ 2452004 w 2634884"/>
              <a:gd name="connsiteY8" fmla="*/ 1336283 h 1535557"/>
              <a:gd name="connsiteX9" fmla="*/ 2406284 w 2634884"/>
              <a:gd name="connsiteY9" fmla="*/ 1336283 h 1535557"/>
              <a:gd name="connsiteX10" fmla="*/ 2350767 w 2634884"/>
              <a:gd name="connsiteY10" fmla="*/ 1349346 h 1535557"/>
              <a:gd name="connsiteX11" fmla="*/ 2314844 w 2634884"/>
              <a:gd name="connsiteY11" fmla="*/ 1388534 h 1535557"/>
              <a:gd name="connsiteX12" fmla="*/ 2285452 w 2634884"/>
              <a:gd name="connsiteY12" fmla="*/ 1417926 h 1535557"/>
              <a:gd name="connsiteX13" fmla="*/ 2246264 w 2634884"/>
              <a:gd name="connsiteY13" fmla="*/ 1460380 h 1535557"/>
              <a:gd name="connsiteX14" fmla="*/ 2187481 w 2634884"/>
              <a:gd name="connsiteY14" fmla="*/ 1483240 h 1535557"/>
              <a:gd name="connsiteX15" fmla="*/ 2122167 w 2634884"/>
              <a:gd name="connsiteY15" fmla="*/ 1470177 h 1535557"/>
              <a:gd name="connsiteX16" fmla="*/ 2053587 w 2634884"/>
              <a:gd name="connsiteY16" fmla="*/ 1473443 h 1535557"/>
              <a:gd name="connsiteX17" fmla="*/ 2011132 w 2634884"/>
              <a:gd name="connsiteY17" fmla="*/ 1486506 h 1535557"/>
              <a:gd name="connsiteX18" fmla="*/ 1975209 w 2634884"/>
              <a:gd name="connsiteY18" fmla="*/ 1506100 h 1535557"/>
              <a:gd name="connsiteX19" fmla="*/ 1929489 w 2634884"/>
              <a:gd name="connsiteY19" fmla="*/ 1519163 h 1535557"/>
              <a:gd name="connsiteX20" fmla="*/ 1873972 w 2634884"/>
              <a:gd name="connsiteY20" fmla="*/ 1535491 h 1535557"/>
              <a:gd name="connsiteX21" fmla="*/ 1802127 w 2634884"/>
              <a:gd name="connsiteY21" fmla="*/ 1512631 h 1535557"/>
              <a:gd name="connsiteX22" fmla="*/ 1733547 w 2634884"/>
              <a:gd name="connsiteY22" fmla="*/ 1453848 h 1535557"/>
              <a:gd name="connsiteX23" fmla="*/ 1671498 w 2634884"/>
              <a:gd name="connsiteY23" fmla="*/ 1411394 h 1535557"/>
              <a:gd name="connsiteX24" fmla="*/ 1586657 w 2634884"/>
              <a:gd name="connsiteY24" fmla="*/ 1372478 h 1535557"/>
              <a:gd name="connsiteX25" fmla="*/ 1478821 w 2634884"/>
              <a:gd name="connsiteY25" fmla="*/ 1362408 h 1535557"/>
              <a:gd name="connsiteX26" fmla="*/ 1400444 w 2634884"/>
              <a:gd name="connsiteY26" fmla="*/ 1362408 h 1535557"/>
              <a:gd name="connsiteX27" fmla="*/ 1309004 w 2634884"/>
              <a:gd name="connsiteY27" fmla="*/ 1349346 h 1535557"/>
              <a:gd name="connsiteX28" fmla="*/ 1227361 w 2634884"/>
              <a:gd name="connsiteY28" fmla="*/ 1336283 h 1535557"/>
              <a:gd name="connsiteX29" fmla="*/ 1105033 w 2634884"/>
              <a:gd name="connsiteY29" fmla="*/ 1301856 h 1535557"/>
              <a:gd name="connsiteX30" fmla="*/ 969369 w 2634884"/>
              <a:gd name="connsiteY30" fmla="*/ 1264437 h 1535557"/>
              <a:gd name="connsiteX31" fmla="*/ 856567 w 2634884"/>
              <a:gd name="connsiteY31" fmla="*/ 1228242 h 1535557"/>
              <a:gd name="connsiteX32" fmla="*/ 753832 w 2634884"/>
              <a:gd name="connsiteY32" fmla="*/ 1195857 h 1535557"/>
              <a:gd name="connsiteX33" fmla="*/ 662392 w 2634884"/>
              <a:gd name="connsiteY33" fmla="*/ 1166466 h 1535557"/>
              <a:gd name="connsiteX34" fmla="*/ 559998 w 2634884"/>
              <a:gd name="connsiteY34" fmla="*/ 1140952 h 1535557"/>
              <a:gd name="connsiteX35" fmla="*/ 456652 w 2634884"/>
              <a:gd name="connsiteY35" fmla="*/ 1130543 h 1535557"/>
              <a:gd name="connsiteX36" fmla="*/ 378275 w 2634884"/>
              <a:gd name="connsiteY36" fmla="*/ 1124011 h 1535557"/>
              <a:gd name="connsiteX37" fmla="*/ 251524 w 2634884"/>
              <a:gd name="connsiteY37" fmla="*/ 1088973 h 1535557"/>
              <a:gd name="connsiteX38" fmla="*/ 175801 w 2634884"/>
              <a:gd name="connsiteY38" fmla="*/ 1050668 h 1535557"/>
              <a:gd name="connsiteX39" fmla="*/ 104295 w 2634884"/>
              <a:gd name="connsiteY39" fmla="*/ 982157 h 1535557"/>
              <a:gd name="connsiteX40" fmla="*/ 59664 w 2634884"/>
              <a:gd name="connsiteY40" fmla="*/ 923646 h 1535557"/>
              <a:gd name="connsiteX41" fmla="*/ 23468 w 2634884"/>
              <a:gd name="connsiteY41" fmla="*/ 834588 h 1535557"/>
              <a:gd name="connsiteX42" fmla="*/ 2105 w 2634884"/>
              <a:gd name="connsiteY42" fmla="*/ 735391 h 1535557"/>
              <a:gd name="connsiteX43" fmla="*/ 9862 w 2634884"/>
              <a:gd name="connsiteY43" fmla="*/ 624357 h 1535557"/>
              <a:gd name="connsiteX44" fmla="*/ 45172 w 2634884"/>
              <a:gd name="connsiteY44" fmla="*/ 536183 h 1535557"/>
              <a:gd name="connsiteX45" fmla="*/ 113140 w 2634884"/>
              <a:gd name="connsiteY45" fmla="*/ 461071 h 1535557"/>
              <a:gd name="connsiteX46" fmla="*/ 221521 w 2634884"/>
              <a:gd name="connsiteY46" fmla="*/ 382694 h 1535557"/>
              <a:gd name="connsiteX47" fmla="*/ 368478 w 2634884"/>
              <a:gd name="connsiteY47" fmla="*/ 314114 h 1535557"/>
              <a:gd name="connsiteX48" fmla="*/ 525232 w 2634884"/>
              <a:gd name="connsiteY48" fmla="*/ 268394 h 1535557"/>
              <a:gd name="connsiteX49" fmla="*/ 649329 w 2634884"/>
              <a:gd name="connsiteY49" fmla="*/ 236350 h 1535557"/>
              <a:gd name="connsiteX50" fmla="*/ 795402 w 2634884"/>
              <a:gd name="connsiteY50" fmla="*/ 201310 h 1535557"/>
              <a:gd name="connsiteX51" fmla="*/ 953041 w 2634884"/>
              <a:gd name="connsiteY51" fmla="*/ 167157 h 1535557"/>
              <a:gd name="connsiteX52" fmla="*/ 1144629 w 2634884"/>
              <a:gd name="connsiteY52" fmla="*/ 116335 h 1535557"/>
              <a:gd name="connsiteX53" fmla="*/ 1397178 w 2634884"/>
              <a:gd name="connsiteY53" fmla="*/ 49591 h 1535557"/>
              <a:gd name="connsiteX54" fmla="*/ 1547401 w 2634884"/>
              <a:gd name="connsiteY54" fmla="*/ 18704 h 1535557"/>
              <a:gd name="connsiteX55" fmla="*/ 1659864 w 2634884"/>
              <a:gd name="connsiteY55" fmla="*/ 878 h 1535557"/>
              <a:gd name="connsiteX56" fmla="*/ 1769469 w 2634884"/>
              <a:gd name="connsiteY56" fmla="*/ 10403 h 1535557"/>
              <a:gd name="connsiteX57" fmla="*/ 1875810 w 2634884"/>
              <a:gd name="connsiteY57" fmla="*/ 62654 h 1535557"/>
              <a:gd name="connsiteX58" fmla="*/ 1975550 w 2634884"/>
              <a:gd name="connsiteY58" fmla="*/ 151441 h 1535557"/>
              <a:gd name="connsiteX59" fmla="*/ 2070528 w 2634884"/>
              <a:gd name="connsiteY59" fmla="*/ 229206 h 1535557"/>
              <a:gd name="connsiteX60" fmla="*/ 2154824 w 2634884"/>
              <a:gd name="connsiteY60" fmla="*/ 294520 h 1535557"/>
              <a:gd name="connsiteX61" fmla="*/ 2190747 w 2634884"/>
              <a:gd name="connsiteY61" fmla="*/ 340240 h 1535557"/>
              <a:gd name="connsiteX62" fmla="*/ 2197278 w 2634884"/>
              <a:gd name="connsiteY62" fmla="*/ 389226 h 1535557"/>
              <a:gd name="connsiteX63" fmla="*/ 2171152 w 2634884"/>
              <a:gd name="connsiteY63" fmla="*/ 451274 h 1535557"/>
              <a:gd name="connsiteX64" fmla="*/ 2061887 w 2634884"/>
              <a:gd name="connsiteY64" fmla="*/ 499988 h 1535557"/>
              <a:gd name="connsiteX65" fmla="*/ 1936906 w 2634884"/>
              <a:gd name="connsiteY65" fmla="*/ 501757 h 1535557"/>
              <a:gd name="connsiteX66" fmla="*/ 1857644 w 2634884"/>
              <a:gd name="connsiteY66" fmla="*/ 490463 h 1535557"/>
              <a:gd name="connsiteX67" fmla="*/ 1710687 w 2634884"/>
              <a:gd name="connsiteY67" fmla="*/ 467603 h 1535557"/>
              <a:gd name="connsiteX68" fmla="*/ 1570261 w 2634884"/>
              <a:gd name="connsiteY68" fmla="*/ 441477 h 1535557"/>
              <a:gd name="connsiteX69" fmla="*/ 1439632 w 2634884"/>
              <a:gd name="connsiteY69" fmla="*/ 421883 h 1535557"/>
              <a:gd name="connsiteX70" fmla="*/ 1325332 w 2634884"/>
              <a:gd name="connsiteY70" fmla="*/ 425148 h 1535557"/>
              <a:gd name="connsiteX71" fmla="*/ 1224708 w 2634884"/>
              <a:gd name="connsiteY71" fmla="*/ 450389 h 1535557"/>
              <a:gd name="connsiteX72" fmla="*/ 1139187 w 2634884"/>
              <a:gd name="connsiteY72" fmla="*/ 480666 h 1535557"/>
              <a:gd name="connsiteX73" fmla="*/ 1024342 w 2634884"/>
              <a:gd name="connsiteY73" fmla="*/ 526386 h 1535557"/>
              <a:gd name="connsiteX74" fmla="*/ 923649 w 2634884"/>
              <a:gd name="connsiteY74" fmla="*/ 563192 h 1535557"/>
              <a:gd name="connsiteX75" fmla="*/ 772815 w 2634884"/>
              <a:gd name="connsiteY75" fmla="*/ 585781 h 1535557"/>
              <a:gd name="connsiteX76" fmla="*/ 657698 w 2634884"/>
              <a:gd name="connsiteY76" fmla="*/ 600612 h 1535557"/>
              <a:gd name="connsiteX77" fmla="*/ 548092 w 2634884"/>
              <a:gd name="connsiteY77" fmla="*/ 601497 h 1535557"/>
              <a:gd name="connsiteX78" fmla="*/ 410932 w 2634884"/>
              <a:gd name="connsiteY78" fmla="*/ 587549 h 1535557"/>
              <a:gd name="connsiteX79" fmla="*/ 292482 w 2634884"/>
              <a:gd name="connsiteY79" fmla="*/ 572718 h 1535557"/>
              <a:gd name="connsiteX80" fmla="*/ 172535 w 2634884"/>
              <a:gd name="connsiteY80" fmla="*/ 555777 h 1535557"/>
              <a:gd name="connsiteX0" fmla="*/ 2635237 w 2635237"/>
              <a:gd name="connsiteY0" fmla="*/ 1022774 h 1535557"/>
              <a:gd name="connsiteX1" fmla="*/ 2631971 w 2635237"/>
              <a:gd name="connsiteY1" fmla="*/ 1078291 h 1535557"/>
              <a:gd name="connsiteX2" fmla="*/ 2626936 w 2635237"/>
              <a:gd name="connsiteY2" fmla="*/ 1136190 h 1535557"/>
              <a:gd name="connsiteX3" fmla="*/ 2625440 w 2635237"/>
              <a:gd name="connsiteY3" fmla="*/ 1182794 h 1535557"/>
              <a:gd name="connsiteX4" fmla="*/ 2621902 w 2635237"/>
              <a:gd name="connsiteY4" fmla="*/ 1237699 h 1535557"/>
              <a:gd name="connsiteX5" fmla="*/ 2599314 w 2635237"/>
              <a:gd name="connsiteY5" fmla="*/ 1290563 h 1535557"/>
              <a:gd name="connsiteX6" fmla="*/ 2560125 w 2635237"/>
              <a:gd name="connsiteY6" fmla="*/ 1323220 h 1535557"/>
              <a:gd name="connsiteX7" fmla="*/ 2504608 w 2635237"/>
              <a:gd name="connsiteY7" fmla="*/ 1333017 h 1535557"/>
              <a:gd name="connsiteX8" fmla="*/ 2452357 w 2635237"/>
              <a:gd name="connsiteY8" fmla="*/ 1336283 h 1535557"/>
              <a:gd name="connsiteX9" fmla="*/ 2406637 w 2635237"/>
              <a:gd name="connsiteY9" fmla="*/ 1336283 h 1535557"/>
              <a:gd name="connsiteX10" fmla="*/ 2351120 w 2635237"/>
              <a:gd name="connsiteY10" fmla="*/ 1349346 h 1535557"/>
              <a:gd name="connsiteX11" fmla="*/ 2315197 w 2635237"/>
              <a:gd name="connsiteY11" fmla="*/ 1388534 h 1535557"/>
              <a:gd name="connsiteX12" fmla="*/ 2285805 w 2635237"/>
              <a:gd name="connsiteY12" fmla="*/ 1417926 h 1535557"/>
              <a:gd name="connsiteX13" fmla="*/ 2246617 w 2635237"/>
              <a:gd name="connsiteY13" fmla="*/ 1460380 h 1535557"/>
              <a:gd name="connsiteX14" fmla="*/ 2187834 w 2635237"/>
              <a:gd name="connsiteY14" fmla="*/ 1483240 h 1535557"/>
              <a:gd name="connsiteX15" fmla="*/ 2122520 w 2635237"/>
              <a:gd name="connsiteY15" fmla="*/ 1470177 h 1535557"/>
              <a:gd name="connsiteX16" fmla="*/ 2053940 w 2635237"/>
              <a:gd name="connsiteY16" fmla="*/ 1473443 h 1535557"/>
              <a:gd name="connsiteX17" fmla="*/ 2011485 w 2635237"/>
              <a:gd name="connsiteY17" fmla="*/ 1486506 h 1535557"/>
              <a:gd name="connsiteX18" fmla="*/ 1975562 w 2635237"/>
              <a:gd name="connsiteY18" fmla="*/ 1506100 h 1535557"/>
              <a:gd name="connsiteX19" fmla="*/ 1929842 w 2635237"/>
              <a:gd name="connsiteY19" fmla="*/ 1519163 h 1535557"/>
              <a:gd name="connsiteX20" fmla="*/ 1874325 w 2635237"/>
              <a:gd name="connsiteY20" fmla="*/ 1535491 h 1535557"/>
              <a:gd name="connsiteX21" fmla="*/ 1802480 w 2635237"/>
              <a:gd name="connsiteY21" fmla="*/ 1512631 h 1535557"/>
              <a:gd name="connsiteX22" fmla="*/ 1733900 w 2635237"/>
              <a:gd name="connsiteY22" fmla="*/ 1453848 h 1535557"/>
              <a:gd name="connsiteX23" fmla="*/ 1671851 w 2635237"/>
              <a:gd name="connsiteY23" fmla="*/ 1411394 h 1535557"/>
              <a:gd name="connsiteX24" fmla="*/ 1587010 w 2635237"/>
              <a:gd name="connsiteY24" fmla="*/ 1372478 h 1535557"/>
              <a:gd name="connsiteX25" fmla="*/ 1479174 w 2635237"/>
              <a:gd name="connsiteY25" fmla="*/ 1362408 h 1535557"/>
              <a:gd name="connsiteX26" fmla="*/ 1400797 w 2635237"/>
              <a:gd name="connsiteY26" fmla="*/ 1362408 h 1535557"/>
              <a:gd name="connsiteX27" fmla="*/ 1309357 w 2635237"/>
              <a:gd name="connsiteY27" fmla="*/ 1349346 h 1535557"/>
              <a:gd name="connsiteX28" fmla="*/ 1227714 w 2635237"/>
              <a:gd name="connsiteY28" fmla="*/ 1336283 h 1535557"/>
              <a:gd name="connsiteX29" fmla="*/ 1105386 w 2635237"/>
              <a:gd name="connsiteY29" fmla="*/ 1301856 h 1535557"/>
              <a:gd name="connsiteX30" fmla="*/ 969722 w 2635237"/>
              <a:gd name="connsiteY30" fmla="*/ 1264437 h 1535557"/>
              <a:gd name="connsiteX31" fmla="*/ 856920 w 2635237"/>
              <a:gd name="connsiteY31" fmla="*/ 1228242 h 1535557"/>
              <a:gd name="connsiteX32" fmla="*/ 754185 w 2635237"/>
              <a:gd name="connsiteY32" fmla="*/ 1195857 h 1535557"/>
              <a:gd name="connsiteX33" fmla="*/ 662745 w 2635237"/>
              <a:gd name="connsiteY33" fmla="*/ 1166466 h 1535557"/>
              <a:gd name="connsiteX34" fmla="*/ 560351 w 2635237"/>
              <a:gd name="connsiteY34" fmla="*/ 1140952 h 1535557"/>
              <a:gd name="connsiteX35" fmla="*/ 457005 w 2635237"/>
              <a:gd name="connsiteY35" fmla="*/ 1130543 h 1535557"/>
              <a:gd name="connsiteX36" fmla="*/ 378628 w 2635237"/>
              <a:gd name="connsiteY36" fmla="*/ 1124011 h 1535557"/>
              <a:gd name="connsiteX37" fmla="*/ 251877 w 2635237"/>
              <a:gd name="connsiteY37" fmla="*/ 1088973 h 1535557"/>
              <a:gd name="connsiteX38" fmla="*/ 176154 w 2635237"/>
              <a:gd name="connsiteY38" fmla="*/ 1050668 h 1535557"/>
              <a:gd name="connsiteX39" fmla="*/ 104648 w 2635237"/>
              <a:gd name="connsiteY39" fmla="*/ 982157 h 1535557"/>
              <a:gd name="connsiteX40" fmla="*/ 60017 w 2635237"/>
              <a:gd name="connsiteY40" fmla="*/ 923646 h 1535557"/>
              <a:gd name="connsiteX41" fmla="*/ 23821 w 2635237"/>
              <a:gd name="connsiteY41" fmla="*/ 834588 h 1535557"/>
              <a:gd name="connsiteX42" fmla="*/ 2458 w 2635237"/>
              <a:gd name="connsiteY42" fmla="*/ 735391 h 1535557"/>
              <a:gd name="connsiteX43" fmla="*/ 10215 w 2635237"/>
              <a:gd name="connsiteY43" fmla="*/ 624357 h 1535557"/>
              <a:gd name="connsiteX44" fmla="*/ 57431 w 2635237"/>
              <a:gd name="connsiteY44" fmla="*/ 517133 h 1535557"/>
              <a:gd name="connsiteX45" fmla="*/ 113493 w 2635237"/>
              <a:gd name="connsiteY45" fmla="*/ 461071 h 1535557"/>
              <a:gd name="connsiteX46" fmla="*/ 221874 w 2635237"/>
              <a:gd name="connsiteY46" fmla="*/ 382694 h 1535557"/>
              <a:gd name="connsiteX47" fmla="*/ 368831 w 2635237"/>
              <a:gd name="connsiteY47" fmla="*/ 314114 h 1535557"/>
              <a:gd name="connsiteX48" fmla="*/ 525585 w 2635237"/>
              <a:gd name="connsiteY48" fmla="*/ 268394 h 1535557"/>
              <a:gd name="connsiteX49" fmla="*/ 649682 w 2635237"/>
              <a:gd name="connsiteY49" fmla="*/ 236350 h 1535557"/>
              <a:gd name="connsiteX50" fmla="*/ 795755 w 2635237"/>
              <a:gd name="connsiteY50" fmla="*/ 201310 h 1535557"/>
              <a:gd name="connsiteX51" fmla="*/ 953394 w 2635237"/>
              <a:gd name="connsiteY51" fmla="*/ 167157 h 1535557"/>
              <a:gd name="connsiteX52" fmla="*/ 1144982 w 2635237"/>
              <a:gd name="connsiteY52" fmla="*/ 116335 h 1535557"/>
              <a:gd name="connsiteX53" fmla="*/ 1397531 w 2635237"/>
              <a:gd name="connsiteY53" fmla="*/ 49591 h 1535557"/>
              <a:gd name="connsiteX54" fmla="*/ 1547754 w 2635237"/>
              <a:gd name="connsiteY54" fmla="*/ 18704 h 1535557"/>
              <a:gd name="connsiteX55" fmla="*/ 1660217 w 2635237"/>
              <a:gd name="connsiteY55" fmla="*/ 878 h 1535557"/>
              <a:gd name="connsiteX56" fmla="*/ 1769822 w 2635237"/>
              <a:gd name="connsiteY56" fmla="*/ 10403 h 1535557"/>
              <a:gd name="connsiteX57" fmla="*/ 1876163 w 2635237"/>
              <a:gd name="connsiteY57" fmla="*/ 62654 h 1535557"/>
              <a:gd name="connsiteX58" fmla="*/ 1975903 w 2635237"/>
              <a:gd name="connsiteY58" fmla="*/ 151441 h 1535557"/>
              <a:gd name="connsiteX59" fmla="*/ 2070881 w 2635237"/>
              <a:gd name="connsiteY59" fmla="*/ 229206 h 1535557"/>
              <a:gd name="connsiteX60" fmla="*/ 2155177 w 2635237"/>
              <a:gd name="connsiteY60" fmla="*/ 294520 h 1535557"/>
              <a:gd name="connsiteX61" fmla="*/ 2191100 w 2635237"/>
              <a:gd name="connsiteY61" fmla="*/ 340240 h 1535557"/>
              <a:gd name="connsiteX62" fmla="*/ 2197631 w 2635237"/>
              <a:gd name="connsiteY62" fmla="*/ 389226 h 1535557"/>
              <a:gd name="connsiteX63" fmla="*/ 2171505 w 2635237"/>
              <a:gd name="connsiteY63" fmla="*/ 451274 h 1535557"/>
              <a:gd name="connsiteX64" fmla="*/ 2062240 w 2635237"/>
              <a:gd name="connsiteY64" fmla="*/ 499988 h 1535557"/>
              <a:gd name="connsiteX65" fmla="*/ 1937259 w 2635237"/>
              <a:gd name="connsiteY65" fmla="*/ 501757 h 1535557"/>
              <a:gd name="connsiteX66" fmla="*/ 1857997 w 2635237"/>
              <a:gd name="connsiteY66" fmla="*/ 490463 h 1535557"/>
              <a:gd name="connsiteX67" fmla="*/ 1711040 w 2635237"/>
              <a:gd name="connsiteY67" fmla="*/ 467603 h 1535557"/>
              <a:gd name="connsiteX68" fmla="*/ 1570614 w 2635237"/>
              <a:gd name="connsiteY68" fmla="*/ 441477 h 1535557"/>
              <a:gd name="connsiteX69" fmla="*/ 1439985 w 2635237"/>
              <a:gd name="connsiteY69" fmla="*/ 421883 h 1535557"/>
              <a:gd name="connsiteX70" fmla="*/ 1325685 w 2635237"/>
              <a:gd name="connsiteY70" fmla="*/ 425148 h 1535557"/>
              <a:gd name="connsiteX71" fmla="*/ 1225061 w 2635237"/>
              <a:gd name="connsiteY71" fmla="*/ 450389 h 1535557"/>
              <a:gd name="connsiteX72" fmla="*/ 1139540 w 2635237"/>
              <a:gd name="connsiteY72" fmla="*/ 480666 h 1535557"/>
              <a:gd name="connsiteX73" fmla="*/ 1024695 w 2635237"/>
              <a:gd name="connsiteY73" fmla="*/ 526386 h 1535557"/>
              <a:gd name="connsiteX74" fmla="*/ 924002 w 2635237"/>
              <a:gd name="connsiteY74" fmla="*/ 563192 h 1535557"/>
              <a:gd name="connsiteX75" fmla="*/ 773168 w 2635237"/>
              <a:gd name="connsiteY75" fmla="*/ 585781 h 1535557"/>
              <a:gd name="connsiteX76" fmla="*/ 658051 w 2635237"/>
              <a:gd name="connsiteY76" fmla="*/ 600612 h 1535557"/>
              <a:gd name="connsiteX77" fmla="*/ 548445 w 2635237"/>
              <a:gd name="connsiteY77" fmla="*/ 601497 h 1535557"/>
              <a:gd name="connsiteX78" fmla="*/ 411285 w 2635237"/>
              <a:gd name="connsiteY78" fmla="*/ 587549 h 1535557"/>
              <a:gd name="connsiteX79" fmla="*/ 292835 w 2635237"/>
              <a:gd name="connsiteY79" fmla="*/ 572718 h 1535557"/>
              <a:gd name="connsiteX80" fmla="*/ 172888 w 2635237"/>
              <a:gd name="connsiteY80" fmla="*/ 555777 h 1535557"/>
              <a:gd name="connsiteX0" fmla="*/ 2635237 w 2635237"/>
              <a:gd name="connsiteY0" fmla="*/ 1022176 h 1534959"/>
              <a:gd name="connsiteX1" fmla="*/ 2631971 w 2635237"/>
              <a:gd name="connsiteY1" fmla="*/ 1077693 h 1534959"/>
              <a:gd name="connsiteX2" fmla="*/ 2626936 w 2635237"/>
              <a:gd name="connsiteY2" fmla="*/ 1135592 h 1534959"/>
              <a:gd name="connsiteX3" fmla="*/ 2625440 w 2635237"/>
              <a:gd name="connsiteY3" fmla="*/ 1182196 h 1534959"/>
              <a:gd name="connsiteX4" fmla="*/ 2621902 w 2635237"/>
              <a:gd name="connsiteY4" fmla="*/ 1237101 h 1534959"/>
              <a:gd name="connsiteX5" fmla="*/ 2599314 w 2635237"/>
              <a:gd name="connsiteY5" fmla="*/ 1289965 h 1534959"/>
              <a:gd name="connsiteX6" fmla="*/ 2560125 w 2635237"/>
              <a:gd name="connsiteY6" fmla="*/ 1322622 h 1534959"/>
              <a:gd name="connsiteX7" fmla="*/ 2504608 w 2635237"/>
              <a:gd name="connsiteY7" fmla="*/ 1332419 h 1534959"/>
              <a:gd name="connsiteX8" fmla="*/ 2452357 w 2635237"/>
              <a:gd name="connsiteY8" fmla="*/ 1335685 h 1534959"/>
              <a:gd name="connsiteX9" fmla="*/ 2406637 w 2635237"/>
              <a:gd name="connsiteY9" fmla="*/ 1335685 h 1534959"/>
              <a:gd name="connsiteX10" fmla="*/ 2351120 w 2635237"/>
              <a:gd name="connsiteY10" fmla="*/ 1348748 h 1534959"/>
              <a:gd name="connsiteX11" fmla="*/ 2315197 w 2635237"/>
              <a:gd name="connsiteY11" fmla="*/ 1387936 h 1534959"/>
              <a:gd name="connsiteX12" fmla="*/ 2285805 w 2635237"/>
              <a:gd name="connsiteY12" fmla="*/ 1417328 h 1534959"/>
              <a:gd name="connsiteX13" fmla="*/ 2246617 w 2635237"/>
              <a:gd name="connsiteY13" fmla="*/ 1459782 h 1534959"/>
              <a:gd name="connsiteX14" fmla="*/ 2187834 w 2635237"/>
              <a:gd name="connsiteY14" fmla="*/ 1482642 h 1534959"/>
              <a:gd name="connsiteX15" fmla="*/ 2122520 w 2635237"/>
              <a:gd name="connsiteY15" fmla="*/ 1469579 h 1534959"/>
              <a:gd name="connsiteX16" fmla="*/ 2053940 w 2635237"/>
              <a:gd name="connsiteY16" fmla="*/ 1472845 h 1534959"/>
              <a:gd name="connsiteX17" fmla="*/ 2011485 w 2635237"/>
              <a:gd name="connsiteY17" fmla="*/ 1485908 h 1534959"/>
              <a:gd name="connsiteX18" fmla="*/ 1975562 w 2635237"/>
              <a:gd name="connsiteY18" fmla="*/ 1505502 h 1534959"/>
              <a:gd name="connsiteX19" fmla="*/ 1929842 w 2635237"/>
              <a:gd name="connsiteY19" fmla="*/ 1518565 h 1534959"/>
              <a:gd name="connsiteX20" fmla="*/ 1874325 w 2635237"/>
              <a:gd name="connsiteY20" fmla="*/ 1534893 h 1534959"/>
              <a:gd name="connsiteX21" fmla="*/ 1802480 w 2635237"/>
              <a:gd name="connsiteY21" fmla="*/ 1512033 h 1534959"/>
              <a:gd name="connsiteX22" fmla="*/ 1733900 w 2635237"/>
              <a:gd name="connsiteY22" fmla="*/ 1453250 h 1534959"/>
              <a:gd name="connsiteX23" fmla="*/ 1671851 w 2635237"/>
              <a:gd name="connsiteY23" fmla="*/ 1410796 h 1534959"/>
              <a:gd name="connsiteX24" fmla="*/ 1587010 w 2635237"/>
              <a:gd name="connsiteY24" fmla="*/ 1371880 h 1534959"/>
              <a:gd name="connsiteX25" fmla="*/ 1479174 w 2635237"/>
              <a:gd name="connsiteY25" fmla="*/ 1361810 h 1534959"/>
              <a:gd name="connsiteX26" fmla="*/ 1400797 w 2635237"/>
              <a:gd name="connsiteY26" fmla="*/ 1361810 h 1534959"/>
              <a:gd name="connsiteX27" fmla="*/ 1309357 w 2635237"/>
              <a:gd name="connsiteY27" fmla="*/ 1348748 h 1534959"/>
              <a:gd name="connsiteX28" fmla="*/ 1227714 w 2635237"/>
              <a:gd name="connsiteY28" fmla="*/ 1335685 h 1534959"/>
              <a:gd name="connsiteX29" fmla="*/ 1105386 w 2635237"/>
              <a:gd name="connsiteY29" fmla="*/ 1301258 h 1534959"/>
              <a:gd name="connsiteX30" fmla="*/ 969722 w 2635237"/>
              <a:gd name="connsiteY30" fmla="*/ 1263839 h 1534959"/>
              <a:gd name="connsiteX31" fmla="*/ 856920 w 2635237"/>
              <a:gd name="connsiteY31" fmla="*/ 1227644 h 1534959"/>
              <a:gd name="connsiteX32" fmla="*/ 754185 w 2635237"/>
              <a:gd name="connsiteY32" fmla="*/ 1195259 h 1534959"/>
              <a:gd name="connsiteX33" fmla="*/ 662745 w 2635237"/>
              <a:gd name="connsiteY33" fmla="*/ 1165868 h 1534959"/>
              <a:gd name="connsiteX34" fmla="*/ 560351 w 2635237"/>
              <a:gd name="connsiteY34" fmla="*/ 1140354 h 1534959"/>
              <a:gd name="connsiteX35" fmla="*/ 457005 w 2635237"/>
              <a:gd name="connsiteY35" fmla="*/ 1129945 h 1534959"/>
              <a:gd name="connsiteX36" fmla="*/ 378628 w 2635237"/>
              <a:gd name="connsiteY36" fmla="*/ 1123413 h 1534959"/>
              <a:gd name="connsiteX37" fmla="*/ 251877 w 2635237"/>
              <a:gd name="connsiteY37" fmla="*/ 1088375 h 1534959"/>
              <a:gd name="connsiteX38" fmla="*/ 176154 w 2635237"/>
              <a:gd name="connsiteY38" fmla="*/ 1050070 h 1534959"/>
              <a:gd name="connsiteX39" fmla="*/ 104648 w 2635237"/>
              <a:gd name="connsiteY39" fmla="*/ 981559 h 1534959"/>
              <a:gd name="connsiteX40" fmla="*/ 60017 w 2635237"/>
              <a:gd name="connsiteY40" fmla="*/ 923048 h 1534959"/>
              <a:gd name="connsiteX41" fmla="*/ 23821 w 2635237"/>
              <a:gd name="connsiteY41" fmla="*/ 833990 h 1534959"/>
              <a:gd name="connsiteX42" fmla="*/ 2458 w 2635237"/>
              <a:gd name="connsiteY42" fmla="*/ 734793 h 1534959"/>
              <a:gd name="connsiteX43" fmla="*/ 10215 w 2635237"/>
              <a:gd name="connsiteY43" fmla="*/ 623759 h 1534959"/>
              <a:gd name="connsiteX44" fmla="*/ 57431 w 2635237"/>
              <a:gd name="connsiteY44" fmla="*/ 516535 h 1534959"/>
              <a:gd name="connsiteX45" fmla="*/ 113493 w 2635237"/>
              <a:gd name="connsiteY45" fmla="*/ 460473 h 1534959"/>
              <a:gd name="connsiteX46" fmla="*/ 221874 w 2635237"/>
              <a:gd name="connsiteY46" fmla="*/ 382096 h 1534959"/>
              <a:gd name="connsiteX47" fmla="*/ 368831 w 2635237"/>
              <a:gd name="connsiteY47" fmla="*/ 313516 h 1534959"/>
              <a:gd name="connsiteX48" fmla="*/ 525585 w 2635237"/>
              <a:gd name="connsiteY48" fmla="*/ 267796 h 1534959"/>
              <a:gd name="connsiteX49" fmla="*/ 649682 w 2635237"/>
              <a:gd name="connsiteY49" fmla="*/ 235752 h 1534959"/>
              <a:gd name="connsiteX50" fmla="*/ 795755 w 2635237"/>
              <a:gd name="connsiteY50" fmla="*/ 200712 h 1534959"/>
              <a:gd name="connsiteX51" fmla="*/ 953394 w 2635237"/>
              <a:gd name="connsiteY51" fmla="*/ 166559 h 1534959"/>
              <a:gd name="connsiteX52" fmla="*/ 1144982 w 2635237"/>
              <a:gd name="connsiteY52" fmla="*/ 115737 h 1534959"/>
              <a:gd name="connsiteX53" fmla="*/ 1397531 w 2635237"/>
              <a:gd name="connsiteY53" fmla="*/ 48993 h 1534959"/>
              <a:gd name="connsiteX54" fmla="*/ 1547754 w 2635237"/>
              <a:gd name="connsiteY54" fmla="*/ 18106 h 1534959"/>
              <a:gd name="connsiteX55" fmla="*/ 1660217 w 2635237"/>
              <a:gd name="connsiteY55" fmla="*/ 280 h 1534959"/>
              <a:gd name="connsiteX56" fmla="*/ 1769822 w 2635237"/>
              <a:gd name="connsiteY56" fmla="*/ 19330 h 1534959"/>
              <a:gd name="connsiteX57" fmla="*/ 1876163 w 2635237"/>
              <a:gd name="connsiteY57" fmla="*/ 62056 h 1534959"/>
              <a:gd name="connsiteX58" fmla="*/ 1975903 w 2635237"/>
              <a:gd name="connsiteY58" fmla="*/ 150843 h 1534959"/>
              <a:gd name="connsiteX59" fmla="*/ 2070881 w 2635237"/>
              <a:gd name="connsiteY59" fmla="*/ 228608 h 1534959"/>
              <a:gd name="connsiteX60" fmla="*/ 2155177 w 2635237"/>
              <a:gd name="connsiteY60" fmla="*/ 293922 h 1534959"/>
              <a:gd name="connsiteX61" fmla="*/ 2191100 w 2635237"/>
              <a:gd name="connsiteY61" fmla="*/ 339642 h 1534959"/>
              <a:gd name="connsiteX62" fmla="*/ 2197631 w 2635237"/>
              <a:gd name="connsiteY62" fmla="*/ 388628 h 1534959"/>
              <a:gd name="connsiteX63" fmla="*/ 2171505 w 2635237"/>
              <a:gd name="connsiteY63" fmla="*/ 450676 h 1534959"/>
              <a:gd name="connsiteX64" fmla="*/ 2062240 w 2635237"/>
              <a:gd name="connsiteY64" fmla="*/ 499390 h 1534959"/>
              <a:gd name="connsiteX65" fmla="*/ 1937259 w 2635237"/>
              <a:gd name="connsiteY65" fmla="*/ 501159 h 1534959"/>
              <a:gd name="connsiteX66" fmla="*/ 1857997 w 2635237"/>
              <a:gd name="connsiteY66" fmla="*/ 489865 h 1534959"/>
              <a:gd name="connsiteX67" fmla="*/ 1711040 w 2635237"/>
              <a:gd name="connsiteY67" fmla="*/ 467005 h 1534959"/>
              <a:gd name="connsiteX68" fmla="*/ 1570614 w 2635237"/>
              <a:gd name="connsiteY68" fmla="*/ 440879 h 1534959"/>
              <a:gd name="connsiteX69" fmla="*/ 1439985 w 2635237"/>
              <a:gd name="connsiteY69" fmla="*/ 421285 h 1534959"/>
              <a:gd name="connsiteX70" fmla="*/ 1325685 w 2635237"/>
              <a:gd name="connsiteY70" fmla="*/ 424550 h 1534959"/>
              <a:gd name="connsiteX71" fmla="*/ 1225061 w 2635237"/>
              <a:gd name="connsiteY71" fmla="*/ 449791 h 1534959"/>
              <a:gd name="connsiteX72" fmla="*/ 1139540 w 2635237"/>
              <a:gd name="connsiteY72" fmla="*/ 480068 h 1534959"/>
              <a:gd name="connsiteX73" fmla="*/ 1024695 w 2635237"/>
              <a:gd name="connsiteY73" fmla="*/ 525788 h 1534959"/>
              <a:gd name="connsiteX74" fmla="*/ 924002 w 2635237"/>
              <a:gd name="connsiteY74" fmla="*/ 562594 h 1534959"/>
              <a:gd name="connsiteX75" fmla="*/ 773168 w 2635237"/>
              <a:gd name="connsiteY75" fmla="*/ 585183 h 1534959"/>
              <a:gd name="connsiteX76" fmla="*/ 658051 w 2635237"/>
              <a:gd name="connsiteY76" fmla="*/ 600014 h 1534959"/>
              <a:gd name="connsiteX77" fmla="*/ 548445 w 2635237"/>
              <a:gd name="connsiteY77" fmla="*/ 600899 h 1534959"/>
              <a:gd name="connsiteX78" fmla="*/ 411285 w 2635237"/>
              <a:gd name="connsiteY78" fmla="*/ 586951 h 1534959"/>
              <a:gd name="connsiteX79" fmla="*/ 292835 w 2635237"/>
              <a:gd name="connsiteY79" fmla="*/ 572120 h 1534959"/>
              <a:gd name="connsiteX80" fmla="*/ 172888 w 2635237"/>
              <a:gd name="connsiteY80" fmla="*/ 555179 h 1534959"/>
              <a:gd name="connsiteX0" fmla="*/ 2635237 w 2635237"/>
              <a:gd name="connsiteY0" fmla="*/ 1016013 h 1528796"/>
              <a:gd name="connsiteX1" fmla="*/ 2631971 w 2635237"/>
              <a:gd name="connsiteY1" fmla="*/ 1071530 h 1528796"/>
              <a:gd name="connsiteX2" fmla="*/ 2626936 w 2635237"/>
              <a:gd name="connsiteY2" fmla="*/ 1129429 h 1528796"/>
              <a:gd name="connsiteX3" fmla="*/ 2625440 w 2635237"/>
              <a:gd name="connsiteY3" fmla="*/ 1176033 h 1528796"/>
              <a:gd name="connsiteX4" fmla="*/ 2621902 w 2635237"/>
              <a:gd name="connsiteY4" fmla="*/ 1230938 h 1528796"/>
              <a:gd name="connsiteX5" fmla="*/ 2599314 w 2635237"/>
              <a:gd name="connsiteY5" fmla="*/ 1283802 h 1528796"/>
              <a:gd name="connsiteX6" fmla="*/ 2560125 w 2635237"/>
              <a:gd name="connsiteY6" fmla="*/ 1316459 h 1528796"/>
              <a:gd name="connsiteX7" fmla="*/ 2504608 w 2635237"/>
              <a:gd name="connsiteY7" fmla="*/ 1326256 h 1528796"/>
              <a:gd name="connsiteX8" fmla="*/ 2452357 w 2635237"/>
              <a:gd name="connsiteY8" fmla="*/ 1329522 h 1528796"/>
              <a:gd name="connsiteX9" fmla="*/ 2406637 w 2635237"/>
              <a:gd name="connsiteY9" fmla="*/ 1329522 h 1528796"/>
              <a:gd name="connsiteX10" fmla="*/ 2351120 w 2635237"/>
              <a:gd name="connsiteY10" fmla="*/ 1342585 h 1528796"/>
              <a:gd name="connsiteX11" fmla="*/ 2315197 w 2635237"/>
              <a:gd name="connsiteY11" fmla="*/ 1381773 h 1528796"/>
              <a:gd name="connsiteX12" fmla="*/ 2285805 w 2635237"/>
              <a:gd name="connsiteY12" fmla="*/ 1411165 h 1528796"/>
              <a:gd name="connsiteX13" fmla="*/ 2246617 w 2635237"/>
              <a:gd name="connsiteY13" fmla="*/ 1453619 h 1528796"/>
              <a:gd name="connsiteX14" fmla="*/ 2187834 w 2635237"/>
              <a:gd name="connsiteY14" fmla="*/ 1476479 h 1528796"/>
              <a:gd name="connsiteX15" fmla="*/ 2122520 w 2635237"/>
              <a:gd name="connsiteY15" fmla="*/ 1463416 h 1528796"/>
              <a:gd name="connsiteX16" fmla="*/ 2053940 w 2635237"/>
              <a:gd name="connsiteY16" fmla="*/ 1466682 h 1528796"/>
              <a:gd name="connsiteX17" fmla="*/ 2011485 w 2635237"/>
              <a:gd name="connsiteY17" fmla="*/ 1479745 h 1528796"/>
              <a:gd name="connsiteX18" fmla="*/ 1975562 w 2635237"/>
              <a:gd name="connsiteY18" fmla="*/ 1499339 h 1528796"/>
              <a:gd name="connsiteX19" fmla="*/ 1929842 w 2635237"/>
              <a:gd name="connsiteY19" fmla="*/ 1512402 h 1528796"/>
              <a:gd name="connsiteX20" fmla="*/ 1874325 w 2635237"/>
              <a:gd name="connsiteY20" fmla="*/ 1528730 h 1528796"/>
              <a:gd name="connsiteX21" fmla="*/ 1802480 w 2635237"/>
              <a:gd name="connsiteY21" fmla="*/ 1505870 h 1528796"/>
              <a:gd name="connsiteX22" fmla="*/ 1733900 w 2635237"/>
              <a:gd name="connsiteY22" fmla="*/ 1447087 h 1528796"/>
              <a:gd name="connsiteX23" fmla="*/ 1671851 w 2635237"/>
              <a:gd name="connsiteY23" fmla="*/ 1404633 h 1528796"/>
              <a:gd name="connsiteX24" fmla="*/ 1587010 w 2635237"/>
              <a:gd name="connsiteY24" fmla="*/ 1365717 h 1528796"/>
              <a:gd name="connsiteX25" fmla="*/ 1479174 w 2635237"/>
              <a:gd name="connsiteY25" fmla="*/ 1355647 h 1528796"/>
              <a:gd name="connsiteX26" fmla="*/ 1400797 w 2635237"/>
              <a:gd name="connsiteY26" fmla="*/ 1355647 h 1528796"/>
              <a:gd name="connsiteX27" fmla="*/ 1309357 w 2635237"/>
              <a:gd name="connsiteY27" fmla="*/ 1342585 h 1528796"/>
              <a:gd name="connsiteX28" fmla="*/ 1227714 w 2635237"/>
              <a:gd name="connsiteY28" fmla="*/ 1329522 h 1528796"/>
              <a:gd name="connsiteX29" fmla="*/ 1105386 w 2635237"/>
              <a:gd name="connsiteY29" fmla="*/ 1295095 h 1528796"/>
              <a:gd name="connsiteX30" fmla="*/ 969722 w 2635237"/>
              <a:gd name="connsiteY30" fmla="*/ 1257676 h 1528796"/>
              <a:gd name="connsiteX31" fmla="*/ 856920 w 2635237"/>
              <a:gd name="connsiteY31" fmla="*/ 1221481 h 1528796"/>
              <a:gd name="connsiteX32" fmla="*/ 754185 w 2635237"/>
              <a:gd name="connsiteY32" fmla="*/ 1189096 h 1528796"/>
              <a:gd name="connsiteX33" fmla="*/ 662745 w 2635237"/>
              <a:gd name="connsiteY33" fmla="*/ 1159705 h 1528796"/>
              <a:gd name="connsiteX34" fmla="*/ 560351 w 2635237"/>
              <a:gd name="connsiteY34" fmla="*/ 1134191 h 1528796"/>
              <a:gd name="connsiteX35" fmla="*/ 457005 w 2635237"/>
              <a:gd name="connsiteY35" fmla="*/ 1123782 h 1528796"/>
              <a:gd name="connsiteX36" fmla="*/ 378628 w 2635237"/>
              <a:gd name="connsiteY36" fmla="*/ 1117250 h 1528796"/>
              <a:gd name="connsiteX37" fmla="*/ 251877 w 2635237"/>
              <a:gd name="connsiteY37" fmla="*/ 1082212 h 1528796"/>
              <a:gd name="connsiteX38" fmla="*/ 176154 w 2635237"/>
              <a:gd name="connsiteY38" fmla="*/ 1043907 h 1528796"/>
              <a:gd name="connsiteX39" fmla="*/ 104648 w 2635237"/>
              <a:gd name="connsiteY39" fmla="*/ 975396 h 1528796"/>
              <a:gd name="connsiteX40" fmla="*/ 60017 w 2635237"/>
              <a:gd name="connsiteY40" fmla="*/ 916885 h 1528796"/>
              <a:gd name="connsiteX41" fmla="*/ 23821 w 2635237"/>
              <a:gd name="connsiteY41" fmla="*/ 827827 h 1528796"/>
              <a:gd name="connsiteX42" fmla="*/ 2458 w 2635237"/>
              <a:gd name="connsiteY42" fmla="*/ 728630 h 1528796"/>
              <a:gd name="connsiteX43" fmla="*/ 10215 w 2635237"/>
              <a:gd name="connsiteY43" fmla="*/ 617596 h 1528796"/>
              <a:gd name="connsiteX44" fmla="*/ 57431 w 2635237"/>
              <a:gd name="connsiteY44" fmla="*/ 510372 h 1528796"/>
              <a:gd name="connsiteX45" fmla="*/ 113493 w 2635237"/>
              <a:gd name="connsiteY45" fmla="*/ 454310 h 1528796"/>
              <a:gd name="connsiteX46" fmla="*/ 221874 w 2635237"/>
              <a:gd name="connsiteY46" fmla="*/ 375933 h 1528796"/>
              <a:gd name="connsiteX47" fmla="*/ 368831 w 2635237"/>
              <a:gd name="connsiteY47" fmla="*/ 307353 h 1528796"/>
              <a:gd name="connsiteX48" fmla="*/ 525585 w 2635237"/>
              <a:gd name="connsiteY48" fmla="*/ 261633 h 1528796"/>
              <a:gd name="connsiteX49" fmla="*/ 649682 w 2635237"/>
              <a:gd name="connsiteY49" fmla="*/ 229589 h 1528796"/>
              <a:gd name="connsiteX50" fmla="*/ 795755 w 2635237"/>
              <a:gd name="connsiteY50" fmla="*/ 194549 h 1528796"/>
              <a:gd name="connsiteX51" fmla="*/ 953394 w 2635237"/>
              <a:gd name="connsiteY51" fmla="*/ 160396 h 1528796"/>
              <a:gd name="connsiteX52" fmla="*/ 1144982 w 2635237"/>
              <a:gd name="connsiteY52" fmla="*/ 109574 h 1528796"/>
              <a:gd name="connsiteX53" fmla="*/ 1397531 w 2635237"/>
              <a:gd name="connsiteY53" fmla="*/ 42830 h 1528796"/>
              <a:gd name="connsiteX54" fmla="*/ 1547754 w 2635237"/>
              <a:gd name="connsiteY54" fmla="*/ 11943 h 1528796"/>
              <a:gd name="connsiteX55" fmla="*/ 1657042 w 2635237"/>
              <a:gd name="connsiteY55" fmla="*/ 467 h 1528796"/>
              <a:gd name="connsiteX56" fmla="*/ 1769822 w 2635237"/>
              <a:gd name="connsiteY56" fmla="*/ 13167 h 1528796"/>
              <a:gd name="connsiteX57" fmla="*/ 1876163 w 2635237"/>
              <a:gd name="connsiteY57" fmla="*/ 55893 h 1528796"/>
              <a:gd name="connsiteX58" fmla="*/ 1975903 w 2635237"/>
              <a:gd name="connsiteY58" fmla="*/ 144680 h 1528796"/>
              <a:gd name="connsiteX59" fmla="*/ 2070881 w 2635237"/>
              <a:gd name="connsiteY59" fmla="*/ 222445 h 1528796"/>
              <a:gd name="connsiteX60" fmla="*/ 2155177 w 2635237"/>
              <a:gd name="connsiteY60" fmla="*/ 287759 h 1528796"/>
              <a:gd name="connsiteX61" fmla="*/ 2191100 w 2635237"/>
              <a:gd name="connsiteY61" fmla="*/ 333479 h 1528796"/>
              <a:gd name="connsiteX62" fmla="*/ 2197631 w 2635237"/>
              <a:gd name="connsiteY62" fmla="*/ 382465 h 1528796"/>
              <a:gd name="connsiteX63" fmla="*/ 2171505 w 2635237"/>
              <a:gd name="connsiteY63" fmla="*/ 444513 h 1528796"/>
              <a:gd name="connsiteX64" fmla="*/ 2062240 w 2635237"/>
              <a:gd name="connsiteY64" fmla="*/ 493227 h 1528796"/>
              <a:gd name="connsiteX65" fmla="*/ 1937259 w 2635237"/>
              <a:gd name="connsiteY65" fmla="*/ 494996 h 1528796"/>
              <a:gd name="connsiteX66" fmla="*/ 1857997 w 2635237"/>
              <a:gd name="connsiteY66" fmla="*/ 483702 h 1528796"/>
              <a:gd name="connsiteX67" fmla="*/ 1711040 w 2635237"/>
              <a:gd name="connsiteY67" fmla="*/ 460842 h 1528796"/>
              <a:gd name="connsiteX68" fmla="*/ 1570614 w 2635237"/>
              <a:gd name="connsiteY68" fmla="*/ 434716 h 1528796"/>
              <a:gd name="connsiteX69" fmla="*/ 1439985 w 2635237"/>
              <a:gd name="connsiteY69" fmla="*/ 415122 h 1528796"/>
              <a:gd name="connsiteX70" fmla="*/ 1325685 w 2635237"/>
              <a:gd name="connsiteY70" fmla="*/ 418387 h 1528796"/>
              <a:gd name="connsiteX71" fmla="*/ 1225061 w 2635237"/>
              <a:gd name="connsiteY71" fmla="*/ 443628 h 1528796"/>
              <a:gd name="connsiteX72" fmla="*/ 1139540 w 2635237"/>
              <a:gd name="connsiteY72" fmla="*/ 473905 h 1528796"/>
              <a:gd name="connsiteX73" fmla="*/ 1024695 w 2635237"/>
              <a:gd name="connsiteY73" fmla="*/ 519625 h 1528796"/>
              <a:gd name="connsiteX74" fmla="*/ 924002 w 2635237"/>
              <a:gd name="connsiteY74" fmla="*/ 556431 h 1528796"/>
              <a:gd name="connsiteX75" fmla="*/ 773168 w 2635237"/>
              <a:gd name="connsiteY75" fmla="*/ 579020 h 1528796"/>
              <a:gd name="connsiteX76" fmla="*/ 658051 w 2635237"/>
              <a:gd name="connsiteY76" fmla="*/ 593851 h 1528796"/>
              <a:gd name="connsiteX77" fmla="*/ 548445 w 2635237"/>
              <a:gd name="connsiteY77" fmla="*/ 594736 h 1528796"/>
              <a:gd name="connsiteX78" fmla="*/ 411285 w 2635237"/>
              <a:gd name="connsiteY78" fmla="*/ 580788 h 1528796"/>
              <a:gd name="connsiteX79" fmla="*/ 292835 w 2635237"/>
              <a:gd name="connsiteY79" fmla="*/ 565957 h 1528796"/>
              <a:gd name="connsiteX80" fmla="*/ 172888 w 2635237"/>
              <a:gd name="connsiteY80" fmla="*/ 549016 h 1528796"/>
              <a:gd name="connsiteX0" fmla="*/ 2635237 w 2635237"/>
              <a:gd name="connsiteY0" fmla="*/ 1016013 h 1528796"/>
              <a:gd name="connsiteX1" fmla="*/ 2631971 w 2635237"/>
              <a:gd name="connsiteY1" fmla="*/ 1071530 h 1528796"/>
              <a:gd name="connsiteX2" fmla="*/ 2626936 w 2635237"/>
              <a:gd name="connsiteY2" fmla="*/ 1129429 h 1528796"/>
              <a:gd name="connsiteX3" fmla="*/ 2625440 w 2635237"/>
              <a:gd name="connsiteY3" fmla="*/ 1176033 h 1528796"/>
              <a:gd name="connsiteX4" fmla="*/ 2621902 w 2635237"/>
              <a:gd name="connsiteY4" fmla="*/ 1230938 h 1528796"/>
              <a:gd name="connsiteX5" fmla="*/ 2599314 w 2635237"/>
              <a:gd name="connsiteY5" fmla="*/ 1283802 h 1528796"/>
              <a:gd name="connsiteX6" fmla="*/ 2560125 w 2635237"/>
              <a:gd name="connsiteY6" fmla="*/ 1316459 h 1528796"/>
              <a:gd name="connsiteX7" fmla="*/ 2504608 w 2635237"/>
              <a:gd name="connsiteY7" fmla="*/ 1326256 h 1528796"/>
              <a:gd name="connsiteX8" fmla="*/ 2452357 w 2635237"/>
              <a:gd name="connsiteY8" fmla="*/ 1329522 h 1528796"/>
              <a:gd name="connsiteX9" fmla="*/ 2406637 w 2635237"/>
              <a:gd name="connsiteY9" fmla="*/ 1329522 h 1528796"/>
              <a:gd name="connsiteX10" fmla="*/ 2351120 w 2635237"/>
              <a:gd name="connsiteY10" fmla="*/ 1342585 h 1528796"/>
              <a:gd name="connsiteX11" fmla="*/ 2315197 w 2635237"/>
              <a:gd name="connsiteY11" fmla="*/ 1381773 h 1528796"/>
              <a:gd name="connsiteX12" fmla="*/ 2285805 w 2635237"/>
              <a:gd name="connsiteY12" fmla="*/ 1411165 h 1528796"/>
              <a:gd name="connsiteX13" fmla="*/ 2246617 w 2635237"/>
              <a:gd name="connsiteY13" fmla="*/ 1453619 h 1528796"/>
              <a:gd name="connsiteX14" fmla="*/ 2187834 w 2635237"/>
              <a:gd name="connsiteY14" fmla="*/ 1476479 h 1528796"/>
              <a:gd name="connsiteX15" fmla="*/ 2122520 w 2635237"/>
              <a:gd name="connsiteY15" fmla="*/ 1463416 h 1528796"/>
              <a:gd name="connsiteX16" fmla="*/ 2053940 w 2635237"/>
              <a:gd name="connsiteY16" fmla="*/ 1466682 h 1528796"/>
              <a:gd name="connsiteX17" fmla="*/ 2011485 w 2635237"/>
              <a:gd name="connsiteY17" fmla="*/ 1479745 h 1528796"/>
              <a:gd name="connsiteX18" fmla="*/ 1975562 w 2635237"/>
              <a:gd name="connsiteY18" fmla="*/ 1499339 h 1528796"/>
              <a:gd name="connsiteX19" fmla="*/ 1929842 w 2635237"/>
              <a:gd name="connsiteY19" fmla="*/ 1512402 h 1528796"/>
              <a:gd name="connsiteX20" fmla="*/ 1874325 w 2635237"/>
              <a:gd name="connsiteY20" fmla="*/ 1528730 h 1528796"/>
              <a:gd name="connsiteX21" fmla="*/ 1802480 w 2635237"/>
              <a:gd name="connsiteY21" fmla="*/ 1505870 h 1528796"/>
              <a:gd name="connsiteX22" fmla="*/ 1733900 w 2635237"/>
              <a:gd name="connsiteY22" fmla="*/ 1447087 h 1528796"/>
              <a:gd name="connsiteX23" fmla="*/ 1671851 w 2635237"/>
              <a:gd name="connsiteY23" fmla="*/ 1404633 h 1528796"/>
              <a:gd name="connsiteX24" fmla="*/ 1587010 w 2635237"/>
              <a:gd name="connsiteY24" fmla="*/ 1365717 h 1528796"/>
              <a:gd name="connsiteX25" fmla="*/ 1479174 w 2635237"/>
              <a:gd name="connsiteY25" fmla="*/ 1355647 h 1528796"/>
              <a:gd name="connsiteX26" fmla="*/ 1400797 w 2635237"/>
              <a:gd name="connsiteY26" fmla="*/ 1355647 h 1528796"/>
              <a:gd name="connsiteX27" fmla="*/ 1309357 w 2635237"/>
              <a:gd name="connsiteY27" fmla="*/ 1342585 h 1528796"/>
              <a:gd name="connsiteX28" fmla="*/ 1227714 w 2635237"/>
              <a:gd name="connsiteY28" fmla="*/ 1329522 h 1528796"/>
              <a:gd name="connsiteX29" fmla="*/ 1105386 w 2635237"/>
              <a:gd name="connsiteY29" fmla="*/ 1295095 h 1528796"/>
              <a:gd name="connsiteX30" fmla="*/ 969722 w 2635237"/>
              <a:gd name="connsiteY30" fmla="*/ 1257676 h 1528796"/>
              <a:gd name="connsiteX31" fmla="*/ 856920 w 2635237"/>
              <a:gd name="connsiteY31" fmla="*/ 1221481 h 1528796"/>
              <a:gd name="connsiteX32" fmla="*/ 754185 w 2635237"/>
              <a:gd name="connsiteY32" fmla="*/ 1189096 h 1528796"/>
              <a:gd name="connsiteX33" fmla="*/ 662745 w 2635237"/>
              <a:gd name="connsiteY33" fmla="*/ 1159705 h 1528796"/>
              <a:gd name="connsiteX34" fmla="*/ 560351 w 2635237"/>
              <a:gd name="connsiteY34" fmla="*/ 1134191 h 1528796"/>
              <a:gd name="connsiteX35" fmla="*/ 457005 w 2635237"/>
              <a:gd name="connsiteY35" fmla="*/ 1123782 h 1528796"/>
              <a:gd name="connsiteX36" fmla="*/ 378628 w 2635237"/>
              <a:gd name="connsiteY36" fmla="*/ 1117250 h 1528796"/>
              <a:gd name="connsiteX37" fmla="*/ 251877 w 2635237"/>
              <a:gd name="connsiteY37" fmla="*/ 1082212 h 1528796"/>
              <a:gd name="connsiteX38" fmla="*/ 176154 w 2635237"/>
              <a:gd name="connsiteY38" fmla="*/ 1043907 h 1528796"/>
              <a:gd name="connsiteX39" fmla="*/ 104648 w 2635237"/>
              <a:gd name="connsiteY39" fmla="*/ 975396 h 1528796"/>
              <a:gd name="connsiteX40" fmla="*/ 60017 w 2635237"/>
              <a:gd name="connsiteY40" fmla="*/ 916885 h 1528796"/>
              <a:gd name="connsiteX41" fmla="*/ 23821 w 2635237"/>
              <a:gd name="connsiteY41" fmla="*/ 827827 h 1528796"/>
              <a:gd name="connsiteX42" fmla="*/ 2458 w 2635237"/>
              <a:gd name="connsiteY42" fmla="*/ 728630 h 1528796"/>
              <a:gd name="connsiteX43" fmla="*/ 10215 w 2635237"/>
              <a:gd name="connsiteY43" fmla="*/ 617596 h 1528796"/>
              <a:gd name="connsiteX44" fmla="*/ 57431 w 2635237"/>
              <a:gd name="connsiteY44" fmla="*/ 510372 h 1528796"/>
              <a:gd name="connsiteX45" fmla="*/ 113493 w 2635237"/>
              <a:gd name="connsiteY45" fmla="*/ 454310 h 1528796"/>
              <a:gd name="connsiteX46" fmla="*/ 221874 w 2635237"/>
              <a:gd name="connsiteY46" fmla="*/ 375933 h 1528796"/>
              <a:gd name="connsiteX47" fmla="*/ 368831 w 2635237"/>
              <a:gd name="connsiteY47" fmla="*/ 307353 h 1528796"/>
              <a:gd name="connsiteX48" fmla="*/ 525585 w 2635237"/>
              <a:gd name="connsiteY48" fmla="*/ 261633 h 1528796"/>
              <a:gd name="connsiteX49" fmla="*/ 649682 w 2635237"/>
              <a:gd name="connsiteY49" fmla="*/ 229589 h 1528796"/>
              <a:gd name="connsiteX50" fmla="*/ 795755 w 2635237"/>
              <a:gd name="connsiteY50" fmla="*/ 194549 h 1528796"/>
              <a:gd name="connsiteX51" fmla="*/ 953394 w 2635237"/>
              <a:gd name="connsiteY51" fmla="*/ 160396 h 1528796"/>
              <a:gd name="connsiteX52" fmla="*/ 1144982 w 2635237"/>
              <a:gd name="connsiteY52" fmla="*/ 109574 h 1528796"/>
              <a:gd name="connsiteX53" fmla="*/ 1397531 w 2635237"/>
              <a:gd name="connsiteY53" fmla="*/ 42830 h 1528796"/>
              <a:gd name="connsiteX54" fmla="*/ 1547754 w 2635237"/>
              <a:gd name="connsiteY54" fmla="*/ 11943 h 1528796"/>
              <a:gd name="connsiteX55" fmla="*/ 1657042 w 2635237"/>
              <a:gd name="connsiteY55" fmla="*/ 467 h 1528796"/>
              <a:gd name="connsiteX56" fmla="*/ 1769822 w 2635237"/>
              <a:gd name="connsiteY56" fmla="*/ 13167 h 1528796"/>
              <a:gd name="connsiteX57" fmla="*/ 1876163 w 2635237"/>
              <a:gd name="connsiteY57" fmla="*/ 55893 h 1528796"/>
              <a:gd name="connsiteX58" fmla="*/ 1975903 w 2635237"/>
              <a:gd name="connsiteY58" fmla="*/ 144680 h 1528796"/>
              <a:gd name="connsiteX59" fmla="*/ 2070881 w 2635237"/>
              <a:gd name="connsiteY59" fmla="*/ 222445 h 1528796"/>
              <a:gd name="connsiteX60" fmla="*/ 2155177 w 2635237"/>
              <a:gd name="connsiteY60" fmla="*/ 287759 h 1528796"/>
              <a:gd name="connsiteX61" fmla="*/ 2191100 w 2635237"/>
              <a:gd name="connsiteY61" fmla="*/ 333479 h 1528796"/>
              <a:gd name="connsiteX62" fmla="*/ 2197631 w 2635237"/>
              <a:gd name="connsiteY62" fmla="*/ 382465 h 1528796"/>
              <a:gd name="connsiteX63" fmla="*/ 2171505 w 2635237"/>
              <a:gd name="connsiteY63" fmla="*/ 444513 h 1528796"/>
              <a:gd name="connsiteX64" fmla="*/ 2062240 w 2635237"/>
              <a:gd name="connsiteY64" fmla="*/ 493227 h 1528796"/>
              <a:gd name="connsiteX65" fmla="*/ 1937259 w 2635237"/>
              <a:gd name="connsiteY65" fmla="*/ 494996 h 1528796"/>
              <a:gd name="connsiteX66" fmla="*/ 1857997 w 2635237"/>
              <a:gd name="connsiteY66" fmla="*/ 483702 h 1528796"/>
              <a:gd name="connsiteX67" fmla="*/ 1711040 w 2635237"/>
              <a:gd name="connsiteY67" fmla="*/ 460842 h 1528796"/>
              <a:gd name="connsiteX68" fmla="*/ 1570614 w 2635237"/>
              <a:gd name="connsiteY68" fmla="*/ 434716 h 1528796"/>
              <a:gd name="connsiteX69" fmla="*/ 1439985 w 2635237"/>
              <a:gd name="connsiteY69" fmla="*/ 415122 h 1528796"/>
              <a:gd name="connsiteX70" fmla="*/ 1325685 w 2635237"/>
              <a:gd name="connsiteY70" fmla="*/ 418387 h 1528796"/>
              <a:gd name="connsiteX71" fmla="*/ 1225061 w 2635237"/>
              <a:gd name="connsiteY71" fmla="*/ 443628 h 1528796"/>
              <a:gd name="connsiteX72" fmla="*/ 1139540 w 2635237"/>
              <a:gd name="connsiteY72" fmla="*/ 473905 h 1528796"/>
              <a:gd name="connsiteX73" fmla="*/ 1024695 w 2635237"/>
              <a:gd name="connsiteY73" fmla="*/ 519625 h 1528796"/>
              <a:gd name="connsiteX74" fmla="*/ 924002 w 2635237"/>
              <a:gd name="connsiteY74" fmla="*/ 556431 h 1528796"/>
              <a:gd name="connsiteX75" fmla="*/ 773168 w 2635237"/>
              <a:gd name="connsiteY75" fmla="*/ 579020 h 1528796"/>
              <a:gd name="connsiteX76" fmla="*/ 658051 w 2635237"/>
              <a:gd name="connsiteY76" fmla="*/ 593851 h 1528796"/>
              <a:gd name="connsiteX77" fmla="*/ 548445 w 2635237"/>
              <a:gd name="connsiteY77" fmla="*/ 594736 h 1528796"/>
              <a:gd name="connsiteX78" fmla="*/ 411285 w 2635237"/>
              <a:gd name="connsiteY78" fmla="*/ 580788 h 1528796"/>
              <a:gd name="connsiteX79" fmla="*/ 292835 w 2635237"/>
              <a:gd name="connsiteY79" fmla="*/ 565957 h 1528796"/>
              <a:gd name="connsiteX80" fmla="*/ 172888 w 2635237"/>
              <a:gd name="connsiteY80" fmla="*/ 549016 h 15287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1519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197631 w 2635237"/>
              <a:gd name="connsiteY62" fmla="*/ 382565 h 1528896"/>
              <a:gd name="connsiteX63" fmla="*/ 2171505 w 2635237"/>
              <a:gd name="connsiteY63" fmla="*/ 44461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93951 h 1528896"/>
              <a:gd name="connsiteX77" fmla="*/ 548445 w 2635237"/>
              <a:gd name="connsiteY77" fmla="*/ 594836 h 1528896"/>
              <a:gd name="connsiteX78" fmla="*/ 411285 w 2635237"/>
              <a:gd name="connsiteY78" fmla="*/ 580888 h 1528896"/>
              <a:gd name="connsiteX79" fmla="*/ 292835 w 2635237"/>
              <a:gd name="connsiteY79" fmla="*/ 56605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1519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197631 w 2635237"/>
              <a:gd name="connsiteY62" fmla="*/ 382565 h 1528896"/>
              <a:gd name="connsiteX63" fmla="*/ 2171505 w 2635237"/>
              <a:gd name="connsiteY63" fmla="*/ 44461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48445 w 2635237"/>
              <a:gd name="connsiteY77" fmla="*/ 594836 h 1528896"/>
              <a:gd name="connsiteX78" fmla="*/ 411285 w 2635237"/>
              <a:gd name="connsiteY78" fmla="*/ 580888 h 1528896"/>
              <a:gd name="connsiteX79" fmla="*/ 292835 w 2635237"/>
              <a:gd name="connsiteY79" fmla="*/ 56605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1519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197631 w 2635237"/>
              <a:gd name="connsiteY62" fmla="*/ 382565 h 1528896"/>
              <a:gd name="connsiteX63" fmla="*/ 2171505 w 2635237"/>
              <a:gd name="connsiteY63" fmla="*/ 44461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11285 w 2635237"/>
              <a:gd name="connsiteY78" fmla="*/ 580888 h 1528896"/>
              <a:gd name="connsiteX79" fmla="*/ 292835 w 2635237"/>
              <a:gd name="connsiteY79" fmla="*/ 56605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1519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197631 w 2635237"/>
              <a:gd name="connsiteY62" fmla="*/ 382565 h 1528896"/>
              <a:gd name="connsiteX63" fmla="*/ 2171505 w 2635237"/>
              <a:gd name="connsiteY63" fmla="*/ 44461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1760 w 2635237"/>
              <a:gd name="connsiteY78" fmla="*/ 580888 h 1528896"/>
              <a:gd name="connsiteX79" fmla="*/ 292835 w 2635237"/>
              <a:gd name="connsiteY79" fmla="*/ 56605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1519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197631 w 2635237"/>
              <a:gd name="connsiteY62" fmla="*/ 382565 h 1528896"/>
              <a:gd name="connsiteX63" fmla="*/ 2171505 w 2635237"/>
              <a:gd name="connsiteY63" fmla="*/ 44461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1760 w 2635237"/>
              <a:gd name="connsiteY78" fmla="*/ 580888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1519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197631 w 2635237"/>
              <a:gd name="connsiteY62" fmla="*/ 382565 h 1528896"/>
              <a:gd name="connsiteX63" fmla="*/ 2171505 w 2635237"/>
              <a:gd name="connsiteY63" fmla="*/ 44461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1760 w 2635237"/>
              <a:gd name="connsiteY78" fmla="*/ 580888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1519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197631 w 2635237"/>
              <a:gd name="connsiteY62" fmla="*/ 382565 h 1528896"/>
              <a:gd name="connsiteX63" fmla="*/ 2171505 w 2635237"/>
              <a:gd name="connsiteY63" fmla="*/ 44461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1760 w 2635237"/>
              <a:gd name="connsiteY78" fmla="*/ 580888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1519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197631 w 2635237"/>
              <a:gd name="connsiteY62" fmla="*/ 382565 h 1528896"/>
              <a:gd name="connsiteX63" fmla="*/ 2171505 w 2635237"/>
              <a:gd name="connsiteY63" fmla="*/ 44461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8110 w 2635237"/>
              <a:gd name="connsiteY78" fmla="*/ 571363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1519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197631 w 2635237"/>
              <a:gd name="connsiteY62" fmla="*/ 382565 h 1528896"/>
              <a:gd name="connsiteX63" fmla="*/ 2165155 w 2635237"/>
              <a:gd name="connsiteY63" fmla="*/ 46366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8110 w 2635237"/>
              <a:gd name="connsiteY78" fmla="*/ 571363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1519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210331 w 2635237"/>
              <a:gd name="connsiteY62" fmla="*/ 392090 h 1528896"/>
              <a:gd name="connsiteX63" fmla="*/ 2165155 w 2635237"/>
              <a:gd name="connsiteY63" fmla="*/ 46366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8110 w 2635237"/>
              <a:gd name="connsiteY78" fmla="*/ 571363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0884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210331 w 2635237"/>
              <a:gd name="connsiteY62" fmla="*/ 392090 h 1528896"/>
              <a:gd name="connsiteX63" fmla="*/ 2165155 w 2635237"/>
              <a:gd name="connsiteY63" fmla="*/ 46366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8110 w 2635237"/>
              <a:gd name="connsiteY78" fmla="*/ 571363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08847 w 2635237"/>
              <a:gd name="connsiteY11" fmla="*/ 1378698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210331 w 2635237"/>
              <a:gd name="connsiteY62" fmla="*/ 392090 h 1528896"/>
              <a:gd name="connsiteX63" fmla="*/ 2165155 w 2635237"/>
              <a:gd name="connsiteY63" fmla="*/ 46366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8110 w 2635237"/>
              <a:gd name="connsiteY78" fmla="*/ 571363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02497 w 2635237"/>
              <a:gd name="connsiteY11" fmla="*/ 1372348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210331 w 2635237"/>
              <a:gd name="connsiteY62" fmla="*/ 392090 h 1528896"/>
              <a:gd name="connsiteX63" fmla="*/ 2165155 w 2635237"/>
              <a:gd name="connsiteY63" fmla="*/ 46366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8110 w 2635237"/>
              <a:gd name="connsiteY78" fmla="*/ 571363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2562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02497 w 2635237"/>
              <a:gd name="connsiteY11" fmla="*/ 1372348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210331 w 2635237"/>
              <a:gd name="connsiteY62" fmla="*/ 392090 h 1528896"/>
              <a:gd name="connsiteX63" fmla="*/ 2165155 w 2635237"/>
              <a:gd name="connsiteY63" fmla="*/ 46366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8110 w 2635237"/>
              <a:gd name="connsiteY78" fmla="*/ 571363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2562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89789 w 2635237"/>
              <a:gd name="connsiteY5" fmla="*/ 1280727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02497 w 2635237"/>
              <a:gd name="connsiteY11" fmla="*/ 1372348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210331 w 2635237"/>
              <a:gd name="connsiteY62" fmla="*/ 392090 h 1528896"/>
              <a:gd name="connsiteX63" fmla="*/ 2165155 w 2635237"/>
              <a:gd name="connsiteY63" fmla="*/ 46366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8110 w 2635237"/>
              <a:gd name="connsiteY78" fmla="*/ 571363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2562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89789 w 2635237"/>
              <a:gd name="connsiteY5" fmla="*/ 1280727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02497 w 2635237"/>
              <a:gd name="connsiteY11" fmla="*/ 1372348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210331 w 2635237"/>
              <a:gd name="connsiteY62" fmla="*/ 392090 h 1528896"/>
              <a:gd name="connsiteX63" fmla="*/ 2165155 w 2635237"/>
              <a:gd name="connsiteY63" fmla="*/ 46366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8110 w 2635237"/>
              <a:gd name="connsiteY78" fmla="*/ 571363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2562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89789 w 2635237"/>
              <a:gd name="connsiteY5" fmla="*/ 1280727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02497 w 2635237"/>
              <a:gd name="connsiteY11" fmla="*/ 1372348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210331 w 2635237"/>
              <a:gd name="connsiteY62" fmla="*/ 392090 h 1528896"/>
              <a:gd name="connsiteX63" fmla="*/ 2165155 w 2635237"/>
              <a:gd name="connsiteY63" fmla="*/ 46366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8110 w 2635237"/>
              <a:gd name="connsiteY78" fmla="*/ 571363 h 1528896"/>
              <a:gd name="connsiteX79" fmla="*/ 305535 w 2635237"/>
              <a:gd name="connsiteY79" fmla="*/ 559707 h 1528896"/>
              <a:gd name="connsiteX80" fmla="*/ 172888 w 2635237"/>
              <a:gd name="connsiteY80" fmla="*/ 549116 h 1528896"/>
              <a:gd name="connsiteX0" fmla="*/ 2635237 w 2635237"/>
              <a:gd name="connsiteY0" fmla="*/ 1016113 h 1529007"/>
              <a:gd name="connsiteX1" fmla="*/ 2625621 w 2635237"/>
              <a:gd name="connsiteY1" fmla="*/ 1071630 h 1529007"/>
              <a:gd name="connsiteX2" fmla="*/ 2626936 w 2635237"/>
              <a:gd name="connsiteY2" fmla="*/ 1129529 h 1529007"/>
              <a:gd name="connsiteX3" fmla="*/ 2625440 w 2635237"/>
              <a:gd name="connsiteY3" fmla="*/ 1176133 h 1529007"/>
              <a:gd name="connsiteX4" fmla="*/ 2621902 w 2635237"/>
              <a:gd name="connsiteY4" fmla="*/ 1231038 h 1529007"/>
              <a:gd name="connsiteX5" fmla="*/ 2589789 w 2635237"/>
              <a:gd name="connsiteY5" fmla="*/ 1280727 h 1529007"/>
              <a:gd name="connsiteX6" fmla="*/ 2560125 w 2635237"/>
              <a:gd name="connsiteY6" fmla="*/ 1316559 h 1529007"/>
              <a:gd name="connsiteX7" fmla="*/ 2504608 w 2635237"/>
              <a:gd name="connsiteY7" fmla="*/ 1326356 h 1529007"/>
              <a:gd name="connsiteX8" fmla="*/ 2452357 w 2635237"/>
              <a:gd name="connsiteY8" fmla="*/ 1329622 h 1529007"/>
              <a:gd name="connsiteX9" fmla="*/ 2406637 w 2635237"/>
              <a:gd name="connsiteY9" fmla="*/ 1329622 h 1529007"/>
              <a:gd name="connsiteX10" fmla="*/ 2351120 w 2635237"/>
              <a:gd name="connsiteY10" fmla="*/ 1342685 h 1529007"/>
              <a:gd name="connsiteX11" fmla="*/ 2302497 w 2635237"/>
              <a:gd name="connsiteY11" fmla="*/ 1372348 h 1529007"/>
              <a:gd name="connsiteX12" fmla="*/ 2285805 w 2635237"/>
              <a:gd name="connsiteY12" fmla="*/ 1411265 h 1529007"/>
              <a:gd name="connsiteX13" fmla="*/ 2246617 w 2635237"/>
              <a:gd name="connsiteY13" fmla="*/ 1453719 h 1529007"/>
              <a:gd name="connsiteX14" fmla="*/ 2187834 w 2635237"/>
              <a:gd name="connsiteY14" fmla="*/ 1476579 h 1529007"/>
              <a:gd name="connsiteX15" fmla="*/ 2122520 w 2635237"/>
              <a:gd name="connsiteY15" fmla="*/ 1463516 h 1529007"/>
              <a:gd name="connsiteX16" fmla="*/ 2053940 w 2635237"/>
              <a:gd name="connsiteY16" fmla="*/ 1466782 h 1529007"/>
              <a:gd name="connsiteX17" fmla="*/ 2011485 w 2635237"/>
              <a:gd name="connsiteY17" fmla="*/ 1479845 h 1529007"/>
              <a:gd name="connsiteX18" fmla="*/ 1975562 w 2635237"/>
              <a:gd name="connsiteY18" fmla="*/ 1499439 h 1529007"/>
              <a:gd name="connsiteX19" fmla="*/ 1933017 w 2635237"/>
              <a:gd name="connsiteY19" fmla="*/ 1515677 h 1529007"/>
              <a:gd name="connsiteX20" fmla="*/ 1874325 w 2635237"/>
              <a:gd name="connsiteY20" fmla="*/ 1528830 h 1529007"/>
              <a:gd name="connsiteX21" fmla="*/ 1802480 w 2635237"/>
              <a:gd name="connsiteY21" fmla="*/ 1505970 h 1529007"/>
              <a:gd name="connsiteX22" fmla="*/ 1733900 w 2635237"/>
              <a:gd name="connsiteY22" fmla="*/ 1447187 h 1529007"/>
              <a:gd name="connsiteX23" fmla="*/ 1671851 w 2635237"/>
              <a:gd name="connsiteY23" fmla="*/ 1404733 h 1529007"/>
              <a:gd name="connsiteX24" fmla="*/ 1587010 w 2635237"/>
              <a:gd name="connsiteY24" fmla="*/ 1365817 h 1529007"/>
              <a:gd name="connsiteX25" fmla="*/ 1479174 w 2635237"/>
              <a:gd name="connsiteY25" fmla="*/ 1355747 h 1529007"/>
              <a:gd name="connsiteX26" fmla="*/ 1400797 w 2635237"/>
              <a:gd name="connsiteY26" fmla="*/ 1355747 h 1529007"/>
              <a:gd name="connsiteX27" fmla="*/ 1309357 w 2635237"/>
              <a:gd name="connsiteY27" fmla="*/ 1342685 h 1529007"/>
              <a:gd name="connsiteX28" fmla="*/ 1227714 w 2635237"/>
              <a:gd name="connsiteY28" fmla="*/ 1329622 h 1529007"/>
              <a:gd name="connsiteX29" fmla="*/ 1105386 w 2635237"/>
              <a:gd name="connsiteY29" fmla="*/ 1295195 h 1529007"/>
              <a:gd name="connsiteX30" fmla="*/ 969722 w 2635237"/>
              <a:gd name="connsiteY30" fmla="*/ 1257776 h 1529007"/>
              <a:gd name="connsiteX31" fmla="*/ 856920 w 2635237"/>
              <a:gd name="connsiteY31" fmla="*/ 1221581 h 1529007"/>
              <a:gd name="connsiteX32" fmla="*/ 754185 w 2635237"/>
              <a:gd name="connsiteY32" fmla="*/ 1189196 h 1529007"/>
              <a:gd name="connsiteX33" fmla="*/ 662745 w 2635237"/>
              <a:gd name="connsiteY33" fmla="*/ 1159805 h 1529007"/>
              <a:gd name="connsiteX34" fmla="*/ 560351 w 2635237"/>
              <a:gd name="connsiteY34" fmla="*/ 1134291 h 1529007"/>
              <a:gd name="connsiteX35" fmla="*/ 457005 w 2635237"/>
              <a:gd name="connsiteY35" fmla="*/ 1123882 h 1529007"/>
              <a:gd name="connsiteX36" fmla="*/ 378628 w 2635237"/>
              <a:gd name="connsiteY36" fmla="*/ 1117350 h 1529007"/>
              <a:gd name="connsiteX37" fmla="*/ 251877 w 2635237"/>
              <a:gd name="connsiteY37" fmla="*/ 1082312 h 1529007"/>
              <a:gd name="connsiteX38" fmla="*/ 176154 w 2635237"/>
              <a:gd name="connsiteY38" fmla="*/ 1044007 h 1529007"/>
              <a:gd name="connsiteX39" fmla="*/ 104648 w 2635237"/>
              <a:gd name="connsiteY39" fmla="*/ 975496 h 1529007"/>
              <a:gd name="connsiteX40" fmla="*/ 60017 w 2635237"/>
              <a:gd name="connsiteY40" fmla="*/ 916985 h 1529007"/>
              <a:gd name="connsiteX41" fmla="*/ 23821 w 2635237"/>
              <a:gd name="connsiteY41" fmla="*/ 827927 h 1529007"/>
              <a:gd name="connsiteX42" fmla="*/ 2458 w 2635237"/>
              <a:gd name="connsiteY42" fmla="*/ 728730 h 1529007"/>
              <a:gd name="connsiteX43" fmla="*/ 10215 w 2635237"/>
              <a:gd name="connsiteY43" fmla="*/ 617696 h 1529007"/>
              <a:gd name="connsiteX44" fmla="*/ 57431 w 2635237"/>
              <a:gd name="connsiteY44" fmla="*/ 510472 h 1529007"/>
              <a:gd name="connsiteX45" fmla="*/ 113493 w 2635237"/>
              <a:gd name="connsiteY45" fmla="*/ 454410 h 1529007"/>
              <a:gd name="connsiteX46" fmla="*/ 221874 w 2635237"/>
              <a:gd name="connsiteY46" fmla="*/ 376033 h 1529007"/>
              <a:gd name="connsiteX47" fmla="*/ 368831 w 2635237"/>
              <a:gd name="connsiteY47" fmla="*/ 307453 h 1529007"/>
              <a:gd name="connsiteX48" fmla="*/ 525585 w 2635237"/>
              <a:gd name="connsiteY48" fmla="*/ 261733 h 1529007"/>
              <a:gd name="connsiteX49" fmla="*/ 649682 w 2635237"/>
              <a:gd name="connsiteY49" fmla="*/ 229689 h 1529007"/>
              <a:gd name="connsiteX50" fmla="*/ 795755 w 2635237"/>
              <a:gd name="connsiteY50" fmla="*/ 194649 h 1529007"/>
              <a:gd name="connsiteX51" fmla="*/ 953394 w 2635237"/>
              <a:gd name="connsiteY51" fmla="*/ 160496 h 1529007"/>
              <a:gd name="connsiteX52" fmla="*/ 1144982 w 2635237"/>
              <a:gd name="connsiteY52" fmla="*/ 109674 h 1529007"/>
              <a:gd name="connsiteX53" fmla="*/ 1397531 w 2635237"/>
              <a:gd name="connsiteY53" fmla="*/ 42930 h 1529007"/>
              <a:gd name="connsiteX54" fmla="*/ 1547754 w 2635237"/>
              <a:gd name="connsiteY54" fmla="*/ 12043 h 1529007"/>
              <a:gd name="connsiteX55" fmla="*/ 1657042 w 2635237"/>
              <a:gd name="connsiteY55" fmla="*/ 567 h 1529007"/>
              <a:gd name="connsiteX56" fmla="*/ 1769822 w 2635237"/>
              <a:gd name="connsiteY56" fmla="*/ 13267 h 1529007"/>
              <a:gd name="connsiteX57" fmla="*/ 1876163 w 2635237"/>
              <a:gd name="connsiteY57" fmla="*/ 65518 h 1529007"/>
              <a:gd name="connsiteX58" fmla="*/ 1975903 w 2635237"/>
              <a:gd name="connsiteY58" fmla="*/ 144780 h 1529007"/>
              <a:gd name="connsiteX59" fmla="*/ 2070881 w 2635237"/>
              <a:gd name="connsiteY59" fmla="*/ 222545 h 1529007"/>
              <a:gd name="connsiteX60" fmla="*/ 2155177 w 2635237"/>
              <a:gd name="connsiteY60" fmla="*/ 287859 h 1529007"/>
              <a:gd name="connsiteX61" fmla="*/ 2191100 w 2635237"/>
              <a:gd name="connsiteY61" fmla="*/ 333579 h 1529007"/>
              <a:gd name="connsiteX62" fmla="*/ 2210331 w 2635237"/>
              <a:gd name="connsiteY62" fmla="*/ 392090 h 1529007"/>
              <a:gd name="connsiteX63" fmla="*/ 2165155 w 2635237"/>
              <a:gd name="connsiteY63" fmla="*/ 463663 h 1529007"/>
              <a:gd name="connsiteX64" fmla="*/ 2062240 w 2635237"/>
              <a:gd name="connsiteY64" fmla="*/ 493327 h 1529007"/>
              <a:gd name="connsiteX65" fmla="*/ 1937259 w 2635237"/>
              <a:gd name="connsiteY65" fmla="*/ 495096 h 1529007"/>
              <a:gd name="connsiteX66" fmla="*/ 1857997 w 2635237"/>
              <a:gd name="connsiteY66" fmla="*/ 483802 h 1529007"/>
              <a:gd name="connsiteX67" fmla="*/ 1711040 w 2635237"/>
              <a:gd name="connsiteY67" fmla="*/ 460942 h 1529007"/>
              <a:gd name="connsiteX68" fmla="*/ 1570614 w 2635237"/>
              <a:gd name="connsiteY68" fmla="*/ 434816 h 1529007"/>
              <a:gd name="connsiteX69" fmla="*/ 1439985 w 2635237"/>
              <a:gd name="connsiteY69" fmla="*/ 415222 h 1529007"/>
              <a:gd name="connsiteX70" fmla="*/ 1325685 w 2635237"/>
              <a:gd name="connsiteY70" fmla="*/ 418487 h 1529007"/>
              <a:gd name="connsiteX71" fmla="*/ 1225061 w 2635237"/>
              <a:gd name="connsiteY71" fmla="*/ 443728 h 1529007"/>
              <a:gd name="connsiteX72" fmla="*/ 1139540 w 2635237"/>
              <a:gd name="connsiteY72" fmla="*/ 474005 h 1529007"/>
              <a:gd name="connsiteX73" fmla="*/ 1024695 w 2635237"/>
              <a:gd name="connsiteY73" fmla="*/ 519725 h 1529007"/>
              <a:gd name="connsiteX74" fmla="*/ 924002 w 2635237"/>
              <a:gd name="connsiteY74" fmla="*/ 556531 h 1529007"/>
              <a:gd name="connsiteX75" fmla="*/ 773168 w 2635237"/>
              <a:gd name="connsiteY75" fmla="*/ 579120 h 1529007"/>
              <a:gd name="connsiteX76" fmla="*/ 658051 w 2635237"/>
              <a:gd name="connsiteY76" fmla="*/ 581251 h 1529007"/>
              <a:gd name="connsiteX77" fmla="*/ 526220 w 2635237"/>
              <a:gd name="connsiteY77" fmla="*/ 582136 h 1529007"/>
              <a:gd name="connsiteX78" fmla="*/ 408110 w 2635237"/>
              <a:gd name="connsiteY78" fmla="*/ 571363 h 1529007"/>
              <a:gd name="connsiteX79" fmla="*/ 305535 w 2635237"/>
              <a:gd name="connsiteY79" fmla="*/ 559707 h 1529007"/>
              <a:gd name="connsiteX80" fmla="*/ 172888 w 2635237"/>
              <a:gd name="connsiteY80" fmla="*/ 549116 h 1529007"/>
              <a:gd name="connsiteX0" fmla="*/ 2635237 w 2635237"/>
              <a:gd name="connsiteY0" fmla="*/ 1016113 h 1519886"/>
              <a:gd name="connsiteX1" fmla="*/ 2625621 w 2635237"/>
              <a:gd name="connsiteY1" fmla="*/ 1071630 h 1519886"/>
              <a:gd name="connsiteX2" fmla="*/ 2626936 w 2635237"/>
              <a:gd name="connsiteY2" fmla="*/ 1129529 h 1519886"/>
              <a:gd name="connsiteX3" fmla="*/ 2625440 w 2635237"/>
              <a:gd name="connsiteY3" fmla="*/ 1176133 h 1519886"/>
              <a:gd name="connsiteX4" fmla="*/ 2621902 w 2635237"/>
              <a:gd name="connsiteY4" fmla="*/ 1231038 h 1519886"/>
              <a:gd name="connsiteX5" fmla="*/ 2589789 w 2635237"/>
              <a:gd name="connsiteY5" fmla="*/ 1280727 h 1519886"/>
              <a:gd name="connsiteX6" fmla="*/ 2560125 w 2635237"/>
              <a:gd name="connsiteY6" fmla="*/ 1316559 h 1519886"/>
              <a:gd name="connsiteX7" fmla="*/ 2504608 w 2635237"/>
              <a:gd name="connsiteY7" fmla="*/ 1326356 h 1519886"/>
              <a:gd name="connsiteX8" fmla="*/ 2452357 w 2635237"/>
              <a:gd name="connsiteY8" fmla="*/ 1329622 h 1519886"/>
              <a:gd name="connsiteX9" fmla="*/ 2406637 w 2635237"/>
              <a:gd name="connsiteY9" fmla="*/ 1329622 h 1519886"/>
              <a:gd name="connsiteX10" fmla="*/ 2351120 w 2635237"/>
              <a:gd name="connsiteY10" fmla="*/ 1342685 h 1519886"/>
              <a:gd name="connsiteX11" fmla="*/ 2302497 w 2635237"/>
              <a:gd name="connsiteY11" fmla="*/ 1372348 h 1519886"/>
              <a:gd name="connsiteX12" fmla="*/ 2285805 w 2635237"/>
              <a:gd name="connsiteY12" fmla="*/ 1411265 h 1519886"/>
              <a:gd name="connsiteX13" fmla="*/ 2246617 w 2635237"/>
              <a:gd name="connsiteY13" fmla="*/ 1453719 h 1519886"/>
              <a:gd name="connsiteX14" fmla="*/ 2187834 w 2635237"/>
              <a:gd name="connsiteY14" fmla="*/ 1476579 h 1519886"/>
              <a:gd name="connsiteX15" fmla="*/ 2122520 w 2635237"/>
              <a:gd name="connsiteY15" fmla="*/ 1463516 h 1519886"/>
              <a:gd name="connsiteX16" fmla="*/ 2053940 w 2635237"/>
              <a:gd name="connsiteY16" fmla="*/ 1466782 h 1519886"/>
              <a:gd name="connsiteX17" fmla="*/ 2011485 w 2635237"/>
              <a:gd name="connsiteY17" fmla="*/ 1479845 h 1519886"/>
              <a:gd name="connsiteX18" fmla="*/ 1975562 w 2635237"/>
              <a:gd name="connsiteY18" fmla="*/ 1499439 h 1519886"/>
              <a:gd name="connsiteX19" fmla="*/ 1933017 w 2635237"/>
              <a:gd name="connsiteY19" fmla="*/ 1515677 h 1519886"/>
              <a:gd name="connsiteX20" fmla="*/ 1880675 w 2635237"/>
              <a:gd name="connsiteY20" fmla="*/ 1519305 h 1519886"/>
              <a:gd name="connsiteX21" fmla="*/ 1802480 w 2635237"/>
              <a:gd name="connsiteY21" fmla="*/ 1505970 h 1519886"/>
              <a:gd name="connsiteX22" fmla="*/ 1733900 w 2635237"/>
              <a:gd name="connsiteY22" fmla="*/ 1447187 h 1519886"/>
              <a:gd name="connsiteX23" fmla="*/ 1671851 w 2635237"/>
              <a:gd name="connsiteY23" fmla="*/ 1404733 h 1519886"/>
              <a:gd name="connsiteX24" fmla="*/ 1587010 w 2635237"/>
              <a:gd name="connsiteY24" fmla="*/ 1365817 h 1519886"/>
              <a:gd name="connsiteX25" fmla="*/ 1479174 w 2635237"/>
              <a:gd name="connsiteY25" fmla="*/ 1355747 h 1519886"/>
              <a:gd name="connsiteX26" fmla="*/ 1400797 w 2635237"/>
              <a:gd name="connsiteY26" fmla="*/ 1355747 h 1519886"/>
              <a:gd name="connsiteX27" fmla="*/ 1309357 w 2635237"/>
              <a:gd name="connsiteY27" fmla="*/ 1342685 h 1519886"/>
              <a:gd name="connsiteX28" fmla="*/ 1227714 w 2635237"/>
              <a:gd name="connsiteY28" fmla="*/ 1329622 h 1519886"/>
              <a:gd name="connsiteX29" fmla="*/ 1105386 w 2635237"/>
              <a:gd name="connsiteY29" fmla="*/ 1295195 h 1519886"/>
              <a:gd name="connsiteX30" fmla="*/ 969722 w 2635237"/>
              <a:gd name="connsiteY30" fmla="*/ 1257776 h 1519886"/>
              <a:gd name="connsiteX31" fmla="*/ 856920 w 2635237"/>
              <a:gd name="connsiteY31" fmla="*/ 1221581 h 1519886"/>
              <a:gd name="connsiteX32" fmla="*/ 754185 w 2635237"/>
              <a:gd name="connsiteY32" fmla="*/ 1189196 h 1519886"/>
              <a:gd name="connsiteX33" fmla="*/ 662745 w 2635237"/>
              <a:gd name="connsiteY33" fmla="*/ 1159805 h 1519886"/>
              <a:gd name="connsiteX34" fmla="*/ 560351 w 2635237"/>
              <a:gd name="connsiteY34" fmla="*/ 1134291 h 1519886"/>
              <a:gd name="connsiteX35" fmla="*/ 457005 w 2635237"/>
              <a:gd name="connsiteY35" fmla="*/ 1123882 h 1519886"/>
              <a:gd name="connsiteX36" fmla="*/ 378628 w 2635237"/>
              <a:gd name="connsiteY36" fmla="*/ 1117350 h 1519886"/>
              <a:gd name="connsiteX37" fmla="*/ 251877 w 2635237"/>
              <a:gd name="connsiteY37" fmla="*/ 1082312 h 1519886"/>
              <a:gd name="connsiteX38" fmla="*/ 176154 w 2635237"/>
              <a:gd name="connsiteY38" fmla="*/ 1044007 h 1519886"/>
              <a:gd name="connsiteX39" fmla="*/ 104648 w 2635237"/>
              <a:gd name="connsiteY39" fmla="*/ 975496 h 1519886"/>
              <a:gd name="connsiteX40" fmla="*/ 60017 w 2635237"/>
              <a:gd name="connsiteY40" fmla="*/ 916985 h 1519886"/>
              <a:gd name="connsiteX41" fmla="*/ 23821 w 2635237"/>
              <a:gd name="connsiteY41" fmla="*/ 827927 h 1519886"/>
              <a:gd name="connsiteX42" fmla="*/ 2458 w 2635237"/>
              <a:gd name="connsiteY42" fmla="*/ 728730 h 1519886"/>
              <a:gd name="connsiteX43" fmla="*/ 10215 w 2635237"/>
              <a:gd name="connsiteY43" fmla="*/ 617696 h 1519886"/>
              <a:gd name="connsiteX44" fmla="*/ 57431 w 2635237"/>
              <a:gd name="connsiteY44" fmla="*/ 510472 h 1519886"/>
              <a:gd name="connsiteX45" fmla="*/ 113493 w 2635237"/>
              <a:gd name="connsiteY45" fmla="*/ 454410 h 1519886"/>
              <a:gd name="connsiteX46" fmla="*/ 221874 w 2635237"/>
              <a:gd name="connsiteY46" fmla="*/ 376033 h 1519886"/>
              <a:gd name="connsiteX47" fmla="*/ 368831 w 2635237"/>
              <a:gd name="connsiteY47" fmla="*/ 307453 h 1519886"/>
              <a:gd name="connsiteX48" fmla="*/ 525585 w 2635237"/>
              <a:gd name="connsiteY48" fmla="*/ 261733 h 1519886"/>
              <a:gd name="connsiteX49" fmla="*/ 649682 w 2635237"/>
              <a:gd name="connsiteY49" fmla="*/ 229689 h 1519886"/>
              <a:gd name="connsiteX50" fmla="*/ 795755 w 2635237"/>
              <a:gd name="connsiteY50" fmla="*/ 194649 h 1519886"/>
              <a:gd name="connsiteX51" fmla="*/ 953394 w 2635237"/>
              <a:gd name="connsiteY51" fmla="*/ 160496 h 1519886"/>
              <a:gd name="connsiteX52" fmla="*/ 1144982 w 2635237"/>
              <a:gd name="connsiteY52" fmla="*/ 109674 h 1519886"/>
              <a:gd name="connsiteX53" fmla="*/ 1397531 w 2635237"/>
              <a:gd name="connsiteY53" fmla="*/ 42930 h 1519886"/>
              <a:gd name="connsiteX54" fmla="*/ 1547754 w 2635237"/>
              <a:gd name="connsiteY54" fmla="*/ 12043 h 1519886"/>
              <a:gd name="connsiteX55" fmla="*/ 1657042 w 2635237"/>
              <a:gd name="connsiteY55" fmla="*/ 567 h 1519886"/>
              <a:gd name="connsiteX56" fmla="*/ 1769822 w 2635237"/>
              <a:gd name="connsiteY56" fmla="*/ 13267 h 1519886"/>
              <a:gd name="connsiteX57" fmla="*/ 1876163 w 2635237"/>
              <a:gd name="connsiteY57" fmla="*/ 65518 h 1519886"/>
              <a:gd name="connsiteX58" fmla="*/ 1975903 w 2635237"/>
              <a:gd name="connsiteY58" fmla="*/ 144780 h 1519886"/>
              <a:gd name="connsiteX59" fmla="*/ 2070881 w 2635237"/>
              <a:gd name="connsiteY59" fmla="*/ 222545 h 1519886"/>
              <a:gd name="connsiteX60" fmla="*/ 2155177 w 2635237"/>
              <a:gd name="connsiteY60" fmla="*/ 287859 h 1519886"/>
              <a:gd name="connsiteX61" fmla="*/ 2191100 w 2635237"/>
              <a:gd name="connsiteY61" fmla="*/ 333579 h 1519886"/>
              <a:gd name="connsiteX62" fmla="*/ 2210331 w 2635237"/>
              <a:gd name="connsiteY62" fmla="*/ 392090 h 1519886"/>
              <a:gd name="connsiteX63" fmla="*/ 2165155 w 2635237"/>
              <a:gd name="connsiteY63" fmla="*/ 463663 h 1519886"/>
              <a:gd name="connsiteX64" fmla="*/ 2062240 w 2635237"/>
              <a:gd name="connsiteY64" fmla="*/ 493327 h 1519886"/>
              <a:gd name="connsiteX65" fmla="*/ 1937259 w 2635237"/>
              <a:gd name="connsiteY65" fmla="*/ 495096 h 1519886"/>
              <a:gd name="connsiteX66" fmla="*/ 1857997 w 2635237"/>
              <a:gd name="connsiteY66" fmla="*/ 483802 h 1519886"/>
              <a:gd name="connsiteX67" fmla="*/ 1711040 w 2635237"/>
              <a:gd name="connsiteY67" fmla="*/ 460942 h 1519886"/>
              <a:gd name="connsiteX68" fmla="*/ 1570614 w 2635237"/>
              <a:gd name="connsiteY68" fmla="*/ 434816 h 1519886"/>
              <a:gd name="connsiteX69" fmla="*/ 1439985 w 2635237"/>
              <a:gd name="connsiteY69" fmla="*/ 415222 h 1519886"/>
              <a:gd name="connsiteX70" fmla="*/ 1325685 w 2635237"/>
              <a:gd name="connsiteY70" fmla="*/ 418487 h 1519886"/>
              <a:gd name="connsiteX71" fmla="*/ 1225061 w 2635237"/>
              <a:gd name="connsiteY71" fmla="*/ 443728 h 1519886"/>
              <a:gd name="connsiteX72" fmla="*/ 1139540 w 2635237"/>
              <a:gd name="connsiteY72" fmla="*/ 474005 h 1519886"/>
              <a:gd name="connsiteX73" fmla="*/ 1024695 w 2635237"/>
              <a:gd name="connsiteY73" fmla="*/ 519725 h 1519886"/>
              <a:gd name="connsiteX74" fmla="*/ 924002 w 2635237"/>
              <a:gd name="connsiteY74" fmla="*/ 556531 h 1519886"/>
              <a:gd name="connsiteX75" fmla="*/ 773168 w 2635237"/>
              <a:gd name="connsiteY75" fmla="*/ 579120 h 1519886"/>
              <a:gd name="connsiteX76" fmla="*/ 658051 w 2635237"/>
              <a:gd name="connsiteY76" fmla="*/ 581251 h 1519886"/>
              <a:gd name="connsiteX77" fmla="*/ 526220 w 2635237"/>
              <a:gd name="connsiteY77" fmla="*/ 582136 h 1519886"/>
              <a:gd name="connsiteX78" fmla="*/ 408110 w 2635237"/>
              <a:gd name="connsiteY78" fmla="*/ 571363 h 1519886"/>
              <a:gd name="connsiteX79" fmla="*/ 305535 w 2635237"/>
              <a:gd name="connsiteY79" fmla="*/ 559707 h 1519886"/>
              <a:gd name="connsiteX80" fmla="*/ 172888 w 2635237"/>
              <a:gd name="connsiteY80" fmla="*/ 549116 h 1519886"/>
              <a:gd name="connsiteX0" fmla="*/ 2635237 w 2635237"/>
              <a:gd name="connsiteY0" fmla="*/ 1016113 h 1519886"/>
              <a:gd name="connsiteX1" fmla="*/ 2625621 w 2635237"/>
              <a:gd name="connsiteY1" fmla="*/ 1071630 h 1519886"/>
              <a:gd name="connsiteX2" fmla="*/ 2626936 w 2635237"/>
              <a:gd name="connsiteY2" fmla="*/ 1129529 h 1519886"/>
              <a:gd name="connsiteX3" fmla="*/ 2625440 w 2635237"/>
              <a:gd name="connsiteY3" fmla="*/ 1176133 h 1519886"/>
              <a:gd name="connsiteX4" fmla="*/ 2621902 w 2635237"/>
              <a:gd name="connsiteY4" fmla="*/ 1231038 h 1519886"/>
              <a:gd name="connsiteX5" fmla="*/ 2589789 w 2635237"/>
              <a:gd name="connsiteY5" fmla="*/ 1280727 h 1519886"/>
              <a:gd name="connsiteX6" fmla="*/ 2560125 w 2635237"/>
              <a:gd name="connsiteY6" fmla="*/ 1316559 h 1519886"/>
              <a:gd name="connsiteX7" fmla="*/ 2504608 w 2635237"/>
              <a:gd name="connsiteY7" fmla="*/ 1326356 h 1519886"/>
              <a:gd name="connsiteX8" fmla="*/ 2452357 w 2635237"/>
              <a:gd name="connsiteY8" fmla="*/ 1329622 h 1519886"/>
              <a:gd name="connsiteX9" fmla="*/ 2406637 w 2635237"/>
              <a:gd name="connsiteY9" fmla="*/ 1329622 h 1519886"/>
              <a:gd name="connsiteX10" fmla="*/ 2351120 w 2635237"/>
              <a:gd name="connsiteY10" fmla="*/ 1342685 h 1519886"/>
              <a:gd name="connsiteX11" fmla="*/ 2302497 w 2635237"/>
              <a:gd name="connsiteY11" fmla="*/ 1372348 h 1519886"/>
              <a:gd name="connsiteX12" fmla="*/ 2285805 w 2635237"/>
              <a:gd name="connsiteY12" fmla="*/ 1411265 h 1519886"/>
              <a:gd name="connsiteX13" fmla="*/ 2246617 w 2635237"/>
              <a:gd name="connsiteY13" fmla="*/ 1453719 h 1519886"/>
              <a:gd name="connsiteX14" fmla="*/ 2187834 w 2635237"/>
              <a:gd name="connsiteY14" fmla="*/ 1476579 h 1519886"/>
              <a:gd name="connsiteX15" fmla="*/ 2122520 w 2635237"/>
              <a:gd name="connsiteY15" fmla="*/ 1463516 h 1519886"/>
              <a:gd name="connsiteX16" fmla="*/ 2053940 w 2635237"/>
              <a:gd name="connsiteY16" fmla="*/ 1466782 h 1519886"/>
              <a:gd name="connsiteX17" fmla="*/ 2011485 w 2635237"/>
              <a:gd name="connsiteY17" fmla="*/ 1479845 h 1519886"/>
              <a:gd name="connsiteX18" fmla="*/ 1975562 w 2635237"/>
              <a:gd name="connsiteY18" fmla="*/ 1499439 h 1519886"/>
              <a:gd name="connsiteX19" fmla="*/ 1933017 w 2635237"/>
              <a:gd name="connsiteY19" fmla="*/ 1515677 h 1519886"/>
              <a:gd name="connsiteX20" fmla="*/ 1880675 w 2635237"/>
              <a:gd name="connsiteY20" fmla="*/ 1519305 h 1519886"/>
              <a:gd name="connsiteX21" fmla="*/ 1802480 w 2635237"/>
              <a:gd name="connsiteY21" fmla="*/ 1505970 h 1519886"/>
              <a:gd name="connsiteX22" fmla="*/ 1733900 w 2635237"/>
              <a:gd name="connsiteY22" fmla="*/ 1447187 h 1519886"/>
              <a:gd name="connsiteX23" fmla="*/ 1671851 w 2635237"/>
              <a:gd name="connsiteY23" fmla="*/ 1404733 h 1519886"/>
              <a:gd name="connsiteX24" fmla="*/ 1587010 w 2635237"/>
              <a:gd name="connsiteY24" fmla="*/ 1365817 h 1519886"/>
              <a:gd name="connsiteX25" fmla="*/ 1479174 w 2635237"/>
              <a:gd name="connsiteY25" fmla="*/ 1355747 h 1519886"/>
              <a:gd name="connsiteX26" fmla="*/ 1400797 w 2635237"/>
              <a:gd name="connsiteY26" fmla="*/ 1355747 h 1519886"/>
              <a:gd name="connsiteX27" fmla="*/ 1309357 w 2635237"/>
              <a:gd name="connsiteY27" fmla="*/ 1342685 h 1519886"/>
              <a:gd name="connsiteX28" fmla="*/ 1227714 w 2635237"/>
              <a:gd name="connsiteY28" fmla="*/ 1329622 h 1519886"/>
              <a:gd name="connsiteX29" fmla="*/ 1105386 w 2635237"/>
              <a:gd name="connsiteY29" fmla="*/ 1295195 h 1519886"/>
              <a:gd name="connsiteX30" fmla="*/ 969722 w 2635237"/>
              <a:gd name="connsiteY30" fmla="*/ 1257776 h 1519886"/>
              <a:gd name="connsiteX31" fmla="*/ 856920 w 2635237"/>
              <a:gd name="connsiteY31" fmla="*/ 1221581 h 1519886"/>
              <a:gd name="connsiteX32" fmla="*/ 754185 w 2635237"/>
              <a:gd name="connsiteY32" fmla="*/ 1189196 h 1519886"/>
              <a:gd name="connsiteX33" fmla="*/ 662745 w 2635237"/>
              <a:gd name="connsiteY33" fmla="*/ 1159805 h 1519886"/>
              <a:gd name="connsiteX34" fmla="*/ 560351 w 2635237"/>
              <a:gd name="connsiteY34" fmla="*/ 1134291 h 1519886"/>
              <a:gd name="connsiteX35" fmla="*/ 457005 w 2635237"/>
              <a:gd name="connsiteY35" fmla="*/ 1123882 h 1519886"/>
              <a:gd name="connsiteX36" fmla="*/ 378628 w 2635237"/>
              <a:gd name="connsiteY36" fmla="*/ 1117350 h 1519886"/>
              <a:gd name="connsiteX37" fmla="*/ 251877 w 2635237"/>
              <a:gd name="connsiteY37" fmla="*/ 1082312 h 1519886"/>
              <a:gd name="connsiteX38" fmla="*/ 176154 w 2635237"/>
              <a:gd name="connsiteY38" fmla="*/ 1044007 h 1519886"/>
              <a:gd name="connsiteX39" fmla="*/ 104648 w 2635237"/>
              <a:gd name="connsiteY39" fmla="*/ 975496 h 1519886"/>
              <a:gd name="connsiteX40" fmla="*/ 60017 w 2635237"/>
              <a:gd name="connsiteY40" fmla="*/ 916985 h 1519886"/>
              <a:gd name="connsiteX41" fmla="*/ 23821 w 2635237"/>
              <a:gd name="connsiteY41" fmla="*/ 827927 h 1519886"/>
              <a:gd name="connsiteX42" fmla="*/ 2458 w 2635237"/>
              <a:gd name="connsiteY42" fmla="*/ 728730 h 1519886"/>
              <a:gd name="connsiteX43" fmla="*/ 10215 w 2635237"/>
              <a:gd name="connsiteY43" fmla="*/ 617696 h 1519886"/>
              <a:gd name="connsiteX44" fmla="*/ 57431 w 2635237"/>
              <a:gd name="connsiteY44" fmla="*/ 510472 h 1519886"/>
              <a:gd name="connsiteX45" fmla="*/ 113493 w 2635237"/>
              <a:gd name="connsiteY45" fmla="*/ 454410 h 1519886"/>
              <a:gd name="connsiteX46" fmla="*/ 221874 w 2635237"/>
              <a:gd name="connsiteY46" fmla="*/ 376033 h 1519886"/>
              <a:gd name="connsiteX47" fmla="*/ 368831 w 2635237"/>
              <a:gd name="connsiteY47" fmla="*/ 307453 h 1519886"/>
              <a:gd name="connsiteX48" fmla="*/ 525585 w 2635237"/>
              <a:gd name="connsiteY48" fmla="*/ 261733 h 1519886"/>
              <a:gd name="connsiteX49" fmla="*/ 649682 w 2635237"/>
              <a:gd name="connsiteY49" fmla="*/ 229689 h 1519886"/>
              <a:gd name="connsiteX50" fmla="*/ 795755 w 2635237"/>
              <a:gd name="connsiteY50" fmla="*/ 194649 h 1519886"/>
              <a:gd name="connsiteX51" fmla="*/ 953394 w 2635237"/>
              <a:gd name="connsiteY51" fmla="*/ 160496 h 1519886"/>
              <a:gd name="connsiteX52" fmla="*/ 1144982 w 2635237"/>
              <a:gd name="connsiteY52" fmla="*/ 109674 h 1519886"/>
              <a:gd name="connsiteX53" fmla="*/ 1397531 w 2635237"/>
              <a:gd name="connsiteY53" fmla="*/ 42930 h 1519886"/>
              <a:gd name="connsiteX54" fmla="*/ 1547754 w 2635237"/>
              <a:gd name="connsiteY54" fmla="*/ 12043 h 1519886"/>
              <a:gd name="connsiteX55" fmla="*/ 1657042 w 2635237"/>
              <a:gd name="connsiteY55" fmla="*/ 567 h 1519886"/>
              <a:gd name="connsiteX56" fmla="*/ 1769822 w 2635237"/>
              <a:gd name="connsiteY56" fmla="*/ 13267 h 1519886"/>
              <a:gd name="connsiteX57" fmla="*/ 1876163 w 2635237"/>
              <a:gd name="connsiteY57" fmla="*/ 65518 h 1519886"/>
              <a:gd name="connsiteX58" fmla="*/ 1975903 w 2635237"/>
              <a:gd name="connsiteY58" fmla="*/ 144780 h 1519886"/>
              <a:gd name="connsiteX59" fmla="*/ 2070881 w 2635237"/>
              <a:gd name="connsiteY59" fmla="*/ 222545 h 1519886"/>
              <a:gd name="connsiteX60" fmla="*/ 2155177 w 2635237"/>
              <a:gd name="connsiteY60" fmla="*/ 287859 h 1519886"/>
              <a:gd name="connsiteX61" fmla="*/ 2191100 w 2635237"/>
              <a:gd name="connsiteY61" fmla="*/ 333579 h 1519886"/>
              <a:gd name="connsiteX62" fmla="*/ 2210331 w 2635237"/>
              <a:gd name="connsiteY62" fmla="*/ 392090 h 1519886"/>
              <a:gd name="connsiteX63" fmla="*/ 2165155 w 2635237"/>
              <a:gd name="connsiteY63" fmla="*/ 463663 h 1519886"/>
              <a:gd name="connsiteX64" fmla="*/ 2062240 w 2635237"/>
              <a:gd name="connsiteY64" fmla="*/ 493327 h 1519886"/>
              <a:gd name="connsiteX65" fmla="*/ 1937259 w 2635237"/>
              <a:gd name="connsiteY65" fmla="*/ 495096 h 1519886"/>
              <a:gd name="connsiteX66" fmla="*/ 1857997 w 2635237"/>
              <a:gd name="connsiteY66" fmla="*/ 483802 h 1519886"/>
              <a:gd name="connsiteX67" fmla="*/ 1711040 w 2635237"/>
              <a:gd name="connsiteY67" fmla="*/ 460942 h 1519886"/>
              <a:gd name="connsiteX68" fmla="*/ 1570614 w 2635237"/>
              <a:gd name="connsiteY68" fmla="*/ 434816 h 1519886"/>
              <a:gd name="connsiteX69" fmla="*/ 1439985 w 2635237"/>
              <a:gd name="connsiteY69" fmla="*/ 415222 h 1519886"/>
              <a:gd name="connsiteX70" fmla="*/ 1325685 w 2635237"/>
              <a:gd name="connsiteY70" fmla="*/ 418487 h 1519886"/>
              <a:gd name="connsiteX71" fmla="*/ 1225061 w 2635237"/>
              <a:gd name="connsiteY71" fmla="*/ 443728 h 1519886"/>
              <a:gd name="connsiteX72" fmla="*/ 1139540 w 2635237"/>
              <a:gd name="connsiteY72" fmla="*/ 474005 h 1519886"/>
              <a:gd name="connsiteX73" fmla="*/ 1024695 w 2635237"/>
              <a:gd name="connsiteY73" fmla="*/ 519725 h 1519886"/>
              <a:gd name="connsiteX74" fmla="*/ 924002 w 2635237"/>
              <a:gd name="connsiteY74" fmla="*/ 556531 h 1519886"/>
              <a:gd name="connsiteX75" fmla="*/ 773168 w 2635237"/>
              <a:gd name="connsiteY75" fmla="*/ 579120 h 1519886"/>
              <a:gd name="connsiteX76" fmla="*/ 658051 w 2635237"/>
              <a:gd name="connsiteY76" fmla="*/ 581251 h 1519886"/>
              <a:gd name="connsiteX77" fmla="*/ 526220 w 2635237"/>
              <a:gd name="connsiteY77" fmla="*/ 582136 h 1519886"/>
              <a:gd name="connsiteX78" fmla="*/ 408110 w 2635237"/>
              <a:gd name="connsiteY78" fmla="*/ 571363 h 1519886"/>
              <a:gd name="connsiteX79" fmla="*/ 305535 w 2635237"/>
              <a:gd name="connsiteY79" fmla="*/ 559707 h 1519886"/>
              <a:gd name="connsiteX80" fmla="*/ 172888 w 2635237"/>
              <a:gd name="connsiteY80" fmla="*/ 549116 h 1519886"/>
              <a:gd name="connsiteX0" fmla="*/ 2635237 w 2635237"/>
              <a:gd name="connsiteY0" fmla="*/ 1016113 h 1520395"/>
              <a:gd name="connsiteX1" fmla="*/ 2625621 w 2635237"/>
              <a:gd name="connsiteY1" fmla="*/ 1071630 h 1520395"/>
              <a:gd name="connsiteX2" fmla="*/ 2626936 w 2635237"/>
              <a:gd name="connsiteY2" fmla="*/ 1129529 h 1520395"/>
              <a:gd name="connsiteX3" fmla="*/ 2625440 w 2635237"/>
              <a:gd name="connsiteY3" fmla="*/ 1176133 h 1520395"/>
              <a:gd name="connsiteX4" fmla="*/ 2621902 w 2635237"/>
              <a:gd name="connsiteY4" fmla="*/ 1231038 h 1520395"/>
              <a:gd name="connsiteX5" fmla="*/ 2589789 w 2635237"/>
              <a:gd name="connsiteY5" fmla="*/ 1280727 h 1520395"/>
              <a:gd name="connsiteX6" fmla="*/ 2560125 w 2635237"/>
              <a:gd name="connsiteY6" fmla="*/ 1316559 h 1520395"/>
              <a:gd name="connsiteX7" fmla="*/ 2504608 w 2635237"/>
              <a:gd name="connsiteY7" fmla="*/ 1326356 h 1520395"/>
              <a:gd name="connsiteX8" fmla="*/ 2452357 w 2635237"/>
              <a:gd name="connsiteY8" fmla="*/ 1329622 h 1520395"/>
              <a:gd name="connsiteX9" fmla="*/ 2406637 w 2635237"/>
              <a:gd name="connsiteY9" fmla="*/ 1329622 h 1520395"/>
              <a:gd name="connsiteX10" fmla="*/ 2351120 w 2635237"/>
              <a:gd name="connsiteY10" fmla="*/ 1342685 h 1520395"/>
              <a:gd name="connsiteX11" fmla="*/ 2302497 w 2635237"/>
              <a:gd name="connsiteY11" fmla="*/ 1372348 h 1520395"/>
              <a:gd name="connsiteX12" fmla="*/ 2285805 w 2635237"/>
              <a:gd name="connsiteY12" fmla="*/ 1411265 h 1520395"/>
              <a:gd name="connsiteX13" fmla="*/ 2246617 w 2635237"/>
              <a:gd name="connsiteY13" fmla="*/ 1453719 h 1520395"/>
              <a:gd name="connsiteX14" fmla="*/ 2187834 w 2635237"/>
              <a:gd name="connsiteY14" fmla="*/ 1476579 h 1520395"/>
              <a:gd name="connsiteX15" fmla="*/ 2122520 w 2635237"/>
              <a:gd name="connsiteY15" fmla="*/ 1463516 h 1520395"/>
              <a:gd name="connsiteX16" fmla="*/ 2053940 w 2635237"/>
              <a:gd name="connsiteY16" fmla="*/ 1466782 h 1520395"/>
              <a:gd name="connsiteX17" fmla="*/ 2011485 w 2635237"/>
              <a:gd name="connsiteY17" fmla="*/ 1479845 h 1520395"/>
              <a:gd name="connsiteX18" fmla="*/ 1975562 w 2635237"/>
              <a:gd name="connsiteY18" fmla="*/ 1499439 h 1520395"/>
              <a:gd name="connsiteX19" fmla="*/ 1933017 w 2635237"/>
              <a:gd name="connsiteY19" fmla="*/ 1515677 h 1520395"/>
              <a:gd name="connsiteX20" fmla="*/ 1880675 w 2635237"/>
              <a:gd name="connsiteY20" fmla="*/ 1519305 h 1520395"/>
              <a:gd name="connsiteX21" fmla="*/ 1802480 w 2635237"/>
              <a:gd name="connsiteY21" fmla="*/ 1498827 h 1520395"/>
              <a:gd name="connsiteX22" fmla="*/ 1733900 w 2635237"/>
              <a:gd name="connsiteY22" fmla="*/ 1447187 h 1520395"/>
              <a:gd name="connsiteX23" fmla="*/ 1671851 w 2635237"/>
              <a:gd name="connsiteY23" fmla="*/ 1404733 h 1520395"/>
              <a:gd name="connsiteX24" fmla="*/ 1587010 w 2635237"/>
              <a:gd name="connsiteY24" fmla="*/ 1365817 h 1520395"/>
              <a:gd name="connsiteX25" fmla="*/ 1479174 w 2635237"/>
              <a:gd name="connsiteY25" fmla="*/ 1355747 h 1520395"/>
              <a:gd name="connsiteX26" fmla="*/ 1400797 w 2635237"/>
              <a:gd name="connsiteY26" fmla="*/ 1355747 h 1520395"/>
              <a:gd name="connsiteX27" fmla="*/ 1309357 w 2635237"/>
              <a:gd name="connsiteY27" fmla="*/ 1342685 h 1520395"/>
              <a:gd name="connsiteX28" fmla="*/ 1227714 w 2635237"/>
              <a:gd name="connsiteY28" fmla="*/ 1329622 h 1520395"/>
              <a:gd name="connsiteX29" fmla="*/ 1105386 w 2635237"/>
              <a:gd name="connsiteY29" fmla="*/ 1295195 h 1520395"/>
              <a:gd name="connsiteX30" fmla="*/ 969722 w 2635237"/>
              <a:gd name="connsiteY30" fmla="*/ 1257776 h 1520395"/>
              <a:gd name="connsiteX31" fmla="*/ 856920 w 2635237"/>
              <a:gd name="connsiteY31" fmla="*/ 1221581 h 1520395"/>
              <a:gd name="connsiteX32" fmla="*/ 754185 w 2635237"/>
              <a:gd name="connsiteY32" fmla="*/ 1189196 h 1520395"/>
              <a:gd name="connsiteX33" fmla="*/ 662745 w 2635237"/>
              <a:gd name="connsiteY33" fmla="*/ 1159805 h 1520395"/>
              <a:gd name="connsiteX34" fmla="*/ 560351 w 2635237"/>
              <a:gd name="connsiteY34" fmla="*/ 1134291 h 1520395"/>
              <a:gd name="connsiteX35" fmla="*/ 457005 w 2635237"/>
              <a:gd name="connsiteY35" fmla="*/ 1123882 h 1520395"/>
              <a:gd name="connsiteX36" fmla="*/ 378628 w 2635237"/>
              <a:gd name="connsiteY36" fmla="*/ 1117350 h 1520395"/>
              <a:gd name="connsiteX37" fmla="*/ 251877 w 2635237"/>
              <a:gd name="connsiteY37" fmla="*/ 1082312 h 1520395"/>
              <a:gd name="connsiteX38" fmla="*/ 176154 w 2635237"/>
              <a:gd name="connsiteY38" fmla="*/ 1044007 h 1520395"/>
              <a:gd name="connsiteX39" fmla="*/ 104648 w 2635237"/>
              <a:gd name="connsiteY39" fmla="*/ 975496 h 1520395"/>
              <a:gd name="connsiteX40" fmla="*/ 60017 w 2635237"/>
              <a:gd name="connsiteY40" fmla="*/ 916985 h 1520395"/>
              <a:gd name="connsiteX41" fmla="*/ 23821 w 2635237"/>
              <a:gd name="connsiteY41" fmla="*/ 827927 h 1520395"/>
              <a:gd name="connsiteX42" fmla="*/ 2458 w 2635237"/>
              <a:gd name="connsiteY42" fmla="*/ 728730 h 1520395"/>
              <a:gd name="connsiteX43" fmla="*/ 10215 w 2635237"/>
              <a:gd name="connsiteY43" fmla="*/ 617696 h 1520395"/>
              <a:gd name="connsiteX44" fmla="*/ 57431 w 2635237"/>
              <a:gd name="connsiteY44" fmla="*/ 510472 h 1520395"/>
              <a:gd name="connsiteX45" fmla="*/ 113493 w 2635237"/>
              <a:gd name="connsiteY45" fmla="*/ 454410 h 1520395"/>
              <a:gd name="connsiteX46" fmla="*/ 221874 w 2635237"/>
              <a:gd name="connsiteY46" fmla="*/ 376033 h 1520395"/>
              <a:gd name="connsiteX47" fmla="*/ 368831 w 2635237"/>
              <a:gd name="connsiteY47" fmla="*/ 307453 h 1520395"/>
              <a:gd name="connsiteX48" fmla="*/ 525585 w 2635237"/>
              <a:gd name="connsiteY48" fmla="*/ 261733 h 1520395"/>
              <a:gd name="connsiteX49" fmla="*/ 649682 w 2635237"/>
              <a:gd name="connsiteY49" fmla="*/ 229689 h 1520395"/>
              <a:gd name="connsiteX50" fmla="*/ 795755 w 2635237"/>
              <a:gd name="connsiteY50" fmla="*/ 194649 h 1520395"/>
              <a:gd name="connsiteX51" fmla="*/ 953394 w 2635237"/>
              <a:gd name="connsiteY51" fmla="*/ 160496 h 1520395"/>
              <a:gd name="connsiteX52" fmla="*/ 1144982 w 2635237"/>
              <a:gd name="connsiteY52" fmla="*/ 109674 h 1520395"/>
              <a:gd name="connsiteX53" fmla="*/ 1397531 w 2635237"/>
              <a:gd name="connsiteY53" fmla="*/ 42930 h 1520395"/>
              <a:gd name="connsiteX54" fmla="*/ 1547754 w 2635237"/>
              <a:gd name="connsiteY54" fmla="*/ 12043 h 1520395"/>
              <a:gd name="connsiteX55" fmla="*/ 1657042 w 2635237"/>
              <a:gd name="connsiteY55" fmla="*/ 567 h 1520395"/>
              <a:gd name="connsiteX56" fmla="*/ 1769822 w 2635237"/>
              <a:gd name="connsiteY56" fmla="*/ 13267 h 1520395"/>
              <a:gd name="connsiteX57" fmla="*/ 1876163 w 2635237"/>
              <a:gd name="connsiteY57" fmla="*/ 65518 h 1520395"/>
              <a:gd name="connsiteX58" fmla="*/ 1975903 w 2635237"/>
              <a:gd name="connsiteY58" fmla="*/ 144780 h 1520395"/>
              <a:gd name="connsiteX59" fmla="*/ 2070881 w 2635237"/>
              <a:gd name="connsiteY59" fmla="*/ 222545 h 1520395"/>
              <a:gd name="connsiteX60" fmla="*/ 2155177 w 2635237"/>
              <a:gd name="connsiteY60" fmla="*/ 287859 h 1520395"/>
              <a:gd name="connsiteX61" fmla="*/ 2191100 w 2635237"/>
              <a:gd name="connsiteY61" fmla="*/ 333579 h 1520395"/>
              <a:gd name="connsiteX62" fmla="*/ 2210331 w 2635237"/>
              <a:gd name="connsiteY62" fmla="*/ 392090 h 1520395"/>
              <a:gd name="connsiteX63" fmla="*/ 2165155 w 2635237"/>
              <a:gd name="connsiteY63" fmla="*/ 463663 h 1520395"/>
              <a:gd name="connsiteX64" fmla="*/ 2062240 w 2635237"/>
              <a:gd name="connsiteY64" fmla="*/ 493327 h 1520395"/>
              <a:gd name="connsiteX65" fmla="*/ 1937259 w 2635237"/>
              <a:gd name="connsiteY65" fmla="*/ 495096 h 1520395"/>
              <a:gd name="connsiteX66" fmla="*/ 1857997 w 2635237"/>
              <a:gd name="connsiteY66" fmla="*/ 483802 h 1520395"/>
              <a:gd name="connsiteX67" fmla="*/ 1711040 w 2635237"/>
              <a:gd name="connsiteY67" fmla="*/ 460942 h 1520395"/>
              <a:gd name="connsiteX68" fmla="*/ 1570614 w 2635237"/>
              <a:gd name="connsiteY68" fmla="*/ 434816 h 1520395"/>
              <a:gd name="connsiteX69" fmla="*/ 1439985 w 2635237"/>
              <a:gd name="connsiteY69" fmla="*/ 415222 h 1520395"/>
              <a:gd name="connsiteX70" fmla="*/ 1325685 w 2635237"/>
              <a:gd name="connsiteY70" fmla="*/ 418487 h 1520395"/>
              <a:gd name="connsiteX71" fmla="*/ 1225061 w 2635237"/>
              <a:gd name="connsiteY71" fmla="*/ 443728 h 1520395"/>
              <a:gd name="connsiteX72" fmla="*/ 1139540 w 2635237"/>
              <a:gd name="connsiteY72" fmla="*/ 474005 h 1520395"/>
              <a:gd name="connsiteX73" fmla="*/ 1024695 w 2635237"/>
              <a:gd name="connsiteY73" fmla="*/ 519725 h 1520395"/>
              <a:gd name="connsiteX74" fmla="*/ 924002 w 2635237"/>
              <a:gd name="connsiteY74" fmla="*/ 556531 h 1520395"/>
              <a:gd name="connsiteX75" fmla="*/ 773168 w 2635237"/>
              <a:gd name="connsiteY75" fmla="*/ 579120 h 1520395"/>
              <a:gd name="connsiteX76" fmla="*/ 658051 w 2635237"/>
              <a:gd name="connsiteY76" fmla="*/ 581251 h 1520395"/>
              <a:gd name="connsiteX77" fmla="*/ 526220 w 2635237"/>
              <a:gd name="connsiteY77" fmla="*/ 582136 h 1520395"/>
              <a:gd name="connsiteX78" fmla="*/ 408110 w 2635237"/>
              <a:gd name="connsiteY78" fmla="*/ 571363 h 1520395"/>
              <a:gd name="connsiteX79" fmla="*/ 305535 w 2635237"/>
              <a:gd name="connsiteY79" fmla="*/ 559707 h 1520395"/>
              <a:gd name="connsiteX80" fmla="*/ 172888 w 2635237"/>
              <a:gd name="connsiteY80" fmla="*/ 549116 h 1520395"/>
              <a:gd name="connsiteX0" fmla="*/ 2635237 w 2635237"/>
              <a:gd name="connsiteY0" fmla="*/ 1016113 h 1520395"/>
              <a:gd name="connsiteX1" fmla="*/ 2625621 w 2635237"/>
              <a:gd name="connsiteY1" fmla="*/ 1071630 h 1520395"/>
              <a:gd name="connsiteX2" fmla="*/ 2626936 w 2635237"/>
              <a:gd name="connsiteY2" fmla="*/ 1129529 h 1520395"/>
              <a:gd name="connsiteX3" fmla="*/ 2625440 w 2635237"/>
              <a:gd name="connsiteY3" fmla="*/ 1176133 h 1520395"/>
              <a:gd name="connsiteX4" fmla="*/ 2621902 w 2635237"/>
              <a:gd name="connsiteY4" fmla="*/ 1231038 h 1520395"/>
              <a:gd name="connsiteX5" fmla="*/ 2589789 w 2635237"/>
              <a:gd name="connsiteY5" fmla="*/ 1280727 h 1520395"/>
              <a:gd name="connsiteX6" fmla="*/ 2560125 w 2635237"/>
              <a:gd name="connsiteY6" fmla="*/ 1316559 h 1520395"/>
              <a:gd name="connsiteX7" fmla="*/ 2504608 w 2635237"/>
              <a:gd name="connsiteY7" fmla="*/ 1326356 h 1520395"/>
              <a:gd name="connsiteX8" fmla="*/ 2452357 w 2635237"/>
              <a:gd name="connsiteY8" fmla="*/ 1329622 h 1520395"/>
              <a:gd name="connsiteX9" fmla="*/ 2406637 w 2635237"/>
              <a:gd name="connsiteY9" fmla="*/ 1329622 h 1520395"/>
              <a:gd name="connsiteX10" fmla="*/ 2351120 w 2635237"/>
              <a:gd name="connsiteY10" fmla="*/ 1342685 h 1520395"/>
              <a:gd name="connsiteX11" fmla="*/ 2302497 w 2635237"/>
              <a:gd name="connsiteY11" fmla="*/ 1372348 h 1520395"/>
              <a:gd name="connsiteX12" fmla="*/ 2285805 w 2635237"/>
              <a:gd name="connsiteY12" fmla="*/ 1411265 h 1520395"/>
              <a:gd name="connsiteX13" fmla="*/ 2246617 w 2635237"/>
              <a:gd name="connsiteY13" fmla="*/ 1453719 h 1520395"/>
              <a:gd name="connsiteX14" fmla="*/ 2187834 w 2635237"/>
              <a:gd name="connsiteY14" fmla="*/ 1476579 h 1520395"/>
              <a:gd name="connsiteX15" fmla="*/ 2122520 w 2635237"/>
              <a:gd name="connsiteY15" fmla="*/ 1463516 h 1520395"/>
              <a:gd name="connsiteX16" fmla="*/ 2053940 w 2635237"/>
              <a:gd name="connsiteY16" fmla="*/ 1466782 h 1520395"/>
              <a:gd name="connsiteX17" fmla="*/ 2011485 w 2635237"/>
              <a:gd name="connsiteY17" fmla="*/ 1479845 h 1520395"/>
              <a:gd name="connsiteX18" fmla="*/ 1975562 w 2635237"/>
              <a:gd name="connsiteY18" fmla="*/ 1499439 h 1520395"/>
              <a:gd name="connsiteX19" fmla="*/ 1933017 w 2635237"/>
              <a:gd name="connsiteY19" fmla="*/ 1515677 h 1520395"/>
              <a:gd name="connsiteX20" fmla="*/ 1880675 w 2635237"/>
              <a:gd name="connsiteY20" fmla="*/ 1519305 h 1520395"/>
              <a:gd name="connsiteX21" fmla="*/ 1802480 w 2635237"/>
              <a:gd name="connsiteY21" fmla="*/ 1498827 h 1520395"/>
              <a:gd name="connsiteX22" fmla="*/ 1733900 w 2635237"/>
              <a:gd name="connsiteY22" fmla="*/ 1447187 h 1520395"/>
              <a:gd name="connsiteX23" fmla="*/ 1671851 w 2635237"/>
              <a:gd name="connsiteY23" fmla="*/ 1404733 h 1520395"/>
              <a:gd name="connsiteX24" fmla="*/ 1587010 w 2635237"/>
              <a:gd name="connsiteY24" fmla="*/ 1365817 h 1520395"/>
              <a:gd name="connsiteX25" fmla="*/ 1479174 w 2635237"/>
              <a:gd name="connsiteY25" fmla="*/ 1355747 h 1520395"/>
              <a:gd name="connsiteX26" fmla="*/ 1400797 w 2635237"/>
              <a:gd name="connsiteY26" fmla="*/ 1355747 h 1520395"/>
              <a:gd name="connsiteX27" fmla="*/ 1309357 w 2635237"/>
              <a:gd name="connsiteY27" fmla="*/ 1342685 h 1520395"/>
              <a:gd name="connsiteX28" fmla="*/ 1227714 w 2635237"/>
              <a:gd name="connsiteY28" fmla="*/ 1329622 h 1520395"/>
              <a:gd name="connsiteX29" fmla="*/ 1105386 w 2635237"/>
              <a:gd name="connsiteY29" fmla="*/ 1295195 h 1520395"/>
              <a:gd name="connsiteX30" fmla="*/ 969722 w 2635237"/>
              <a:gd name="connsiteY30" fmla="*/ 1257776 h 1520395"/>
              <a:gd name="connsiteX31" fmla="*/ 856920 w 2635237"/>
              <a:gd name="connsiteY31" fmla="*/ 1221581 h 1520395"/>
              <a:gd name="connsiteX32" fmla="*/ 754185 w 2635237"/>
              <a:gd name="connsiteY32" fmla="*/ 1189196 h 1520395"/>
              <a:gd name="connsiteX33" fmla="*/ 662745 w 2635237"/>
              <a:gd name="connsiteY33" fmla="*/ 1159805 h 1520395"/>
              <a:gd name="connsiteX34" fmla="*/ 560351 w 2635237"/>
              <a:gd name="connsiteY34" fmla="*/ 1134291 h 1520395"/>
              <a:gd name="connsiteX35" fmla="*/ 457005 w 2635237"/>
              <a:gd name="connsiteY35" fmla="*/ 1123882 h 1520395"/>
              <a:gd name="connsiteX36" fmla="*/ 378628 w 2635237"/>
              <a:gd name="connsiteY36" fmla="*/ 1117350 h 1520395"/>
              <a:gd name="connsiteX37" fmla="*/ 251877 w 2635237"/>
              <a:gd name="connsiteY37" fmla="*/ 1082312 h 1520395"/>
              <a:gd name="connsiteX38" fmla="*/ 176154 w 2635237"/>
              <a:gd name="connsiteY38" fmla="*/ 1044007 h 1520395"/>
              <a:gd name="connsiteX39" fmla="*/ 104648 w 2635237"/>
              <a:gd name="connsiteY39" fmla="*/ 975496 h 1520395"/>
              <a:gd name="connsiteX40" fmla="*/ 60017 w 2635237"/>
              <a:gd name="connsiteY40" fmla="*/ 916985 h 1520395"/>
              <a:gd name="connsiteX41" fmla="*/ 23821 w 2635237"/>
              <a:gd name="connsiteY41" fmla="*/ 827927 h 1520395"/>
              <a:gd name="connsiteX42" fmla="*/ 2458 w 2635237"/>
              <a:gd name="connsiteY42" fmla="*/ 728730 h 1520395"/>
              <a:gd name="connsiteX43" fmla="*/ 10215 w 2635237"/>
              <a:gd name="connsiteY43" fmla="*/ 617696 h 1520395"/>
              <a:gd name="connsiteX44" fmla="*/ 57431 w 2635237"/>
              <a:gd name="connsiteY44" fmla="*/ 510472 h 1520395"/>
              <a:gd name="connsiteX45" fmla="*/ 113493 w 2635237"/>
              <a:gd name="connsiteY45" fmla="*/ 454410 h 1520395"/>
              <a:gd name="connsiteX46" fmla="*/ 221874 w 2635237"/>
              <a:gd name="connsiteY46" fmla="*/ 376033 h 1520395"/>
              <a:gd name="connsiteX47" fmla="*/ 368831 w 2635237"/>
              <a:gd name="connsiteY47" fmla="*/ 307453 h 1520395"/>
              <a:gd name="connsiteX48" fmla="*/ 525585 w 2635237"/>
              <a:gd name="connsiteY48" fmla="*/ 261733 h 1520395"/>
              <a:gd name="connsiteX49" fmla="*/ 649682 w 2635237"/>
              <a:gd name="connsiteY49" fmla="*/ 229689 h 1520395"/>
              <a:gd name="connsiteX50" fmla="*/ 795755 w 2635237"/>
              <a:gd name="connsiteY50" fmla="*/ 194649 h 1520395"/>
              <a:gd name="connsiteX51" fmla="*/ 953394 w 2635237"/>
              <a:gd name="connsiteY51" fmla="*/ 160496 h 1520395"/>
              <a:gd name="connsiteX52" fmla="*/ 1144982 w 2635237"/>
              <a:gd name="connsiteY52" fmla="*/ 109674 h 1520395"/>
              <a:gd name="connsiteX53" fmla="*/ 1397531 w 2635237"/>
              <a:gd name="connsiteY53" fmla="*/ 42930 h 1520395"/>
              <a:gd name="connsiteX54" fmla="*/ 1547754 w 2635237"/>
              <a:gd name="connsiteY54" fmla="*/ 12043 h 1520395"/>
              <a:gd name="connsiteX55" fmla="*/ 1657042 w 2635237"/>
              <a:gd name="connsiteY55" fmla="*/ 567 h 1520395"/>
              <a:gd name="connsiteX56" fmla="*/ 1769822 w 2635237"/>
              <a:gd name="connsiteY56" fmla="*/ 13267 h 1520395"/>
              <a:gd name="connsiteX57" fmla="*/ 1876163 w 2635237"/>
              <a:gd name="connsiteY57" fmla="*/ 65518 h 1520395"/>
              <a:gd name="connsiteX58" fmla="*/ 1975903 w 2635237"/>
              <a:gd name="connsiteY58" fmla="*/ 144780 h 1520395"/>
              <a:gd name="connsiteX59" fmla="*/ 2070881 w 2635237"/>
              <a:gd name="connsiteY59" fmla="*/ 222545 h 1520395"/>
              <a:gd name="connsiteX60" fmla="*/ 2155177 w 2635237"/>
              <a:gd name="connsiteY60" fmla="*/ 287859 h 1520395"/>
              <a:gd name="connsiteX61" fmla="*/ 2191100 w 2635237"/>
              <a:gd name="connsiteY61" fmla="*/ 333579 h 1520395"/>
              <a:gd name="connsiteX62" fmla="*/ 2210331 w 2635237"/>
              <a:gd name="connsiteY62" fmla="*/ 392090 h 1520395"/>
              <a:gd name="connsiteX63" fmla="*/ 2165155 w 2635237"/>
              <a:gd name="connsiteY63" fmla="*/ 463663 h 1520395"/>
              <a:gd name="connsiteX64" fmla="*/ 2062240 w 2635237"/>
              <a:gd name="connsiteY64" fmla="*/ 493327 h 1520395"/>
              <a:gd name="connsiteX65" fmla="*/ 1937259 w 2635237"/>
              <a:gd name="connsiteY65" fmla="*/ 495096 h 1520395"/>
              <a:gd name="connsiteX66" fmla="*/ 1857997 w 2635237"/>
              <a:gd name="connsiteY66" fmla="*/ 483802 h 1520395"/>
              <a:gd name="connsiteX67" fmla="*/ 1711040 w 2635237"/>
              <a:gd name="connsiteY67" fmla="*/ 460942 h 1520395"/>
              <a:gd name="connsiteX68" fmla="*/ 1570614 w 2635237"/>
              <a:gd name="connsiteY68" fmla="*/ 434816 h 1520395"/>
              <a:gd name="connsiteX69" fmla="*/ 1439985 w 2635237"/>
              <a:gd name="connsiteY69" fmla="*/ 415222 h 1520395"/>
              <a:gd name="connsiteX70" fmla="*/ 1325685 w 2635237"/>
              <a:gd name="connsiteY70" fmla="*/ 418487 h 1520395"/>
              <a:gd name="connsiteX71" fmla="*/ 1225061 w 2635237"/>
              <a:gd name="connsiteY71" fmla="*/ 443728 h 1520395"/>
              <a:gd name="connsiteX72" fmla="*/ 1139540 w 2635237"/>
              <a:gd name="connsiteY72" fmla="*/ 474005 h 1520395"/>
              <a:gd name="connsiteX73" fmla="*/ 1024695 w 2635237"/>
              <a:gd name="connsiteY73" fmla="*/ 519725 h 1520395"/>
              <a:gd name="connsiteX74" fmla="*/ 924002 w 2635237"/>
              <a:gd name="connsiteY74" fmla="*/ 556531 h 1520395"/>
              <a:gd name="connsiteX75" fmla="*/ 773168 w 2635237"/>
              <a:gd name="connsiteY75" fmla="*/ 579120 h 1520395"/>
              <a:gd name="connsiteX76" fmla="*/ 658051 w 2635237"/>
              <a:gd name="connsiteY76" fmla="*/ 581251 h 1520395"/>
              <a:gd name="connsiteX77" fmla="*/ 526220 w 2635237"/>
              <a:gd name="connsiteY77" fmla="*/ 582136 h 1520395"/>
              <a:gd name="connsiteX78" fmla="*/ 408110 w 2635237"/>
              <a:gd name="connsiteY78" fmla="*/ 571363 h 1520395"/>
              <a:gd name="connsiteX79" fmla="*/ 305535 w 2635237"/>
              <a:gd name="connsiteY79" fmla="*/ 559707 h 1520395"/>
              <a:gd name="connsiteX80" fmla="*/ 172888 w 2635237"/>
              <a:gd name="connsiteY80" fmla="*/ 549116 h 1520395"/>
              <a:gd name="connsiteX0" fmla="*/ 2635237 w 2635237"/>
              <a:gd name="connsiteY0" fmla="*/ 1016113 h 1521087"/>
              <a:gd name="connsiteX1" fmla="*/ 2625621 w 2635237"/>
              <a:gd name="connsiteY1" fmla="*/ 1071630 h 1521087"/>
              <a:gd name="connsiteX2" fmla="*/ 2626936 w 2635237"/>
              <a:gd name="connsiteY2" fmla="*/ 1129529 h 1521087"/>
              <a:gd name="connsiteX3" fmla="*/ 2625440 w 2635237"/>
              <a:gd name="connsiteY3" fmla="*/ 1176133 h 1521087"/>
              <a:gd name="connsiteX4" fmla="*/ 2621902 w 2635237"/>
              <a:gd name="connsiteY4" fmla="*/ 1231038 h 1521087"/>
              <a:gd name="connsiteX5" fmla="*/ 2589789 w 2635237"/>
              <a:gd name="connsiteY5" fmla="*/ 1280727 h 1521087"/>
              <a:gd name="connsiteX6" fmla="*/ 2560125 w 2635237"/>
              <a:gd name="connsiteY6" fmla="*/ 1316559 h 1521087"/>
              <a:gd name="connsiteX7" fmla="*/ 2504608 w 2635237"/>
              <a:gd name="connsiteY7" fmla="*/ 1326356 h 1521087"/>
              <a:gd name="connsiteX8" fmla="*/ 2452357 w 2635237"/>
              <a:gd name="connsiteY8" fmla="*/ 1329622 h 1521087"/>
              <a:gd name="connsiteX9" fmla="*/ 2406637 w 2635237"/>
              <a:gd name="connsiteY9" fmla="*/ 1329622 h 1521087"/>
              <a:gd name="connsiteX10" fmla="*/ 2351120 w 2635237"/>
              <a:gd name="connsiteY10" fmla="*/ 1342685 h 1521087"/>
              <a:gd name="connsiteX11" fmla="*/ 2302497 w 2635237"/>
              <a:gd name="connsiteY11" fmla="*/ 1372348 h 1521087"/>
              <a:gd name="connsiteX12" fmla="*/ 2285805 w 2635237"/>
              <a:gd name="connsiteY12" fmla="*/ 1411265 h 1521087"/>
              <a:gd name="connsiteX13" fmla="*/ 2246617 w 2635237"/>
              <a:gd name="connsiteY13" fmla="*/ 1453719 h 1521087"/>
              <a:gd name="connsiteX14" fmla="*/ 2187834 w 2635237"/>
              <a:gd name="connsiteY14" fmla="*/ 1476579 h 1521087"/>
              <a:gd name="connsiteX15" fmla="*/ 2122520 w 2635237"/>
              <a:gd name="connsiteY15" fmla="*/ 1463516 h 1521087"/>
              <a:gd name="connsiteX16" fmla="*/ 2053940 w 2635237"/>
              <a:gd name="connsiteY16" fmla="*/ 1466782 h 1521087"/>
              <a:gd name="connsiteX17" fmla="*/ 2011485 w 2635237"/>
              <a:gd name="connsiteY17" fmla="*/ 1479845 h 1521087"/>
              <a:gd name="connsiteX18" fmla="*/ 1975562 w 2635237"/>
              <a:gd name="connsiteY18" fmla="*/ 1499439 h 1521087"/>
              <a:gd name="connsiteX19" fmla="*/ 1933017 w 2635237"/>
              <a:gd name="connsiteY19" fmla="*/ 1515677 h 1521087"/>
              <a:gd name="connsiteX20" fmla="*/ 1880675 w 2635237"/>
              <a:gd name="connsiteY20" fmla="*/ 1519305 h 1521087"/>
              <a:gd name="connsiteX21" fmla="*/ 1802480 w 2635237"/>
              <a:gd name="connsiteY21" fmla="*/ 1489302 h 1521087"/>
              <a:gd name="connsiteX22" fmla="*/ 1733900 w 2635237"/>
              <a:gd name="connsiteY22" fmla="*/ 1447187 h 1521087"/>
              <a:gd name="connsiteX23" fmla="*/ 1671851 w 2635237"/>
              <a:gd name="connsiteY23" fmla="*/ 1404733 h 1521087"/>
              <a:gd name="connsiteX24" fmla="*/ 1587010 w 2635237"/>
              <a:gd name="connsiteY24" fmla="*/ 1365817 h 1521087"/>
              <a:gd name="connsiteX25" fmla="*/ 1479174 w 2635237"/>
              <a:gd name="connsiteY25" fmla="*/ 1355747 h 1521087"/>
              <a:gd name="connsiteX26" fmla="*/ 1400797 w 2635237"/>
              <a:gd name="connsiteY26" fmla="*/ 1355747 h 1521087"/>
              <a:gd name="connsiteX27" fmla="*/ 1309357 w 2635237"/>
              <a:gd name="connsiteY27" fmla="*/ 1342685 h 1521087"/>
              <a:gd name="connsiteX28" fmla="*/ 1227714 w 2635237"/>
              <a:gd name="connsiteY28" fmla="*/ 1329622 h 1521087"/>
              <a:gd name="connsiteX29" fmla="*/ 1105386 w 2635237"/>
              <a:gd name="connsiteY29" fmla="*/ 1295195 h 1521087"/>
              <a:gd name="connsiteX30" fmla="*/ 969722 w 2635237"/>
              <a:gd name="connsiteY30" fmla="*/ 1257776 h 1521087"/>
              <a:gd name="connsiteX31" fmla="*/ 856920 w 2635237"/>
              <a:gd name="connsiteY31" fmla="*/ 1221581 h 1521087"/>
              <a:gd name="connsiteX32" fmla="*/ 754185 w 2635237"/>
              <a:gd name="connsiteY32" fmla="*/ 1189196 h 1521087"/>
              <a:gd name="connsiteX33" fmla="*/ 662745 w 2635237"/>
              <a:gd name="connsiteY33" fmla="*/ 1159805 h 1521087"/>
              <a:gd name="connsiteX34" fmla="*/ 560351 w 2635237"/>
              <a:gd name="connsiteY34" fmla="*/ 1134291 h 1521087"/>
              <a:gd name="connsiteX35" fmla="*/ 457005 w 2635237"/>
              <a:gd name="connsiteY35" fmla="*/ 1123882 h 1521087"/>
              <a:gd name="connsiteX36" fmla="*/ 378628 w 2635237"/>
              <a:gd name="connsiteY36" fmla="*/ 1117350 h 1521087"/>
              <a:gd name="connsiteX37" fmla="*/ 251877 w 2635237"/>
              <a:gd name="connsiteY37" fmla="*/ 1082312 h 1521087"/>
              <a:gd name="connsiteX38" fmla="*/ 176154 w 2635237"/>
              <a:gd name="connsiteY38" fmla="*/ 1044007 h 1521087"/>
              <a:gd name="connsiteX39" fmla="*/ 104648 w 2635237"/>
              <a:gd name="connsiteY39" fmla="*/ 975496 h 1521087"/>
              <a:gd name="connsiteX40" fmla="*/ 60017 w 2635237"/>
              <a:gd name="connsiteY40" fmla="*/ 916985 h 1521087"/>
              <a:gd name="connsiteX41" fmla="*/ 23821 w 2635237"/>
              <a:gd name="connsiteY41" fmla="*/ 827927 h 1521087"/>
              <a:gd name="connsiteX42" fmla="*/ 2458 w 2635237"/>
              <a:gd name="connsiteY42" fmla="*/ 728730 h 1521087"/>
              <a:gd name="connsiteX43" fmla="*/ 10215 w 2635237"/>
              <a:gd name="connsiteY43" fmla="*/ 617696 h 1521087"/>
              <a:gd name="connsiteX44" fmla="*/ 57431 w 2635237"/>
              <a:gd name="connsiteY44" fmla="*/ 510472 h 1521087"/>
              <a:gd name="connsiteX45" fmla="*/ 113493 w 2635237"/>
              <a:gd name="connsiteY45" fmla="*/ 454410 h 1521087"/>
              <a:gd name="connsiteX46" fmla="*/ 221874 w 2635237"/>
              <a:gd name="connsiteY46" fmla="*/ 376033 h 1521087"/>
              <a:gd name="connsiteX47" fmla="*/ 368831 w 2635237"/>
              <a:gd name="connsiteY47" fmla="*/ 307453 h 1521087"/>
              <a:gd name="connsiteX48" fmla="*/ 525585 w 2635237"/>
              <a:gd name="connsiteY48" fmla="*/ 261733 h 1521087"/>
              <a:gd name="connsiteX49" fmla="*/ 649682 w 2635237"/>
              <a:gd name="connsiteY49" fmla="*/ 229689 h 1521087"/>
              <a:gd name="connsiteX50" fmla="*/ 795755 w 2635237"/>
              <a:gd name="connsiteY50" fmla="*/ 194649 h 1521087"/>
              <a:gd name="connsiteX51" fmla="*/ 953394 w 2635237"/>
              <a:gd name="connsiteY51" fmla="*/ 160496 h 1521087"/>
              <a:gd name="connsiteX52" fmla="*/ 1144982 w 2635237"/>
              <a:gd name="connsiteY52" fmla="*/ 109674 h 1521087"/>
              <a:gd name="connsiteX53" fmla="*/ 1397531 w 2635237"/>
              <a:gd name="connsiteY53" fmla="*/ 42930 h 1521087"/>
              <a:gd name="connsiteX54" fmla="*/ 1547754 w 2635237"/>
              <a:gd name="connsiteY54" fmla="*/ 12043 h 1521087"/>
              <a:gd name="connsiteX55" fmla="*/ 1657042 w 2635237"/>
              <a:gd name="connsiteY55" fmla="*/ 567 h 1521087"/>
              <a:gd name="connsiteX56" fmla="*/ 1769822 w 2635237"/>
              <a:gd name="connsiteY56" fmla="*/ 13267 h 1521087"/>
              <a:gd name="connsiteX57" fmla="*/ 1876163 w 2635237"/>
              <a:gd name="connsiteY57" fmla="*/ 65518 h 1521087"/>
              <a:gd name="connsiteX58" fmla="*/ 1975903 w 2635237"/>
              <a:gd name="connsiteY58" fmla="*/ 144780 h 1521087"/>
              <a:gd name="connsiteX59" fmla="*/ 2070881 w 2635237"/>
              <a:gd name="connsiteY59" fmla="*/ 222545 h 1521087"/>
              <a:gd name="connsiteX60" fmla="*/ 2155177 w 2635237"/>
              <a:gd name="connsiteY60" fmla="*/ 287859 h 1521087"/>
              <a:gd name="connsiteX61" fmla="*/ 2191100 w 2635237"/>
              <a:gd name="connsiteY61" fmla="*/ 333579 h 1521087"/>
              <a:gd name="connsiteX62" fmla="*/ 2210331 w 2635237"/>
              <a:gd name="connsiteY62" fmla="*/ 392090 h 1521087"/>
              <a:gd name="connsiteX63" fmla="*/ 2165155 w 2635237"/>
              <a:gd name="connsiteY63" fmla="*/ 463663 h 1521087"/>
              <a:gd name="connsiteX64" fmla="*/ 2062240 w 2635237"/>
              <a:gd name="connsiteY64" fmla="*/ 493327 h 1521087"/>
              <a:gd name="connsiteX65" fmla="*/ 1937259 w 2635237"/>
              <a:gd name="connsiteY65" fmla="*/ 495096 h 1521087"/>
              <a:gd name="connsiteX66" fmla="*/ 1857997 w 2635237"/>
              <a:gd name="connsiteY66" fmla="*/ 483802 h 1521087"/>
              <a:gd name="connsiteX67" fmla="*/ 1711040 w 2635237"/>
              <a:gd name="connsiteY67" fmla="*/ 460942 h 1521087"/>
              <a:gd name="connsiteX68" fmla="*/ 1570614 w 2635237"/>
              <a:gd name="connsiteY68" fmla="*/ 434816 h 1521087"/>
              <a:gd name="connsiteX69" fmla="*/ 1439985 w 2635237"/>
              <a:gd name="connsiteY69" fmla="*/ 415222 h 1521087"/>
              <a:gd name="connsiteX70" fmla="*/ 1325685 w 2635237"/>
              <a:gd name="connsiteY70" fmla="*/ 418487 h 1521087"/>
              <a:gd name="connsiteX71" fmla="*/ 1225061 w 2635237"/>
              <a:gd name="connsiteY71" fmla="*/ 443728 h 1521087"/>
              <a:gd name="connsiteX72" fmla="*/ 1139540 w 2635237"/>
              <a:gd name="connsiteY72" fmla="*/ 474005 h 1521087"/>
              <a:gd name="connsiteX73" fmla="*/ 1024695 w 2635237"/>
              <a:gd name="connsiteY73" fmla="*/ 519725 h 1521087"/>
              <a:gd name="connsiteX74" fmla="*/ 924002 w 2635237"/>
              <a:gd name="connsiteY74" fmla="*/ 556531 h 1521087"/>
              <a:gd name="connsiteX75" fmla="*/ 773168 w 2635237"/>
              <a:gd name="connsiteY75" fmla="*/ 579120 h 1521087"/>
              <a:gd name="connsiteX76" fmla="*/ 658051 w 2635237"/>
              <a:gd name="connsiteY76" fmla="*/ 581251 h 1521087"/>
              <a:gd name="connsiteX77" fmla="*/ 526220 w 2635237"/>
              <a:gd name="connsiteY77" fmla="*/ 582136 h 1521087"/>
              <a:gd name="connsiteX78" fmla="*/ 408110 w 2635237"/>
              <a:gd name="connsiteY78" fmla="*/ 571363 h 1521087"/>
              <a:gd name="connsiteX79" fmla="*/ 305535 w 2635237"/>
              <a:gd name="connsiteY79" fmla="*/ 559707 h 1521087"/>
              <a:gd name="connsiteX80" fmla="*/ 172888 w 2635237"/>
              <a:gd name="connsiteY80" fmla="*/ 549116 h 1521087"/>
              <a:gd name="connsiteX0" fmla="*/ 2635237 w 2635237"/>
              <a:gd name="connsiteY0" fmla="*/ 1016113 h 1521087"/>
              <a:gd name="connsiteX1" fmla="*/ 2625621 w 2635237"/>
              <a:gd name="connsiteY1" fmla="*/ 1071630 h 1521087"/>
              <a:gd name="connsiteX2" fmla="*/ 2626936 w 2635237"/>
              <a:gd name="connsiteY2" fmla="*/ 1129529 h 1521087"/>
              <a:gd name="connsiteX3" fmla="*/ 2625440 w 2635237"/>
              <a:gd name="connsiteY3" fmla="*/ 1176133 h 1521087"/>
              <a:gd name="connsiteX4" fmla="*/ 2621902 w 2635237"/>
              <a:gd name="connsiteY4" fmla="*/ 1231038 h 1521087"/>
              <a:gd name="connsiteX5" fmla="*/ 2589789 w 2635237"/>
              <a:gd name="connsiteY5" fmla="*/ 1280727 h 1521087"/>
              <a:gd name="connsiteX6" fmla="*/ 2560125 w 2635237"/>
              <a:gd name="connsiteY6" fmla="*/ 1316559 h 1521087"/>
              <a:gd name="connsiteX7" fmla="*/ 2504608 w 2635237"/>
              <a:gd name="connsiteY7" fmla="*/ 1326356 h 1521087"/>
              <a:gd name="connsiteX8" fmla="*/ 2452357 w 2635237"/>
              <a:gd name="connsiteY8" fmla="*/ 1329622 h 1521087"/>
              <a:gd name="connsiteX9" fmla="*/ 2406637 w 2635237"/>
              <a:gd name="connsiteY9" fmla="*/ 1329622 h 1521087"/>
              <a:gd name="connsiteX10" fmla="*/ 2351120 w 2635237"/>
              <a:gd name="connsiteY10" fmla="*/ 1342685 h 1521087"/>
              <a:gd name="connsiteX11" fmla="*/ 2302497 w 2635237"/>
              <a:gd name="connsiteY11" fmla="*/ 1372348 h 1521087"/>
              <a:gd name="connsiteX12" fmla="*/ 2285805 w 2635237"/>
              <a:gd name="connsiteY12" fmla="*/ 1411265 h 1521087"/>
              <a:gd name="connsiteX13" fmla="*/ 2246617 w 2635237"/>
              <a:gd name="connsiteY13" fmla="*/ 1453719 h 1521087"/>
              <a:gd name="connsiteX14" fmla="*/ 2187834 w 2635237"/>
              <a:gd name="connsiteY14" fmla="*/ 1476579 h 1521087"/>
              <a:gd name="connsiteX15" fmla="*/ 2122520 w 2635237"/>
              <a:gd name="connsiteY15" fmla="*/ 1463516 h 1521087"/>
              <a:gd name="connsiteX16" fmla="*/ 2053940 w 2635237"/>
              <a:gd name="connsiteY16" fmla="*/ 1466782 h 1521087"/>
              <a:gd name="connsiteX17" fmla="*/ 2011485 w 2635237"/>
              <a:gd name="connsiteY17" fmla="*/ 1479845 h 1521087"/>
              <a:gd name="connsiteX18" fmla="*/ 1975562 w 2635237"/>
              <a:gd name="connsiteY18" fmla="*/ 1499439 h 1521087"/>
              <a:gd name="connsiteX19" fmla="*/ 1933017 w 2635237"/>
              <a:gd name="connsiteY19" fmla="*/ 1515677 h 1521087"/>
              <a:gd name="connsiteX20" fmla="*/ 1880675 w 2635237"/>
              <a:gd name="connsiteY20" fmla="*/ 1519305 h 1521087"/>
              <a:gd name="connsiteX21" fmla="*/ 1802480 w 2635237"/>
              <a:gd name="connsiteY21" fmla="*/ 1489302 h 1521087"/>
              <a:gd name="connsiteX22" fmla="*/ 1733900 w 2635237"/>
              <a:gd name="connsiteY22" fmla="*/ 1447187 h 1521087"/>
              <a:gd name="connsiteX23" fmla="*/ 1671851 w 2635237"/>
              <a:gd name="connsiteY23" fmla="*/ 1404733 h 1521087"/>
              <a:gd name="connsiteX24" fmla="*/ 1587010 w 2635237"/>
              <a:gd name="connsiteY24" fmla="*/ 1365817 h 1521087"/>
              <a:gd name="connsiteX25" fmla="*/ 1479174 w 2635237"/>
              <a:gd name="connsiteY25" fmla="*/ 1355747 h 1521087"/>
              <a:gd name="connsiteX26" fmla="*/ 1400797 w 2635237"/>
              <a:gd name="connsiteY26" fmla="*/ 1355747 h 1521087"/>
              <a:gd name="connsiteX27" fmla="*/ 1309357 w 2635237"/>
              <a:gd name="connsiteY27" fmla="*/ 1342685 h 1521087"/>
              <a:gd name="connsiteX28" fmla="*/ 1227714 w 2635237"/>
              <a:gd name="connsiteY28" fmla="*/ 1329622 h 1521087"/>
              <a:gd name="connsiteX29" fmla="*/ 1105386 w 2635237"/>
              <a:gd name="connsiteY29" fmla="*/ 1295195 h 1521087"/>
              <a:gd name="connsiteX30" fmla="*/ 969722 w 2635237"/>
              <a:gd name="connsiteY30" fmla="*/ 1257776 h 1521087"/>
              <a:gd name="connsiteX31" fmla="*/ 856920 w 2635237"/>
              <a:gd name="connsiteY31" fmla="*/ 1221581 h 1521087"/>
              <a:gd name="connsiteX32" fmla="*/ 754185 w 2635237"/>
              <a:gd name="connsiteY32" fmla="*/ 1189196 h 1521087"/>
              <a:gd name="connsiteX33" fmla="*/ 662745 w 2635237"/>
              <a:gd name="connsiteY33" fmla="*/ 1159805 h 1521087"/>
              <a:gd name="connsiteX34" fmla="*/ 560351 w 2635237"/>
              <a:gd name="connsiteY34" fmla="*/ 1134291 h 1521087"/>
              <a:gd name="connsiteX35" fmla="*/ 457005 w 2635237"/>
              <a:gd name="connsiteY35" fmla="*/ 1123882 h 1521087"/>
              <a:gd name="connsiteX36" fmla="*/ 378628 w 2635237"/>
              <a:gd name="connsiteY36" fmla="*/ 1117350 h 1521087"/>
              <a:gd name="connsiteX37" fmla="*/ 251877 w 2635237"/>
              <a:gd name="connsiteY37" fmla="*/ 1082312 h 1521087"/>
              <a:gd name="connsiteX38" fmla="*/ 176154 w 2635237"/>
              <a:gd name="connsiteY38" fmla="*/ 1044007 h 1521087"/>
              <a:gd name="connsiteX39" fmla="*/ 104648 w 2635237"/>
              <a:gd name="connsiteY39" fmla="*/ 975496 h 1521087"/>
              <a:gd name="connsiteX40" fmla="*/ 60017 w 2635237"/>
              <a:gd name="connsiteY40" fmla="*/ 916985 h 1521087"/>
              <a:gd name="connsiteX41" fmla="*/ 23821 w 2635237"/>
              <a:gd name="connsiteY41" fmla="*/ 827927 h 1521087"/>
              <a:gd name="connsiteX42" fmla="*/ 2458 w 2635237"/>
              <a:gd name="connsiteY42" fmla="*/ 728730 h 1521087"/>
              <a:gd name="connsiteX43" fmla="*/ 10215 w 2635237"/>
              <a:gd name="connsiteY43" fmla="*/ 617696 h 1521087"/>
              <a:gd name="connsiteX44" fmla="*/ 57431 w 2635237"/>
              <a:gd name="connsiteY44" fmla="*/ 510472 h 1521087"/>
              <a:gd name="connsiteX45" fmla="*/ 113493 w 2635237"/>
              <a:gd name="connsiteY45" fmla="*/ 454410 h 1521087"/>
              <a:gd name="connsiteX46" fmla="*/ 221874 w 2635237"/>
              <a:gd name="connsiteY46" fmla="*/ 376033 h 1521087"/>
              <a:gd name="connsiteX47" fmla="*/ 368831 w 2635237"/>
              <a:gd name="connsiteY47" fmla="*/ 307453 h 1521087"/>
              <a:gd name="connsiteX48" fmla="*/ 525585 w 2635237"/>
              <a:gd name="connsiteY48" fmla="*/ 261733 h 1521087"/>
              <a:gd name="connsiteX49" fmla="*/ 649682 w 2635237"/>
              <a:gd name="connsiteY49" fmla="*/ 229689 h 1521087"/>
              <a:gd name="connsiteX50" fmla="*/ 795755 w 2635237"/>
              <a:gd name="connsiteY50" fmla="*/ 194649 h 1521087"/>
              <a:gd name="connsiteX51" fmla="*/ 953394 w 2635237"/>
              <a:gd name="connsiteY51" fmla="*/ 160496 h 1521087"/>
              <a:gd name="connsiteX52" fmla="*/ 1144982 w 2635237"/>
              <a:gd name="connsiteY52" fmla="*/ 109674 h 1521087"/>
              <a:gd name="connsiteX53" fmla="*/ 1397531 w 2635237"/>
              <a:gd name="connsiteY53" fmla="*/ 42930 h 1521087"/>
              <a:gd name="connsiteX54" fmla="*/ 1547754 w 2635237"/>
              <a:gd name="connsiteY54" fmla="*/ 12043 h 1521087"/>
              <a:gd name="connsiteX55" fmla="*/ 1657042 w 2635237"/>
              <a:gd name="connsiteY55" fmla="*/ 567 h 1521087"/>
              <a:gd name="connsiteX56" fmla="*/ 1769822 w 2635237"/>
              <a:gd name="connsiteY56" fmla="*/ 13267 h 1521087"/>
              <a:gd name="connsiteX57" fmla="*/ 1876163 w 2635237"/>
              <a:gd name="connsiteY57" fmla="*/ 65518 h 1521087"/>
              <a:gd name="connsiteX58" fmla="*/ 1975903 w 2635237"/>
              <a:gd name="connsiteY58" fmla="*/ 144780 h 1521087"/>
              <a:gd name="connsiteX59" fmla="*/ 2070881 w 2635237"/>
              <a:gd name="connsiteY59" fmla="*/ 222545 h 1521087"/>
              <a:gd name="connsiteX60" fmla="*/ 2155177 w 2635237"/>
              <a:gd name="connsiteY60" fmla="*/ 287859 h 1521087"/>
              <a:gd name="connsiteX61" fmla="*/ 2191100 w 2635237"/>
              <a:gd name="connsiteY61" fmla="*/ 333579 h 1521087"/>
              <a:gd name="connsiteX62" fmla="*/ 2210331 w 2635237"/>
              <a:gd name="connsiteY62" fmla="*/ 392090 h 1521087"/>
              <a:gd name="connsiteX63" fmla="*/ 2165155 w 2635237"/>
              <a:gd name="connsiteY63" fmla="*/ 463663 h 1521087"/>
              <a:gd name="connsiteX64" fmla="*/ 2062240 w 2635237"/>
              <a:gd name="connsiteY64" fmla="*/ 493327 h 1521087"/>
              <a:gd name="connsiteX65" fmla="*/ 1937259 w 2635237"/>
              <a:gd name="connsiteY65" fmla="*/ 495096 h 1521087"/>
              <a:gd name="connsiteX66" fmla="*/ 1857997 w 2635237"/>
              <a:gd name="connsiteY66" fmla="*/ 483802 h 1521087"/>
              <a:gd name="connsiteX67" fmla="*/ 1711040 w 2635237"/>
              <a:gd name="connsiteY67" fmla="*/ 460942 h 1521087"/>
              <a:gd name="connsiteX68" fmla="*/ 1570614 w 2635237"/>
              <a:gd name="connsiteY68" fmla="*/ 434816 h 1521087"/>
              <a:gd name="connsiteX69" fmla="*/ 1439985 w 2635237"/>
              <a:gd name="connsiteY69" fmla="*/ 415222 h 1521087"/>
              <a:gd name="connsiteX70" fmla="*/ 1325685 w 2635237"/>
              <a:gd name="connsiteY70" fmla="*/ 418487 h 1521087"/>
              <a:gd name="connsiteX71" fmla="*/ 1225061 w 2635237"/>
              <a:gd name="connsiteY71" fmla="*/ 443728 h 1521087"/>
              <a:gd name="connsiteX72" fmla="*/ 1139540 w 2635237"/>
              <a:gd name="connsiteY72" fmla="*/ 474005 h 1521087"/>
              <a:gd name="connsiteX73" fmla="*/ 1024695 w 2635237"/>
              <a:gd name="connsiteY73" fmla="*/ 519725 h 1521087"/>
              <a:gd name="connsiteX74" fmla="*/ 924002 w 2635237"/>
              <a:gd name="connsiteY74" fmla="*/ 556531 h 1521087"/>
              <a:gd name="connsiteX75" fmla="*/ 773168 w 2635237"/>
              <a:gd name="connsiteY75" fmla="*/ 579120 h 1521087"/>
              <a:gd name="connsiteX76" fmla="*/ 658051 w 2635237"/>
              <a:gd name="connsiteY76" fmla="*/ 581251 h 1521087"/>
              <a:gd name="connsiteX77" fmla="*/ 526220 w 2635237"/>
              <a:gd name="connsiteY77" fmla="*/ 582136 h 1521087"/>
              <a:gd name="connsiteX78" fmla="*/ 408110 w 2635237"/>
              <a:gd name="connsiteY78" fmla="*/ 571363 h 1521087"/>
              <a:gd name="connsiteX79" fmla="*/ 305535 w 2635237"/>
              <a:gd name="connsiteY79" fmla="*/ 559707 h 1521087"/>
              <a:gd name="connsiteX80" fmla="*/ 172888 w 2635237"/>
              <a:gd name="connsiteY80" fmla="*/ 549116 h 1521087"/>
              <a:gd name="connsiteX0" fmla="*/ 2635237 w 2635237"/>
              <a:gd name="connsiteY0" fmla="*/ 1016113 h 1521087"/>
              <a:gd name="connsiteX1" fmla="*/ 2625621 w 2635237"/>
              <a:gd name="connsiteY1" fmla="*/ 1071630 h 1521087"/>
              <a:gd name="connsiteX2" fmla="*/ 2626936 w 2635237"/>
              <a:gd name="connsiteY2" fmla="*/ 1129529 h 1521087"/>
              <a:gd name="connsiteX3" fmla="*/ 2625440 w 2635237"/>
              <a:gd name="connsiteY3" fmla="*/ 1176133 h 1521087"/>
              <a:gd name="connsiteX4" fmla="*/ 2621902 w 2635237"/>
              <a:gd name="connsiteY4" fmla="*/ 1231038 h 1521087"/>
              <a:gd name="connsiteX5" fmla="*/ 2589789 w 2635237"/>
              <a:gd name="connsiteY5" fmla="*/ 1280727 h 1521087"/>
              <a:gd name="connsiteX6" fmla="*/ 2560125 w 2635237"/>
              <a:gd name="connsiteY6" fmla="*/ 1316559 h 1521087"/>
              <a:gd name="connsiteX7" fmla="*/ 2504608 w 2635237"/>
              <a:gd name="connsiteY7" fmla="*/ 1326356 h 1521087"/>
              <a:gd name="connsiteX8" fmla="*/ 2452357 w 2635237"/>
              <a:gd name="connsiteY8" fmla="*/ 1329622 h 1521087"/>
              <a:gd name="connsiteX9" fmla="*/ 2406637 w 2635237"/>
              <a:gd name="connsiteY9" fmla="*/ 1329622 h 1521087"/>
              <a:gd name="connsiteX10" fmla="*/ 2351120 w 2635237"/>
              <a:gd name="connsiteY10" fmla="*/ 1342685 h 1521087"/>
              <a:gd name="connsiteX11" fmla="*/ 2302497 w 2635237"/>
              <a:gd name="connsiteY11" fmla="*/ 1372348 h 1521087"/>
              <a:gd name="connsiteX12" fmla="*/ 2285805 w 2635237"/>
              <a:gd name="connsiteY12" fmla="*/ 1411265 h 1521087"/>
              <a:gd name="connsiteX13" fmla="*/ 2246617 w 2635237"/>
              <a:gd name="connsiteY13" fmla="*/ 1453719 h 1521087"/>
              <a:gd name="connsiteX14" fmla="*/ 2187834 w 2635237"/>
              <a:gd name="connsiteY14" fmla="*/ 1476579 h 1521087"/>
              <a:gd name="connsiteX15" fmla="*/ 2122520 w 2635237"/>
              <a:gd name="connsiteY15" fmla="*/ 1463516 h 1521087"/>
              <a:gd name="connsiteX16" fmla="*/ 2053940 w 2635237"/>
              <a:gd name="connsiteY16" fmla="*/ 1466782 h 1521087"/>
              <a:gd name="connsiteX17" fmla="*/ 2011485 w 2635237"/>
              <a:gd name="connsiteY17" fmla="*/ 1479845 h 1521087"/>
              <a:gd name="connsiteX18" fmla="*/ 1975562 w 2635237"/>
              <a:gd name="connsiteY18" fmla="*/ 1499439 h 1521087"/>
              <a:gd name="connsiteX19" fmla="*/ 1933017 w 2635237"/>
              <a:gd name="connsiteY19" fmla="*/ 1515677 h 1521087"/>
              <a:gd name="connsiteX20" fmla="*/ 1880675 w 2635237"/>
              <a:gd name="connsiteY20" fmla="*/ 1519305 h 1521087"/>
              <a:gd name="connsiteX21" fmla="*/ 1802480 w 2635237"/>
              <a:gd name="connsiteY21" fmla="*/ 1489302 h 1521087"/>
              <a:gd name="connsiteX22" fmla="*/ 1733900 w 2635237"/>
              <a:gd name="connsiteY22" fmla="*/ 1447187 h 1521087"/>
              <a:gd name="connsiteX23" fmla="*/ 1671851 w 2635237"/>
              <a:gd name="connsiteY23" fmla="*/ 1404733 h 1521087"/>
              <a:gd name="connsiteX24" fmla="*/ 1587010 w 2635237"/>
              <a:gd name="connsiteY24" fmla="*/ 1365817 h 1521087"/>
              <a:gd name="connsiteX25" fmla="*/ 1479174 w 2635237"/>
              <a:gd name="connsiteY25" fmla="*/ 1355747 h 1521087"/>
              <a:gd name="connsiteX26" fmla="*/ 1400797 w 2635237"/>
              <a:gd name="connsiteY26" fmla="*/ 1355747 h 1521087"/>
              <a:gd name="connsiteX27" fmla="*/ 1309357 w 2635237"/>
              <a:gd name="connsiteY27" fmla="*/ 1342685 h 1521087"/>
              <a:gd name="connsiteX28" fmla="*/ 1227714 w 2635237"/>
              <a:gd name="connsiteY28" fmla="*/ 1329622 h 1521087"/>
              <a:gd name="connsiteX29" fmla="*/ 1105386 w 2635237"/>
              <a:gd name="connsiteY29" fmla="*/ 1295195 h 1521087"/>
              <a:gd name="connsiteX30" fmla="*/ 969722 w 2635237"/>
              <a:gd name="connsiteY30" fmla="*/ 1257776 h 1521087"/>
              <a:gd name="connsiteX31" fmla="*/ 856920 w 2635237"/>
              <a:gd name="connsiteY31" fmla="*/ 1221581 h 1521087"/>
              <a:gd name="connsiteX32" fmla="*/ 754185 w 2635237"/>
              <a:gd name="connsiteY32" fmla="*/ 1189196 h 1521087"/>
              <a:gd name="connsiteX33" fmla="*/ 662745 w 2635237"/>
              <a:gd name="connsiteY33" fmla="*/ 1159805 h 1521087"/>
              <a:gd name="connsiteX34" fmla="*/ 560351 w 2635237"/>
              <a:gd name="connsiteY34" fmla="*/ 1134291 h 1521087"/>
              <a:gd name="connsiteX35" fmla="*/ 457005 w 2635237"/>
              <a:gd name="connsiteY35" fmla="*/ 1123882 h 1521087"/>
              <a:gd name="connsiteX36" fmla="*/ 378628 w 2635237"/>
              <a:gd name="connsiteY36" fmla="*/ 1117350 h 1521087"/>
              <a:gd name="connsiteX37" fmla="*/ 251877 w 2635237"/>
              <a:gd name="connsiteY37" fmla="*/ 1082312 h 1521087"/>
              <a:gd name="connsiteX38" fmla="*/ 176154 w 2635237"/>
              <a:gd name="connsiteY38" fmla="*/ 1044007 h 1521087"/>
              <a:gd name="connsiteX39" fmla="*/ 104648 w 2635237"/>
              <a:gd name="connsiteY39" fmla="*/ 975496 h 1521087"/>
              <a:gd name="connsiteX40" fmla="*/ 60017 w 2635237"/>
              <a:gd name="connsiteY40" fmla="*/ 916985 h 1521087"/>
              <a:gd name="connsiteX41" fmla="*/ 23821 w 2635237"/>
              <a:gd name="connsiteY41" fmla="*/ 827927 h 1521087"/>
              <a:gd name="connsiteX42" fmla="*/ 2458 w 2635237"/>
              <a:gd name="connsiteY42" fmla="*/ 728730 h 1521087"/>
              <a:gd name="connsiteX43" fmla="*/ 10215 w 2635237"/>
              <a:gd name="connsiteY43" fmla="*/ 617696 h 1521087"/>
              <a:gd name="connsiteX44" fmla="*/ 57431 w 2635237"/>
              <a:gd name="connsiteY44" fmla="*/ 510472 h 1521087"/>
              <a:gd name="connsiteX45" fmla="*/ 113493 w 2635237"/>
              <a:gd name="connsiteY45" fmla="*/ 454410 h 1521087"/>
              <a:gd name="connsiteX46" fmla="*/ 221874 w 2635237"/>
              <a:gd name="connsiteY46" fmla="*/ 376033 h 1521087"/>
              <a:gd name="connsiteX47" fmla="*/ 368831 w 2635237"/>
              <a:gd name="connsiteY47" fmla="*/ 307453 h 1521087"/>
              <a:gd name="connsiteX48" fmla="*/ 525585 w 2635237"/>
              <a:gd name="connsiteY48" fmla="*/ 261733 h 1521087"/>
              <a:gd name="connsiteX49" fmla="*/ 649682 w 2635237"/>
              <a:gd name="connsiteY49" fmla="*/ 229689 h 1521087"/>
              <a:gd name="connsiteX50" fmla="*/ 795755 w 2635237"/>
              <a:gd name="connsiteY50" fmla="*/ 194649 h 1521087"/>
              <a:gd name="connsiteX51" fmla="*/ 953394 w 2635237"/>
              <a:gd name="connsiteY51" fmla="*/ 160496 h 1521087"/>
              <a:gd name="connsiteX52" fmla="*/ 1144982 w 2635237"/>
              <a:gd name="connsiteY52" fmla="*/ 109674 h 1521087"/>
              <a:gd name="connsiteX53" fmla="*/ 1397531 w 2635237"/>
              <a:gd name="connsiteY53" fmla="*/ 42930 h 1521087"/>
              <a:gd name="connsiteX54" fmla="*/ 1547754 w 2635237"/>
              <a:gd name="connsiteY54" fmla="*/ 12043 h 1521087"/>
              <a:gd name="connsiteX55" fmla="*/ 1657042 w 2635237"/>
              <a:gd name="connsiteY55" fmla="*/ 567 h 1521087"/>
              <a:gd name="connsiteX56" fmla="*/ 1769822 w 2635237"/>
              <a:gd name="connsiteY56" fmla="*/ 13267 h 1521087"/>
              <a:gd name="connsiteX57" fmla="*/ 1876163 w 2635237"/>
              <a:gd name="connsiteY57" fmla="*/ 65518 h 1521087"/>
              <a:gd name="connsiteX58" fmla="*/ 1975903 w 2635237"/>
              <a:gd name="connsiteY58" fmla="*/ 144780 h 1521087"/>
              <a:gd name="connsiteX59" fmla="*/ 2070881 w 2635237"/>
              <a:gd name="connsiteY59" fmla="*/ 222545 h 1521087"/>
              <a:gd name="connsiteX60" fmla="*/ 2155177 w 2635237"/>
              <a:gd name="connsiteY60" fmla="*/ 287859 h 1521087"/>
              <a:gd name="connsiteX61" fmla="*/ 2191100 w 2635237"/>
              <a:gd name="connsiteY61" fmla="*/ 333579 h 1521087"/>
              <a:gd name="connsiteX62" fmla="*/ 2210331 w 2635237"/>
              <a:gd name="connsiteY62" fmla="*/ 392090 h 1521087"/>
              <a:gd name="connsiteX63" fmla="*/ 2165155 w 2635237"/>
              <a:gd name="connsiteY63" fmla="*/ 463663 h 1521087"/>
              <a:gd name="connsiteX64" fmla="*/ 2062240 w 2635237"/>
              <a:gd name="connsiteY64" fmla="*/ 493327 h 1521087"/>
              <a:gd name="connsiteX65" fmla="*/ 1937259 w 2635237"/>
              <a:gd name="connsiteY65" fmla="*/ 495096 h 1521087"/>
              <a:gd name="connsiteX66" fmla="*/ 1857997 w 2635237"/>
              <a:gd name="connsiteY66" fmla="*/ 483802 h 1521087"/>
              <a:gd name="connsiteX67" fmla="*/ 1711040 w 2635237"/>
              <a:gd name="connsiteY67" fmla="*/ 460942 h 1521087"/>
              <a:gd name="connsiteX68" fmla="*/ 1570614 w 2635237"/>
              <a:gd name="connsiteY68" fmla="*/ 434816 h 1521087"/>
              <a:gd name="connsiteX69" fmla="*/ 1439985 w 2635237"/>
              <a:gd name="connsiteY69" fmla="*/ 415222 h 1521087"/>
              <a:gd name="connsiteX70" fmla="*/ 1325685 w 2635237"/>
              <a:gd name="connsiteY70" fmla="*/ 418487 h 1521087"/>
              <a:gd name="connsiteX71" fmla="*/ 1225061 w 2635237"/>
              <a:gd name="connsiteY71" fmla="*/ 443728 h 1521087"/>
              <a:gd name="connsiteX72" fmla="*/ 1139540 w 2635237"/>
              <a:gd name="connsiteY72" fmla="*/ 474005 h 1521087"/>
              <a:gd name="connsiteX73" fmla="*/ 1024695 w 2635237"/>
              <a:gd name="connsiteY73" fmla="*/ 519725 h 1521087"/>
              <a:gd name="connsiteX74" fmla="*/ 924002 w 2635237"/>
              <a:gd name="connsiteY74" fmla="*/ 556531 h 1521087"/>
              <a:gd name="connsiteX75" fmla="*/ 773168 w 2635237"/>
              <a:gd name="connsiteY75" fmla="*/ 579120 h 1521087"/>
              <a:gd name="connsiteX76" fmla="*/ 658051 w 2635237"/>
              <a:gd name="connsiteY76" fmla="*/ 581251 h 1521087"/>
              <a:gd name="connsiteX77" fmla="*/ 526220 w 2635237"/>
              <a:gd name="connsiteY77" fmla="*/ 582136 h 1521087"/>
              <a:gd name="connsiteX78" fmla="*/ 408110 w 2635237"/>
              <a:gd name="connsiteY78" fmla="*/ 571363 h 1521087"/>
              <a:gd name="connsiteX79" fmla="*/ 305535 w 2635237"/>
              <a:gd name="connsiteY79" fmla="*/ 559707 h 1521087"/>
              <a:gd name="connsiteX80" fmla="*/ 172888 w 2635237"/>
              <a:gd name="connsiteY80" fmla="*/ 549116 h 1521087"/>
              <a:gd name="connsiteX0" fmla="*/ 2635237 w 2635237"/>
              <a:gd name="connsiteY0" fmla="*/ 1016113 h 1521087"/>
              <a:gd name="connsiteX1" fmla="*/ 2625621 w 2635237"/>
              <a:gd name="connsiteY1" fmla="*/ 1071630 h 1521087"/>
              <a:gd name="connsiteX2" fmla="*/ 2626936 w 2635237"/>
              <a:gd name="connsiteY2" fmla="*/ 1129529 h 1521087"/>
              <a:gd name="connsiteX3" fmla="*/ 2625440 w 2635237"/>
              <a:gd name="connsiteY3" fmla="*/ 1176133 h 1521087"/>
              <a:gd name="connsiteX4" fmla="*/ 2621902 w 2635237"/>
              <a:gd name="connsiteY4" fmla="*/ 1231038 h 1521087"/>
              <a:gd name="connsiteX5" fmla="*/ 2589789 w 2635237"/>
              <a:gd name="connsiteY5" fmla="*/ 1280727 h 1521087"/>
              <a:gd name="connsiteX6" fmla="*/ 2560125 w 2635237"/>
              <a:gd name="connsiteY6" fmla="*/ 1316559 h 1521087"/>
              <a:gd name="connsiteX7" fmla="*/ 2504608 w 2635237"/>
              <a:gd name="connsiteY7" fmla="*/ 1326356 h 1521087"/>
              <a:gd name="connsiteX8" fmla="*/ 2452357 w 2635237"/>
              <a:gd name="connsiteY8" fmla="*/ 1329622 h 1521087"/>
              <a:gd name="connsiteX9" fmla="*/ 2406637 w 2635237"/>
              <a:gd name="connsiteY9" fmla="*/ 1329622 h 1521087"/>
              <a:gd name="connsiteX10" fmla="*/ 2351120 w 2635237"/>
              <a:gd name="connsiteY10" fmla="*/ 1342685 h 1521087"/>
              <a:gd name="connsiteX11" fmla="*/ 2302497 w 2635237"/>
              <a:gd name="connsiteY11" fmla="*/ 1372348 h 1521087"/>
              <a:gd name="connsiteX12" fmla="*/ 2285805 w 2635237"/>
              <a:gd name="connsiteY12" fmla="*/ 1411265 h 1521087"/>
              <a:gd name="connsiteX13" fmla="*/ 2246617 w 2635237"/>
              <a:gd name="connsiteY13" fmla="*/ 1453719 h 1521087"/>
              <a:gd name="connsiteX14" fmla="*/ 2187834 w 2635237"/>
              <a:gd name="connsiteY14" fmla="*/ 1476579 h 1521087"/>
              <a:gd name="connsiteX15" fmla="*/ 2122520 w 2635237"/>
              <a:gd name="connsiteY15" fmla="*/ 1463516 h 1521087"/>
              <a:gd name="connsiteX16" fmla="*/ 2053940 w 2635237"/>
              <a:gd name="connsiteY16" fmla="*/ 1466782 h 1521087"/>
              <a:gd name="connsiteX17" fmla="*/ 2011485 w 2635237"/>
              <a:gd name="connsiteY17" fmla="*/ 1479845 h 1521087"/>
              <a:gd name="connsiteX18" fmla="*/ 1975562 w 2635237"/>
              <a:gd name="connsiteY18" fmla="*/ 1499439 h 1521087"/>
              <a:gd name="connsiteX19" fmla="*/ 1933017 w 2635237"/>
              <a:gd name="connsiteY19" fmla="*/ 1515677 h 1521087"/>
              <a:gd name="connsiteX20" fmla="*/ 1880675 w 2635237"/>
              <a:gd name="connsiteY20" fmla="*/ 1519305 h 1521087"/>
              <a:gd name="connsiteX21" fmla="*/ 1802480 w 2635237"/>
              <a:gd name="connsiteY21" fmla="*/ 1489302 h 1521087"/>
              <a:gd name="connsiteX22" fmla="*/ 1733900 w 2635237"/>
              <a:gd name="connsiteY22" fmla="*/ 1447187 h 1521087"/>
              <a:gd name="connsiteX23" fmla="*/ 1671851 w 2635237"/>
              <a:gd name="connsiteY23" fmla="*/ 1404733 h 1521087"/>
              <a:gd name="connsiteX24" fmla="*/ 1587010 w 2635237"/>
              <a:gd name="connsiteY24" fmla="*/ 1365817 h 1521087"/>
              <a:gd name="connsiteX25" fmla="*/ 1479174 w 2635237"/>
              <a:gd name="connsiteY25" fmla="*/ 1355747 h 1521087"/>
              <a:gd name="connsiteX26" fmla="*/ 1400797 w 2635237"/>
              <a:gd name="connsiteY26" fmla="*/ 1355747 h 1521087"/>
              <a:gd name="connsiteX27" fmla="*/ 1309357 w 2635237"/>
              <a:gd name="connsiteY27" fmla="*/ 1342685 h 1521087"/>
              <a:gd name="connsiteX28" fmla="*/ 1227714 w 2635237"/>
              <a:gd name="connsiteY28" fmla="*/ 1329622 h 1521087"/>
              <a:gd name="connsiteX29" fmla="*/ 1105386 w 2635237"/>
              <a:gd name="connsiteY29" fmla="*/ 1295195 h 1521087"/>
              <a:gd name="connsiteX30" fmla="*/ 969722 w 2635237"/>
              <a:gd name="connsiteY30" fmla="*/ 1257776 h 1521087"/>
              <a:gd name="connsiteX31" fmla="*/ 856920 w 2635237"/>
              <a:gd name="connsiteY31" fmla="*/ 1221581 h 1521087"/>
              <a:gd name="connsiteX32" fmla="*/ 754185 w 2635237"/>
              <a:gd name="connsiteY32" fmla="*/ 1189196 h 1521087"/>
              <a:gd name="connsiteX33" fmla="*/ 662745 w 2635237"/>
              <a:gd name="connsiteY33" fmla="*/ 1159805 h 1521087"/>
              <a:gd name="connsiteX34" fmla="*/ 560351 w 2635237"/>
              <a:gd name="connsiteY34" fmla="*/ 1134291 h 1521087"/>
              <a:gd name="connsiteX35" fmla="*/ 457005 w 2635237"/>
              <a:gd name="connsiteY35" fmla="*/ 1123882 h 1521087"/>
              <a:gd name="connsiteX36" fmla="*/ 378628 w 2635237"/>
              <a:gd name="connsiteY36" fmla="*/ 1117350 h 1521087"/>
              <a:gd name="connsiteX37" fmla="*/ 251877 w 2635237"/>
              <a:gd name="connsiteY37" fmla="*/ 1082312 h 1521087"/>
              <a:gd name="connsiteX38" fmla="*/ 176154 w 2635237"/>
              <a:gd name="connsiteY38" fmla="*/ 1044007 h 1521087"/>
              <a:gd name="connsiteX39" fmla="*/ 104648 w 2635237"/>
              <a:gd name="connsiteY39" fmla="*/ 975496 h 1521087"/>
              <a:gd name="connsiteX40" fmla="*/ 60017 w 2635237"/>
              <a:gd name="connsiteY40" fmla="*/ 916985 h 1521087"/>
              <a:gd name="connsiteX41" fmla="*/ 23821 w 2635237"/>
              <a:gd name="connsiteY41" fmla="*/ 827927 h 1521087"/>
              <a:gd name="connsiteX42" fmla="*/ 2458 w 2635237"/>
              <a:gd name="connsiteY42" fmla="*/ 728730 h 1521087"/>
              <a:gd name="connsiteX43" fmla="*/ 10215 w 2635237"/>
              <a:gd name="connsiteY43" fmla="*/ 617696 h 1521087"/>
              <a:gd name="connsiteX44" fmla="*/ 57431 w 2635237"/>
              <a:gd name="connsiteY44" fmla="*/ 510472 h 1521087"/>
              <a:gd name="connsiteX45" fmla="*/ 113493 w 2635237"/>
              <a:gd name="connsiteY45" fmla="*/ 454410 h 1521087"/>
              <a:gd name="connsiteX46" fmla="*/ 221874 w 2635237"/>
              <a:gd name="connsiteY46" fmla="*/ 376033 h 1521087"/>
              <a:gd name="connsiteX47" fmla="*/ 368831 w 2635237"/>
              <a:gd name="connsiteY47" fmla="*/ 307453 h 1521087"/>
              <a:gd name="connsiteX48" fmla="*/ 525585 w 2635237"/>
              <a:gd name="connsiteY48" fmla="*/ 261733 h 1521087"/>
              <a:gd name="connsiteX49" fmla="*/ 649682 w 2635237"/>
              <a:gd name="connsiteY49" fmla="*/ 229689 h 1521087"/>
              <a:gd name="connsiteX50" fmla="*/ 795755 w 2635237"/>
              <a:gd name="connsiteY50" fmla="*/ 194649 h 1521087"/>
              <a:gd name="connsiteX51" fmla="*/ 953394 w 2635237"/>
              <a:gd name="connsiteY51" fmla="*/ 160496 h 1521087"/>
              <a:gd name="connsiteX52" fmla="*/ 1144982 w 2635237"/>
              <a:gd name="connsiteY52" fmla="*/ 109674 h 1521087"/>
              <a:gd name="connsiteX53" fmla="*/ 1397531 w 2635237"/>
              <a:gd name="connsiteY53" fmla="*/ 42930 h 1521087"/>
              <a:gd name="connsiteX54" fmla="*/ 1547754 w 2635237"/>
              <a:gd name="connsiteY54" fmla="*/ 12043 h 1521087"/>
              <a:gd name="connsiteX55" fmla="*/ 1657042 w 2635237"/>
              <a:gd name="connsiteY55" fmla="*/ 567 h 1521087"/>
              <a:gd name="connsiteX56" fmla="*/ 1769822 w 2635237"/>
              <a:gd name="connsiteY56" fmla="*/ 13267 h 1521087"/>
              <a:gd name="connsiteX57" fmla="*/ 1876163 w 2635237"/>
              <a:gd name="connsiteY57" fmla="*/ 65518 h 1521087"/>
              <a:gd name="connsiteX58" fmla="*/ 1975903 w 2635237"/>
              <a:gd name="connsiteY58" fmla="*/ 144780 h 1521087"/>
              <a:gd name="connsiteX59" fmla="*/ 2070881 w 2635237"/>
              <a:gd name="connsiteY59" fmla="*/ 222545 h 1521087"/>
              <a:gd name="connsiteX60" fmla="*/ 2155177 w 2635237"/>
              <a:gd name="connsiteY60" fmla="*/ 287859 h 1521087"/>
              <a:gd name="connsiteX61" fmla="*/ 2191100 w 2635237"/>
              <a:gd name="connsiteY61" fmla="*/ 333579 h 1521087"/>
              <a:gd name="connsiteX62" fmla="*/ 2210331 w 2635237"/>
              <a:gd name="connsiteY62" fmla="*/ 392090 h 1521087"/>
              <a:gd name="connsiteX63" fmla="*/ 2165155 w 2635237"/>
              <a:gd name="connsiteY63" fmla="*/ 463663 h 1521087"/>
              <a:gd name="connsiteX64" fmla="*/ 2062240 w 2635237"/>
              <a:gd name="connsiteY64" fmla="*/ 493327 h 1521087"/>
              <a:gd name="connsiteX65" fmla="*/ 1937259 w 2635237"/>
              <a:gd name="connsiteY65" fmla="*/ 495096 h 1521087"/>
              <a:gd name="connsiteX66" fmla="*/ 1857997 w 2635237"/>
              <a:gd name="connsiteY66" fmla="*/ 483802 h 1521087"/>
              <a:gd name="connsiteX67" fmla="*/ 1711040 w 2635237"/>
              <a:gd name="connsiteY67" fmla="*/ 460942 h 1521087"/>
              <a:gd name="connsiteX68" fmla="*/ 1570614 w 2635237"/>
              <a:gd name="connsiteY68" fmla="*/ 434816 h 1521087"/>
              <a:gd name="connsiteX69" fmla="*/ 1439985 w 2635237"/>
              <a:gd name="connsiteY69" fmla="*/ 415222 h 1521087"/>
              <a:gd name="connsiteX70" fmla="*/ 1325685 w 2635237"/>
              <a:gd name="connsiteY70" fmla="*/ 418487 h 1521087"/>
              <a:gd name="connsiteX71" fmla="*/ 1225061 w 2635237"/>
              <a:gd name="connsiteY71" fmla="*/ 443728 h 1521087"/>
              <a:gd name="connsiteX72" fmla="*/ 1139540 w 2635237"/>
              <a:gd name="connsiteY72" fmla="*/ 474005 h 1521087"/>
              <a:gd name="connsiteX73" fmla="*/ 1024695 w 2635237"/>
              <a:gd name="connsiteY73" fmla="*/ 519725 h 1521087"/>
              <a:gd name="connsiteX74" fmla="*/ 924002 w 2635237"/>
              <a:gd name="connsiteY74" fmla="*/ 556531 h 1521087"/>
              <a:gd name="connsiteX75" fmla="*/ 773168 w 2635237"/>
              <a:gd name="connsiteY75" fmla="*/ 579120 h 1521087"/>
              <a:gd name="connsiteX76" fmla="*/ 658051 w 2635237"/>
              <a:gd name="connsiteY76" fmla="*/ 581251 h 1521087"/>
              <a:gd name="connsiteX77" fmla="*/ 526220 w 2635237"/>
              <a:gd name="connsiteY77" fmla="*/ 582136 h 1521087"/>
              <a:gd name="connsiteX78" fmla="*/ 408110 w 2635237"/>
              <a:gd name="connsiteY78" fmla="*/ 571363 h 1521087"/>
              <a:gd name="connsiteX79" fmla="*/ 305535 w 2635237"/>
              <a:gd name="connsiteY79" fmla="*/ 559707 h 1521087"/>
              <a:gd name="connsiteX80" fmla="*/ 172888 w 2635237"/>
              <a:gd name="connsiteY80" fmla="*/ 549116 h 1521087"/>
              <a:gd name="connsiteX0" fmla="*/ 2635237 w 2635237"/>
              <a:gd name="connsiteY0" fmla="*/ 1016113 h 1521087"/>
              <a:gd name="connsiteX1" fmla="*/ 2625621 w 2635237"/>
              <a:gd name="connsiteY1" fmla="*/ 1071630 h 1521087"/>
              <a:gd name="connsiteX2" fmla="*/ 2626936 w 2635237"/>
              <a:gd name="connsiteY2" fmla="*/ 1129529 h 1521087"/>
              <a:gd name="connsiteX3" fmla="*/ 2625440 w 2635237"/>
              <a:gd name="connsiteY3" fmla="*/ 1176133 h 1521087"/>
              <a:gd name="connsiteX4" fmla="*/ 2621902 w 2635237"/>
              <a:gd name="connsiteY4" fmla="*/ 1231038 h 1521087"/>
              <a:gd name="connsiteX5" fmla="*/ 2589789 w 2635237"/>
              <a:gd name="connsiteY5" fmla="*/ 1280727 h 1521087"/>
              <a:gd name="connsiteX6" fmla="*/ 2560125 w 2635237"/>
              <a:gd name="connsiteY6" fmla="*/ 1316559 h 1521087"/>
              <a:gd name="connsiteX7" fmla="*/ 2504608 w 2635237"/>
              <a:gd name="connsiteY7" fmla="*/ 1326356 h 1521087"/>
              <a:gd name="connsiteX8" fmla="*/ 2452357 w 2635237"/>
              <a:gd name="connsiteY8" fmla="*/ 1329622 h 1521087"/>
              <a:gd name="connsiteX9" fmla="*/ 2406637 w 2635237"/>
              <a:gd name="connsiteY9" fmla="*/ 1329622 h 1521087"/>
              <a:gd name="connsiteX10" fmla="*/ 2351120 w 2635237"/>
              <a:gd name="connsiteY10" fmla="*/ 1342685 h 1521087"/>
              <a:gd name="connsiteX11" fmla="*/ 2302497 w 2635237"/>
              <a:gd name="connsiteY11" fmla="*/ 1372348 h 1521087"/>
              <a:gd name="connsiteX12" fmla="*/ 2285805 w 2635237"/>
              <a:gd name="connsiteY12" fmla="*/ 1411265 h 1521087"/>
              <a:gd name="connsiteX13" fmla="*/ 2246617 w 2635237"/>
              <a:gd name="connsiteY13" fmla="*/ 1453719 h 1521087"/>
              <a:gd name="connsiteX14" fmla="*/ 2187834 w 2635237"/>
              <a:gd name="connsiteY14" fmla="*/ 1476579 h 1521087"/>
              <a:gd name="connsiteX15" fmla="*/ 2122520 w 2635237"/>
              <a:gd name="connsiteY15" fmla="*/ 1463516 h 1521087"/>
              <a:gd name="connsiteX16" fmla="*/ 2053940 w 2635237"/>
              <a:gd name="connsiteY16" fmla="*/ 1466782 h 1521087"/>
              <a:gd name="connsiteX17" fmla="*/ 2011485 w 2635237"/>
              <a:gd name="connsiteY17" fmla="*/ 1479845 h 1521087"/>
              <a:gd name="connsiteX18" fmla="*/ 1975562 w 2635237"/>
              <a:gd name="connsiteY18" fmla="*/ 1499439 h 1521087"/>
              <a:gd name="connsiteX19" fmla="*/ 1933017 w 2635237"/>
              <a:gd name="connsiteY19" fmla="*/ 1515677 h 1521087"/>
              <a:gd name="connsiteX20" fmla="*/ 1880675 w 2635237"/>
              <a:gd name="connsiteY20" fmla="*/ 1519305 h 1521087"/>
              <a:gd name="connsiteX21" fmla="*/ 1802480 w 2635237"/>
              <a:gd name="connsiteY21" fmla="*/ 1489302 h 1521087"/>
              <a:gd name="connsiteX22" fmla="*/ 1733900 w 2635237"/>
              <a:gd name="connsiteY22" fmla="*/ 1447187 h 1521087"/>
              <a:gd name="connsiteX23" fmla="*/ 1671851 w 2635237"/>
              <a:gd name="connsiteY23" fmla="*/ 1397590 h 1521087"/>
              <a:gd name="connsiteX24" fmla="*/ 1587010 w 2635237"/>
              <a:gd name="connsiteY24" fmla="*/ 1365817 h 1521087"/>
              <a:gd name="connsiteX25" fmla="*/ 1479174 w 2635237"/>
              <a:gd name="connsiteY25" fmla="*/ 1355747 h 1521087"/>
              <a:gd name="connsiteX26" fmla="*/ 1400797 w 2635237"/>
              <a:gd name="connsiteY26" fmla="*/ 1355747 h 1521087"/>
              <a:gd name="connsiteX27" fmla="*/ 1309357 w 2635237"/>
              <a:gd name="connsiteY27" fmla="*/ 1342685 h 1521087"/>
              <a:gd name="connsiteX28" fmla="*/ 1227714 w 2635237"/>
              <a:gd name="connsiteY28" fmla="*/ 1329622 h 1521087"/>
              <a:gd name="connsiteX29" fmla="*/ 1105386 w 2635237"/>
              <a:gd name="connsiteY29" fmla="*/ 1295195 h 1521087"/>
              <a:gd name="connsiteX30" fmla="*/ 969722 w 2635237"/>
              <a:gd name="connsiteY30" fmla="*/ 1257776 h 1521087"/>
              <a:gd name="connsiteX31" fmla="*/ 856920 w 2635237"/>
              <a:gd name="connsiteY31" fmla="*/ 1221581 h 1521087"/>
              <a:gd name="connsiteX32" fmla="*/ 754185 w 2635237"/>
              <a:gd name="connsiteY32" fmla="*/ 1189196 h 1521087"/>
              <a:gd name="connsiteX33" fmla="*/ 662745 w 2635237"/>
              <a:gd name="connsiteY33" fmla="*/ 1159805 h 1521087"/>
              <a:gd name="connsiteX34" fmla="*/ 560351 w 2635237"/>
              <a:gd name="connsiteY34" fmla="*/ 1134291 h 1521087"/>
              <a:gd name="connsiteX35" fmla="*/ 457005 w 2635237"/>
              <a:gd name="connsiteY35" fmla="*/ 1123882 h 1521087"/>
              <a:gd name="connsiteX36" fmla="*/ 378628 w 2635237"/>
              <a:gd name="connsiteY36" fmla="*/ 1117350 h 1521087"/>
              <a:gd name="connsiteX37" fmla="*/ 251877 w 2635237"/>
              <a:gd name="connsiteY37" fmla="*/ 1082312 h 1521087"/>
              <a:gd name="connsiteX38" fmla="*/ 176154 w 2635237"/>
              <a:gd name="connsiteY38" fmla="*/ 1044007 h 1521087"/>
              <a:gd name="connsiteX39" fmla="*/ 104648 w 2635237"/>
              <a:gd name="connsiteY39" fmla="*/ 975496 h 1521087"/>
              <a:gd name="connsiteX40" fmla="*/ 60017 w 2635237"/>
              <a:gd name="connsiteY40" fmla="*/ 916985 h 1521087"/>
              <a:gd name="connsiteX41" fmla="*/ 23821 w 2635237"/>
              <a:gd name="connsiteY41" fmla="*/ 827927 h 1521087"/>
              <a:gd name="connsiteX42" fmla="*/ 2458 w 2635237"/>
              <a:gd name="connsiteY42" fmla="*/ 728730 h 1521087"/>
              <a:gd name="connsiteX43" fmla="*/ 10215 w 2635237"/>
              <a:gd name="connsiteY43" fmla="*/ 617696 h 1521087"/>
              <a:gd name="connsiteX44" fmla="*/ 57431 w 2635237"/>
              <a:gd name="connsiteY44" fmla="*/ 510472 h 1521087"/>
              <a:gd name="connsiteX45" fmla="*/ 113493 w 2635237"/>
              <a:gd name="connsiteY45" fmla="*/ 454410 h 1521087"/>
              <a:gd name="connsiteX46" fmla="*/ 221874 w 2635237"/>
              <a:gd name="connsiteY46" fmla="*/ 376033 h 1521087"/>
              <a:gd name="connsiteX47" fmla="*/ 368831 w 2635237"/>
              <a:gd name="connsiteY47" fmla="*/ 307453 h 1521087"/>
              <a:gd name="connsiteX48" fmla="*/ 525585 w 2635237"/>
              <a:gd name="connsiteY48" fmla="*/ 261733 h 1521087"/>
              <a:gd name="connsiteX49" fmla="*/ 649682 w 2635237"/>
              <a:gd name="connsiteY49" fmla="*/ 229689 h 1521087"/>
              <a:gd name="connsiteX50" fmla="*/ 795755 w 2635237"/>
              <a:gd name="connsiteY50" fmla="*/ 194649 h 1521087"/>
              <a:gd name="connsiteX51" fmla="*/ 953394 w 2635237"/>
              <a:gd name="connsiteY51" fmla="*/ 160496 h 1521087"/>
              <a:gd name="connsiteX52" fmla="*/ 1144982 w 2635237"/>
              <a:gd name="connsiteY52" fmla="*/ 109674 h 1521087"/>
              <a:gd name="connsiteX53" fmla="*/ 1397531 w 2635237"/>
              <a:gd name="connsiteY53" fmla="*/ 42930 h 1521087"/>
              <a:gd name="connsiteX54" fmla="*/ 1547754 w 2635237"/>
              <a:gd name="connsiteY54" fmla="*/ 12043 h 1521087"/>
              <a:gd name="connsiteX55" fmla="*/ 1657042 w 2635237"/>
              <a:gd name="connsiteY55" fmla="*/ 567 h 1521087"/>
              <a:gd name="connsiteX56" fmla="*/ 1769822 w 2635237"/>
              <a:gd name="connsiteY56" fmla="*/ 13267 h 1521087"/>
              <a:gd name="connsiteX57" fmla="*/ 1876163 w 2635237"/>
              <a:gd name="connsiteY57" fmla="*/ 65518 h 1521087"/>
              <a:gd name="connsiteX58" fmla="*/ 1975903 w 2635237"/>
              <a:gd name="connsiteY58" fmla="*/ 144780 h 1521087"/>
              <a:gd name="connsiteX59" fmla="*/ 2070881 w 2635237"/>
              <a:gd name="connsiteY59" fmla="*/ 222545 h 1521087"/>
              <a:gd name="connsiteX60" fmla="*/ 2155177 w 2635237"/>
              <a:gd name="connsiteY60" fmla="*/ 287859 h 1521087"/>
              <a:gd name="connsiteX61" fmla="*/ 2191100 w 2635237"/>
              <a:gd name="connsiteY61" fmla="*/ 333579 h 1521087"/>
              <a:gd name="connsiteX62" fmla="*/ 2210331 w 2635237"/>
              <a:gd name="connsiteY62" fmla="*/ 392090 h 1521087"/>
              <a:gd name="connsiteX63" fmla="*/ 2165155 w 2635237"/>
              <a:gd name="connsiteY63" fmla="*/ 463663 h 1521087"/>
              <a:gd name="connsiteX64" fmla="*/ 2062240 w 2635237"/>
              <a:gd name="connsiteY64" fmla="*/ 493327 h 1521087"/>
              <a:gd name="connsiteX65" fmla="*/ 1937259 w 2635237"/>
              <a:gd name="connsiteY65" fmla="*/ 495096 h 1521087"/>
              <a:gd name="connsiteX66" fmla="*/ 1857997 w 2635237"/>
              <a:gd name="connsiteY66" fmla="*/ 483802 h 1521087"/>
              <a:gd name="connsiteX67" fmla="*/ 1711040 w 2635237"/>
              <a:gd name="connsiteY67" fmla="*/ 460942 h 1521087"/>
              <a:gd name="connsiteX68" fmla="*/ 1570614 w 2635237"/>
              <a:gd name="connsiteY68" fmla="*/ 434816 h 1521087"/>
              <a:gd name="connsiteX69" fmla="*/ 1439985 w 2635237"/>
              <a:gd name="connsiteY69" fmla="*/ 415222 h 1521087"/>
              <a:gd name="connsiteX70" fmla="*/ 1325685 w 2635237"/>
              <a:gd name="connsiteY70" fmla="*/ 418487 h 1521087"/>
              <a:gd name="connsiteX71" fmla="*/ 1225061 w 2635237"/>
              <a:gd name="connsiteY71" fmla="*/ 443728 h 1521087"/>
              <a:gd name="connsiteX72" fmla="*/ 1139540 w 2635237"/>
              <a:gd name="connsiteY72" fmla="*/ 474005 h 1521087"/>
              <a:gd name="connsiteX73" fmla="*/ 1024695 w 2635237"/>
              <a:gd name="connsiteY73" fmla="*/ 519725 h 1521087"/>
              <a:gd name="connsiteX74" fmla="*/ 924002 w 2635237"/>
              <a:gd name="connsiteY74" fmla="*/ 556531 h 1521087"/>
              <a:gd name="connsiteX75" fmla="*/ 773168 w 2635237"/>
              <a:gd name="connsiteY75" fmla="*/ 579120 h 1521087"/>
              <a:gd name="connsiteX76" fmla="*/ 658051 w 2635237"/>
              <a:gd name="connsiteY76" fmla="*/ 581251 h 1521087"/>
              <a:gd name="connsiteX77" fmla="*/ 526220 w 2635237"/>
              <a:gd name="connsiteY77" fmla="*/ 582136 h 1521087"/>
              <a:gd name="connsiteX78" fmla="*/ 408110 w 2635237"/>
              <a:gd name="connsiteY78" fmla="*/ 571363 h 1521087"/>
              <a:gd name="connsiteX79" fmla="*/ 305535 w 2635237"/>
              <a:gd name="connsiteY79" fmla="*/ 559707 h 1521087"/>
              <a:gd name="connsiteX80" fmla="*/ 172888 w 2635237"/>
              <a:gd name="connsiteY80" fmla="*/ 549116 h 1521087"/>
              <a:gd name="connsiteX0" fmla="*/ 2635237 w 2635237"/>
              <a:gd name="connsiteY0" fmla="*/ 1016113 h 1521087"/>
              <a:gd name="connsiteX1" fmla="*/ 2625621 w 2635237"/>
              <a:gd name="connsiteY1" fmla="*/ 1071630 h 1521087"/>
              <a:gd name="connsiteX2" fmla="*/ 2626936 w 2635237"/>
              <a:gd name="connsiteY2" fmla="*/ 1129529 h 1521087"/>
              <a:gd name="connsiteX3" fmla="*/ 2625440 w 2635237"/>
              <a:gd name="connsiteY3" fmla="*/ 1176133 h 1521087"/>
              <a:gd name="connsiteX4" fmla="*/ 2621902 w 2635237"/>
              <a:gd name="connsiteY4" fmla="*/ 1231038 h 1521087"/>
              <a:gd name="connsiteX5" fmla="*/ 2589789 w 2635237"/>
              <a:gd name="connsiteY5" fmla="*/ 1280727 h 1521087"/>
              <a:gd name="connsiteX6" fmla="*/ 2560125 w 2635237"/>
              <a:gd name="connsiteY6" fmla="*/ 1316559 h 1521087"/>
              <a:gd name="connsiteX7" fmla="*/ 2504608 w 2635237"/>
              <a:gd name="connsiteY7" fmla="*/ 1326356 h 1521087"/>
              <a:gd name="connsiteX8" fmla="*/ 2452357 w 2635237"/>
              <a:gd name="connsiteY8" fmla="*/ 1329622 h 1521087"/>
              <a:gd name="connsiteX9" fmla="*/ 2406637 w 2635237"/>
              <a:gd name="connsiteY9" fmla="*/ 1329622 h 1521087"/>
              <a:gd name="connsiteX10" fmla="*/ 2351120 w 2635237"/>
              <a:gd name="connsiteY10" fmla="*/ 1342685 h 1521087"/>
              <a:gd name="connsiteX11" fmla="*/ 2302497 w 2635237"/>
              <a:gd name="connsiteY11" fmla="*/ 1372348 h 1521087"/>
              <a:gd name="connsiteX12" fmla="*/ 2285805 w 2635237"/>
              <a:gd name="connsiteY12" fmla="*/ 1411265 h 1521087"/>
              <a:gd name="connsiteX13" fmla="*/ 2246617 w 2635237"/>
              <a:gd name="connsiteY13" fmla="*/ 1453719 h 1521087"/>
              <a:gd name="connsiteX14" fmla="*/ 2187834 w 2635237"/>
              <a:gd name="connsiteY14" fmla="*/ 1476579 h 1521087"/>
              <a:gd name="connsiteX15" fmla="*/ 2122520 w 2635237"/>
              <a:gd name="connsiteY15" fmla="*/ 1463516 h 1521087"/>
              <a:gd name="connsiteX16" fmla="*/ 2053940 w 2635237"/>
              <a:gd name="connsiteY16" fmla="*/ 1466782 h 1521087"/>
              <a:gd name="connsiteX17" fmla="*/ 2011485 w 2635237"/>
              <a:gd name="connsiteY17" fmla="*/ 1479845 h 1521087"/>
              <a:gd name="connsiteX18" fmla="*/ 1975562 w 2635237"/>
              <a:gd name="connsiteY18" fmla="*/ 1499439 h 1521087"/>
              <a:gd name="connsiteX19" fmla="*/ 1933017 w 2635237"/>
              <a:gd name="connsiteY19" fmla="*/ 1515677 h 1521087"/>
              <a:gd name="connsiteX20" fmla="*/ 1880675 w 2635237"/>
              <a:gd name="connsiteY20" fmla="*/ 1519305 h 1521087"/>
              <a:gd name="connsiteX21" fmla="*/ 1802480 w 2635237"/>
              <a:gd name="connsiteY21" fmla="*/ 1489302 h 1521087"/>
              <a:gd name="connsiteX22" fmla="*/ 1733900 w 2635237"/>
              <a:gd name="connsiteY22" fmla="*/ 1447187 h 1521087"/>
              <a:gd name="connsiteX23" fmla="*/ 1681376 w 2635237"/>
              <a:gd name="connsiteY23" fmla="*/ 1390446 h 1521087"/>
              <a:gd name="connsiteX24" fmla="*/ 1587010 w 2635237"/>
              <a:gd name="connsiteY24" fmla="*/ 1365817 h 1521087"/>
              <a:gd name="connsiteX25" fmla="*/ 1479174 w 2635237"/>
              <a:gd name="connsiteY25" fmla="*/ 1355747 h 1521087"/>
              <a:gd name="connsiteX26" fmla="*/ 1400797 w 2635237"/>
              <a:gd name="connsiteY26" fmla="*/ 1355747 h 1521087"/>
              <a:gd name="connsiteX27" fmla="*/ 1309357 w 2635237"/>
              <a:gd name="connsiteY27" fmla="*/ 1342685 h 1521087"/>
              <a:gd name="connsiteX28" fmla="*/ 1227714 w 2635237"/>
              <a:gd name="connsiteY28" fmla="*/ 1329622 h 1521087"/>
              <a:gd name="connsiteX29" fmla="*/ 1105386 w 2635237"/>
              <a:gd name="connsiteY29" fmla="*/ 1295195 h 1521087"/>
              <a:gd name="connsiteX30" fmla="*/ 969722 w 2635237"/>
              <a:gd name="connsiteY30" fmla="*/ 1257776 h 1521087"/>
              <a:gd name="connsiteX31" fmla="*/ 856920 w 2635237"/>
              <a:gd name="connsiteY31" fmla="*/ 1221581 h 1521087"/>
              <a:gd name="connsiteX32" fmla="*/ 754185 w 2635237"/>
              <a:gd name="connsiteY32" fmla="*/ 1189196 h 1521087"/>
              <a:gd name="connsiteX33" fmla="*/ 662745 w 2635237"/>
              <a:gd name="connsiteY33" fmla="*/ 1159805 h 1521087"/>
              <a:gd name="connsiteX34" fmla="*/ 560351 w 2635237"/>
              <a:gd name="connsiteY34" fmla="*/ 1134291 h 1521087"/>
              <a:gd name="connsiteX35" fmla="*/ 457005 w 2635237"/>
              <a:gd name="connsiteY35" fmla="*/ 1123882 h 1521087"/>
              <a:gd name="connsiteX36" fmla="*/ 378628 w 2635237"/>
              <a:gd name="connsiteY36" fmla="*/ 1117350 h 1521087"/>
              <a:gd name="connsiteX37" fmla="*/ 251877 w 2635237"/>
              <a:gd name="connsiteY37" fmla="*/ 1082312 h 1521087"/>
              <a:gd name="connsiteX38" fmla="*/ 176154 w 2635237"/>
              <a:gd name="connsiteY38" fmla="*/ 1044007 h 1521087"/>
              <a:gd name="connsiteX39" fmla="*/ 104648 w 2635237"/>
              <a:gd name="connsiteY39" fmla="*/ 975496 h 1521087"/>
              <a:gd name="connsiteX40" fmla="*/ 60017 w 2635237"/>
              <a:gd name="connsiteY40" fmla="*/ 916985 h 1521087"/>
              <a:gd name="connsiteX41" fmla="*/ 23821 w 2635237"/>
              <a:gd name="connsiteY41" fmla="*/ 827927 h 1521087"/>
              <a:gd name="connsiteX42" fmla="*/ 2458 w 2635237"/>
              <a:gd name="connsiteY42" fmla="*/ 728730 h 1521087"/>
              <a:gd name="connsiteX43" fmla="*/ 10215 w 2635237"/>
              <a:gd name="connsiteY43" fmla="*/ 617696 h 1521087"/>
              <a:gd name="connsiteX44" fmla="*/ 57431 w 2635237"/>
              <a:gd name="connsiteY44" fmla="*/ 510472 h 1521087"/>
              <a:gd name="connsiteX45" fmla="*/ 113493 w 2635237"/>
              <a:gd name="connsiteY45" fmla="*/ 454410 h 1521087"/>
              <a:gd name="connsiteX46" fmla="*/ 221874 w 2635237"/>
              <a:gd name="connsiteY46" fmla="*/ 376033 h 1521087"/>
              <a:gd name="connsiteX47" fmla="*/ 368831 w 2635237"/>
              <a:gd name="connsiteY47" fmla="*/ 307453 h 1521087"/>
              <a:gd name="connsiteX48" fmla="*/ 525585 w 2635237"/>
              <a:gd name="connsiteY48" fmla="*/ 261733 h 1521087"/>
              <a:gd name="connsiteX49" fmla="*/ 649682 w 2635237"/>
              <a:gd name="connsiteY49" fmla="*/ 229689 h 1521087"/>
              <a:gd name="connsiteX50" fmla="*/ 795755 w 2635237"/>
              <a:gd name="connsiteY50" fmla="*/ 194649 h 1521087"/>
              <a:gd name="connsiteX51" fmla="*/ 953394 w 2635237"/>
              <a:gd name="connsiteY51" fmla="*/ 160496 h 1521087"/>
              <a:gd name="connsiteX52" fmla="*/ 1144982 w 2635237"/>
              <a:gd name="connsiteY52" fmla="*/ 109674 h 1521087"/>
              <a:gd name="connsiteX53" fmla="*/ 1397531 w 2635237"/>
              <a:gd name="connsiteY53" fmla="*/ 42930 h 1521087"/>
              <a:gd name="connsiteX54" fmla="*/ 1547754 w 2635237"/>
              <a:gd name="connsiteY54" fmla="*/ 12043 h 1521087"/>
              <a:gd name="connsiteX55" fmla="*/ 1657042 w 2635237"/>
              <a:gd name="connsiteY55" fmla="*/ 567 h 1521087"/>
              <a:gd name="connsiteX56" fmla="*/ 1769822 w 2635237"/>
              <a:gd name="connsiteY56" fmla="*/ 13267 h 1521087"/>
              <a:gd name="connsiteX57" fmla="*/ 1876163 w 2635237"/>
              <a:gd name="connsiteY57" fmla="*/ 65518 h 1521087"/>
              <a:gd name="connsiteX58" fmla="*/ 1975903 w 2635237"/>
              <a:gd name="connsiteY58" fmla="*/ 144780 h 1521087"/>
              <a:gd name="connsiteX59" fmla="*/ 2070881 w 2635237"/>
              <a:gd name="connsiteY59" fmla="*/ 222545 h 1521087"/>
              <a:gd name="connsiteX60" fmla="*/ 2155177 w 2635237"/>
              <a:gd name="connsiteY60" fmla="*/ 287859 h 1521087"/>
              <a:gd name="connsiteX61" fmla="*/ 2191100 w 2635237"/>
              <a:gd name="connsiteY61" fmla="*/ 333579 h 1521087"/>
              <a:gd name="connsiteX62" fmla="*/ 2210331 w 2635237"/>
              <a:gd name="connsiteY62" fmla="*/ 392090 h 1521087"/>
              <a:gd name="connsiteX63" fmla="*/ 2165155 w 2635237"/>
              <a:gd name="connsiteY63" fmla="*/ 463663 h 1521087"/>
              <a:gd name="connsiteX64" fmla="*/ 2062240 w 2635237"/>
              <a:gd name="connsiteY64" fmla="*/ 493327 h 1521087"/>
              <a:gd name="connsiteX65" fmla="*/ 1937259 w 2635237"/>
              <a:gd name="connsiteY65" fmla="*/ 495096 h 1521087"/>
              <a:gd name="connsiteX66" fmla="*/ 1857997 w 2635237"/>
              <a:gd name="connsiteY66" fmla="*/ 483802 h 1521087"/>
              <a:gd name="connsiteX67" fmla="*/ 1711040 w 2635237"/>
              <a:gd name="connsiteY67" fmla="*/ 460942 h 1521087"/>
              <a:gd name="connsiteX68" fmla="*/ 1570614 w 2635237"/>
              <a:gd name="connsiteY68" fmla="*/ 434816 h 1521087"/>
              <a:gd name="connsiteX69" fmla="*/ 1439985 w 2635237"/>
              <a:gd name="connsiteY69" fmla="*/ 415222 h 1521087"/>
              <a:gd name="connsiteX70" fmla="*/ 1325685 w 2635237"/>
              <a:gd name="connsiteY70" fmla="*/ 418487 h 1521087"/>
              <a:gd name="connsiteX71" fmla="*/ 1225061 w 2635237"/>
              <a:gd name="connsiteY71" fmla="*/ 443728 h 1521087"/>
              <a:gd name="connsiteX72" fmla="*/ 1139540 w 2635237"/>
              <a:gd name="connsiteY72" fmla="*/ 474005 h 1521087"/>
              <a:gd name="connsiteX73" fmla="*/ 1024695 w 2635237"/>
              <a:gd name="connsiteY73" fmla="*/ 519725 h 1521087"/>
              <a:gd name="connsiteX74" fmla="*/ 924002 w 2635237"/>
              <a:gd name="connsiteY74" fmla="*/ 556531 h 1521087"/>
              <a:gd name="connsiteX75" fmla="*/ 773168 w 2635237"/>
              <a:gd name="connsiteY75" fmla="*/ 579120 h 1521087"/>
              <a:gd name="connsiteX76" fmla="*/ 658051 w 2635237"/>
              <a:gd name="connsiteY76" fmla="*/ 581251 h 1521087"/>
              <a:gd name="connsiteX77" fmla="*/ 526220 w 2635237"/>
              <a:gd name="connsiteY77" fmla="*/ 582136 h 1521087"/>
              <a:gd name="connsiteX78" fmla="*/ 408110 w 2635237"/>
              <a:gd name="connsiteY78" fmla="*/ 571363 h 1521087"/>
              <a:gd name="connsiteX79" fmla="*/ 305535 w 2635237"/>
              <a:gd name="connsiteY79" fmla="*/ 559707 h 1521087"/>
              <a:gd name="connsiteX80" fmla="*/ 172888 w 2635237"/>
              <a:gd name="connsiteY80" fmla="*/ 549116 h 1521087"/>
              <a:gd name="connsiteX0" fmla="*/ 2635237 w 2635237"/>
              <a:gd name="connsiteY0" fmla="*/ 1016113 h 1521087"/>
              <a:gd name="connsiteX1" fmla="*/ 2625621 w 2635237"/>
              <a:gd name="connsiteY1" fmla="*/ 1071630 h 1521087"/>
              <a:gd name="connsiteX2" fmla="*/ 2626936 w 2635237"/>
              <a:gd name="connsiteY2" fmla="*/ 1129529 h 1521087"/>
              <a:gd name="connsiteX3" fmla="*/ 2625440 w 2635237"/>
              <a:gd name="connsiteY3" fmla="*/ 1176133 h 1521087"/>
              <a:gd name="connsiteX4" fmla="*/ 2621902 w 2635237"/>
              <a:gd name="connsiteY4" fmla="*/ 1231038 h 1521087"/>
              <a:gd name="connsiteX5" fmla="*/ 2589789 w 2635237"/>
              <a:gd name="connsiteY5" fmla="*/ 1280727 h 1521087"/>
              <a:gd name="connsiteX6" fmla="*/ 2560125 w 2635237"/>
              <a:gd name="connsiteY6" fmla="*/ 1316559 h 1521087"/>
              <a:gd name="connsiteX7" fmla="*/ 2504608 w 2635237"/>
              <a:gd name="connsiteY7" fmla="*/ 1326356 h 1521087"/>
              <a:gd name="connsiteX8" fmla="*/ 2452357 w 2635237"/>
              <a:gd name="connsiteY8" fmla="*/ 1329622 h 1521087"/>
              <a:gd name="connsiteX9" fmla="*/ 2406637 w 2635237"/>
              <a:gd name="connsiteY9" fmla="*/ 1329622 h 1521087"/>
              <a:gd name="connsiteX10" fmla="*/ 2351120 w 2635237"/>
              <a:gd name="connsiteY10" fmla="*/ 1342685 h 1521087"/>
              <a:gd name="connsiteX11" fmla="*/ 2302497 w 2635237"/>
              <a:gd name="connsiteY11" fmla="*/ 1372348 h 1521087"/>
              <a:gd name="connsiteX12" fmla="*/ 2285805 w 2635237"/>
              <a:gd name="connsiteY12" fmla="*/ 1411265 h 1521087"/>
              <a:gd name="connsiteX13" fmla="*/ 2246617 w 2635237"/>
              <a:gd name="connsiteY13" fmla="*/ 1453719 h 1521087"/>
              <a:gd name="connsiteX14" fmla="*/ 2187834 w 2635237"/>
              <a:gd name="connsiteY14" fmla="*/ 1476579 h 1521087"/>
              <a:gd name="connsiteX15" fmla="*/ 2122520 w 2635237"/>
              <a:gd name="connsiteY15" fmla="*/ 1463516 h 1521087"/>
              <a:gd name="connsiteX16" fmla="*/ 2053940 w 2635237"/>
              <a:gd name="connsiteY16" fmla="*/ 1466782 h 1521087"/>
              <a:gd name="connsiteX17" fmla="*/ 2011485 w 2635237"/>
              <a:gd name="connsiteY17" fmla="*/ 1479845 h 1521087"/>
              <a:gd name="connsiteX18" fmla="*/ 1975562 w 2635237"/>
              <a:gd name="connsiteY18" fmla="*/ 1499439 h 1521087"/>
              <a:gd name="connsiteX19" fmla="*/ 1933017 w 2635237"/>
              <a:gd name="connsiteY19" fmla="*/ 1515677 h 1521087"/>
              <a:gd name="connsiteX20" fmla="*/ 1880675 w 2635237"/>
              <a:gd name="connsiteY20" fmla="*/ 1519305 h 1521087"/>
              <a:gd name="connsiteX21" fmla="*/ 1802480 w 2635237"/>
              <a:gd name="connsiteY21" fmla="*/ 1489302 h 1521087"/>
              <a:gd name="connsiteX22" fmla="*/ 1741044 w 2635237"/>
              <a:gd name="connsiteY22" fmla="*/ 1449568 h 1521087"/>
              <a:gd name="connsiteX23" fmla="*/ 1681376 w 2635237"/>
              <a:gd name="connsiteY23" fmla="*/ 1390446 h 1521087"/>
              <a:gd name="connsiteX24" fmla="*/ 1587010 w 2635237"/>
              <a:gd name="connsiteY24" fmla="*/ 1365817 h 1521087"/>
              <a:gd name="connsiteX25" fmla="*/ 1479174 w 2635237"/>
              <a:gd name="connsiteY25" fmla="*/ 1355747 h 1521087"/>
              <a:gd name="connsiteX26" fmla="*/ 1400797 w 2635237"/>
              <a:gd name="connsiteY26" fmla="*/ 1355747 h 1521087"/>
              <a:gd name="connsiteX27" fmla="*/ 1309357 w 2635237"/>
              <a:gd name="connsiteY27" fmla="*/ 1342685 h 1521087"/>
              <a:gd name="connsiteX28" fmla="*/ 1227714 w 2635237"/>
              <a:gd name="connsiteY28" fmla="*/ 1329622 h 1521087"/>
              <a:gd name="connsiteX29" fmla="*/ 1105386 w 2635237"/>
              <a:gd name="connsiteY29" fmla="*/ 1295195 h 1521087"/>
              <a:gd name="connsiteX30" fmla="*/ 969722 w 2635237"/>
              <a:gd name="connsiteY30" fmla="*/ 1257776 h 1521087"/>
              <a:gd name="connsiteX31" fmla="*/ 856920 w 2635237"/>
              <a:gd name="connsiteY31" fmla="*/ 1221581 h 1521087"/>
              <a:gd name="connsiteX32" fmla="*/ 754185 w 2635237"/>
              <a:gd name="connsiteY32" fmla="*/ 1189196 h 1521087"/>
              <a:gd name="connsiteX33" fmla="*/ 662745 w 2635237"/>
              <a:gd name="connsiteY33" fmla="*/ 1159805 h 1521087"/>
              <a:gd name="connsiteX34" fmla="*/ 560351 w 2635237"/>
              <a:gd name="connsiteY34" fmla="*/ 1134291 h 1521087"/>
              <a:gd name="connsiteX35" fmla="*/ 457005 w 2635237"/>
              <a:gd name="connsiteY35" fmla="*/ 1123882 h 1521087"/>
              <a:gd name="connsiteX36" fmla="*/ 378628 w 2635237"/>
              <a:gd name="connsiteY36" fmla="*/ 1117350 h 1521087"/>
              <a:gd name="connsiteX37" fmla="*/ 251877 w 2635237"/>
              <a:gd name="connsiteY37" fmla="*/ 1082312 h 1521087"/>
              <a:gd name="connsiteX38" fmla="*/ 176154 w 2635237"/>
              <a:gd name="connsiteY38" fmla="*/ 1044007 h 1521087"/>
              <a:gd name="connsiteX39" fmla="*/ 104648 w 2635237"/>
              <a:gd name="connsiteY39" fmla="*/ 975496 h 1521087"/>
              <a:gd name="connsiteX40" fmla="*/ 60017 w 2635237"/>
              <a:gd name="connsiteY40" fmla="*/ 916985 h 1521087"/>
              <a:gd name="connsiteX41" fmla="*/ 23821 w 2635237"/>
              <a:gd name="connsiteY41" fmla="*/ 827927 h 1521087"/>
              <a:gd name="connsiteX42" fmla="*/ 2458 w 2635237"/>
              <a:gd name="connsiteY42" fmla="*/ 728730 h 1521087"/>
              <a:gd name="connsiteX43" fmla="*/ 10215 w 2635237"/>
              <a:gd name="connsiteY43" fmla="*/ 617696 h 1521087"/>
              <a:gd name="connsiteX44" fmla="*/ 57431 w 2635237"/>
              <a:gd name="connsiteY44" fmla="*/ 510472 h 1521087"/>
              <a:gd name="connsiteX45" fmla="*/ 113493 w 2635237"/>
              <a:gd name="connsiteY45" fmla="*/ 454410 h 1521087"/>
              <a:gd name="connsiteX46" fmla="*/ 221874 w 2635237"/>
              <a:gd name="connsiteY46" fmla="*/ 376033 h 1521087"/>
              <a:gd name="connsiteX47" fmla="*/ 368831 w 2635237"/>
              <a:gd name="connsiteY47" fmla="*/ 307453 h 1521087"/>
              <a:gd name="connsiteX48" fmla="*/ 525585 w 2635237"/>
              <a:gd name="connsiteY48" fmla="*/ 261733 h 1521087"/>
              <a:gd name="connsiteX49" fmla="*/ 649682 w 2635237"/>
              <a:gd name="connsiteY49" fmla="*/ 229689 h 1521087"/>
              <a:gd name="connsiteX50" fmla="*/ 795755 w 2635237"/>
              <a:gd name="connsiteY50" fmla="*/ 194649 h 1521087"/>
              <a:gd name="connsiteX51" fmla="*/ 953394 w 2635237"/>
              <a:gd name="connsiteY51" fmla="*/ 160496 h 1521087"/>
              <a:gd name="connsiteX52" fmla="*/ 1144982 w 2635237"/>
              <a:gd name="connsiteY52" fmla="*/ 109674 h 1521087"/>
              <a:gd name="connsiteX53" fmla="*/ 1397531 w 2635237"/>
              <a:gd name="connsiteY53" fmla="*/ 42930 h 1521087"/>
              <a:gd name="connsiteX54" fmla="*/ 1547754 w 2635237"/>
              <a:gd name="connsiteY54" fmla="*/ 12043 h 1521087"/>
              <a:gd name="connsiteX55" fmla="*/ 1657042 w 2635237"/>
              <a:gd name="connsiteY55" fmla="*/ 567 h 1521087"/>
              <a:gd name="connsiteX56" fmla="*/ 1769822 w 2635237"/>
              <a:gd name="connsiteY56" fmla="*/ 13267 h 1521087"/>
              <a:gd name="connsiteX57" fmla="*/ 1876163 w 2635237"/>
              <a:gd name="connsiteY57" fmla="*/ 65518 h 1521087"/>
              <a:gd name="connsiteX58" fmla="*/ 1975903 w 2635237"/>
              <a:gd name="connsiteY58" fmla="*/ 144780 h 1521087"/>
              <a:gd name="connsiteX59" fmla="*/ 2070881 w 2635237"/>
              <a:gd name="connsiteY59" fmla="*/ 222545 h 1521087"/>
              <a:gd name="connsiteX60" fmla="*/ 2155177 w 2635237"/>
              <a:gd name="connsiteY60" fmla="*/ 287859 h 1521087"/>
              <a:gd name="connsiteX61" fmla="*/ 2191100 w 2635237"/>
              <a:gd name="connsiteY61" fmla="*/ 333579 h 1521087"/>
              <a:gd name="connsiteX62" fmla="*/ 2210331 w 2635237"/>
              <a:gd name="connsiteY62" fmla="*/ 392090 h 1521087"/>
              <a:gd name="connsiteX63" fmla="*/ 2165155 w 2635237"/>
              <a:gd name="connsiteY63" fmla="*/ 463663 h 1521087"/>
              <a:gd name="connsiteX64" fmla="*/ 2062240 w 2635237"/>
              <a:gd name="connsiteY64" fmla="*/ 493327 h 1521087"/>
              <a:gd name="connsiteX65" fmla="*/ 1937259 w 2635237"/>
              <a:gd name="connsiteY65" fmla="*/ 495096 h 1521087"/>
              <a:gd name="connsiteX66" fmla="*/ 1857997 w 2635237"/>
              <a:gd name="connsiteY66" fmla="*/ 483802 h 1521087"/>
              <a:gd name="connsiteX67" fmla="*/ 1711040 w 2635237"/>
              <a:gd name="connsiteY67" fmla="*/ 460942 h 1521087"/>
              <a:gd name="connsiteX68" fmla="*/ 1570614 w 2635237"/>
              <a:gd name="connsiteY68" fmla="*/ 434816 h 1521087"/>
              <a:gd name="connsiteX69" fmla="*/ 1439985 w 2635237"/>
              <a:gd name="connsiteY69" fmla="*/ 415222 h 1521087"/>
              <a:gd name="connsiteX70" fmla="*/ 1325685 w 2635237"/>
              <a:gd name="connsiteY70" fmla="*/ 418487 h 1521087"/>
              <a:gd name="connsiteX71" fmla="*/ 1225061 w 2635237"/>
              <a:gd name="connsiteY71" fmla="*/ 443728 h 1521087"/>
              <a:gd name="connsiteX72" fmla="*/ 1139540 w 2635237"/>
              <a:gd name="connsiteY72" fmla="*/ 474005 h 1521087"/>
              <a:gd name="connsiteX73" fmla="*/ 1024695 w 2635237"/>
              <a:gd name="connsiteY73" fmla="*/ 519725 h 1521087"/>
              <a:gd name="connsiteX74" fmla="*/ 924002 w 2635237"/>
              <a:gd name="connsiteY74" fmla="*/ 556531 h 1521087"/>
              <a:gd name="connsiteX75" fmla="*/ 773168 w 2635237"/>
              <a:gd name="connsiteY75" fmla="*/ 579120 h 1521087"/>
              <a:gd name="connsiteX76" fmla="*/ 658051 w 2635237"/>
              <a:gd name="connsiteY76" fmla="*/ 581251 h 1521087"/>
              <a:gd name="connsiteX77" fmla="*/ 526220 w 2635237"/>
              <a:gd name="connsiteY77" fmla="*/ 582136 h 1521087"/>
              <a:gd name="connsiteX78" fmla="*/ 408110 w 2635237"/>
              <a:gd name="connsiteY78" fmla="*/ 571363 h 1521087"/>
              <a:gd name="connsiteX79" fmla="*/ 305535 w 2635237"/>
              <a:gd name="connsiteY79" fmla="*/ 559707 h 1521087"/>
              <a:gd name="connsiteX80" fmla="*/ 172888 w 2635237"/>
              <a:gd name="connsiteY80" fmla="*/ 549116 h 1521087"/>
              <a:gd name="connsiteX0" fmla="*/ 2635237 w 2635237"/>
              <a:gd name="connsiteY0" fmla="*/ 1016113 h 1521087"/>
              <a:gd name="connsiteX1" fmla="*/ 2625621 w 2635237"/>
              <a:gd name="connsiteY1" fmla="*/ 1071630 h 1521087"/>
              <a:gd name="connsiteX2" fmla="*/ 2626936 w 2635237"/>
              <a:gd name="connsiteY2" fmla="*/ 1129529 h 1521087"/>
              <a:gd name="connsiteX3" fmla="*/ 2625440 w 2635237"/>
              <a:gd name="connsiteY3" fmla="*/ 1176133 h 1521087"/>
              <a:gd name="connsiteX4" fmla="*/ 2621902 w 2635237"/>
              <a:gd name="connsiteY4" fmla="*/ 1231038 h 1521087"/>
              <a:gd name="connsiteX5" fmla="*/ 2589789 w 2635237"/>
              <a:gd name="connsiteY5" fmla="*/ 1280727 h 1521087"/>
              <a:gd name="connsiteX6" fmla="*/ 2560125 w 2635237"/>
              <a:gd name="connsiteY6" fmla="*/ 1316559 h 1521087"/>
              <a:gd name="connsiteX7" fmla="*/ 2504608 w 2635237"/>
              <a:gd name="connsiteY7" fmla="*/ 1326356 h 1521087"/>
              <a:gd name="connsiteX8" fmla="*/ 2452357 w 2635237"/>
              <a:gd name="connsiteY8" fmla="*/ 1329622 h 1521087"/>
              <a:gd name="connsiteX9" fmla="*/ 2406637 w 2635237"/>
              <a:gd name="connsiteY9" fmla="*/ 1329622 h 1521087"/>
              <a:gd name="connsiteX10" fmla="*/ 2351120 w 2635237"/>
              <a:gd name="connsiteY10" fmla="*/ 1342685 h 1521087"/>
              <a:gd name="connsiteX11" fmla="*/ 2302497 w 2635237"/>
              <a:gd name="connsiteY11" fmla="*/ 1372348 h 1521087"/>
              <a:gd name="connsiteX12" fmla="*/ 2285805 w 2635237"/>
              <a:gd name="connsiteY12" fmla="*/ 1411265 h 1521087"/>
              <a:gd name="connsiteX13" fmla="*/ 2246617 w 2635237"/>
              <a:gd name="connsiteY13" fmla="*/ 1453719 h 1521087"/>
              <a:gd name="connsiteX14" fmla="*/ 2187834 w 2635237"/>
              <a:gd name="connsiteY14" fmla="*/ 1476579 h 1521087"/>
              <a:gd name="connsiteX15" fmla="*/ 2122520 w 2635237"/>
              <a:gd name="connsiteY15" fmla="*/ 1463516 h 1521087"/>
              <a:gd name="connsiteX16" fmla="*/ 2053940 w 2635237"/>
              <a:gd name="connsiteY16" fmla="*/ 1466782 h 1521087"/>
              <a:gd name="connsiteX17" fmla="*/ 2011485 w 2635237"/>
              <a:gd name="connsiteY17" fmla="*/ 1479845 h 1521087"/>
              <a:gd name="connsiteX18" fmla="*/ 1975562 w 2635237"/>
              <a:gd name="connsiteY18" fmla="*/ 1499439 h 1521087"/>
              <a:gd name="connsiteX19" fmla="*/ 1933017 w 2635237"/>
              <a:gd name="connsiteY19" fmla="*/ 1515677 h 1521087"/>
              <a:gd name="connsiteX20" fmla="*/ 1880675 w 2635237"/>
              <a:gd name="connsiteY20" fmla="*/ 1519305 h 1521087"/>
              <a:gd name="connsiteX21" fmla="*/ 1802480 w 2635237"/>
              <a:gd name="connsiteY21" fmla="*/ 1489302 h 1521087"/>
              <a:gd name="connsiteX22" fmla="*/ 1741044 w 2635237"/>
              <a:gd name="connsiteY22" fmla="*/ 1449568 h 1521087"/>
              <a:gd name="connsiteX23" fmla="*/ 1681376 w 2635237"/>
              <a:gd name="connsiteY23" fmla="*/ 1390446 h 1521087"/>
              <a:gd name="connsiteX24" fmla="*/ 1587010 w 2635237"/>
              <a:gd name="connsiteY24" fmla="*/ 1365817 h 1521087"/>
              <a:gd name="connsiteX25" fmla="*/ 1479174 w 2635237"/>
              <a:gd name="connsiteY25" fmla="*/ 1355747 h 1521087"/>
              <a:gd name="connsiteX26" fmla="*/ 1400797 w 2635237"/>
              <a:gd name="connsiteY26" fmla="*/ 1355747 h 1521087"/>
              <a:gd name="connsiteX27" fmla="*/ 1309357 w 2635237"/>
              <a:gd name="connsiteY27" fmla="*/ 1342685 h 1521087"/>
              <a:gd name="connsiteX28" fmla="*/ 1227714 w 2635237"/>
              <a:gd name="connsiteY28" fmla="*/ 1329622 h 1521087"/>
              <a:gd name="connsiteX29" fmla="*/ 1105386 w 2635237"/>
              <a:gd name="connsiteY29" fmla="*/ 1295195 h 1521087"/>
              <a:gd name="connsiteX30" fmla="*/ 969722 w 2635237"/>
              <a:gd name="connsiteY30" fmla="*/ 1257776 h 1521087"/>
              <a:gd name="connsiteX31" fmla="*/ 856920 w 2635237"/>
              <a:gd name="connsiteY31" fmla="*/ 1221581 h 1521087"/>
              <a:gd name="connsiteX32" fmla="*/ 754185 w 2635237"/>
              <a:gd name="connsiteY32" fmla="*/ 1189196 h 1521087"/>
              <a:gd name="connsiteX33" fmla="*/ 662745 w 2635237"/>
              <a:gd name="connsiteY33" fmla="*/ 1159805 h 1521087"/>
              <a:gd name="connsiteX34" fmla="*/ 560351 w 2635237"/>
              <a:gd name="connsiteY34" fmla="*/ 1134291 h 1521087"/>
              <a:gd name="connsiteX35" fmla="*/ 457005 w 2635237"/>
              <a:gd name="connsiteY35" fmla="*/ 1123882 h 1521087"/>
              <a:gd name="connsiteX36" fmla="*/ 378628 w 2635237"/>
              <a:gd name="connsiteY36" fmla="*/ 1117350 h 1521087"/>
              <a:gd name="connsiteX37" fmla="*/ 251877 w 2635237"/>
              <a:gd name="connsiteY37" fmla="*/ 1082312 h 1521087"/>
              <a:gd name="connsiteX38" fmla="*/ 176154 w 2635237"/>
              <a:gd name="connsiteY38" fmla="*/ 1044007 h 1521087"/>
              <a:gd name="connsiteX39" fmla="*/ 104648 w 2635237"/>
              <a:gd name="connsiteY39" fmla="*/ 975496 h 1521087"/>
              <a:gd name="connsiteX40" fmla="*/ 60017 w 2635237"/>
              <a:gd name="connsiteY40" fmla="*/ 916985 h 1521087"/>
              <a:gd name="connsiteX41" fmla="*/ 23821 w 2635237"/>
              <a:gd name="connsiteY41" fmla="*/ 827927 h 1521087"/>
              <a:gd name="connsiteX42" fmla="*/ 2458 w 2635237"/>
              <a:gd name="connsiteY42" fmla="*/ 728730 h 1521087"/>
              <a:gd name="connsiteX43" fmla="*/ 10215 w 2635237"/>
              <a:gd name="connsiteY43" fmla="*/ 617696 h 1521087"/>
              <a:gd name="connsiteX44" fmla="*/ 57431 w 2635237"/>
              <a:gd name="connsiteY44" fmla="*/ 510472 h 1521087"/>
              <a:gd name="connsiteX45" fmla="*/ 113493 w 2635237"/>
              <a:gd name="connsiteY45" fmla="*/ 454410 h 1521087"/>
              <a:gd name="connsiteX46" fmla="*/ 221874 w 2635237"/>
              <a:gd name="connsiteY46" fmla="*/ 376033 h 1521087"/>
              <a:gd name="connsiteX47" fmla="*/ 368831 w 2635237"/>
              <a:gd name="connsiteY47" fmla="*/ 307453 h 1521087"/>
              <a:gd name="connsiteX48" fmla="*/ 525585 w 2635237"/>
              <a:gd name="connsiteY48" fmla="*/ 261733 h 1521087"/>
              <a:gd name="connsiteX49" fmla="*/ 649682 w 2635237"/>
              <a:gd name="connsiteY49" fmla="*/ 229689 h 1521087"/>
              <a:gd name="connsiteX50" fmla="*/ 795755 w 2635237"/>
              <a:gd name="connsiteY50" fmla="*/ 194649 h 1521087"/>
              <a:gd name="connsiteX51" fmla="*/ 953394 w 2635237"/>
              <a:gd name="connsiteY51" fmla="*/ 160496 h 1521087"/>
              <a:gd name="connsiteX52" fmla="*/ 1144982 w 2635237"/>
              <a:gd name="connsiteY52" fmla="*/ 109674 h 1521087"/>
              <a:gd name="connsiteX53" fmla="*/ 1397531 w 2635237"/>
              <a:gd name="connsiteY53" fmla="*/ 42930 h 1521087"/>
              <a:gd name="connsiteX54" fmla="*/ 1547754 w 2635237"/>
              <a:gd name="connsiteY54" fmla="*/ 12043 h 1521087"/>
              <a:gd name="connsiteX55" fmla="*/ 1657042 w 2635237"/>
              <a:gd name="connsiteY55" fmla="*/ 567 h 1521087"/>
              <a:gd name="connsiteX56" fmla="*/ 1769822 w 2635237"/>
              <a:gd name="connsiteY56" fmla="*/ 13267 h 1521087"/>
              <a:gd name="connsiteX57" fmla="*/ 1876163 w 2635237"/>
              <a:gd name="connsiteY57" fmla="*/ 65518 h 1521087"/>
              <a:gd name="connsiteX58" fmla="*/ 1975903 w 2635237"/>
              <a:gd name="connsiteY58" fmla="*/ 144780 h 1521087"/>
              <a:gd name="connsiteX59" fmla="*/ 2070881 w 2635237"/>
              <a:gd name="connsiteY59" fmla="*/ 222545 h 1521087"/>
              <a:gd name="connsiteX60" fmla="*/ 2155177 w 2635237"/>
              <a:gd name="connsiteY60" fmla="*/ 287859 h 1521087"/>
              <a:gd name="connsiteX61" fmla="*/ 2191100 w 2635237"/>
              <a:gd name="connsiteY61" fmla="*/ 333579 h 1521087"/>
              <a:gd name="connsiteX62" fmla="*/ 2210331 w 2635237"/>
              <a:gd name="connsiteY62" fmla="*/ 392090 h 1521087"/>
              <a:gd name="connsiteX63" fmla="*/ 2165155 w 2635237"/>
              <a:gd name="connsiteY63" fmla="*/ 463663 h 1521087"/>
              <a:gd name="connsiteX64" fmla="*/ 2062240 w 2635237"/>
              <a:gd name="connsiteY64" fmla="*/ 493327 h 1521087"/>
              <a:gd name="connsiteX65" fmla="*/ 1937259 w 2635237"/>
              <a:gd name="connsiteY65" fmla="*/ 495096 h 1521087"/>
              <a:gd name="connsiteX66" fmla="*/ 1857997 w 2635237"/>
              <a:gd name="connsiteY66" fmla="*/ 483802 h 1521087"/>
              <a:gd name="connsiteX67" fmla="*/ 1711040 w 2635237"/>
              <a:gd name="connsiteY67" fmla="*/ 460942 h 1521087"/>
              <a:gd name="connsiteX68" fmla="*/ 1570614 w 2635237"/>
              <a:gd name="connsiteY68" fmla="*/ 434816 h 1521087"/>
              <a:gd name="connsiteX69" fmla="*/ 1439985 w 2635237"/>
              <a:gd name="connsiteY69" fmla="*/ 415222 h 1521087"/>
              <a:gd name="connsiteX70" fmla="*/ 1325685 w 2635237"/>
              <a:gd name="connsiteY70" fmla="*/ 418487 h 1521087"/>
              <a:gd name="connsiteX71" fmla="*/ 1225061 w 2635237"/>
              <a:gd name="connsiteY71" fmla="*/ 443728 h 1521087"/>
              <a:gd name="connsiteX72" fmla="*/ 1139540 w 2635237"/>
              <a:gd name="connsiteY72" fmla="*/ 474005 h 1521087"/>
              <a:gd name="connsiteX73" fmla="*/ 1024695 w 2635237"/>
              <a:gd name="connsiteY73" fmla="*/ 519725 h 1521087"/>
              <a:gd name="connsiteX74" fmla="*/ 924002 w 2635237"/>
              <a:gd name="connsiteY74" fmla="*/ 556531 h 1521087"/>
              <a:gd name="connsiteX75" fmla="*/ 773168 w 2635237"/>
              <a:gd name="connsiteY75" fmla="*/ 579120 h 1521087"/>
              <a:gd name="connsiteX76" fmla="*/ 658051 w 2635237"/>
              <a:gd name="connsiteY76" fmla="*/ 581251 h 1521087"/>
              <a:gd name="connsiteX77" fmla="*/ 526220 w 2635237"/>
              <a:gd name="connsiteY77" fmla="*/ 582136 h 1521087"/>
              <a:gd name="connsiteX78" fmla="*/ 408110 w 2635237"/>
              <a:gd name="connsiteY78" fmla="*/ 571363 h 1521087"/>
              <a:gd name="connsiteX79" fmla="*/ 305535 w 2635237"/>
              <a:gd name="connsiteY79" fmla="*/ 559707 h 1521087"/>
              <a:gd name="connsiteX80" fmla="*/ 172888 w 2635237"/>
              <a:gd name="connsiteY80" fmla="*/ 549116 h 1521087"/>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87834 w 2635237"/>
              <a:gd name="connsiteY14" fmla="*/ 1476579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0446 h 1519229"/>
              <a:gd name="connsiteX24" fmla="*/ 1587010 w 2635237"/>
              <a:gd name="connsiteY24" fmla="*/ 1365817 h 1519229"/>
              <a:gd name="connsiteX25" fmla="*/ 1479174 w 2635237"/>
              <a:gd name="connsiteY25" fmla="*/ 1355747 h 1519229"/>
              <a:gd name="connsiteX26" fmla="*/ 1400797 w 2635237"/>
              <a:gd name="connsiteY26" fmla="*/ 1355747 h 1519229"/>
              <a:gd name="connsiteX27" fmla="*/ 1309357 w 2635237"/>
              <a:gd name="connsiteY27" fmla="*/ 1342685 h 1519229"/>
              <a:gd name="connsiteX28" fmla="*/ 1227714 w 2635237"/>
              <a:gd name="connsiteY28" fmla="*/ 1329622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0446 h 1519229"/>
              <a:gd name="connsiteX24" fmla="*/ 1587010 w 2635237"/>
              <a:gd name="connsiteY24" fmla="*/ 1365817 h 1519229"/>
              <a:gd name="connsiteX25" fmla="*/ 1479174 w 2635237"/>
              <a:gd name="connsiteY25" fmla="*/ 1355747 h 1519229"/>
              <a:gd name="connsiteX26" fmla="*/ 1400797 w 2635237"/>
              <a:gd name="connsiteY26" fmla="*/ 1355747 h 1519229"/>
              <a:gd name="connsiteX27" fmla="*/ 1309357 w 2635237"/>
              <a:gd name="connsiteY27" fmla="*/ 1342685 h 1519229"/>
              <a:gd name="connsiteX28" fmla="*/ 1227714 w 2635237"/>
              <a:gd name="connsiteY28" fmla="*/ 1329622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0446 h 1519229"/>
              <a:gd name="connsiteX24" fmla="*/ 1587010 w 2635237"/>
              <a:gd name="connsiteY24" fmla="*/ 1365817 h 1519229"/>
              <a:gd name="connsiteX25" fmla="*/ 1479174 w 2635237"/>
              <a:gd name="connsiteY25" fmla="*/ 1355747 h 1519229"/>
              <a:gd name="connsiteX26" fmla="*/ 1400797 w 2635237"/>
              <a:gd name="connsiteY26" fmla="*/ 1355747 h 1519229"/>
              <a:gd name="connsiteX27" fmla="*/ 1309357 w 2635237"/>
              <a:gd name="connsiteY27" fmla="*/ 1342685 h 1519229"/>
              <a:gd name="connsiteX28" fmla="*/ 1227714 w 2635237"/>
              <a:gd name="connsiteY28" fmla="*/ 1329622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0446 h 1519229"/>
              <a:gd name="connsiteX24" fmla="*/ 1587010 w 2635237"/>
              <a:gd name="connsiteY24" fmla="*/ 1365817 h 1519229"/>
              <a:gd name="connsiteX25" fmla="*/ 1476793 w 2635237"/>
              <a:gd name="connsiteY25" fmla="*/ 1348603 h 1519229"/>
              <a:gd name="connsiteX26" fmla="*/ 1400797 w 2635237"/>
              <a:gd name="connsiteY26" fmla="*/ 1355747 h 1519229"/>
              <a:gd name="connsiteX27" fmla="*/ 1309357 w 2635237"/>
              <a:gd name="connsiteY27" fmla="*/ 1342685 h 1519229"/>
              <a:gd name="connsiteX28" fmla="*/ 1227714 w 2635237"/>
              <a:gd name="connsiteY28" fmla="*/ 1329622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0446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09357 w 2635237"/>
              <a:gd name="connsiteY27" fmla="*/ 1342685 h 1519229"/>
              <a:gd name="connsiteX28" fmla="*/ 1227714 w 2635237"/>
              <a:gd name="connsiteY28" fmla="*/ 1329622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0446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14120 w 2635237"/>
              <a:gd name="connsiteY27" fmla="*/ 1340303 h 1519229"/>
              <a:gd name="connsiteX28" fmla="*/ 1227714 w 2635237"/>
              <a:gd name="connsiteY28" fmla="*/ 1329622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0446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14120 w 2635237"/>
              <a:gd name="connsiteY27" fmla="*/ 1340303 h 1519229"/>
              <a:gd name="connsiteX28" fmla="*/ 1225332 w 2635237"/>
              <a:gd name="connsiteY28" fmla="*/ 1327241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0446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14120 w 2635237"/>
              <a:gd name="connsiteY27" fmla="*/ 1340303 h 1519229"/>
              <a:gd name="connsiteX28" fmla="*/ 1225332 w 2635237"/>
              <a:gd name="connsiteY28" fmla="*/ 1327241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0446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14120 w 2635237"/>
              <a:gd name="connsiteY27" fmla="*/ 1340303 h 1519229"/>
              <a:gd name="connsiteX28" fmla="*/ 1225332 w 2635237"/>
              <a:gd name="connsiteY28" fmla="*/ 1327241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0446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14120 w 2635237"/>
              <a:gd name="connsiteY27" fmla="*/ 1340303 h 1519229"/>
              <a:gd name="connsiteX28" fmla="*/ 1225332 w 2635237"/>
              <a:gd name="connsiteY28" fmla="*/ 1327241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2827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14120 w 2635237"/>
              <a:gd name="connsiteY27" fmla="*/ 1340303 h 1519229"/>
              <a:gd name="connsiteX28" fmla="*/ 1225332 w 2635237"/>
              <a:gd name="connsiteY28" fmla="*/ 1327241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2827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14120 w 2635237"/>
              <a:gd name="connsiteY27" fmla="*/ 1340303 h 1519229"/>
              <a:gd name="connsiteX28" fmla="*/ 1225332 w 2635237"/>
              <a:gd name="connsiteY28" fmla="*/ 1327241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8535 w 2635237"/>
              <a:gd name="connsiteY38" fmla="*/ 1036864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2827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14120 w 2635237"/>
              <a:gd name="connsiteY27" fmla="*/ 1340303 h 1519229"/>
              <a:gd name="connsiteX28" fmla="*/ 1225332 w 2635237"/>
              <a:gd name="connsiteY28" fmla="*/ 1327241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8535 w 2635237"/>
              <a:gd name="connsiteY38" fmla="*/ 1036864 h 1519229"/>
              <a:gd name="connsiteX39" fmla="*/ 111792 w 2635237"/>
              <a:gd name="connsiteY39" fmla="*/ 968352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2827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14120 w 2635237"/>
              <a:gd name="connsiteY27" fmla="*/ 1340303 h 1519229"/>
              <a:gd name="connsiteX28" fmla="*/ 1225332 w 2635237"/>
              <a:gd name="connsiteY28" fmla="*/ 1327241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8535 w 2635237"/>
              <a:gd name="connsiteY38" fmla="*/ 1036864 h 1519229"/>
              <a:gd name="connsiteX39" fmla="*/ 111792 w 2635237"/>
              <a:gd name="connsiteY39" fmla="*/ 968352 h 1519229"/>
              <a:gd name="connsiteX40" fmla="*/ 71923 w 2635237"/>
              <a:gd name="connsiteY40" fmla="*/ 907460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2827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14120 w 2635237"/>
              <a:gd name="connsiteY27" fmla="*/ 1340303 h 1519229"/>
              <a:gd name="connsiteX28" fmla="*/ 1225332 w 2635237"/>
              <a:gd name="connsiteY28" fmla="*/ 1327241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8535 w 2635237"/>
              <a:gd name="connsiteY38" fmla="*/ 1036864 h 1519229"/>
              <a:gd name="connsiteX39" fmla="*/ 111792 w 2635237"/>
              <a:gd name="connsiteY39" fmla="*/ 968352 h 1519229"/>
              <a:gd name="connsiteX40" fmla="*/ 71923 w 2635237"/>
              <a:gd name="connsiteY40" fmla="*/ 907460 h 1519229"/>
              <a:gd name="connsiteX41" fmla="*/ 30965 w 2635237"/>
              <a:gd name="connsiteY41" fmla="*/ 820784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27648 w 2627648"/>
              <a:gd name="connsiteY0" fmla="*/ 1016113 h 1519229"/>
              <a:gd name="connsiteX1" fmla="*/ 2618032 w 2627648"/>
              <a:gd name="connsiteY1" fmla="*/ 1071630 h 1519229"/>
              <a:gd name="connsiteX2" fmla="*/ 2619347 w 2627648"/>
              <a:gd name="connsiteY2" fmla="*/ 1129529 h 1519229"/>
              <a:gd name="connsiteX3" fmla="*/ 2617851 w 2627648"/>
              <a:gd name="connsiteY3" fmla="*/ 1176133 h 1519229"/>
              <a:gd name="connsiteX4" fmla="*/ 2614313 w 2627648"/>
              <a:gd name="connsiteY4" fmla="*/ 1231038 h 1519229"/>
              <a:gd name="connsiteX5" fmla="*/ 2582200 w 2627648"/>
              <a:gd name="connsiteY5" fmla="*/ 1280727 h 1519229"/>
              <a:gd name="connsiteX6" fmla="*/ 2552536 w 2627648"/>
              <a:gd name="connsiteY6" fmla="*/ 1316559 h 1519229"/>
              <a:gd name="connsiteX7" fmla="*/ 2497019 w 2627648"/>
              <a:gd name="connsiteY7" fmla="*/ 1326356 h 1519229"/>
              <a:gd name="connsiteX8" fmla="*/ 2444768 w 2627648"/>
              <a:gd name="connsiteY8" fmla="*/ 1329622 h 1519229"/>
              <a:gd name="connsiteX9" fmla="*/ 2399048 w 2627648"/>
              <a:gd name="connsiteY9" fmla="*/ 1329622 h 1519229"/>
              <a:gd name="connsiteX10" fmla="*/ 2343531 w 2627648"/>
              <a:gd name="connsiteY10" fmla="*/ 1342685 h 1519229"/>
              <a:gd name="connsiteX11" fmla="*/ 2294908 w 2627648"/>
              <a:gd name="connsiteY11" fmla="*/ 1372348 h 1519229"/>
              <a:gd name="connsiteX12" fmla="*/ 2278216 w 2627648"/>
              <a:gd name="connsiteY12" fmla="*/ 1411265 h 1519229"/>
              <a:gd name="connsiteX13" fmla="*/ 2239028 w 2627648"/>
              <a:gd name="connsiteY13" fmla="*/ 1453719 h 1519229"/>
              <a:gd name="connsiteX14" fmla="*/ 2182627 w 2627648"/>
              <a:gd name="connsiteY14" fmla="*/ 1471817 h 1519229"/>
              <a:gd name="connsiteX15" fmla="*/ 2114931 w 2627648"/>
              <a:gd name="connsiteY15" fmla="*/ 1463516 h 1519229"/>
              <a:gd name="connsiteX16" fmla="*/ 2046351 w 2627648"/>
              <a:gd name="connsiteY16" fmla="*/ 1466782 h 1519229"/>
              <a:gd name="connsiteX17" fmla="*/ 2003896 w 2627648"/>
              <a:gd name="connsiteY17" fmla="*/ 1479845 h 1519229"/>
              <a:gd name="connsiteX18" fmla="*/ 1967973 w 2627648"/>
              <a:gd name="connsiteY18" fmla="*/ 1499439 h 1519229"/>
              <a:gd name="connsiteX19" fmla="*/ 1925428 w 2627648"/>
              <a:gd name="connsiteY19" fmla="*/ 1515677 h 1519229"/>
              <a:gd name="connsiteX20" fmla="*/ 1882611 w 2627648"/>
              <a:gd name="connsiteY20" fmla="*/ 1516923 h 1519229"/>
              <a:gd name="connsiteX21" fmla="*/ 1794891 w 2627648"/>
              <a:gd name="connsiteY21" fmla="*/ 1489302 h 1519229"/>
              <a:gd name="connsiteX22" fmla="*/ 1733455 w 2627648"/>
              <a:gd name="connsiteY22" fmla="*/ 1449568 h 1519229"/>
              <a:gd name="connsiteX23" fmla="*/ 1673787 w 2627648"/>
              <a:gd name="connsiteY23" fmla="*/ 1392827 h 1519229"/>
              <a:gd name="connsiteX24" fmla="*/ 1579421 w 2627648"/>
              <a:gd name="connsiteY24" fmla="*/ 1365817 h 1519229"/>
              <a:gd name="connsiteX25" fmla="*/ 1469204 w 2627648"/>
              <a:gd name="connsiteY25" fmla="*/ 1348603 h 1519229"/>
              <a:gd name="connsiteX26" fmla="*/ 1388446 w 2627648"/>
              <a:gd name="connsiteY26" fmla="*/ 1346222 h 1519229"/>
              <a:gd name="connsiteX27" fmla="*/ 1306531 w 2627648"/>
              <a:gd name="connsiteY27" fmla="*/ 1340303 h 1519229"/>
              <a:gd name="connsiteX28" fmla="*/ 1217743 w 2627648"/>
              <a:gd name="connsiteY28" fmla="*/ 1327241 h 1519229"/>
              <a:gd name="connsiteX29" fmla="*/ 1097797 w 2627648"/>
              <a:gd name="connsiteY29" fmla="*/ 1295195 h 1519229"/>
              <a:gd name="connsiteX30" fmla="*/ 962133 w 2627648"/>
              <a:gd name="connsiteY30" fmla="*/ 1257776 h 1519229"/>
              <a:gd name="connsiteX31" fmla="*/ 849331 w 2627648"/>
              <a:gd name="connsiteY31" fmla="*/ 1221581 h 1519229"/>
              <a:gd name="connsiteX32" fmla="*/ 746596 w 2627648"/>
              <a:gd name="connsiteY32" fmla="*/ 1189196 h 1519229"/>
              <a:gd name="connsiteX33" fmla="*/ 655156 w 2627648"/>
              <a:gd name="connsiteY33" fmla="*/ 1159805 h 1519229"/>
              <a:gd name="connsiteX34" fmla="*/ 552762 w 2627648"/>
              <a:gd name="connsiteY34" fmla="*/ 1134291 h 1519229"/>
              <a:gd name="connsiteX35" fmla="*/ 449416 w 2627648"/>
              <a:gd name="connsiteY35" fmla="*/ 1123882 h 1519229"/>
              <a:gd name="connsiteX36" fmla="*/ 371039 w 2627648"/>
              <a:gd name="connsiteY36" fmla="*/ 1117350 h 1519229"/>
              <a:gd name="connsiteX37" fmla="*/ 244288 w 2627648"/>
              <a:gd name="connsiteY37" fmla="*/ 1082312 h 1519229"/>
              <a:gd name="connsiteX38" fmla="*/ 170946 w 2627648"/>
              <a:gd name="connsiteY38" fmla="*/ 1036864 h 1519229"/>
              <a:gd name="connsiteX39" fmla="*/ 104203 w 2627648"/>
              <a:gd name="connsiteY39" fmla="*/ 968352 h 1519229"/>
              <a:gd name="connsiteX40" fmla="*/ 64334 w 2627648"/>
              <a:gd name="connsiteY40" fmla="*/ 907460 h 1519229"/>
              <a:gd name="connsiteX41" fmla="*/ 23376 w 2627648"/>
              <a:gd name="connsiteY41" fmla="*/ 820784 h 1519229"/>
              <a:gd name="connsiteX42" fmla="*/ 9157 w 2627648"/>
              <a:gd name="connsiteY42" fmla="*/ 716824 h 1519229"/>
              <a:gd name="connsiteX43" fmla="*/ 2626 w 2627648"/>
              <a:gd name="connsiteY43" fmla="*/ 617696 h 1519229"/>
              <a:gd name="connsiteX44" fmla="*/ 49842 w 2627648"/>
              <a:gd name="connsiteY44" fmla="*/ 510472 h 1519229"/>
              <a:gd name="connsiteX45" fmla="*/ 105904 w 2627648"/>
              <a:gd name="connsiteY45" fmla="*/ 454410 h 1519229"/>
              <a:gd name="connsiteX46" fmla="*/ 214285 w 2627648"/>
              <a:gd name="connsiteY46" fmla="*/ 376033 h 1519229"/>
              <a:gd name="connsiteX47" fmla="*/ 361242 w 2627648"/>
              <a:gd name="connsiteY47" fmla="*/ 307453 h 1519229"/>
              <a:gd name="connsiteX48" fmla="*/ 517996 w 2627648"/>
              <a:gd name="connsiteY48" fmla="*/ 261733 h 1519229"/>
              <a:gd name="connsiteX49" fmla="*/ 642093 w 2627648"/>
              <a:gd name="connsiteY49" fmla="*/ 229689 h 1519229"/>
              <a:gd name="connsiteX50" fmla="*/ 788166 w 2627648"/>
              <a:gd name="connsiteY50" fmla="*/ 194649 h 1519229"/>
              <a:gd name="connsiteX51" fmla="*/ 945805 w 2627648"/>
              <a:gd name="connsiteY51" fmla="*/ 160496 h 1519229"/>
              <a:gd name="connsiteX52" fmla="*/ 1137393 w 2627648"/>
              <a:gd name="connsiteY52" fmla="*/ 109674 h 1519229"/>
              <a:gd name="connsiteX53" fmla="*/ 1389942 w 2627648"/>
              <a:gd name="connsiteY53" fmla="*/ 42930 h 1519229"/>
              <a:gd name="connsiteX54" fmla="*/ 1540165 w 2627648"/>
              <a:gd name="connsiteY54" fmla="*/ 12043 h 1519229"/>
              <a:gd name="connsiteX55" fmla="*/ 1649453 w 2627648"/>
              <a:gd name="connsiteY55" fmla="*/ 567 h 1519229"/>
              <a:gd name="connsiteX56" fmla="*/ 1762233 w 2627648"/>
              <a:gd name="connsiteY56" fmla="*/ 13267 h 1519229"/>
              <a:gd name="connsiteX57" fmla="*/ 1868574 w 2627648"/>
              <a:gd name="connsiteY57" fmla="*/ 65518 h 1519229"/>
              <a:gd name="connsiteX58" fmla="*/ 1968314 w 2627648"/>
              <a:gd name="connsiteY58" fmla="*/ 144780 h 1519229"/>
              <a:gd name="connsiteX59" fmla="*/ 2063292 w 2627648"/>
              <a:gd name="connsiteY59" fmla="*/ 222545 h 1519229"/>
              <a:gd name="connsiteX60" fmla="*/ 2147588 w 2627648"/>
              <a:gd name="connsiteY60" fmla="*/ 287859 h 1519229"/>
              <a:gd name="connsiteX61" fmla="*/ 2183511 w 2627648"/>
              <a:gd name="connsiteY61" fmla="*/ 333579 h 1519229"/>
              <a:gd name="connsiteX62" fmla="*/ 2202742 w 2627648"/>
              <a:gd name="connsiteY62" fmla="*/ 392090 h 1519229"/>
              <a:gd name="connsiteX63" fmla="*/ 2157566 w 2627648"/>
              <a:gd name="connsiteY63" fmla="*/ 463663 h 1519229"/>
              <a:gd name="connsiteX64" fmla="*/ 2054651 w 2627648"/>
              <a:gd name="connsiteY64" fmla="*/ 493327 h 1519229"/>
              <a:gd name="connsiteX65" fmla="*/ 1929670 w 2627648"/>
              <a:gd name="connsiteY65" fmla="*/ 495096 h 1519229"/>
              <a:gd name="connsiteX66" fmla="*/ 1850408 w 2627648"/>
              <a:gd name="connsiteY66" fmla="*/ 483802 h 1519229"/>
              <a:gd name="connsiteX67" fmla="*/ 1703451 w 2627648"/>
              <a:gd name="connsiteY67" fmla="*/ 460942 h 1519229"/>
              <a:gd name="connsiteX68" fmla="*/ 1563025 w 2627648"/>
              <a:gd name="connsiteY68" fmla="*/ 434816 h 1519229"/>
              <a:gd name="connsiteX69" fmla="*/ 1432396 w 2627648"/>
              <a:gd name="connsiteY69" fmla="*/ 415222 h 1519229"/>
              <a:gd name="connsiteX70" fmla="*/ 1318096 w 2627648"/>
              <a:gd name="connsiteY70" fmla="*/ 418487 h 1519229"/>
              <a:gd name="connsiteX71" fmla="*/ 1217472 w 2627648"/>
              <a:gd name="connsiteY71" fmla="*/ 443728 h 1519229"/>
              <a:gd name="connsiteX72" fmla="*/ 1131951 w 2627648"/>
              <a:gd name="connsiteY72" fmla="*/ 474005 h 1519229"/>
              <a:gd name="connsiteX73" fmla="*/ 1017106 w 2627648"/>
              <a:gd name="connsiteY73" fmla="*/ 519725 h 1519229"/>
              <a:gd name="connsiteX74" fmla="*/ 916413 w 2627648"/>
              <a:gd name="connsiteY74" fmla="*/ 556531 h 1519229"/>
              <a:gd name="connsiteX75" fmla="*/ 765579 w 2627648"/>
              <a:gd name="connsiteY75" fmla="*/ 579120 h 1519229"/>
              <a:gd name="connsiteX76" fmla="*/ 650462 w 2627648"/>
              <a:gd name="connsiteY76" fmla="*/ 581251 h 1519229"/>
              <a:gd name="connsiteX77" fmla="*/ 518631 w 2627648"/>
              <a:gd name="connsiteY77" fmla="*/ 582136 h 1519229"/>
              <a:gd name="connsiteX78" fmla="*/ 400521 w 2627648"/>
              <a:gd name="connsiteY78" fmla="*/ 571363 h 1519229"/>
              <a:gd name="connsiteX79" fmla="*/ 297946 w 2627648"/>
              <a:gd name="connsiteY79" fmla="*/ 559707 h 1519229"/>
              <a:gd name="connsiteX80" fmla="*/ 165299 w 2627648"/>
              <a:gd name="connsiteY80" fmla="*/ 549116 h 1519229"/>
              <a:gd name="connsiteX0" fmla="*/ 2635236 w 2635236"/>
              <a:gd name="connsiteY0" fmla="*/ 1016113 h 1519229"/>
              <a:gd name="connsiteX1" fmla="*/ 2625620 w 2635236"/>
              <a:gd name="connsiteY1" fmla="*/ 1071630 h 1519229"/>
              <a:gd name="connsiteX2" fmla="*/ 2626935 w 2635236"/>
              <a:gd name="connsiteY2" fmla="*/ 1129529 h 1519229"/>
              <a:gd name="connsiteX3" fmla="*/ 2625439 w 2635236"/>
              <a:gd name="connsiteY3" fmla="*/ 1176133 h 1519229"/>
              <a:gd name="connsiteX4" fmla="*/ 2621901 w 2635236"/>
              <a:gd name="connsiteY4" fmla="*/ 1231038 h 1519229"/>
              <a:gd name="connsiteX5" fmla="*/ 2589788 w 2635236"/>
              <a:gd name="connsiteY5" fmla="*/ 1280727 h 1519229"/>
              <a:gd name="connsiteX6" fmla="*/ 2560124 w 2635236"/>
              <a:gd name="connsiteY6" fmla="*/ 1316559 h 1519229"/>
              <a:gd name="connsiteX7" fmla="*/ 2504607 w 2635236"/>
              <a:gd name="connsiteY7" fmla="*/ 1326356 h 1519229"/>
              <a:gd name="connsiteX8" fmla="*/ 2452356 w 2635236"/>
              <a:gd name="connsiteY8" fmla="*/ 1329622 h 1519229"/>
              <a:gd name="connsiteX9" fmla="*/ 2406636 w 2635236"/>
              <a:gd name="connsiteY9" fmla="*/ 1329622 h 1519229"/>
              <a:gd name="connsiteX10" fmla="*/ 2351119 w 2635236"/>
              <a:gd name="connsiteY10" fmla="*/ 1342685 h 1519229"/>
              <a:gd name="connsiteX11" fmla="*/ 2302496 w 2635236"/>
              <a:gd name="connsiteY11" fmla="*/ 1372348 h 1519229"/>
              <a:gd name="connsiteX12" fmla="*/ 2285804 w 2635236"/>
              <a:gd name="connsiteY12" fmla="*/ 1411265 h 1519229"/>
              <a:gd name="connsiteX13" fmla="*/ 2246616 w 2635236"/>
              <a:gd name="connsiteY13" fmla="*/ 1453719 h 1519229"/>
              <a:gd name="connsiteX14" fmla="*/ 2190215 w 2635236"/>
              <a:gd name="connsiteY14" fmla="*/ 1471817 h 1519229"/>
              <a:gd name="connsiteX15" fmla="*/ 2122519 w 2635236"/>
              <a:gd name="connsiteY15" fmla="*/ 1463516 h 1519229"/>
              <a:gd name="connsiteX16" fmla="*/ 2053939 w 2635236"/>
              <a:gd name="connsiteY16" fmla="*/ 1466782 h 1519229"/>
              <a:gd name="connsiteX17" fmla="*/ 2011484 w 2635236"/>
              <a:gd name="connsiteY17" fmla="*/ 1479845 h 1519229"/>
              <a:gd name="connsiteX18" fmla="*/ 1975561 w 2635236"/>
              <a:gd name="connsiteY18" fmla="*/ 1499439 h 1519229"/>
              <a:gd name="connsiteX19" fmla="*/ 1933016 w 2635236"/>
              <a:gd name="connsiteY19" fmla="*/ 1515677 h 1519229"/>
              <a:gd name="connsiteX20" fmla="*/ 1890199 w 2635236"/>
              <a:gd name="connsiteY20" fmla="*/ 1516923 h 1519229"/>
              <a:gd name="connsiteX21" fmla="*/ 1802479 w 2635236"/>
              <a:gd name="connsiteY21" fmla="*/ 1489302 h 1519229"/>
              <a:gd name="connsiteX22" fmla="*/ 1741043 w 2635236"/>
              <a:gd name="connsiteY22" fmla="*/ 1449568 h 1519229"/>
              <a:gd name="connsiteX23" fmla="*/ 1681375 w 2635236"/>
              <a:gd name="connsiteY23" fmla="*/ 1392827 h 1519229"/>
              <a:gd name="connsiteX24" fmla="*/ 1587009 w 2635236"/>
              <a:gd name="connsiteY24" fmla="*/ 1365817 h 1519229"/>
              <a:gd name="connsiteX25" fmla="*/ 1476792 w 2635236"/>
              <a:gd name="connsiteY25" fmla="*/ 1348603 h 1519229"/>
              <a:gd name="connsiteX26" fmla="*/ 1396034 w 2635236"/>
              <a:gd name="connsiteY26" fmla="*/ 1346222 h 1519229"/>
              <a:gd name="connsiteX27" fmla="*/ 1314119 w 2635236"/>
              <a:gd name="connsiteY27" fmla="*/ 1340303 h 1519229"/>
              <a:gd name="connsiteX28" fmla="*/ 1225331 w 2635236"/>
              <a:gd name="connsiteY28" fmla="*/ 1327241 h 1519229"/>
              <a:gd name="connsiteX29" fmla="*/ 1105385 w 2635236"/>
              <a:gd name="connsiteY29" fmla="*/ 1295195 h 1519229"/>
              <a:gd name="connsiteX30" fmla="*/ 969721 w 2635236"/>
              <a:gd name="connsiteY30" fmla="*/ 1257776 h 1519229"/>
              <a:gd name="connsiteX31" fmla="*/ 856919 w 2635236"/>
              <a:gd name="connsiteY31" fmla="*/ 1221581 h 1519229"/>
              <a:gd name="connsiteX32" fmla="*/ 754184 w 2635236"/>
              <a:gd name="connsiteY32" fmla="*/ 1189196 h 1519229"/>
              <a:gd name="connsiteX33" fmla="*/ 662744 w 2635236"/>
              <a:gd name="connsiteY33" fmla="*/ 1159805 h 1519229"/>
              <a:gd name="connsiteX34" fmla="*/ 560350 w 2635236"/>
              <a:gd name="connsiteY34" fmla="*/ 1134291 h 1519229"/>
              <a:gd name="connsiteX35" fmla="*/ 457004 w 2635236"/>
              <a:gd name="connsiteY35" fmla="*/ 1123882 h 1519229"/>
              <a:gd name="connsiteX36" fmla="*/ 378627 w 2635236"/>
              <a:gd name="connsiteY36" fmla="*/ 1117350 h 1519229"/>
              <a:gd name="connsiteX37" fmla="*/ 251876 w 2635236"/>
              <a:gd name="connsiteY37" fmla="*/ 1082312 h 1519229"/>
              <a:gd name="connsiteX38" fmla="*/ 178534 w 2635236"/>
              <a:gd name="connsiteY38" fmla="*/ 1036864 h 1519229"/>
              <a:gd name="connsiteX39" fmla="*/ 111791 w 2635236"/>
              <a:gd name="connsiteY39" fmla="*/ 968352 h 1519229"/>
              <a:gd name="connsiteX40" fmla="*/ 71922 w 2635236"/>
              <a:gd name="connsiteY40" fmla="*/ 907460 h 1519229"/>
              <a:gd name="connsiteX41" fmla="*/ 30964 w 2635236"/>
              <a:gd name="connsiteY41" fmla="*/ 820784 h 1519229"/>
              <a:gd name="connsiteX42" fmla="*/ 2458 w 2635236"/>
              <a:gd name="connsiteY42" fmla="*/ 721587 h 1519229"/>
              <a:gd name="connsiteX43" fmla="*/ 10214 w 2635236"/>
              <a:gd name="connsiteY43" fmla="*/ 617696 h 1519229"/>
              <a:gd name="connsiteX44" fmla="*/ 57430 w 2635236"/>
              <a:gd name="connsiteY44" fmla="*/ 510472 h 1519229"/>
              <a:gd name="connsiteX45" fmla="*/ 113492 w 2635236"/>
              <a:gd name="connsiteY45" fmla="*/ 454410 h 1519229"/>
              <a:gd name="connsiteX46" fmla="*/ 221873 w 2635236"/>
              <a:gd name="connsiteY46" fmla="*/ 376033 h 1519229"/>
              <a:gd name="connsiteX47" fmla="*/ 368830 w 2635236"/>
              <a:gd name="connsiteY47" fmla="*/ 307453 h 1519229"/>
              <a:gd name="connsiteX48" fmla="*/ 525584 w 2635236"/>
              <a:gd name="connsiteY48" fmla="*/ 261733 h 1519229"/>
              <a:gd name="connsiteX49" fmla="*/ 649681 w 2635236"/>
              <a:gd name="connsiteY49" fmla="*/ 229689 h 1519229"/>
              <a:gd name="connsiteX50" fmla="*/ 795754 w 2635236"/>
              <a:gd name="connsiteY50" fmla="*/ 194649 h 1519229"/>
              <a:gd name="connsiteX51" fmla="*/ 953393 w 2635236"/>
              <a:gd name="connsiteY51" fmla="*/ 160496 h 1519229"/>
              <a:gd name="connsiteX52" fmla="*/ 1144981 w 2635236"/>
              <a:gd name="connsiteY52" fmla="*/ 109674 h 1519229"/>
              <a:gd name="connsiteX53" fmla="*/ 1397530 w 2635236"/>
              <a:gd name="connsiteY53" fmla="*/ 42930 h 1519229"/>
              <a:gd name="connsiteX54" fmla="*/ 1547753 w 2635236"/>
              <a:gd name="connsiteY54" fmla="*/ 12043 h 1519229"/>
              <a:gd name="connsiteX55" fmla="*/ 1657041 w 2635236"/>
              <a:gd name="connsiteY55" fmla="*/ 567 h 1519229"/>
              <a:gd name="connsiteX56" fmla="*/ 1769821 w 2635236"/>
              <a:gd name="connsiteY56" fmla="*/ 13267 h 1519229"/>
              <a:gd name="connsiteX57" fmla="*/ 1876162 w 2635236"/>
              <a:gd name="connsiteY57" fmla="*/ 65518 h 1519229"/>
              <a:gd name="connsiteX58" fmla="*/ 1975902 w 2635236"/>
              <a:gd name="connsiteY58" fmla="*/ 144780 h 1519229"/>
              <a:gd name="connsiteX59" fmla="*/ 2070880 w 2635236"/>
              <a:gd name="connsiteY59" fmla="*/ 222545 h 1519229"/>
              <a:gd name="connsiteX60" fmla="*/ 2155176 w 2635236"/>
              <a:gd name="connsiteY60" fmla="*/ 287859 h 1519229"/>
              <a:gd name="connsiteX61" fmla="*/ 2191099 w 2635236"/>
              <a:gd name="connsiteY61" fmla="*/ 333579 h 1519229"/>
              <a:gd name="connsiteX62" fmla="*/ 2210330 w 2635236"/>
              <a:gd name="connsiteY62" fmla="*/ 392090 h 1519229"/>
              <a:gd name="connsiteX63" fmla="*/ 2165154 w 2635236"/>
              <a:gd name="connsiteY63" fmla="*/ 463663 h 1519229"/>
              <a:gd name="connsiteX64" fmla="*/ 2062239 w 2635236"/>
              <a:gd name="connsiteY64" fmla="*/ 493327 h 1519229"/>
              <a:gd name="connsiteX65" fmla="*/ 1937258 w 2635236"/>
              <a:gd name="connsiteY65" fmla="*/ 495096 h 1519229"/>
              <a:gd name="connsiteX66" fmla="*/ 1857996 w 2635236"/>
              <a:gd name="connsiteY66" fmla="*/ 483802 h 1519229"/>
              <a:gd name="connsiteX67" fmla="*/ 1711039 w 2635236"/>
              <a:gd name="connsiteY67" fmla="*/ 460942 h 1519229"/>
              <a:gd name="connsiteX68" fmla="*/ 1570613 w 2635236"/>
              <a:gd name="connsiteY68" fmla="*/ 434816 h 1519229"/>
              <a:gd name="connsiteX69" fmla="*/ 1439984 w 2635236"/>
              <a:gd name="connsiteY69" fmla="*/ 415222 h 1519229"/>
              <a:gd name="connsiteX70" fmla="*/ 1325684 w 2635236"/>
              <a:gd name="connsiteY70" fmla="*/ 418487 h 1519229"/>
              <a:gd name="connsiteX71" fmla="*/ 1225060 w 2635236"/>
              <a:gd name="connsiteY71" fmla="*/ 443728 h 1519229"/>
              <a:gd name="connsiteX72" fmla="*/ 1139539 w 2635236"/>
              <a:gd name="connsiteY72" fmla="*/ 474005 h 1519229"/>
              <a:gd name="connsiteX73" fmla="*/ 1024694 w 2635236"/>
              <a:gd name="connsiteY73" fmla="*/ 519725 h 1519229"/>
              <a:gd name="connsiteX74" fmla="*/ 924001 w 2635236"/>
              <a:gd name="connsiteY74" fmla="*/ 556531 h 1519229"/>
              <a:gd name="connsiteX75" fmla="*/ 773167 w 2635236"/>
              <a:gd name="connsiteY75" fmla="*/ 579120 h 1519229"/>
              <a:gd name="connsiteX76" fmla="*/ 658050 w 2635236"/>
              <a:gd name="connsiteY76" fmla="*/ 581251 h 1519229"/>
              <a:gd name="connsiteX77" fmla="*/ 526219 w 2635236"/>
              <a:gd name="connsiteY77" fmla="*/ 582136 h 1519229"/>
              <a:gd name="connsiteX78" fmla="*/ 408109 w 2635236"/>
              <a:gd name="connsiteY78" fmla="*/ 571363 h 1519229"/>
              <a:gd name="connsiteX79" fmla="*/ 305534 w 2635236"/>
              <a:gd name="connsiteY79" fmla="*/ 559707 h 1519229"/>
              <a:gd name="connsiteX80" fmla="*/ 172887 w 2635236"/>
              <a:gd name="connsiteY80" fmla="*/ 549116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19334 w 2629239"/>
              <a:gd name="connsiteY28" fmla="*/ 1327241 h 1519229"/>
              <a:gd name="connsiteX29" fmla="*/ 1099388 w 2629239"/>
              <a:gd name="connsiteY29" fmla="*/ 1295195 h 1519229"/>
              <a:gd name="connsiteX30" fmla="*/ 963724 w 2629239"/>
              <a:gd name="connsiteY30" fmla="*/ 1257776 h 1519229"/>
              <a:gd name="connsiteX31" fmla="*/ 850922 w 2629239"/>
              <a:gd name="connsiteY31" fmla="*/ 1221581 h 1519229"/>
              <a:gd name="connsiteX32" fmla="*/ 748187 w 2629239"/>
              <a:gd name="connsiteY32" fmla="*/ 1189196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43684 w 2629239"/>
              <a:gd name="connsiteY49" fmla="*/ 229689 h 1519229"/>
              <a:gd name="connsiteX50" fmla="*/ 789757 w 2629239"/>
              <a:gd name="connsiteY50" fmla="*/ 194649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6890 w 2629239"/>
              <a:gd name="connsiteY80" fmla="*/ 549116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19334 w 2629239"/>
              <a:gd name="connsiteY28" fmla="*/ 1327241 h 1519229"/>
              <a:gd name="connsiteX29" fmla="*/ 1099388 w 2629239"/>
              <a:gd name="connsiteY29" fmla="*/ 1295195 h 1519229"/>
              <a:gd name="connsiteX30" fmla="*/ 963724 w 2629239"/>
              <a:gd name="connsiteY30" fmla="*/ 1257776 h 1519229"/>
              <a:gd name="connsiteX31" fmla="*/ 850922 w 2629239"/>
              <a:gd name="connsiteY31" fmla="*/ 1216819 h 1519229"/>
              <a:gd name="connsiteX32" fmla="*/ 748187 w 2629239"/>
              <a:gd name="connsiteY32" fmla="*/ 1189196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43684 w 2629239"/>
              <a:gd name="connsiteY49" fmla="*/ 229689 h 1519229"/>
              <a:gd name="connsiteX50" fmla="*/ 789757 w 2629239"/>
              <a:gd name="connsiteY50" fmla="*/ 194649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6890 w 2629239"/>
              <a:gd name="connsiteY80" fmla="*/ 549116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19334 w 2629239"/>
              <a:gd name="connsiteY28" fmla="*/ 1327241 h 1519229"/>
              <a:gd name="connsiteX29" fmla="*/ 1099388 w 2629239"/>
              <a:gd name="connsiteY29" fmla="*/ 1295195 h 1519229"/>
              <a:gd name="connsiteX30" fmla="*/ 963724 w 2629239"/>
              <a:gd name="connsiteY30" fmla="*/ 1257776 h 1519229"/>
              <a:gd name="connsiteX31" fmla="*/ 850922 w 2629239"/>
              <a:gd name="connsiteY31" fmla="*/ 1216819 h 1519229"/>
              <a:gd name="connsiteX32" fmla="*/ 752949 w 2629239"/>
              <a:gd name="connsiteY32" fmla="*/ 1179671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43684 w 2629239"/>
              <a:gd name="connsiteY49" fmla="*/ 229689 h 1519229"/>
              <a:gd name="connsiteX50" fmla="*/ 789757 w 2629239"/>
              <a:gd name="connsiteY50" fmla="*/ 194649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6890 w 2629239"/>
              <a:gd name="connsiteY80" fmla="*/ 549116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19334 w 2629239"/>
              <a:gd name="connsiteY28" fmla="*/ 1327241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79671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43684 w 2629239"/>
              <a:gd name="connsiteY49" fmla="*/ 229689 h 1519229"/>
              <a:gd name="connsiteX50" fmla="*/ 789757 w 2629239"/>
              <a:gd name="connsiteY50" fmla="*/ 194649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6890 w 2629239"/>
              <a:gd name="connsiteY80" fmla="*/ 549116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19334 w 2629239"/>
              <a:gd name="connsiteY28" fmla="*/ 1327241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79671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43684 w 2629239"/>
              <a:gd name="connsiteY49" fmla="*/ 229689 h 1519229"/>
              <a:gd name="connsiteX50" fmla="*/ 789757 w 2629239"/>
              <a:gd name="connsiteY50" fmla="*/ 194649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6890 w 2629239"/>
              <a:gd name="connsiteY80" fmla="*/ 549116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19334 w 2629239"/>
              <a:gd name="connsiteY28" fmla="*/ 1327241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43684 w 2629239"/>
              <a:gd name="connsiteY49" fmla="*/ 229689 h 1519229"/>
              <a:gd name="connsiteX50" fmla="*/ 789757 w 2629239"/>
              <a:gd name="connsiteY50" fmla="*/ 194649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6890 w 2629239"/>
              <a:gd name="connsiteY80" fmla="*/ 549116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19334 w 2629239"/>
              <a:gd name="connsiteY28" fmla="*/ 1327241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43684 w 2629239"/>
              <a:gd name="connsiteY49" fmla="*/ 229689 h 1519229"/>
              <a:gd name="connsiteX50" fmla="*/ 789757 w 2629239"/>
              <a:gd name="connsiteY50" fmla="*/ 194649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41972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19334 w 2629239"/>
              <a:gd name="connsiteY28" fmla="*/ 1327241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789757 w 2629239"/>
              <a:gd name="connsiteY50" fmla="*/ 194649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41972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19334 w 2629239"/>
              <a:gd name="connsiteY28" fmla="*/ 1327241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41972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41972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6172 w 2629239"/>
              <a:gd name="connsiteY5" fmla="*/ 1283108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90934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90934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74062 w 2629239"/>
              <a:gd name="connsiteY61" fmla="*/ 333578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90934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21579 w 2629239"/>
              <a:gd name="connsiteY60" fmla="*/ 287859 h 1519229"/>
              <a:gd name="connsiteX61" fmla="*/ 2174062 w 2629239"/>
              <a:gd name="connsiteY61" fmla="*/ 333578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90934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48323 w 2629239"/>
              <a:gd name="connsiteY59" fmla="*/ 222546 h 1519229"/>
              <a:gd name="connsiteX60" fmla="*/ 2121579 w 2629239"/>
              <a:gd name="connsiteY60" fmla="*/ 287859 h 1519229"/>
              <a:gd name="connsiteX61" fmla="*/ 2174062 w 2629239"/>
              <a:gd name="connsiteY61" fmla="*/ 333578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90934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58866 w 2629239"/>
              <a:gd name="connsiteY58" fmla="*/ 144781 h 1519229"/>
              <a:gd name="connsiteX59" fmla="*/ 2048323 w 2629239"/>
              <a:gd name="connsiteY59" fmla="*/ 222546 h 1519229"/>
              <a:gd name="connsiteX60" fmla="*/ 2121579 w 2629239"/>
              <a:gd name="connsiteY60" fmla="*/ 287859 h 1519229"/>
              <a:gd name="connsiteX61" fmla="*/ 2174062 w 2629239"/>
              <a:gd name="connsiteY61" fmla="*/ 333578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90934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58305 w 2629239"/>
              <a:gd name="connsiteY56" fmla="*/ 13266 h 1519229"/>
              <a:gd name="connsiteX57" fmla="*/ 1870165 w 2629239"/>
              <a:gd name="connsiteY57" fmla="*/ 65518 h 1519229"/>
              <a:gd name="connsiteX58" fmla="*/ 1958866 w 2629239"/>
              <a:gd name="connsiteY58" fmla="*/ 144781 h 1519229"/>
              <a:gd name="connsiteX59" fmla="*/ 2048323 w 2629239"/>
              <a:gd name="connsiteY59" fmla="*/ 222546 h 1519229"/>
              <a:gd name="connsiteX60" fmla="*/ 2121579 w 2629239"/>
              <a:gd name="connsiteY60" fmla="*/ 287859 h 1519229"/>
              <a:gd name="connsiteX61" fmla="*/ 2174062 w 2629239"/>
              <a:gd name="connsiteY61" fmla="*/ 333578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285 h 1519401"/>
              <a:gd name="connsiteX1" fmla="*/ 2619623 w 2629239"/>
              <a:gd name="connsiteY1" fmla="*/ 1071802 h 1519401"/>
              <a:gd name="connsiteX2" fmla="*/ 2620938 w 2629239"/>
              <a:gd name="connsiteY2" fmla="*/ 1129701 h 1519401"/>
              <a:gd name="connsiteX3" fmla="*/ 2619442 w 2629239"/>
              <a:gd name="connsiteY3" fmla="*/ 1176305 h 1519401"/>
              <a:gd name="connsiteX4" fmla="*/ 2615904 w 2629239"/>
              <a:gd name="connsiteY4" fmla="*/ 1231210 h 1519401"/>
              <a:gd name="connsiteX5" fmla="*/ 2590934 w 2629239"/>
              <a:gd name="connsiteY5" fmla="*/ 1280899 h 1519401"/>
              <a:gd name="connsiteX6" fmla="*/ 2554127 w 2629239"/>
              <a:gd name="connsiteY6" fmla="*/ 1316731 h 1519401"/>
              <a:gd name="connsiteX7" fmla="*/ 2498610 w 2629239"/>
              <a:gd name="connsiteY7" fmla="*/ 1326528 h 1519401"/>
              <a:gd name="connsiteX8" fmla="*/ 2446359 w 2629239"/>
              <a:gd name="connsiteY8" fmla="*/ 1329794 h 1519401"/>
              <a:gd name="connsiteX9" fmla="*/ 2400639 w 2629239"/>
              <a:gd name="connsiteY9" fmla="*/ 1329794 h 1519401"/>
              <a:gd name="connsiteX10" fmla="*/ 2345122 w 2629239"/>
              <a:gd name="connsiteY10" fmla="*/ 1342857 h 1519401"/>
              <a:gd name="connsiteX11" fmla="*/ 2296499 w 2629239"/>
              <a:gd name="connsiteY11" fmla="*/ 1372520 h 1519401"/>
              <a:gd name="connsiteX12" fmla="*/ 2279807 w 2629239"/>
              <a:gd name="connsiteY12" fmla="*/ 1411437 h 1519401"/>
              <a:gd name="connsiteX13" fmla="*/ 2240619 w 2629239"/>
              <a:gd name="connsiteY13" fmla="*/ 1453891 h 1519401"/>
              <a:gd name="connsiteX14" fmla="*/ 2184218 w 2629239"/>
              <a:gd name="connsiteY14" fmla="*/ 1471989 h 1519401"/>
              <a:gd name="connsiteX15" fmla="*/ 2116522 w 2629239"/>
              <a:gd name="connsiteY15" fmla="*/ 1463688 h 1519401"/>
              <a:gd name="connsiteX16" fmla="*/ 2047942 w 2629239"/>
              <a:gd name="connsiteY16" fmla="*/ 1466954 h 1519401"/>
              <a:gd name="connsiteX17" fmla="*/ 2005487 w 2629239"/>
              <a:gd name="connsiteY17" fmla="*/ 1480017 h 1519401"/>
              <a:gd name="connsiteX18" fmla="*/ 1969564 w 2629239"/>
              <a:gd name="connsiteY18" fmla="*/ 1499611 h 1519401"/>
              <a:gd name="connsiteX19" fmla="*/ 1927019 w 2629239"/>
              <a:gd name="connsiteY19" fmla="*/ 1515849 h 1519401"/>
              <a:gd name="connsiteX20" fmla="*/ 1884202 w 2629239"/>
              <a:gd name="connsiteY20" fmla="*/ 1517095 h 1519401"/>
              <a:gd name="connsiteX21" fmla="*/ 1796482 w 2629239"/>
              <a:gd name="connsiteY21" fmla="*/ 1489474 h 1519401"/>
              <a:gd name="connsiteX22" fmla="*/ 1735046 w 2629239"/>
              <a:gd name="connsiteY22" fmla="*/ 1449740 h 1519401"/>
              <a:gd name="connsiteX23" fmla="*/ 1675378 w 2629239"/>
              <a:gd name="connsiteY23" fmla="*/ 1392999 h 1519401"/>
              <a:gd name="connsiteX24" fmla="*/ 1581012 w 2629239"/>
              <a:gd name="connsiteY24" fmla="*/ 1365989 h 1519401"/>
              <a:gd name="connsiteX25" fmla="*/ 1470795 w 2629239"/>
              <a:gd name="connsiteY25" fmla="*/ 1348775 h 1519401"/>
              <a:gd name="connsiteX26" fmla="*/ 1390037 w 2629239"/>
              <a:gd name="connsiteY26" fmla="*/ 1346394 h 1519401"/>
              <a:gd name="connsiteX27" fmla="*/ 1308122 w 2629239"/>
              <a:gd name="connsiteY27" fmla="*/ 1340475 h 1519401"/>
              <a:gd name="connsiteX28" fmla="*/ 1209809 w 2629239"/>
              <a:gd name="connsiteY28" fmla="*/ 1322651 h 1519401"/>
              <a:gd name="connsiteX29" fmla="*/ 1099388 w 2629239"/>
              <a:gd name="connsiteY29" fmla="*/ 1295367 h 1519401"/>
              <a:gd name="connsiteX30" fmla="*/ 963724 w 2629239"/>
              <a:gd name="connsiteY30" fmla="*/ 1253186 h 1519401"/>
              <a:gd name="connsiteX31" fmla="*/ 850922 w 2629239"/>
              <a:gd name="connsiteY31" fmla="*/ 1216991 h 1519401"/>
              <a:gd name="connsiteX32" fmla="*/ 752949 w 2629239"/>
              <a:gd name="connsiteY32" fmla="*/ 1184605 h 1519401"/>
              <a:gd name="connsiteX33" fmla="*/ 656747 w 2629239"/>
              <a:gd name="connsiteY33" fmla="*/ 1159977 h 1519401"/>
              <a:gd name="connsiteX34" fmla="*/ 554353 w 2629239"/>
              <a:gd name="connsiteY34" fmla="*/ 1134463 h 1519401"/>
              <a:gd name="connsiteX35" fmla="*/ 451007 w 2629239"/>
              <a:gd name="connsiteY35" fmla="*/ 1124054 h 1519401"/>
              <a:gd name="connsiteX36" fmla="*/ 372630 w 2629239"/>
              <a:gd name="connsiteY36" fmla="*/ 1117522 h 1519401"/>
              <a:gd name="connsiteX37" fmla="*/ 245879 w 2629239"/>
              <a:gd name="connsiteY37" fmla="*/ 1082484 h 1519401"/>
              <a:gd name="connsiteX38" fmla="*/ 172537 w 2629239"/>
              <a:gd name="connsiteY38" fmla="*/ 1037036 h 1519401"/>
              <a:gd name="connsiteX39" fmla="*/ 105794 w 2629239"/>
              <a:gd name="connsiteY39" fmla="*/ 968524 h 1519401"/>
              <a:gd name="connsiteX40" fmla="*/ 65925 w 2629239"/>
              <a:gd name="connsiteY40" fmla="*/ 907632 h 1519401"/>
              <a:gd name="connsiteX41" fmla="*/ 24967 w 2629239"/>
              <a:gd name="connsiteY41" fmla="*/ 820956 h 1519401"/>
              <a:gd name="connsiteX42" fmla="*/ 5986 w 2629239"/>
              <a:gd name="connsiteY42" fmla="*/ 721759 h 1519401"/>
              <a:gd name="connsiteX43" fmla="*/ 4217 w 2629239"/>
              <a:gd name="connsiteY43" fmla="*/ 617868 h 1519401"/>
              <a:gd name="connsiteX44" fmla="*/ 51433 w 2629239"/>
              <a:gd name="connsiteY44" fmla="*/ 510644 h 1519401"/>
              <a:gd name="connsiteX45" fmla="*/ 107495 w 2629239"/>
              <a:gd name="connsiteY45" fmla="*/ 454582 h 1519401"/>
              <a:gd name="connsiteX46" fmla="*/ 215876 w 2629239"/>
              <a:gd name="connsiteY46" fmla="*/ 376205 h 1519401"/>
              <a:gd name="connsiteX47" fmla="*/ 362833 w 2629239"/>
              <a:gd name="connsiteY47" fmla="*/ 307625 h 1519401"/>
              <a:gd name="connsiteX48" fmla="*/ 519587 w 2629239"/>
              <a:gd name="connsiteY48" fmla="*/ 261905 h 1519401"/>
              <a:gd name="connsiteX49" fmla="*/ 650828 w 2629239"/>
              <a:gd name="connsiteY49" fmla="*/ 222718 h 1519401"/>
              <a:gd name="connsiteX50" fmla="*/ 801664 w 2629239"/>
              <a:gd name="connsiteY50" fmla="*/ 185296 h 1519401"/>
              <a:gd name="connsiteX51" fmla="*/ 947396 w 2629239"/>
              <a:gd name="connsiteY51" fmla="*/ 160668 h 1519401"/>
              <a:gd name="connsiteX52" fmla="*/ 1138984 w 2629239"/>
              <a:gd name="connsiteY52" fmla="*/ 109846 h 1519401"/>
              <a:gd name="connsiteX53" fmla="*/ 1391533 w 2629239"/>
              <a:gd name="connsiteY53" fmla="*/ 43102 h 1519401"/>
              <a:gd name="connsiteX54" fmla="*/ 1541756 w 2629239"/>
              <a:gd name="connsiteY54" fmla="*/ 12215 h 1519401"/>
              <a:gd name="connsiteX55" fmla="*/ 1651044 w 2629239"/>
              <a:gd name="connsiteY55" fmla="*/ 739 h 1519401"/>
              <a:gd name="connsiteX56" fmla="*/ 1758305 w 2629239"/>
              <a:gd name="connsiteY56" fmla="*/ 13438 h 1519401"/>
              <a:gd name="connsiteX57" fmla="*/ 1859123 w 2629239"/>
              <a:gd name="connsiteY57" fmla="*/ 76901 h 1519401"/>
              <a:gd name="connsiteX58" fmla="*/ 1958866 w 2629239"/>
              <a:gd name="connsiteY58" fmla="*/ 144953 h 1519401"/>
              <a:gd name="connsiteX59" fmla="*/ 2048323 w 2629239"/>
              <a:gd name="connsiteY59" fmla="*/ 222718 h 1519401"/>
              <a:gd name="connsiteX60" fmla="*/ 2121579 w 2629239"/>
              <a:gd name="connsiteY60" fmla="*/ 288031 h 1519401"/>
              <a:gd name="connsiteX61" fmla="*/ 2174062 w 2629239"/>
              <a:gd name="connsiteY61" fmla="*/ 333750 h 1519401"/>
              <a:gd name="connsiteX62" fmla="*/ 2204333 w 2629239"/>
              <a:gd name="connsiteY62" fmla="*/ 392262 h 1519401"/>
              <a:gd name="connsiteX63" fmla="*/ 2159157 w 2629239"/>
              <a:gd name="connsiteY63" fmla="*/ 463835 h 1519401"/>
              <a:gd name="connsiteX64" fmla="*/ 2056242 w 2629239"/>
              <a:gd name="connsiteY64" fmla="*/ 493499 h 1519401"/>
              <a:gd name="connsiteX65" fmla="*/ 1931261 w 2629239"/>
              <a:gd name="connsiteY65" fmla="*/ 495268 h 1519401"/>
              <a:gd name="connsiteX66" fmla="*/ 1851999 w 2629239"/>
              <a:gd name="connsiteY66" fmla="*/ 483974 h 1519401"/>
              <a:gd name="connsiteX67" fmla="*/ 1705042 w 2629239"/>
              <a:gd name="connsiteY67" fmla="*/ 461114 h 1519401"/>
              <a:gd name="connsiteX68" fmla="*/ 1564616 w 2629239"/>
              <a:gd name="connsiteY68" fmla="*/ 434988 h 1519401"/>
              <a:gd name="connsiteX69" fmla="*/ 1433987 w 2629239"/>
              <a:gd name="connsiteY69" fmla="*/ 415394 h 1519401"/>
              <a:gd name="connsiteX70" fmla="*/ 1319687 w 2629239"/>
              <a:gd name="connsiteY70" fmla="*/ 418659 h 1519401"/>
              <a:gd name="connsiteX71" fmla="*/ 1219063 w 2629239"/>
              <a:gd name="connsiteY71" fmla="*/ 443900 h 1519401"/>
              <a:gd name="connsiteX72" fmla="*/ 1133542 w 2629239"/>
              <a:gd name="connsiteY72" fmla="*/ 474177 h 1519401"/>
              <a:gd name="connsiteX73" fmla="*/ 1018697 w 2629239"/>
              <a:gd name="connsiteY73" fmla="*/ 519897 h 1519401"/>
              <a:gd name="connsiteX74" fmla="*/ 918004 w 2629239"/>
              <a:gd name="connsiteY74" fmla="*/ 556703 h 1519401"/>
              <a:gd name="connsiteX75" fmla="*/ 767170 w 2629239"/>
              <a:gd name="connsiteY75" fmla="*/ 579292 h 1519401"/>
              <a:gd name="connsiteX76" fmla="*/ 652053 w 2629239"/>
              <a:gd name="connsiteY76" fmla="*/ 581423 h 1519401"/>
              <a:gd name="connsiteX77" fmla="*/ 520222 w 2629239"/>
              <a:gd name="connsiteY77" fmla="*/ 582308 h 1519401"/>
              <a:gd name="connsiteX78" fmla="*/ 402112 w 2629239"/>
              <a:gd name="connsiteY78" fmla="*/ 571535 h 1519401"/>
              <a:gd name="connsiteX79" fmla="*/ 299537 w 2629239"/>
              <a:gd name="connsiteY79" fmla="*/ 559879 h 1519401"/>
              <a:gd name="connsiteX80" fmla="*/ 169271 w 2629239"/>
              <a:gd name="connsiteY80" fmla="*/ 539763 h 1519401"/>
              <a:gd name="connsiteX0" fmla="*/ 2629239 w 2629239"/>
              <a:gd name="connsiteY0" fmla="*/ 1015718 h 1518834"/>
              <a:gd name="connsiteX1" fmla="*/ 2619623 w 2629239"/>
              <a:gd name="connsiteY1" fmla="*/ 1071235 h 1518834"/>
              <a:gd name="connsiteX2" fmla="*/ 2620938 w 2629239"/>
              <a:gd name="connsiteY2" fmla="*/ 1129134 h 1518834"/>
              <a:gd name="connsiteX3" fmla="*/ 2619442 w 2629239"/>
              <a:gd name="connsiteY3" fmla="*/ 1175738 h 1518834"/>
              <a:gd name="connsiteX4" fmla="*/ 2615904 w 2629239"/>
              <a:gd name="connsiteY4" fmla="*/ 1230643 h 1518834"/>
              <a:gd name="connsiteX5" fmla="*/ 2590934 w 2629239"/>
              <a:gd name="connsiteY5" fmla="*/ 1280332 h 1518834"/>
              <a:gd name="connsiteX6" fmla="*/ 2554127 w 2629239"/>
              <a:gd name="connsiteY6" fmla="*/ 1316164 h 1518834"/>
              <a:gd name="connsiteX7" fmla="*/ 2498610 w 2629239"/>
              <a:gd name="connsiteY7" fmla="*/ 1325961 h 1518834"/>
              <a:gd name="connsiteX8" fmla="*/ 2446359 w 2629239"/>
              <a:gd name="connsiteY8" fmla="*/ 1329227 h 1518834"/>
              <a:gd name="connsiteX9" fmla="*/ 2400639 w 2629239"/>
              <a:gd name="connsiteY9" fmla="*/ 1329227 h 1518834"/>
              <a:gd name="connsiteX10" fmla="*/ 2345122 w 2629239"/>
              <a:gd name="connsiteY10" fmla="*/ 1342290 h 1518834"/>
              <a:gd name="connsiteX11" fmla="*/ 2296499 w 2629239"/>
              <a:gd name="connsiteY11" fmla="*/ 1371953 h 1518834"/>
              <a:gd name="connsiteX12" fmla="*/ 2279807 w 2629239"/>
              <a:gd name="connsiteY12" fmla="*/ 1410870 h 1518834"/>
              <a:gd name="connsiteX13" fmla="*/ 2240619 w 2629239"/>
              <a:gd name="connsiteY13" fmla="*/ 1453324 h 1518834"/>
              <a:gd name="connsiteX14" fmla="*/ 2184218 w 2629239"/>
              <a:gd name="connsiteY14" fmla="*/ 1471422 h 1518834"/>
              <a:gd name="connsiteX15" fmla="*/ 2116522 w 2629239"/>
              <a:gd name="connsiteY15" fmla="*/ 1463121 h 1518834"/>
              <a:gd name="connsiteX16" fmla="*/ 2047942 w 2629239"/>
              <a:gd name="connsiteY16" fmla="*/ 1466387 h 1518834"/>
              <a:gd name="connsiteX17" fmla="*/ 2005487 w 2629239"/>
              <a:gd name="connsiteY17" fmla="*/ 1479450 h 1518834"/>
              <a:gd name="connsiteX18" fmla="*/ 1969564 w 2629239"/>
              <a:gd name="connsiteY18" fmla="*/ 1499044 h 1518834"/>
              <a:gd name="connsiteX19" fmla="*/ 1927019 w 2629239"/>
              <a:gd name="connsiteY19" fmla="*/ 1515282 h 1518834"/>
              <a:gd name="connsiteX20" fmla="*/ 1884202 w 2629239"/>
              <a:gd name="connsiteY20" fmla="*/ 1516528 h 1518834"/>
              <a:gd name="connsiteX21" fmla="*/ 1796482 w 2629239"/>
              <a:gd name="connsiteY21" fmla="*/ 1488907 h 1518834"/>
              <a:gd name="connsiteX22" fmla="*/ 1735046 w 2629239"/>
              <a:gd name="connsiteY22" fmla="*/ 1449173 h 1518834"/>
              <a:gd name="connsiteX23" fmla="*/ 1675378 w 2629239"/>
              <a:gd name="connsiteY23" fmla="*/ 1392432 h 1518834"/>
              <a:gd name="connsiteX24" fmla="*/ 1581012 w 2629239"/>
              <a:gd name="connsiteY24" fmla="*/ 1365422 h 1518834"/>
              <a:gd name="connsiteX25" fmla="*/ 1470795 w 2629239"/>
              <a:gd name="connsiteY25" fmla="*/ 1348208 h 1518834"/>
              <a:gd name="connsiteX26" fmla="*/ 1390037 w 2629239"/>
              <a:gd name="connsiteY26" fmla="*/ 1345827 h 1518834"/>
              <a:gd name="connsiteX27" fmla="*/ 1308122 w 2629239"/>
              <a:gd name="connsiteY27" fmla="*/ 1339908 h 1518834"/>
              <a:gd name="connsiteX28" fmla="*/ 1209809 w 2629239"/>
              <a:gd name="connsiteY28" fmla="*/ 1322084 h 1518834"/>
              <a:gd name="connsiteX29" fmla="*/ 1099388 w 2629239"/>
              <a:gd name="connsiteY29" fmla="*/ 1294800 h 1518834"/>
              <a:gd name="connsiteX30" fmla="*/ 963724 w 2629239"/>
              <a:gd name="connsiteY30" fmla="*/ 1252619 h 1518834"/>
              <a:gd name="connsiteX31" fmla="*/ 850922 w 2629239"/>
              <a:gd name="connsiteY31" fmla="*/ 1216424 h 1518834"/>
              <a:gd name="connsiteX32" fmla="*/ 752949 w 2629239"/>
              <a:gd name="connsiteY32" fmla="*/ 1184038 h 1518834"/>
              <a:gd name="connsiteX33" fmla="*/ 656747 w 2629239"/>
              <a:gd name="connsiteY33" fmla="*/ 1159410 h 1518834"/>
              <a:gd name="connsiteX34" fmla="*/ 554353 w 2629239"/>
              <a:gd name="connsiteY34" fmla="*/ 1133896 h 1518834"/>
              <a:gd name="connsiteX35" fmla="*/ 451007 w 2629239"/>
              <a:gd name="connsiteY35" fmla="*/ 1123487 h 1518834"/>
              <a:gd name="connsiteX36" fmla="*/ 372630 w 2629239"/>
              <a:gd name="connsiteY36" fmla="*/ 1116955 h 1518834"/>
              <a:gd name="connsiteX37" fmla="*/ 245879 w 2629239"/>
              <a:gd name="connsiteY37" fmla="*/ 1081917 h 1518834"/>
              <a:gd name="connsiteX38" fmla="*/ 172537 w 2629239"/>
              <a:gd name="connsiteY38" fmla="*/ 1036469 h 1518834"/>
              <a:gd name="connsiteX39" fmla="*/ 105794 w 2629239"/>
              <a:gd name="connsiteY39" fmla="*/ 967957 h 1518834"/>
              <a:gd name="connsiteX40" fmla="*/ 65925 w 2629239"/>
              <a:gd name="connsiteY40" fmla="*/ 907065 h 1518834"/>
              <a:gd name="connsiteX41" fmla="*/ 24967 w 2629239"/>
              <a:gd name="connsiteY41" fmla="*/ 820389 h 1518834"/>
              <a:gd name="connsiteX42" fmla="*/ 5986 w 2629239"/>
              <a:gd name="connsiteY42" fmla="*/ 721192 h 1518834"/>
              <a:gd name="connsiteX43" fmla="*/ 4217 w 2629239"/>
              <a:gd name="connsiteY43" fmla="*/ 617301 h 1518834"/>
              <a:gd name="connsiteX44" fmla="*/ 51433 w 2629239"/>
              <a:gd name="connsiteY44" fmla="*/ 510077 h 1518834"/>
              <a:gd name="connsiteX45" fmla="*/ 107495 w 2629239"/>
              <a:gd name="connsiteY45" fmla="*/ 454015 h 1518834"/>
              <a:gd name="connsiteX46" fmla="*/ 215876 w 2629239"/>
              <a:gd name="connsiteY46" fmla="*/ 375638 h 1518834"/>
              <a:gd name="connsiteX47" fmla="*/ 362833 w 2629239"/>
              <a:gd name="connsiteY47" fmla="*/ 307058 h 1518834"/>
              <a:gd name="connsiteX48" fmla="*/ 519587 w 2629239"/>
              <a:gd name="connsiteY48" fmla="*/ 261338 h 1518834"/>
              <a:gd name="connsiteX49" fmla="*/ 650828 w 2629239"/>
              <a:gd name="connsiteY49" fmla="*/ 222151 h 1518834"/>
              <a:gd name="connsiteX50" fmla="*/ 801664 w 2629239"/>
              <a:gd name="connsiteY50" fmla="*/ 184729 h 1518834"/>
              <a:gd name="connsiteX51" fmla="*/ 947396 w 2629239"/>
              <a:gd name="connsiteY51" fmla="*/ 160101 h 1518834"/>
              <a:gd name="connsiteX52" fmla="*/ 1138984 w 2629239"/>
              <a:gd name="connsiteY52" fmla="*/ 109279 h 1518834"/>
              <a:gd name="connsiteX53" fmla="*/ 1391533 w 2629239"/>
              <a:gd name="connsiteY53" fmla="*/ 42535 h 1518834"/>
              <a:gd name="connsiteX54" fmla="*/ 1541756 w 2629239"/>
              <a:gd name="connsiteY54" fmla="*/ 11648 h 1518834"/>
              <a:gd name="connsiteX55" fmla="*/ 1651044 w 2629239"/>
              <a:gd name="connsiteY55" fmla="*/ 172 h 1518834"/>
              <a:gd name="connsiteX56" fmla="*/ 1758305 w 2629239"/>
              <a:gd name="connsiteY56" fmla="*/ 29690 h 1518834"/>
              <a:gd name="connsiteX57" fmla="*/ 1859123 w 2629239"/>
              <a:gd name="connsiteY57" fmla="*/ 76334 h 1518834"/>
              <a:gd name="connsiteX58" fmla="*/ 1958866 w 2629239"/>
              <a:gd name="connsiteY58" fmla="*/ 144386 h 1518834"/>
              <a:gd name="connsiteX59" fmla="*/ 2048323 w 2629239"/>
              <a:gd name="connsiteY59" fmla="*/ 222151 h 1518834"/>
              <a:gd name="connsiteX60" fmla="*/ 2121579 w 2629239"/>
              <a:gd name="connsiteY60" fmla="*/ 287464 h 1518834"/>
              <a:gd name="connsiteX61" fmla="*/ 2174062 w 2629239"/>
              <a:gd name="connsiteY61" fmla="*/ 333183 h 1518834"/>
              <a:gd name="connsiteX62" fmla="*/ 2204333 w 2629239"/>
              <a:gd name="connsiteY62" fmla="*/ 391695 h 1518834"/>
              <a:gd name="connsiteX63" fmla="*/ 2159157 w 2629239"/>
              <a:gd name="connsiteY63" fmla="*/ 463268 h 1518834"/>
              <a:gd name="connsiteX64" fmla="*/ 2056242 w 2629239"/>
              <a:gd name="connsiteY64" fmla="*/ 492932 h 1518834"/>
              <a:gd name="connsiteX65" fmla="*/ 1931261 w 2629239"/>
              <a:gd name="connsiteY65" fmla="*/ 494701 h 1518834"/>
              <a:gd name="connsiteX66" fmla="*/ 1851999 w 2629239"/>
              <a:gd name="connsiteY66" fmla="*/ 483407 h 1518834"/>
              <a:gd name="connsiteX67" fmla="*/ 1705042 w 2629239"/>
              <a:gd name="connsiteY67" fmla="*/ 460547 h 1518834"/>
              <a:gd name="connsiteX68" fmla="*/ 1564616 w 2629239"/>
              <a:gd name="connsiteY68" fmla="*/ 434421 h 1518834"/>
              <a:gd name="connsiteX69" fmla="*/ 1433987 w 2629239"/>
              <a:gd name="connsiteY69" fmla="*/ 414827 h 1518834"/>
              <a:gd name="connsiteX70" fmla="*/ 1319687 w 2629239"/>
              <a:gd name="connsiteY70" fmla="*/ 418092 h 1518834"/>
              <a:gd name="connsiteX71" fmla="*/ 1219063 w 2629239"/>
              <a:gd name="connsiteY71" fmla="*/ 443333 h 1518834"/>
              <a:gd name="connsiteX72" fmla="*/ 1133542 w 2629239"/>
              <a:gd name="connsiteY72" fmla="*/ 473610 h 1518834"/>
              <a:gd name="connsiteX73" fmla="*/ 1018697 w 2629239"/>
              <a:gd name="connsiteY73" fmla="*/ 519330 h 1518834"/>
              <a:gd name="connsiteX74" fmla="*/ 918004 w 2629239"/>
              <a:gd name="connsiteY74" fmla="*/ 556136 h 1518834"/>
              <a:gd name="connsiteX75" fmla="*/ 767170 w 2629239"/>
              <a:gd name="connsiteY75" fmla="*/ 578725 h 1518834"/>
              <a:gd name="connsiteX76" fmla="*/ 652053 w 2629239"/>
              <a:gd name="connsiteY76" fmla="*/ 580856 h 1518834"/>
              <a:gd name="connsiteX77" fmla="*/ 520222 w 2629239"/>
              <a:gd name="connsiteY77" fmla="*/ 581741 h 1518834"/>
              <a:gd name="connsiteX78" fmla="*/ 402112 w 2629239"/>
              <a:gd name="connsiteY78" fmla="*/ 570968 h 1518834"/>
              <a:gd name="connsiteX79" fmla="*/ 299537 w 2629239"/>
              <a:gd name="connsiteY79" fmla="*/ 559312 h 1518834"/>
              <a:gd name="connsiteX80" fmla="*/ 169271 w 2629239"/>
              <a:gd name="connsiteY80" fmla="*/ 539196 h 1518834"/>
              <a:gd name="connsiteX0" fmla="*/ 2629239 w 2629239"/>
              <a:gd name="connsiteY0" fmla="*/ 1004646 h 1507762"/>
              <a:gd name="connsiteX1" fmla="*/ 2619623 w 2629239"/>
              <a:gd name="connsiteY1" fmla="*/ 1060163 h 1507762"/>
              <a:gd name="connsiteX2" fmla="*/ 2620938 w 2629239"/>
              <a:gd name="connsiteY2" fmla="*/ 1118062 h 1507762"/>
              <a:gd name="connsiteX3" fmla="*/ 2619442 w 2629239"/>
              <a:gd name="connsiteY3" fmla="*/ 1164666 h 1507762"/>
              <a:gd name="connsiteX4" fmla="*/ 2615904 w 2629239"/>
              <a:gd name="connsiteY4" fmla="*/ 1219571 h 1507762"/>
              <a:gd name="connsiteX5" fmla="*/ 2590934 w 2629239"/>
              <a:gd name="connsiteY5" fmla="*/ 1269260 h 1507762"/>
              <a:gd name="connsiteX6" fmla="*/ 2554127 w 2629239"/>
              <a:gd name="connsiteY6" fmla="*/ 1305092 h 1507762"/>
              <a:gd name="connsiteX7" fmla="*/ 2498610 w 2629239"/>
              <a:gd name="connsiteY7" fmla="*/ 1314889 h 1507762"/>
              <a:gd name="connsiteX8" fmla="*/ 2446359 w 2629239"/>
              <a:gd name="connsiteY8" fmla="*/ 1318155 h 1507762"/>
              <a:gd name="connsiteX9" fmla="*/ 2400639 w 2629239"/>
              <a:gd name="connsiteY9" fmla="*/ 1318155 h 1507762"/>
              <a:gd name="connsiteX10" fmla="*/ 2345122 w 2629239"/>
              <a:gd name="connsiteY10" fmla="*/ 1331218 h 1507762"/>
              <a:gd name="connsiteX11" fmla="*/ 2296499 w 2629239"/>
              <a:gd name="connsiteY11" fmla="*/ 1360881 h 1507762"/>
              <a:gd name="connsiteX12" fmla="*/ 2279807 w 2629239"/>
              <a:gd name="connsiteY12" fmla="*/ 1399798 h 1507762"/>
              <a:gd name="connsiteX13" fmla="*/ 2240619 w 2629239"/>
              <a:gd name="connsiteY13" fmla="*/ 1442252 h 1507762"/>
              <a:gd name="connsiteX14" fmla="*/ 2184218 w 2629239"/>
              <a:gd name="connsiteY14" fmla="*/ 1460350 h 1507762"/>
              <a:gd name="connsiteX15" fmla="*/ 2116522 w 2629239"/>
              <a:gd name="connsiteY15" fmla="*/ 1452049 h 1507762"/>
              <a:gd name="connsiteX16" fmla="*/ 2047942 w 2629239"/>
              <a:gd name="connsiteY16" fmla="*/ 1455315 h 1507762"/>
              <a:gd name="connsiteX17" fmla="*/ 2005487 w 2629239"/>
              <a:gd name="connsiteY17" fmla="*/ 1468378 h 1507762"/>
              <a:gd name="connsiteX18" fmla="*/ 1969564 w 2629239"/>
              <a:gd name="connsiteY18" fmla="*/ 1487972 h 1507762"/>
              <a:gd name="connsiteX19" fmla="*/ 1927019 w 2629239"/>
              <a:gd name="connsiteY19" fmla="*/ 1504210 h 1507762"/>
              <a:gd name="connsiteX20" fmla="*/ 1884202 w 2629239"/>
              <a:gd name="connsiteY20" fmla="*/ 1505456 h 1507762"/>
              <a:gd name="connsiteX21" fmla="*/ 1796482 w 2629239"/>
              <a:gd name="connsiteY21" fmla="*/ 1477835 h 1507762"/>
              <a:gd name="connsiteX22" fmla="*/ 1735046 w 2629239"/>
              <a:gd name="connsiteY22" fmla="*/ 1438101 h 1507762"/>
              <a:gd name="connsiteX23" fmla="*/ 1675378 w 2629239"/>
              <a:gd name="connsiteY23" fmla="*/ 1381360 h 1507762"/>
              <a:gd name="connsiteX24" fmla="*/ 1581012 w 2629239"/>
              <a:gd name="connsiteY24" fmla="*/ 1354350 h 1507762"/>
              <a:gd name="connsiteX25" fmla="*/ 1470795 w 2629239"/>
              <a:gd name="connsiteY25" fmla="*/ 1337136 h 1507762"/>
              <a:gd name="connsiteX26" fmla="*/ 1390037 w 2629239"/>
              <a:gd name="connsiteY26" fmla="*/ 1334755 h 1507762"/>
              <a:gd name="connsiteX27" fmla="*/ 1308122 w 2629239"/>
              <a:gd name="connsiteY27" fmla="*/ 1328836 h 1507762"/>
              <a:gd name="connsiteX28" fmla="*/ 1209809 w 2629239"/>
              <a:gd name="connsiteY28" fmla="*/ 1311012 h 1507762"/>
              <a:gd name="connsiteX29" fmla="*/ 1099388 w 2629239"/>
              <a:gd name="connsiteY29" fmla="*/ 1283728 h 1507762"/>
              <a:gd name="connsiteX30" fmla="*/ 963724 w 2629239"/>
              <a:gd name="connsiteY30" fmla="*/ 1241547 h 1507762"/>
              <a:gd name="connsiteX31" fmla="*/ 850922 w 2629239"/>
              <a:gd name="connsiteY31" fmla="*/ 1205352 h 1507762"/>
              <a:gd name="connsiteX32" fmla="*/ 752949 w 2629239"/>
              <a:gd name="connsiteY32" fmla="*/ 1172966 h 1507762"/>
              <a:gd name="connsiteX33" fmla="*/ 656747 w 2629239"/>
              <a:gd name="connsiteY33" fmla="*/ 1148338 h 1507762"/>
              <a:gd name="connsiteX34" fmla="*/ 554353 w 2629239"/>
              <a:gd name="connsiteY34" fmla="*/ 1122824 h 1507762"/>
              <a:gd name="connsiteX35" fmla="*/ 451007 w 2629239"/>
              <a:gd name="connsiteY35" fmla="*/ 1112415 h 1507762"/>
              <a:gd name="connsiteX36" fmla="*/ 372630 w 2629239"/>
              <a:gd name="connsiteY36" fmla="*/ 1105883 h 1507762"/>
              <a:gd name="connsiteX37" fmla="*/ 245879 w 2629239"/>
              <a:gd name="connsiteY37" fmla="*/ 1070845 h 1507762"/>
              <a:gd name="connsiteX38" fmla="*/ 172537 w 2629239"/>
              <a:gd name="connsiteY38" fmla="*/ 1025397 h 1507762"/>
              <a:gd name="connsiteX39" fmla="*/ 105794 w 2629239"/>
              <a:gd name="connsiteY39" fmla="*/ 956885 h 1507762"/>
              <a:gd name="connsiteX40" fmla="*/ 65925 w 2629239"/>
              <a:gd name="connsiteY40" fmla="*/ 895993 h 1507762"/>
              <a:gd name="connsiteX41" fmla="*/ 24967 w 2629239"/>
              <a:gd name="connsiteY41" fmla="*/ 809317 h 1507762"/>
              <a:gd name="connsiteX42" fmla="*/ 5986 w 2629239"/>
              <a:gd name="connsiteY42" fmla="*/ 710120 h 1507762"/>
              <a:gd name="connsiteX43" fmla="*/ 4217 w 2629239"/>
              <a:gd name="connsiteY43" fmla="*/ 606229 h 1507762"/>
              <a:gd name="connsiteX44" fmla="*/ 51433 w 2629239"/>
              <a:gd name="connsiteY44" fmla="*/ 499005 h 1507762"/>
              <a:gd name="connsiteX45" fmla="*/ 107495 w 2629239"/>
              <a:gd name="connsiteY45" fmla="*/ 442943 h 1507762"/>
              <a:gd name="connsiteX46" fmla="*/ 215876 w 2629239"/>
              <a:gd name="connsiteY46" fmla="*/ 364566 h 1507762"/>
              <a:gd name="connsiteX47" fmla="*/ 362833 w 2629239"/>
              <a:gd name="connsiteY47" fmla="*/ 295986 h 1507762"/>
              <a:gd name="connsiteX48" fmla="*/ 519587 w 2629239"/>
              <a:gd name="connsiteY48" fmla="*/ 250266 h 1507762"/>
              <a:gd name="connsiteX49" fmla="*/ 650828 w 2629239"/>
              <a:gd name="connsiteY49" fmla="*/ 211079 h 1507762"/>
              <a:gd name="connsiteX50" fmla="*/ 801664 w 2629239"/>
              <a:gd name="connsiteY50" fmla="*/ 173657 h 1507762"/>
              <a:gd name="connsiteX51" fmla="*/ 947396 w 2629239"/>
              <a:gd name="connsiteY51" fmla="*/ 149029 h 1507762"/>
              <a:gd name="connsiteX52" fmla="*/ 1138984 w 2629239"/>
              <a:gd name="connsiteY52" fmla="*/ 98207 h 1507762"/>
              <a:gd name="connsiteX53" fmla="*/ 1391533 w 2629239"/>
              <a:gd name="connsiteY53" fmla="*/ 31463 h 1507762"/>
              <a:gd name="connsiteX54" fmla="*/ 1541756 w 2629239"/>
              <a:gd name="connsiteY54" fmla="*/ 576 h 1507762"/>
              <a:gd name="connsiteX55" fmla="*/ 1651044 w 2629239"/>
              <a:gd name="connsiteY55" fmla="*/ 311 h 1507762"/>
              <a:gd name="connsiteX56" fmla="*/ 1758305 w 2629239"/>
              <a:gd name="connsiteY56" fmla="*/ 18618 h 1507762"/>
              <a:gd name="connsiteX57" fmla="*/ 1859123 w 2629239"/>
              <a:gd name="connsiteY57" fmla="*/ 65262 h 1507762"/>
              <a:gd name="connsiteX58" fmla="*/ 1958866 w 2629239"/>
              <a:gd name="connsiteY58" fmla="*/ 133314 h 1507762"/>
              <a:gd name="connsiteX59" fmla="*/ 2048323 w 2629239"/>
              <a:gd name="connsiteY59" fmla="*/ 211079 h 1507762"/>
              <a:gd name="connsiteX60" fmla="*/ 2121579 w 2629239"/>
              <a:gd name="connsiteY60" fmla="*/ 276392 h 1507762"/>
              <a:gd name="connsiteX61" fmla="*/ 2174062 w 2629239"/>
              <a:gd name="connsiteY61" fmla="*/ 322111 h 1507762"/>
              <a:gd name="connsiteX62" fmla="*/ 2204333 w 2629239"/>
              <a:gd name="connsiteY62" fmla="*/ 380623 h 1507762"/>
              <a:gd name="connsiteX63" fmla="*/ 2159157 w 2629239"/>
              <a:gd name="connsiteY63" fmla="*/ 452196 h 1507762"/>
              <a:gd name="connsiteX64" fmla="*/ 2056242 w 2629239"/>
              <a:gd name="connsiteY64" fmla="*/ 481860 h 1507762"/>
              <a:gd name="connsiteX65" fmla="*/ 1931261 w 2629239"/>
              <a:gd name="connsiteY65" fmla="*/ 483629 h 1507762"/>
              <a:gd name="connsiteX66" fmla="*/ 1851999 w 2629239"/>
              <a:gd name="connsiteY66" fmla="*/ 472335 h 1507762"/>
              <a:gd name="connsiteX67" fmla="*/ 1705042 w 2629239"/>
              <a:gd name="connsiteY67" fmla="*/ 449475 h 1507762"/>
              <a:gd name="connsiteX68" fmla="*/ 1564616 w 2629239"/>
              <a:gd name="connsiteY68" fmla="*/ 423349 h 1507762"/>
              <a:gd name="connsiteX69" fmla="*/ 1433987 w 2629239"/>
              <a:gd name="connsiteY69" fmla="*/ 403755 h 1507762"/>
              <a:gd name="connsiteX70" fmla="*/ 1319687 w 2629239"/>
              <a:gd name="connsiteY70" fmla="*/ 407020 h 1507762"/>
              <a:gd name="connsiteX71" fmla="*/ 1219063 w 2629239"/>
              <a:gd name="connsiteY71" fmla="*/ 432261 h 1507762"/>
              <a:gd name="connsiteX72" fmla="*/ 1133542 w 2629239"/>
              <a:gd name="connsiteY72" fmla="*/ 462538 h 1507762"/>
              <a:gd name="connsiteX73" fmla="*/ 1018697 w 2629239"/>
              <a:gd name="connsiteY73" fmla="*/ 508258 h 1507762"/>
              <a:gd name="connsiteX74" fmla="*/ 918004 w 2629239"/>
              <a:gd name="connsiteY74" fmla="*/ 545064 h 1507762"/>
              <a:gd name="connsiteX75" fmla="*/ 767170 w 2629239"/>
              <a:gd name="connsiteY75" fmla="*/ 567653 h 1507762"/>
              <a:gd name="connsiteX76" fmla="*/ 652053 w 2629239"/>
              <a:gd name="connsiteY76" fmla="*/ 569784 h 1507762"/>
              <a:gd name="connsiteX77" fmla="*/ 520222 w 2629239"/>
              <a:gd name="connsiteY77" fmla="*/ 570669 h 1507762"/>
              <a:gd name="connsiteX78" fmla="*/ 402112 w 2629239"/>
              <a:gd name="connsiteY78" fmla="*/ 559896 h 1507762"/>
              <a:gd name="connsiteX79" fmla="*/ 299537 w 2629239"/>
              <a:gd name="connsiteY79" fmla="*/ 548240 h 1507762"/>
              <a:gd name="connsiteX80" fmla="*/ 169271 w 2629239"/>
              <a:gd name="connsiteY80" fmla="*/ 528124 h 1507762"/>
              <a:gd name="connsiteX0" fmla="*/ 2629239 w 2629239"/>
              <a:gd name="connsiteY0" fmla="*/ 1007306 h 1510422"/>
              <a:gd name="connsiteX1" fmla="*/ 2619623 w 2629239"/>
              <a:gd name="connsiteY1" fmla="*/ 1062823 h 1510422"/>
              <a:gd name="connsiteX2" fmla="*/ 2620938 w 2629239"/>
              <a:gd name="connsiteY2" fmla="*/ 1120722 h 1510422"/>
              <a:gd name="connsiteX3" fmla="*/ 2619442 w 2629239"/>
              <a:gd name="connsiteY3" fmla="*/ 1167326 h 1510422"/>
              <a:gd name="connsiteX4" fmla="*/ 2615904 w 2629239"/>
              <a:gd name="connsiteY4" fmla="*/ 1222231 h 1510422"/>
              <a:gd name="connsiteX5" fmla="*/ 2590934 w 2629239"/>
              <a:gd name="connsiteY5" fmla="*/ 1271920 h 1510422"/>
              <a:gd name="connsiteX6" fmla="*/ 2554127 w 2629239"/>
              <a:gd name="connsiteY6" fmla="*/ 1307752 h 1510422"/>
              <a:gd name="connsiteX7" fmla="*/ 2498610 w 2629239"/>
              <a:gd name="connsiteY7" fmla="*/ 1317549 h 1510422"/>
              <a:gd name="connsiteX8" fmla="*/ 2446359 w 2629239"/>
              <a:gd name="connsiteY8" fmla="*/ 1320815 h 1510422"/>
              <a:gd name="connsiteX9" fmla="*/ 2400639 w 2629239"/>
              <a:gd name="connsiteY9" fmla="*/ 1320815 h 1510422"/>
              <a:gd name="connsiteX10" fmla="*/ 2345122 w 2629239"/>
              <a:gd name="connsiteY10" fmla="*/ 1333878 h 1510422"/>
              <a:gd name="connsiteX11" fmla="*/ 2296499 w 2629239"/>
              <a:gd name="connsiteY11" fmla="*/ 1363541 h 1510422"/>
              <a:gd name="connsiteX12" fmla="*/ 2279807 w 2629239"/>
              <a:gd name="connsiteY12" fmla="*/ 1402458 h 1510422"/>
              <a:gd name="connsiteX13" fmla="*/ 2240619 w 2629239"/>
              <a:gd name="connsiteY13" fmla="*/ 1444912 h 1510422"/>
              <a:gd name="connsiteX14" fmla="*/ 2184218 w 2629239"/>
              <a:gd name="connsiteY14" fmla="*/ 1463010 h 1510422"/>
              <a:gd name="connsiteX15" fmla="*/ 2116522 w 2629239"/>
              <a:gd name="connsiteY15" fmla="*/ 1454709 h 1510422"/>
              <a:gd name="connsiteX16" fmla="*/ 2047942 w 2629239"/>
              <a:gd name="connsiteY16" fmla="*/ 1457975 h 1510422"/>
              <a:gd name="connsiteX17" fmla="*/ 2005487 w 2629239"/>
              <a:gd name="connsiteY17" fmla="*/ 1471038 h 1510422"/>
              <a:gd name="connsiteX18" fmla="*/ 1969564 w 2629239"/>
              <a:gd name="connsiteY18" fmla="*/ 1490632 h 1510422"/>
              <a:gd name="connsiteX19" fmla="*/ 1927019 w 2629239"/>
              <a:gd name="connsiteY19" fmla="*/ 1506870 h 1510422"/>
              <a:gd name="connsiteX20" fmla="*/ 1884202 w 2629239"/>
              <a:gd name="connsiteY20" fmla="*/ 1508116 h 1510422"/>
              <a:gd name="connsiteX21" fmla="*/ 1796482 w 2629239"/>
              <a:gd name="connsiteY21" fmla="*/ 1480495 h 1510422"/>
              <a:gd name="connsiteX22" fmla="*/ 1735046 w 2629239"/>
              <a:gd name="connsiteY22" fmla="*/ 1440761 h 1510422"/>
              <a:gd name="connsiteX23" fmla="*/ 1675378 w 2629239"/>
              <a:gd name="connsiteY23" fmla="*/ 1384020 h 1510422"/>
              <a:gd name="connsiteX24" fmla="*/ 1581012 w 2629239"/>
              <a:gd name="connsiteY24" fmla="*/ 1357010 h 1510422"/>
              <a:gd name="connsiteX25" fmla="*/ 1470795 w 2629239"/>
              <a:gd name="connsiteY25" fmla="*/ 1339796 h 1510422"/>
              <a:gd name="connsiteX26" fmla="*/ 1390037 w 2629239"/>
              <a:gd name="connsiteY26" fmla="*/ 1337415 h 1510422"/>
              <a:gd name="connsiteX27" fmla="*/ 1308122 w 2629239"/>
              <a:gd name="connsiteY27" fmla="*/ 1331496 h 1510422"/>
              <a:gd name="connsiteX28" fmla="*/ 1209809 w 2629239"/>
              <a:gd name="connsiteY28" fmla="*/ 1313672 h 1510422"/>
              <a:gd name="connsiteX29" fmla="*/ 1099388 w 2629239"/>
              <a:gd name="connsiteY29" fmla="*/ 1286388 h 1510422"/>
              <a:gd name="connsiteX30" fmla="*/ 963724 w 2629239"/>
              <a:gd name="connsiteY30" fmla="*/ 1244207 h 1510422"/>
              <a:gd name="connsiteX31" fmla="*/ 850922 w 2629239"/>
              <a:gd name="connsiteY31" fmla="*/ 1208012 h 1510422"/>
              <a:gd name="connsiteX32" fmla="*/ 752949 w 2629239"/>
              <a:gd name="connsiteY32" fmla="*/ 1175626 h 1510422"/>
              <a:gd name="connsiteX33" fmla="*/ 656747 w 2629239"/>
              <a:gd name="connsiteY33" fmla="*/ 1150998 h 1510422"/>
              <a:gd name="connsiteX34" fmla="*/ 554353 w 2629239"/>
              <a:gd name="connsiteY34" fmla="*/ 1125484 h 1510422"/>
              <a:gd name="connsiteX35" fmla="*/ 451007 w 2629239"/>
              <a:gd name="connsiteY35" fmla="*/ 1115075 h 1510422"/>
              <a:gd name="connsiteX36" fmla="*/ 372630 w 2629239"/>
              <a:gd name="connsiteY36" fmla="*/ 1108543 h 1510422"/>
              <a:gd name="connsiteX37" fmla="*/ 245879 w 2629239"/>
              <a:gd name="connsiteY37" fmla="*/ 1073505 h 1510422"/>
              <a:gd name="connsiteX38" fmla="*/ 172537 w 2629239"/>
              <a:gd name="connsiteY38" fmla="*/ 1028057 h 1510422"/>
              <a:gd name="connsiteX39" fmla="*/ 105794 w 2629239"/>
              <a:gd name="connsiteY39" fmla="*/ 959545 h 1510422"/>
              <a:gd name="connsiteX40" fmla="*/ 65925 w 2629239"/>
              <a:gd name="connsiteY40" fmla="*/ 898653 h 1510422"/>
              <a:gd name="connsiteX41" fmla="*/ 24967 w 2629239"/>
              <a:gd name="connsiteY41" fmla="*/ 811977 h 1510422"/>
              <a:gd name="connsiteX42" fmla="*/ 5986 w 2629239"/>
              <a:gd name="connsiteY42" fmla="*/ 712780 h 1510422"/>
              <a:gd name="connsiteX43" fmla="*/ 4217 w 2629239"/>
              <a:gd name="connsiteY43" fmla="*/ 608889 h 1510422"/>
              <a:gd name="connsiteX44" fmla="*/ 51433 w 2629239"/>
              <a:gd name="connsiteY44" fmla="*/ 501665 h 1510422"/>
              <a:gd name="connsiteX45" fmla="*/ 107495 w 2629239"/>
              <a:gd name="connsiteY45" fmla="*/ 445603 h 1510422"/>
              <a:gd name="connsiteX46" fmla="*/ 215876 w 2629239"/>
              <a:gd name="connsiteY46" fmla="*/ 367226 h 1510422"/>
              <a:gd name="connsiteX47" fmla="*/ 362833 w 2629239"/>
              <a:gd name="connsiteY47" fmla="*/ 298646 h 1510422"/>
              <a:gd name="connsiteX48" fmla="*/ 519587 w 2629239"/>
              <a:gd name="connsiteY48" fmla="*/ 252926 h 1510422"/>
              <a:gd name="connsiteX49" fmla="*/ 650828 w 2629239"/>
              <a:gd name="connsiteY49" fmla="*/ 213739 h 1510422"/>
              <a:gd name="connsiteX50" fmla="*/ 801664 w 2629239"/>
              <a:gd name="connsiteY50" fmla="*/ 176317 h 1510422"/>
              <a:gd name="connsiteX51" fmla="*/ 947396 w 2629239"/>
              <a:gd name="connsiteY51" fmla="*/ 151689 h 1510422"/>
              <a:gd name="connsiteX52" fmla="*/ 1138984 w 2629239"/>
              <a:gd name="connsiteY52" fmla="*/ 100867 h 1510422"/>
              <a:gd name="connsiteX53" fmla="*/ 1391533 w 2629239"/>
              <a:gd name="connsiteY53" fmla="*/ 34123 h 1510422"/>
              <a:gd name="connsiteX54" fmla="*/ 1541756 w 2629239"/>
              <a:gd name="connsiteY54" fmla="*/ 3236 h 1510422"/>
              <a:gd name="connsiteX55" fmla="*/ 1651044 w 2629239"/>
              <a:gd name="connsiteY55" fmla="*/ 2971 h 1510422"/>
              <a:gd name="connsiteX56" fmla="*/ 1758305 w 2629239"/>
              <a:gd name="connsiteY56" fmla="*/ 21278 h 1510422"/>
              <a:gd name="connsiteX57" fmla="*/ 1859123 w 2629239"/>
              <a:gd name="connsiteY57" fmla="*/ 67922 h 1510422"/>
              <a:gd name="connsiteX58" fmla="*/ 1958866 w 2629239"/>
              <a:gd name="connsiteY58" fmla="*/ 135974 h 1510422"/>
              <a:gd name="connsiteX59" fmla="*/ 2048323 w 2629239"/>
              <a:gd name="connsiteY59" fmla="*/ 213739 h 1510422"/>
              <a:gd name="connsiteX60" fmla="*/ 2121579 w 2629239"/>
              <a:gd name="connsiteY60" fmla="*/ 279052 h 1510422"/>
              <a:gd name="connsiteX61" fmla="*/ 2174062 w 2629239"/>
              <a:gd name="connsiteY61" fmla="*/ 324771 h 1510422"/>
              <a:gd name="connsiteX62" fmla="*/ 2204333 w 2629239"/>
              <a:gd name="connsiteY62" fmla="*/ 383283 h 1510422"/>
              <a:gd name="connsiteX63" fmla="*/ 2159157 w 2629239"/>
              <a:gd name="connsiteY63" fmla="*/ 454856 h 1510422"/>
              <a:gd name="connsiteX64" fmla="*/ 2056242 w 2629239"/>
              <a:gd name="connsiteY64" fmla="*/ 484520 h 1510422"/>
              <a:gd name="connsiteX65" fmla="*/ 1931261 w 2629239"/>
              <a:gd name="connsiteY65" fmla="*/ 486289 h 1510422"/>
              <a:gd name="connsiteX66" fmla="*/ 1851999 w 2629239"/>
              <a:gd name="connsiteY66" fmla="*/ 474995 h 1510422"/>
              <a:gd name="connsiteX67" fmla="*/ 1705042 w 2629239"/>
              <a:gd name="connsiteY67" fmla="*/ 452135 h 1510422"/>
              <a:gd name="connsiteX68" fmla="*/ 1564616 w 2629239"/>
              <a:gd name="connsiteY68" fmla="*/ 426009 h 1510422"/>
              <a:gd name="connsiteX69" fmla="*/ 1433987 w 2629239"/>
              <a:gd name="connsiteY69" fmla="*/ 406415 h 1510422"/>
              <a:gd name="connsiteX70" fmla="*/ 1319687 w 2629239"/>
              <a:gd name="connsiteY70" fmla="*/ 409680 h 1510422"/>
              <a:gd name="connsiteX71" fmla="*/ 1219063 w 2629239"/>
              <a:gd name="connsiteY71" fmla="*/ 434921 h 1510422"/>
              <a:gd name="connsiteX72" fmla="*/ 1133542 w 2629239"/>
              <a:gd name="connsiteY72" fmla="*/ 465198 h 1510422"/>
              <a:gd name="connsiteX73" fmla="*/ 1018697 w 2629239"/>
              <a:gd name="connsiteY73" fmla="*/ 510918 h 1510422"/>
              <a:gd name="connsiteX74" fmla="*/ 918004 w 2629239"/>
              <a:gd name="connsiteY74" fmla="*/ 547724 h 1510422"/>
              <a:gd name="connsiteX75" fmla="*/ 767170 w 2629239"/>
              <a:gd name="connsiteY75" fmla="*/ 570313 h 1510422"/>
              <a:gd name="connsiteX76" fmla="*/ 652053 w 2629239"/>
              <a:gd name="connsiteY76" fmla="*/ 572444 h 1510422"/>
              <a:gd name="connsiteX77" fmla="*/ 520222 w 2629239"/>
              <a:gd name="connsiteY77" fmla="*/ 573329 h 1510422"/>
              <a:gd name="connsiteX78" fmla="*/ 402112 w 2629239"/>
              <a:gd name="connsiteY78" fmla="*/ 562556 h 1510422"/>
              <a:gd name="connsiteX79" fmla="*/ 299537 w 2629239"/>
              <a:gd name="connsiteY79" fmla="*/ 550900 h 1510422"/>
              <a:gd name="connsiteX80" fmla="*/ 169271 w 2629239"/>
              <a:gd name="connsiteY80" fmla="*/ 530784 h 1510422"/>
              <a:gd name="connsiteX0" fmla="*/ 2629239 w 2629239"/>
              <a:gd name="connsiteY0" fmla="*/ 1011021 h 1514137"/>
              <a:gd name="connsiteX1" fmla="*/ 2619623 w 2629239"/>
              <a:gd name="connsiteY1" fmla="*/ 1066538 h 1514137"/>
              <a:gd name="connsiteX2" fmla="*/ 2620938 w 2629239"/>
              <a:gd name="connsiteY2" fmla="*/ 1124437 h 1514137"/>
              <a:gd name="connsiteX3" fmla="*/ 2619442 w 2629239"/>
              <a:gd name="connsiteY3" fmla="*/ 1171041 h 1514137"/>
              <a:gd name="connsiteX4" fmla="*/ 2615904 w 2629239"/>
              <a:gd name="connsiteY4" fmla="*/ 1225946 h 1514137"/>
              <a:gd name="connsiteX5" fmla="*/ 2590934 w 2629239"/>
              <a:gd name="connsiteY5" fmla="*/ 1275635 h 1514137"/>
              <a:gd name="connsiteX6" fmla="*/ 2554127 w 2629239"/>
              <a:gd name="connsiteY6" fmla="*/ 1311467 h 1514137"/>
              <a:gd name="connsiteX7" fmla="*/ 2498610 w 2629239"/>
              <a:gd name="connsiteY7" fmla="*/ 1321264 h 1514137"/>
              <a:gd name="connsiteX8" fmla="*/ 2446359 w 2629239"/>
              <a:gd name="connsiteY8" fmla="*/ 1324530 h 1514137"/>
              <a:gd name="connsiteX9" fmla="*/ 2400639 w 2629239"/>
              <a:gd name="connsiteY9" fmla="*/ 1324530 h 1514137"/>
              <a:gd name="connsiteX10" fmla="*/ 2345122 w 2629239"/>
              <a:gd name="connsiteY10" fmla="*/ 1337593 h 1514137"/>
              <a:gd name="connsiteX11" fmla="*/ 2296499 w 2629239"/>
              <a:gd name="connsiteY11" fmla="*/ 1367256 h 1514137"/>
              <a:gd name="connsiteX12" fmla="*/ 2279807 w 2629239"/>
              <a:gd name="connsiteY12" fmla="*/ 1406173 h 1514137"/>
              <a:gd name="connsiteX13" fmla="*/ 2240619 w 2629239"/>
              <a:gd name="connsiteY13" fmla="*/ 1448627 h 1514137"/>
              <a:gd name="connsiteX14" fmla="*/ 2184218 w 2629239"/>
              <a:gd name="connsiteY14" fmla="*/ 1466725 h 1514137"/>
              <a:gd name="connsiteX15" fmla="*/ 2116522 w 2629239"/>
              <a:gd name="connsiteY15" fmla="*/ 1458424 h 1514137"/>
              <a:gd name="connsiteX16" fmla="*/ 2047942 w 2629239"/>
              <a:gd name="connsiteY16" fmla="*/ 1461690 h 1514137"/>
              <a:gd name="connsiteX17" fmla="*/ 2005487 w 2629239"/>
              <a:gd name="connsiteY17" fmla="*/ 1474753 h 1514137"/>
              <a:gd name="connsiteX18" fmla="*/ 1969564 w 2629239"/>
              <a:gd name="connsiteY18" fmla="*/ 1494347 h 1514137"/>
              <a:gd name="connsiteX19" fmla="*/ 1927019 w 2629239"/>
              <a:gd name="connsiteY19" fmla="*/ 1510585 h 1514137"/>
              <a:gd name="connsiteX20" fmla="*/ 1884202 w 2629239"/>
              <a:gd name="connsiteY20" fmla="*/ 1511831 h 1514137"/>
              <a:gd name="connsiteX21" fmla="*/ 1796482 w 2629239"/>
              <a:gd name="connsiteY21" fmla="*/ 1484210 h 1514137"/>
              <a:gd name="connsiteX22" fmla="*/ 1735046 w 2629239"/>
              <a:gd name="connsiteY22" fmla="*/ 1444476 h 1514137"/>
              <a:gd name="connsiteX23" fmla="*/ 1675378 w 2629239"/>
              <a:gd name="connsiteY23" fmla="*/ 1387735 h 1514137"/>
              <a:gd name="connsiteX24" fmla="*/ 1581012 w 2629239"/>
              <a:gd name="connsiteY24" fmla="*/ 1360725 h 1514137"/>
              <a:gd name="connsiteX25" fmla="*/ 1470795 w 2629239"/>
              <a:gd name="connsiteY25" fmla="*/ 1343511 h 1514137"/>
              <a:gd name="connsiteX26" fmla="*/ 1390037 w 2629239"/>
              <a:gd name="connsiteY26" fmla="*/ 1341130 h 1514137"/>
              <a:gd name="connsiteX27" fmla="*/ 1308122 w 2629239"/>
              <a:gd name="connsiteY27" fmla="*/ 1335211 h 1514137"/>
              <a:gd name="connsiteX28" fmla="*/ 1209809 w 2629239"/>
              <a:gd name="connsiteY28" fmla="*/ 1317387 h 1514137"/>
              <a:gd name="connsiteX29" fmla="*/ 1099388 w 2629239"/>
              <a:gd name="connsiteY29" fmla="*/ 1290103 h 1514137"/>
              <a:gd name="connsiteX30" fmla="*/ 963724 w 2629239"/>
              <a:gd name="connsiteY30" fmla="*/ 1247922 h 1514137"/>
              <a:gd name="connsiteX31" fmla="*/ 850922 w 2629239"/>
              <a:gd name="connsiteY31" fmla="*/ 1211727 h 1514137"/>
              <a:gd name="connsiteX32" fmla="*/ 752949 w 2629239"/>
              <a:gd name="connsiteY32" fmla="*/ 1179341 h 1514137"/>
              <a:gd name="connsiteX33" fmla="*/ 656747 w 2629239"/>
              <a:gd name="connsiteY33" fmla="*/ 1154713 h 1514137"/>
              <a:gd name="connsiteX34" fmla="*/ 554353 w 2629239"/>
              <a:gd name="connsiteY34" fmla="*/ 1129199 h 1514137"/>
              <a:gd name="connsiteX35" fmla="*/ 451007 w 2629239"/>
              <a:gd name="connsiteY35" fmla="*/ 1118790 h 1514137"/>
              <a:gd name="connsiteX36" fmla="*/ 372630 w 2629239"/>
              <a:gd name="connsiteY36" fmla="*/ 1112258 h 1514137"/>
              <a:gd name="connsiteX37" fmla="*/ 245879 w 2629239"/>
              <a:gd name="connsiteY37" fmla="*/ 1077220 h 1514137"/>
              <a:gd name="connsiteX38" fmla="*/ 172537 w 2629239"/>
              <a:gd name="connsiteY38" fmla="*/ 1031772 h 1514137"/>
              <a:gd name="connsiteX39" fmla="*/ 105794 w 2629239"/>
              <a:gd name="connsiteY39" fmla="*/ 963260 h 1514137"/>
              <a:gd name="connsiteX40" fmla="*/ 65925 w 2629239"/>
              <a:gd name="connsiteY40" fmla="*/ 902368 h 1514137"/>
              <a:gd name="connsiteX41" fmla="*/ 24967 w 2629239"/>
              <a:gd name="connsiteY41" fmla="*/ 815692 h 1514137"/>
              <a:gd name="connsiteX42" fmla="*/ 5986 w 2629239"/>
              <a:gd name="connsiteY42" fmla="*/ 716495 h 1514137"/>
              <a:gd name="connsiteX43" fmla="*/ 4217 w 2629239"/>
              <a:gd name="connsiteY43" fmla="*/ 612604 h 1514137"/>
              <a:gd name="connsiteX44" fmla="*/ 51433 w 2629239"/>
              <a:gd name="connsiteY44" fmla="*/ 505380 h 1514137"/>
              <a:gd name="connsiteX45" fmla="*/ 107495 w 2629239"/>
              <a:gd name="connsiteY45" fmla="*/ 449318 h 1514137"/>
              <a:gd name="connsiteX46" fmla="*/ 215876 w 2629239"/>
              <a:gd name="connsiteY46" fmla="*/ 370941 h 1514137"/>
              <a:gd name="connsiteX47" fmla="*/ 362833 w 2629239"/>
              <a:gd name="connsiteY47" fmla="*/ 302361 h 1514137"/>
              <a:gd name="connsiteX48" fmla="*/ 519587 w 2629239"/>
              <a:gd name="connsiteY48" fmla="*/ 256641 h 1514137"/>
              <a:gd name="connsiteX49" fmla="*/ 650828 w 2629239"/>
              <a:gd name="connsiteY49" fmla="*/ 217454 h 1514137"/>
              <a:gd name="connsiteX50" fmla="*/ 801664 w 2629239"/>
              <a:gd name="connsiteY50" fmla="*/ 180032 h 1514137"/>
              <a:gd name="connsiteX51" fmla="*/ 947396 w 2629239"/>
              <a:gd name="connsiteY51" fmla="*/ 155404 h 1514137"/>
              <a:gd name="connsiteX52" fmla="*/ 1138984 w 2629239"/>
              <a:gd name="connsiteY52" fmla="*/ 104582 h 1514137"/>
              <a:gd name="connsiteX53" fmla="*/ 1391533 w 2629239"/>
              <a:gd name="connsiteY53" fmla="*/ 37838 h 1514137"/>
              <a:gd name="connsiteX54" fmla="*/ 1541756 w 2629239"/>
              <a:gd name="connsiteY54" fmla="*/ 6951 h 1514137"/>
              <a:gd name="connsiteX55" fmla="*/ 1651044 w 2629239"/>
              <a:gd name="connsiteY55" fmla="*/ 1081 h 1514137"/>
              <a:gd name="connsiteX56" fmla="*/ 1758305 w 2629239"/>
              <a:gd name="connsiteY56" fmla="*/ 24993 h 1514137"/>
              <a:gd name="connsiteX57" fmla="*/ 1859123 w 2629239"/>
              <a:gd name="connsiteY57" fmla="*/ 71637 h 1514137"/>
              <a:gd name="connsiteX58" fmla="*/ 1958866 w 2629239"/>
              <a:gd name="connsiteY58" fmla="*/ 139689 h 1514137"/>
              <a:gd name="connsiteX59" fmla="*/ 2048323 w 2629239"/>
              <a:gd name="connsiteY59" fmla="*/ 217454 h 1514137"/>
              <a:gd name="connsiteX60" fmla="*/ 2121579 w 2629239"/>
              <a:gd name="connsiteY60" fmla="*/ 282767 h 1514137"/>
              <a:gd name="connsiteX61" fmla="*/ 2174062 w 2629239"/>
              <a:gd name="connsiteY61" fmla="*/ 328486 h 1514137"/>
              <a:gd name="connsiteX62" fmla="*/ 2204333 w 2629239"/>
              <a:gd name="connsiteY62" fmla="*/ 386998 h 1514137"/>
              <a:gd name="connsiteX63" fmla="*/ 2159157 w 2629239"/>
              <a:gd name="connsiteY63" fmla="*/ 458571 h 1514137"/>
              <a:gd name="connsiteX64" fmla="*/ 2056242 w 2629239"/>
              <a:gd name="connsiteY64" fmla="*/ 488235 h 1514137"/>
              <a:gd name="connsiteX65" fmla="*/ 1931261 w 2629239"/>
              <a:gd name="connsiteY65" fmla="*/ 490004 h 1514137"/>
              <a:gd name="connsiteX66" fmla="*/ 1851999 w 2629239"/>
              <a:gd name="connsiteY66" fmla="*/ 478710 h 1514137"/>
              <a:gd name="connsiteX67" fmla="*/ 1705042 w 2629239"/>
              <a:gd name="connsiteY67" fmla="*/ 455850 h 1514137"/>
              <a:gd name="connsiteX68" fmla="*/ 1564616 w 2629239"/>
              <a:gd name="connsiteY68" fmla="*/ 429724 h 1514137"/>
              <a:gd name="connsiteX69" fmla="*/ 1433987 w 2629239"/>
              <a:gd name="connsiteY69" fmla="*/ 410130 h 1514137"/>
              <a:gd name="connsiteX70" fmla="*/ 1319687 w 2629239"/>
              <a:gd name="connsiteY70" fmla="*/ 413395 h 1514137"/>
              <a:gd name="connsiteX71" fmla="*/ 1219063 w 2629239"/>
              <a:gd name="connsiteY71" fmla="*/ 438636 h 1514137"/>
              <a:gd name="connsiteX72" fmla="*/ 1133542 w 2629239"/>
              <a:gd name="connsiteY72" fmla="*/ 468913 h 1514137"/>
              <a:gd name="connsiteX73" fmla="*/ 1018697 w 2629239"/>
              <a:gd name="connsiteY73" fmla="*/ 514633 h 1514137"/>
              <a:gd name="connsiteX74" fmla="*/ 918004 w 2629239"/>
              <a:gd name="connsiteY74" fmla="*/ 551439 h 1514137"/>
              <a:gd name="connsiteX75" fmla="*/ 767170 w 2629239"/>
              <a:gd name="connsiteY75" fmla="*/ 574028 h 1514137"/>
              <a:gd name="connsiteX76" fmla="*/ 652053 w 2629239"/>
              <a:gd name="connsiteY76" fmla="*/ 576159 h 1514137"/>
              <a:gd name="connsiteX77" fmla="*/ 520222 w 2629239"/>
              <a:gd name="connsiteY77" fmla="*/ 577044 h 1514137"/>
              <a:gd name="connsiteX78" fmla="*/ 402112 w 2629239"/>
              <a:gd name="connsiteY78" fmla="*/ 566271 h 1514137"/>
              <a:gd name="connsiteX79" fmla="*/ 299537 w 2629239"/>
              <a:gd name="connsiteY79" fmla="*/ 554615 h 1514137"/>
              <a:gd name="connsiteX80" fmla="*/ 169271 w 2629239"/>
              <a:gd name="connsiteY80" fmla="*/ 534499 h 1514137"/>
              <a:gd name="connsiteX0" fmla="*/ 2629239 w 2629239"/>
              <a:gd name="connsiteY0" fmla="*/ 1010265 h 1513381"/>
              <a:gd name="connsiteX1" fmla="*/ 2619623 w 2629239"/>
              <a:gd name="connsiteY1" fmla="*/ 1065782 h 1513381"/>
              <a:gd name="connsiteX2" fmla="*/ 2620938 w 2629239"/>
              <a:gd name="connsiteY2" fmla="*/ 1123681 h 1513381"/>
              <a:gd name="connsiteX3" fmla="*/ 2619442 w 2629239"/>
              <a:gd name="connsiteY3" fmla="*/ 1170285 h 1513381"/>
              <a:gd name="connsiteX4" fmla="*/ 2615904 w 2629239"/>
              <a:gd name="connsiteY4" fmla="*/ 1225190 h 1513381"/>
              <a:gd name="connsiteX5" fmla="*/ 2590934 w 2629239"/>
              <a:gd name="connsiteY5" fmla="*/ 1274879 h 1513381"/>
              <a:gd name="connsiteX6" fmla="*/ 2554127 w 2629239"/>
              <a:gd name="connsiteY6" fmla="*/ 1310711 h 1513381"/>
              <a:gd name="connsiteX7" fmla="*/ 2498610 w 2629239"/>
              <a:gd name="connsiteY7" fmla="*/ 1320508 h 1513381"/>
              <a:gd name="connsiteX8" fmla="*/ 2446359 w 2629239"/>
              <a:gd name="connsiteY8" fmla="*/ 1323774 h 1513381"/>
              <a:gd name="connsiteX9" fmla="*/ 2400639 w 2629239"/>
              <a:gd name="connsiteY9" fmla="*/ 1323774 h 1513381"/>
              <a:gd name="connsiteX10" fmla="*/ 2345122 w 2629239"/>
              <a:gd name="connsiteY10" fmla="*/ 1336837 h 1513381"/>
              <a:gd name="connsiteX11" fmla="*/ 2296499 w 2629239"/>
              <a:gd name="connsiteY11" fmla="*/ 1366500 h 1513381"/>
              <a:gd name="connsiteX12" fmla="*/ 2279807 w 2629239"/>
              <a:gd name="connsiteY12" fmla="*/ 1405417 h 1513381"/>
              <a:gd name="connsiteX13" fmla="*/ 2240619 w 2629239"/>
              <a:gd name="connsiteY13" fmla="*/ 1447871 h 1513381"/>
              <a:gd name="connsiteX14" fmla="*/ 2184218 w 2629239"/>
              <a:gd name="connsiteY14" fmla="*/ 1465969 h 1513381"/>
              <a:gd name="connsiteX15" fmla="*/ 2116522 w 2629239"/>
              <a:gd name="connsiteY15" fmla="*/ 1457668 h 1513381"/>
              <a:gd name="connsiteX16" fmla="*/ 2047942 w 2629239"/>
              <a:gd name="connsiteY16" fmla="*/ 1460934 h 1513381"/>
              <a:gd name="connsiteX17" fmla="*/ 2005487 w 2629239"/>
              <a:gd name="connsiteY17" fmla="*/ 1473997 h 1513381"/>
              <a:gd name="connsiteX18" fmla="*/ 1969564 w 2629239"/>
              <a:gd name="connsiteY18" fmla="*/ 1493591 h 1513381"/>
              <a:gd name="connsiteX19" fmla="*/ 1927019 w 2629239"/>
              <a:gd name="connsiteY19" fmla="*/ 1509829 h 1513381"/>
              <a:gd name="connsiteX20" fmla="*/ 1884202 w 2629239"/>
              <a:gd name="connsiteY20" fmla="*/ 1511075 h 1513381"/>
              <a:gd name="connsiteX21" fmla="*/ 1796482 w 2629239"/>
              <a:gd name="connsiteY21" fmla="*/ 1483454 h 1513381"/>
              <a:gd name="connsiteX22" fmla="*/ 1735046 w 2629239"/>
              <a:gd name="connsiteY22" fmla="*/ 1443720 h 1513381"/>
              <a:gd name="connsiteX23" fmla="*/ 1675378 w 2629239"/>
              <a:gd name="connsiteY23" fmla="*/ 1386979 h 1513381"/>
              <a:gd name="connsiteX24" fmla="*/ 1581012 w 2629239"/>
              <a:gd name="connsiteY24" fmla="*/ 1359969 h 1513381"/>
              <a:gd name="connsiteX25" fmla="*/ 1470795 w 2629239"/>
              <a:gd name="connsiteY25" fmla="*/ 1342755 h 1513381"/>
              <a:gd name="connsiteX26" fmla="*/ 1390037 w 2629239"/>
              <a:gd name="connsiteY26" fmla="*/ 1340374 h 1513381"/>
              <a:gd name="connsiteX27" fmla="*/ 1308122 w 2629239"/>
              <a:gd name="connsiteY27" fmla="*/ 1334455 h 1513381"/>
              <a:gd name="connsiteX28" fmla="*/ 1209809 w 2629239"/>
              <a:gd name="connsiteY28" fmla="*/ 1316631 h 1513381"/>
              <a:gd name="connsiteX29" fmla="*/ 1099388 w 2629239"/>
              <a:gd name="connsiteY29" fmla="*/ 1289347 h 1513381"/>
              <a:gd name="connsiteX30" fmla="*/ 963724 w 2629239"/>
              <a:gd name="connsiteY30" fmla="*/ 1247166 h 1513381"/>
              <a:gd name="connsiteX31" fmla="*/ 850922 w 2629239"/>
              <a:gd name="connsiteY31" fmla="*/ 1210971 h 1513381"/>
              <a:gd name="connsiteX32" fmla="*/ 752949 w 2629239"/>
              <a:gd name="connsiteY32" fmla="*/ 1178585 h 1513381"/>
              <a:gd name="connsiteX33" fmla="*/ 656747 w 2629239"/>
              <a:gd name="connsiteY33" fmla="*/ 1153957 h 1513381"/>
              <a:gd name="connsiteX34" fmla="*/ 554353 w 2629239"/>
              <a:gd name="connsiteY34" fmla="*/ 1128443 h 1513381"/>
              <a:gd name="connsiteX35" fmla="*/ 451007 w 2629239"/>
              <a:gd name="connsiteY35" fmla="*/ 1118034 h 1513381"/>
              <a:gd name="connsiteX36" fmla="*/ 372630 w 2629239"/>
              <a:gd name="connsiteY36" fmla="*/ 1111502 h 1513381"/>
              <a:gd name="connsiteX37" fmla="*/ 245879 w 2629239"/>
              <a:gd name="connsiteY37" fmla="*/ 1076464 h 1513381"/>
              <a:gd name="connsiteX38" fmla="*/ 172537 w 2629239"/>
              <a:gd name="connsiteY38" fmla="*/ 1031016 h 1513381"/>
              <a:gd name="connsiteX39" fmla="*/ 105794 w 2629239"/>
              <a:gd name="connsiteY39" fmla="*/ 962504 h 1513381"/>
              <a:gd name="connsiteX40" fmla="*/ 65925 w 2629239"/>
              <a:gd name="connsiteY40" fmla="*/ 901612 h 1513381"/>
              <a:gd name="connsiteX41" fmla="*/ 24967 w 2629239"/>
              <a:gd name="connsiteY41" fmla="*/ 814936 h 1513381"/>
              <a:gd name="connsiteX42" fmla="*/ 5986 w 2629239"/>
              <a:gd name="connsiteY42" fmla="*/ 715739 h 1513381"/>
              <a:gd name="connsiteX43" fmla="*/ 4217 w 2629239"/>
              <a:gd name="connsiteY43" fmla="*/ 611848 h 1513381"/>
              <a:gd name="connsiteX44" fmla="*/ 51433 w 2629239"/>
              <a:gd name="connsiteY44" fmla="*/ 504624 h 1513381"/>
              <a:gd name="connsiteX45" fmla="*/ 107495 w 2629239"/>
              <a:gd name="connsiteY45" fmla="*/ 448562 h 1513381"/>
              <a:gd name="connsiteX46" fmla="*/ 215876 w 2629239"/>
              <a:gd name="connsiteY46" fmla="*/ 370185 h 1513381"/>
              <a:gd name="connsiteX47" fmla="*/ 362833 w 2629239"/>
              <a:gd name="connsiteY47" fmla="*/ 301605 h 1513381"/>
              <a:gd name="connsiteX48" fmla="*/ 519587 w 2629239"/>
              <a:gd name="connsiteY48" fmla="*/ 255885 h 1513381"/>
              <a:gd name="connsiteX49" fmla="*/ 650828 w 2629239"/>
              <a:gd name="connsiteY49" fmla="*/ 216698 h 1513381"/>
              <a:gd name="connsiteX50" fmla="*/ 801664 w 2629239"/>
              <a:gd name="connsiteY50" fmla="*/ 179276 h 1513381"/>
              <a:gd name="connsiteX51" fmla="*/ 947396 w 2629239"/>
              <a:gd name="connsiteY51" fmla="*/ 154648 h 1513381"/>
              <a:gd name="connsiteX52" fmla="*/ 1138984 w 2629239"/>
              <a:gd name="connsiteY52" fmla="*/ 103826 h 1513381"/>
              <a:gd name="connsiteX53" fmla="*/ 1391533 w 2629239"/>
              <a:gd name="connsiteY53" fmla="*/ 37082 h 1513381"/>
              <a:gd name="connsiteX54" fmla="*/ 1541756 w 2629239"/>
              <a:gd name="connsiteY54" fmla="*/ 6195 h 1513381"/>
              <a:gd name="connsiteX55" fmla="*/ 1651044 w 2629239"/>
              <a:gd name="connsiteY55" fmla="*/ 325 h 1513381"/>
              <a:gd name="connsiteX56" fmla="*/ 1752785 w 2629239"/>
              <a:gd name="connsiteY56" fmla="*/ 13023 h 1513381"/>
              <a:gd name="connsiteX57" fmla="*/ 1859123 w 2629239"/>
              <a:gd name="connsiteY57" fmla="*/ 70881 h 1513381"/>
              <a:gd name="connsiteX58" fmla="*/ 1958866 w 2629239"/>
              <a:gd name="connsiteY58" fmla="*/ 138933 h 1513381"/>
              <a:gd name="connsiteX59" fmla="*/ 2048323 w 2629239"/>
              <a:gd name="connsiteY59" fmla="*/ 216698 h 1513381"/>
              <a:gd name="connsiteX60" fmla="*/ 2121579 w 2629239"/>
              <a:gd name="connsiteY60" fmla="*/ 282011 h 1513381"/>
              <a:gd name="connsiteX61" fmla="*/ 2174062 w 2629239"/>
              <a:gd name="connsiteY61" fmla="*/ 327730 h 1513381"/>
              <a:gd name="connsiteX62" fmla="*/ 2204333 w 2629239"/>
              <a:gd name="connsiteY62" fmla="*/ 386242 h 1513381"/>
              <a:gd name="connsiteX63" fmla="*/ 2159157 w 2629239"/>
              <a:gd name="connsiteY63" fmla="*/ 457815 h 1513381"/>
              <a:gd name="connsiteX64" fmla="*/ 2056242 w 2629239"/>
              <a:gd name="connsiteY64" fmla="*/ 487479 h 1513381"/>
              <a:gd name="connsiteX65" fmla="*/ 1931261 w 2629239"/>
              <a:gd name="connsiteY65" fmla="*/ 489248 h 1513381"/>
              <a:gd name="connsiteX66" fmla="*/ 1851999 w 2629239"/>
              <a:gd name="connsiteY66" fmla="*/ 477954 h 1513381"/>
              <a:gd name="connsiteX67" fmla="*/ 1705042 w 2629239"/>
              <a:gd name="connsiteY67" fmla="*/ 455094 h 1513381"/>
              <a:gd name="connsiteX68" fmla="*/ 1564616 w 2629239"/>
              <a:gd name="connsiteY68" fmla="*/ 428968 h 1513381"/>
              <a:gd name="connsiteX69" fmla="*/ 1433987 w 2629239"/>
              <a:gd name="connsiteY69" fmla="*/ 409374 h 1513381"/>
              <a:gd name="connsiteX70" fmla="*/ 1319687 w 2629239"/>
              <a:gd name="connsiteY70" fmla="*/ 412639 h 1513381"/>
              <a:gd name="connsiteX71" fmla="*/ 1219063 w 2629239"/>
              <a:gd name="connsiteY71" fmla="*/ 437880 h 1513381"/>
              <a:gd name="connsiteX72" fmla="*/ 1133542 w 2629239"/>
              <a:gd name="connsiteY72" fmla="*/ 468157 h 1513381"/>
              <a:gd name="connsiteX73" fmla="*/ 1018697 w 2629239"/>
              <a:gd name="connsiteY73" fmla="*/ 513877 h 1513381"/>
              <a:gd name="connsiteX74" fmla="*/ 918004 w 2629239"/>
              <a:gd name="connsiteY74" fmla="*/ 550683 h 1513381"/>
              <a:gd name="connsiteX75" fmla="*/ 767170 w 2629239"/>
              <a:gd name="connsiteY75" fmla="*/ 573272 h 1513381"/>
              <a:gd name="connsiteX76" fmla="*/ 652053 w 2629239"/>
              <a:gd name="connsiteY76" fmla="*/ 575403 h 1513381"/>
              <a:gd name="connsiteX77" fmla="*/ 520222 w 2629239"/>
              <a:gd name="connsiteY77" fmla="*/ 576288 h 1513381"/>
              <a:gd name="connsiteX78" fmla="*/ 402112 w 2629239"/>
              <a:gd name="connsiteY78" fmla="*/ 565515 h 1513381"/>
              <a:gd name="connsiteX79" fmla="*/ 299537 w 2629239"/>
              <a:gd name="connsiteY79" fmla="*/ 553859 h 1513381"/>
              <a:gd name="connsiteX80" fmla="*/ 169271 w 2629239"/>
              <a:gd name="connsiteY80" fmla="*/ 533743 h 1513381"/>
              <a:gd name="connsiteX0" fmla="*/ 2629239 w 2629239"/>
              <a:gd name="connsiteY0" fmla="*/ 1010265 h 1513381"/>
              <a:gd name="connsiteX1" fmla="*/ 2619623 w 2629239"/>
              <a:gd name="connsiteY1" fmla="*/ 1065782 h 1513381"/>
              <a:gd name="connsiteX2" fmla="*/ 2620938 w 2629239"/>
              <a:gd name="connsiteY2" fmla="*/ 1123681 h 1513381"/>
              <a:gd name="connsiteX3" fmla="*/ 2619442 w 2629239"/>
              <a:gd name="connsiteY3" fmla="*/ 1170285 h 1513381"/>
              <a:gd name="connsiteX4" fmla="*/ 2615904 w 2629239"/>
              <a:gd name="connsiteY4" fmla="*/ 1225190 h 1513381"/>
              <a:gd name="connsiteX5" fmla="*/ 2590934 w 2629239"/>
              <a:gd name="connsiteY5" fmla="*/ 1274879 h 1513381"/>
              <a:gd name="connsiteX6" fmla="*/ 2554127 w 2629239"/>
              <a:gd name="connsiteY6" fmla="*/ 1310711 h 1513381"/>
              <a:gd name="connsiteX7" fmla="*/ 2498610 w 2629239"/>
              <a:gd name="connsiteY7" fmla="*/ 1320508 h 1513381"/>
              <a:gd name="connsiteX8" fmla="*/ 2446359 w 2629239"/>
              <a:gd name="connsiteY8" fmla="*/ 1323774 h 1513381"/>
              <a:gd name="connsiteX9" fmla="*/ 2400639 w 2629239"/>
              <a:gd name="connsiteY9" fmla="*/ 1323774 h 1513381"/>
              <a:gd name="connsiteX10" fmla="*/ 2345122 w 2629239"/>
              <a:gd name="connsiteY10" fmla="*/ 1336837 h 1513381"/>
              <a:gd name="connsiteX11" fmla="*/ 2296499 w 2629239"/>
              <a:gd name="connsiteY11" fmla="*/ 1366500 h 1513381"/>
              <a:gd name="connsiteX12" fmla="*/ 2279807 w 2629239"/>
              <a:gd name="connsiteY12" fmla="*/ 1405417 h 1513381"/>
              <a:gd name="connsiteX13" fmla="*/ 2240619 w 2629239"/>
              <a:gd name="connsiteY13" fmla="*/ 1447871 h 1513381"/>
              <a:gd name="connsiteX14" fmla="*/ 2184218 w 2629239"/>
              <a:gd name="connsiteY14" fmla="*/ 1465969 h 1513381"/>
              <a:gd name="connsiteX15" fmla="*/ 2116522 w 2629239"/>
              <a:gd name="connsiteY15" fmla="*/ 1457668 h 1513381"/>
              <a:gd name="connsiteX16" fmla="*/ 2047942 w 2629239"/>
              <a:gd name="connsiteY16" fmla="*/ 1460934 h 1513381"/>
              <a:gd name="connsiteX17" fmla="*/ 2005487 w 2629239"/>
              <a:gd name="connsiteY17" fmla="*/ 1473997 h 1513381"/>
              <a:gd name="connsiteX18" fmla="*/ 1969564 w 2629239"/>
              <a:gd name="connsiteY18" fmla="*/ 1493591 h 1513381"/>
              <a:gd name="connsiteX19" fmla="*/ 1927019 w 2629239"/>
              <a:gd name="connsiteY19" fmla="*/ 1509829 h 1513381"/>
              <a:gd name="connsiteX20" fmla="*/ 1884202 w 2629239"/>
              <a:gd name="connsiteY20" fmla="*/ 1511075 h 1513381"/>
              <a:gd name="connsiteX21" fmla="*/ 1796482 w 2629239"/>
              <a:gd name="connsiteY21" fmla="*/ 1483454 h 1513381"/>
              <a:gd name="connsiteX22" fmla="*/ 1735046 w 2629239"/>
              <a:gd name="connsiteY22" fmla="*/ 1443720 h 1513381"/>
              <a:gd name="connsiteX23" fmla="*/ 1675378 w 2629239"/>
              <a:gd name="connsiteY23" fmla="*/ 1386979 h 1513381"/>
              <a:gd name="connsiteX24" fmla="*/ 1581012 w 2629239"/>
              <a:gd name="connsiteY24" fmla="*/ 1359969 h 1513381"/>
              <a:gd name="connsiteX25" fmla="*/ 1470795 w 2629239"/>
              <a:gd name="connsiteY25" fmla="*/ 1342755 h 1513381"/>
              <a:gd name="connsiteX26" fmla="*/ 1390037 w 2629239"/>
              <a:gd name="connsiteY26" fmla="*/ 1340374 h 1513381"/>
              <a:gd name="connsiteX27" fmla="*/ 1308122 w 2629239"/>
              <a:gd name="connsiteY27" fmla="*/ 1334455 h 1513381"/>
              <a:gd name="connsiteX28" fmla="*/ 1209809 w 2629239"/>
              <a:gd name="connsiteY28" fmla="*/ 1316631 h 1513381"/>
              <a:gd name="connsiteX29" fmla="*/ 1099388 w 2629239"/>
              <a:gd name="connsiteY29" fmla="*/ 1289347 h 1513381"/>
              <a:gd name="connsiteX30" fmla="*/ 963724 w 2629239"/>
              <a:gd name="connsiteY30" fmla="*/ 1247166 h 1513381"/>
              <a:gd name="connsiteX31" fmla="*/ 850922 w 2629239"/>
              <a:gd name="connsiteY31" fmla="*/ 1210971 h 1513381"/>
              <a:gd name="connsiteX32" fmla="*/ 752949 w 2629239"/>
              <a:gd name="connsiteY32" fmla="*/ 1178585 h 1513381"/>
              <a:gd name="connsiteX33" fmla="*/ 656747 w 2629239"/>
              <a:gd name="connsiteY33" fmla="*/ 1153957 h 1513381"/>
              <a:gd name="connsiteX34" fmla="*/ 554353 w 2629239"/>
              <a:gd name="connsiteY34" fmla="*/ 1128443 h 1513381"/>
              <a:gd name="connsiteX35" fmla="*/ 451007 w 2629239"/>
              <a:gd name="connsiteY35" fmla="*/ 1118034 h 1513381"/>
              <a:gd name="connsiteX36" fmla="*/ 372630 w 2629239"/>
              <a:gd name="connsiteY36" fmla="*/ 1111502 h 1513381"/>
              <a:gd name="connsiteX37" fmla="*/ 245879 w 2629239"/>
              <a:gd name="connsiteY37" fmla="*/ 1076464 h 1513381"/>
              <a:gd name="connsiteX38" fmla="*/ 172537 w 2629239"/>
              <a:gd name="connsiteY38" fmla="*/ 1031016 h 1513381"/>
              <a:gd name="connsiteX39" fmla="*/ 105794 w 2629239"/>
              <a:gd name="connsiteY39" fmla="*/ 962504 h 1513381"/>
              <a:gd name="connsiteX40" fmla="*/ 65925 w 2629239"/>
              <a:gd name="connsiteY40" fmla="*/ 901612 h 1513381"/>
              <a:gd name="connsiteX41" fmla="*/ 24967 w 2629239"/>
              <a:gd name="connsiteY41" fmla="*/ 814936 h 1513381"/>
              <a:gd name="connsiteX42" fmla="*/ 5986 w 2629239"/>
              <a:gd name="connsiteY42" fmla="*/ 715739 h 1513381"/>
              <a:gd name="connsiteX43" fmla="*/ 4217 w 2629239"/>
              <a:gd name="connsiteY43" fmla="*/ 611848 h 1513381"/>
              <a:gd name="connsiteX44" fmla="*/ 51433 w 2629239"/>
              <a:gd name="connsiteY44" fmla="*/ 504624 h 1513381"/>
              <a:gd name="connsiteX45" fmla="*/ 107495 w 2629239"/>
              <a:gd name="connsiteY45" fmla="*/ 448562 h 1513381"/>
              <a:gd name="connsiteX46" fmla="*/ 215876 w 2629239"/>
              <a:gd name="connsiteY46" fmla="*/ 370185 h 1513381"/>
              <a:gd name="connsiteX47" fmla="*/ 362833 w 2629239"/>
              <a:gd name="connsiteY47" fmla="*/ 301605 h 1513381"/>
              <a:gd name="connsiteX48" fmla="*/ 519587 w 2629239"/>
              <a:gd name="connsiteY48" fmla="*/ 255885 h 1513381"/>
              <a:gd name="connsiteX49" fmla="*/ 650828 w 2629239"/>
              <a:gd name="connsiteY49" fmla="*/ 216698 h 1513381"/>
              <a:gd name="connsiteX50" fmla="*/ 801664 w 2629239"/>
              <a:gd name="connsiteY50" fmla="*/ 179276 h 1513381"/>
              <a:gd name="connsiteX51" fmla="*/ 947396 w 2629239"/>
              <a:gd name="connsiteY51" fmla="*/ 154648 h 1513381"/>
              <a:gd name="connsiteX52" fmla="*/ 1138984 w 2629239"/>
              <a:gd name="connsiteY52" fmla="*/ 103826 h 1513381"/>
              <a:gd name="connsiteX53" fmla="*/ 1391533 w 2629239"/>
              <a:gd name="connsiteY53" fmla="*/ 37082 h 1513381"/>
              <a:gd name="connsiteX54" fmla="*/ 1541756 w 2629239"/>
              <a:gd name="connsiteY54" fmla="*/ 6195 h 1513381"/>
              <a:gd name="connsiteX55" fmla="*/ 1651044 w 2629239"/>
              <a:gd name="connsiteY55" fmla="*/ 325 h 1513381"/>
              <a:gd name="connsiteX56" fmla="*/ 1752785 w 2629239"/>
              <a:gd name="connsiteY56" fmla="*/ 13024 h 1513381"/>
              <a:gd name="connsiteX57" fmla="*/ 1859123 w 2629239"/>
              <a:gd name="connsiteY57" fmla="*/ 70881 h 1513381"/>
              <a:gd name="connsiteX58" fmla="*/ 1958866 w 2629239"/>
              <a:gd name="connsiteY58" fmla="*/ 138933 h 1513381"/>
              <a:gd name="connsiteX59" fmla="*/ 2048323 w 2629239"/>
              <a:gd name="connsiteY59" fmla="*/ 216698 h 1513381"/>
              <a:gd name="connsiteX60" fmla="*/ 2121579 w 2629239"/>
              <a:gd name="connsiteY60" fmla="*/ 282011 h 1513381"/>
              <a:gd name="connsiteX61" fmla="*/ 2174062 w 2629239"/>
              <a:gd name="connsiteY61" fmla="*/ 327730 h 1513381"/>
              <a:gd name="connsiteX62" fmla="*/ 2204333 w 2629239"/>
              <a:gd name="connsiteY62" fmla="*/ 386242 h 1513381"/>
              <a:gd name="connsiteX63" fmla="*/ 2159157 w 2629239"/>
              <a:gd name="connsiteY63" fmla="*/ 457815 h 1513381"/>
              <a:gd name="connsiteX64" fmla="*/ 2056242 w 2629239"/>
              <a:gd name="connsiteY64" fmla="*/ 487479 h 1513381"/>
              <a:gd name="connsiteX65" fmla="*/ 1931261 w 2629239"/>
              <a:gd name="connsiteY65" fmla="*/ 489248 h 1513381"/>
              <a:gd name="connsiteX66" fmla="*/ 1851999 w 2629239"/>
              <a:gd name="connsiteY66" fmla="*/ 477954 h 1513381"/>
              <a:gd name="connsiteX67" fmla="*/ 1705042 w 2629239"/>
              <a:gd name="connsiteY67" fmla="*/ 455094 h 1513381"/>
              <a:gd name="connsiteX68" fmla="*/ 1564616 w 2629239"/>
              <a:gd name="connsiteY68" fmla="*/ 428968 h 1513381"/>
              <a:gd name="connsiteX69" fmla="*/ 1433987 w 2629239"/>
              <a:gd name="connsiteY69" fmla="*/ 409374 h 1513381"/>
              <a:gd name="connsiteX70" fmla="*/ 1319687 w 2629239"/>
              <a:gd name="connsiteY70" fmla="*/ 412639 h 1513381"/>
              <a:gd name="connsiteX71" fmla="*/ 1219063 w 2629239"/>
              <a:gd name="connsiteY71" fmla="*/ 437880 h 1513381"/>
              <a:gd name="connsiteX72" fmla="*/ 1133542 w 2629239"/>
              <a:gd name="connsiteY72" fmla="*/ 468157 h 1513381"/>
              <a:gd name="connsiteX73" fmla="*/ 1018697 w 2629239"/>
              <a:gd name="connsiteY73" fmla="*/ 513877 h 1513381"/>
              <a:gd name="connsiteX74" fmla="*/ 918004 w 2629239"/>
              <a:gd name="connsiteY74" fmla="*/ 550683 h 1513381"/>
              <a:gd name="connsiteX75" fmla="*/ 767170 w 2629239"/>
              <a:gd name="connsiteY75" fmla="*/ 573272 h 1513381"/>
              <a:gd name="connsiteX76" fmla="*/ 652053 w 2629239"/>
              <a:gd name="connsiteY76" fmla="*/ 575403 h 1513381"/>
              <a:gd name="connsiteX77" fmla="*/ 520222 w 2629239"/>
              <a:gd name="connsiteY77" fmla="*/ 576288 h 1513381"/>
              <a:gd name="connsiteX78" fmla="*/ 402112 w 2629239"/>
              <a:gd name="connsiteY78" fmla="*/ 565515 h 1513381"/>
              <a:gd name="connsiteX79" fmla="*/ 299537 w 2629239"/>
              <a:gd name="connsiteY79" fmla="*/ 553859 h 1513381"/>
              <a:gd name="connsiteX80" fmla="*/ 169271 w 2629239"/>
              <a:gd name="connsiteY80" fmla="*/ 533743 h 1513381"/>
              <a:gd name="connsiteX0" fmla="*/ 2629239 w 2629239"/>
              <a:gd name="connsiteY0" fmla="*/ 1010265 h 1513381"/>
              <a:gd name="connsiteX1" fmla="*/ 2619623 w 2629239"/>
              <a:gd name="connsiteY1" fmla="*/ 1065782 h 1513381"/>
              <a:gd name="connsiteX2" fmla="*/ 2620938 w 2629239"/>
              <a:gd name="connsiteY2" fmla="*/ 1123681 h 1513381"/>
              <a:gd name="connsiteX3" fmla="*/ 2619442 w 2629239"/>
              <a:gd name="connsiteY3" fmla="*/ 1170285 h 1513381"/>
              <a:gd name="connsiteX4" fmla="*/ 2615904 w 2629239"/>
              <a:gd name="connsiteY4" fmla="*/ 1225190 h 1513381"/>
              <a:gd name="connsiteX5" fmla="*/ 2590934 w 2629239"/>
              <a:gd name="connsiteY5" fmla="*/ 1274879 h 1513381"/>
              <a:gd name="connsiteX6" fmla="*/ 2554127 w 2629239"/>
              <a:gd name="connsiteY6" fmla="*/ 1310711 h 1513381"/>
              <a:gd name="connsiteX7" fmla="*/ 2498610 w 2629239"/>
              <a:gd name="connsiteY7" fmla="*/ 1320508 h 1513381"/>
              <a:gd name="connsiteX8" fmla="*/ 2446359 w 2629239"/>
              <a:gd name="connsiteY8" fmla="*/ 1323774 h 1513381"/>
              <a:gd name="connsiteX9" fmla="*/ 2400639 w 2629239"/>
              <a:gd name="connsiteY9" fmla="*/ 1323774 h 1513381"/>
              <a:gd name="connsiteX10" fmla="*/ 2345122 w 2629239"/>
              <a:gd name="connsiteY10" fmla="*/ 1336837 h 1513381"/>
              <a:gd name="connsiteX11" fmla="*/ 2296499 w 2629239"/>
              <a:gd name="connsiteY11" fmla="*/ 1366500 h 1513381"/>
              <a:gd name="connsiteX12" fmla="*/ 2279807 w 2629239"/>
              <a:gd name="connsiteY12" fmla="*/ 1405417 h 1513381"/>
              <a:gd name="connsiteX13" fmla="*/ 2240619 w 2629239"/>
              <a:gd name="connsiteY13" fmla="*/ 1447871 h 1513381"/>
              <a:gd name="connsiteX14" fmla="*/ 2184218 w 2629239"/>
              <a:gd name="connsiteY14" fmla="*/ 1465969 h 1513381"/>
              <a:gd name="connsiteX15" fmla="*/ 2116522 w 2629239"/>
              <a:gd name="connsiteY15" fmla="*/ 1457668 h 1513381"/>
              <a:gd name="connsiteX16" fmla="*/ 2047942 w 2629239"/>
              <a:gd name="connsiteY16" fmla="*/ 1460934 h 1513381"/>
              <a:gd name="connsiteX17" fmla="*/ 2005487 w 2629239"/>
              <a:gd name="connsiteY17" fmla="*/ 1473997 h 1513381"/>
              <a:gd name="connsiteX18" fmla="*/ 1969564 w 2629239"/>
              <a:gd name="connsiteY18" fmla="*/ 1493591 h 1513381"/>
              <a:gd name="connsiteX19" fmla="*/ 1927019 w 2629239"/>
              <a:gd name="connsiteY19" fmla="*/ 1509829 h 1513381"/>
              <a:gd name="connsiteX20" fmla="*/ 1884202 w 2629239"/>
              <a:gd name="connsiteY20" fmla="*/ 1511075 h 1513381"/>
              <a:gd name="connsiteX21" fmla="*/ 1796482 w 2629239"/>
              <a:gd name="connsiteY21" fmla="*/ 1483454 h 1513381"/>
              <a:gd name="connsiteX22" fmla="*/ 1735046 w 2629239"/>
              <a:gd name="connsiteY22" fmla="*/ 1443720 h 1513381"/>
              <a:gd name="connsiteX23" fmla="*/ 1675378 w 2629239"/>
              <a:gd name="connsiteY23" fmla="*/ 1386979 h 1513381"/>
              <a:gd name="connsiteX24" fmla="*/ 1581012 w 2629239"/>
              <a:gd name="connsiteY24" fmla="*/ 1359969 h 1513381"/>
              <a:gd name="connsiteX25" fmla="*/ 1470795 w 2629239"/>
              <a:gd name="connsiteY25" fmla="*/ 1342755 h 1513381"/>
              <a:gd name="connsiteX26" fmla="*/ 1390037 w 2629239"/>
              <a:gd name="connsiteY26" fmla="*/ 1340374 h 1513381"/>
              <a:gd name="connsiteX27" fmla="*/ 1308122 w 2629239"/>
              <a:gd name="connsiteY27" fmla="*/ 1334455 h 1513381"/>
              <a:gd name="connsiteX28" fmla="*/ 1209809 w 2629239"/>
              <a:gd name="connsiteY28" fmla="*/ 1316631 h 1513381"/>
              <a:gd name="connsiteX29" fmla="*/ 1099388 w 2629239"/>
              <a:gd name="connsiteY29" fmla="*/ 1289347 h 1513381"/>
              <a:gd name="connsiteX30" fmla="*/ 963724 w 2629239"/>
              <a:gd name="connsiteY30" fmla="*/ 1247166 h 1513381"/>
              <a:gd name="connsiteX31" fmla="*/ 850922 w 2629239"/>
              <a:gd name="connsiteY31" fmla="*/ 1210971 h 1513381"/>
              <a:gd name="connsiteX32" fmla="*/ 752949 w 2629239"/>
              <a:gd name="connsiteY32" fmla="*/ 1178585 h 1513381"/>
              <a:gd name="connsiteX33" fmla="*/ 656747 w 2629239"/>
              <a:gd name="connsiteY33" fmla="*/ 1153957 h 1513381"/>
              <a:gd name="connsiteX34" fmla="*/ 554353 w 2629239"/>
              <a:gd name="connsiteY34" fmla="*/ 1128443 h 1513381"/>
              <a:gd name="connsiteX35" fmla="*/ 451007 w 2629239"/>
              <a:gd name="connsiteY35" fmla="*/ 1118034 h 1513381"/>
              <a:gd name="connsiteX36" fmla="*/ 372630 w 2629239"/>
              <a:gd name="connsiteY36" fmla="*/ 1111502 h 1513381"/>
              <a:gd name="connsiteX37" fmla="*/ 245879 w 2629239"/>
              <a:gd name="connsiteY37" fmla="*/ 1076464 h 1513381"/>
              <a:gd name="connsiteX38" fmla="*/ 172537 w 2629239"/>
              <a:gd name="connsiteY38" fmla="*/ 1031016 h 1513381"/>
              <a:gd name="connsiteX39" fmla="*/ 105794 w 2629239"/>
              <a:gd name="connsiteY39" fmla="*/ 962504 h 1513381"/>
              <a:gd name="connsiteX40" fmla="*/ 65925 w 2629239"/>
              <a:gd name="connsiteY40" fmla="*/ 901612 h 1513381"/>
              <a:gd name="connsiteX41" fmla="*/ 24967 w 2629239"/>
              <a:gd name="connsiteY41" fmla="*/ 814936 h 1513381"/>
              <a:gd name="connsiteX42" fmla="*/ 5986 w 2629239"/>
              <a:gd name="connsiteY42" fmla="*/ 715739 h 1513381"/>
              <a:gd name="connsiteX43" fmla="*/ 4217 w 2629239"/>
              <a:gd name="connsiteY43" fmla="*/ 611848 h 1513381"/>
              <a:gd name="connsiteX44" fmla="*/ 51433 w 2629239"/>
              <a:gd name="connsiteY44" fmla="*/ 504624 h 1513381"/>
              <a:gd name="connsiteX45" fmla="*/ 107495 w 2629239"/>
              <a:gd name="connsiteY45" fmla="*/ 448562 h 1513381"/>
              <a:gd name="connsiteX46" fmla="*/ 215876 w 2629239"/>
              <a:gd name="connsiteY46" fmla="*/ 370185 h 1513381"/>
              <a:gd name="connsiteX47" fmla="*/ 362833 w 2629239"/>
              <a:gd name="connsiteY47" fmla="*/ 301605 h 1513381"/>
              <a:gd name="connsiteX48" fmla="*/ 519587 w 2629239"/>
              <a:gd name="connsiteY48" fmla="*/ 255885 h 1513381"/>
              <a:gd name="connsiteX49" fmla="*/ 650828 w 2629239"/>
              <a:gd name="connsiteY49" fmla="*/ 216698 h 1513381"/>
              <a:gd name="connsiteX50" fmla="*/ 801664 w 2629239"/>
              <a:gd name="connsiteY50" fmla="*/ 179276 h 1513381"/>
              <a:gd name="connsiteX51" fmla="*/ 947396 w 2629239"/>
              <a:gd name="connsiteY51" fmla="*/ 154648 h 1513381"/>
              <a:gd name="connsiteX52" fmla="*/ 1138984 w 2629239"/>
              <a:gd name="connsiteY52" fmla="*/ 103826 h 1513381"/>
              <a:gd name="connsiteX53" fmla="*/ 1391533 w 2629239"/>
              <a:gd name="connsiteY53" fmla="*/ 37082 h 1513381"/>
              <a:gd name="connsiteX54" fmla="*/ 1541756 w 2629239"/>
              <a:gd name="connsiteY54" fmla="*/ 6195 h 1513381"/>
              <a:gd name="connsiteX55" fmla="*/ 1651044 w 2629239"/>
              <a:gd name="connsiteY55" fmla="*/ 325 h 1513381"/>
              <a:gd name="connsiteX56" fmla="*/ 1752785 w 2629239"/>
              <a:gd name="connsiteY56" fmla="*/ 13024 h 1513381"/>
              <a:gd name="connsiteX57" fmla="*/ 1859123 w 2629239"/>
              <a:gd name="connsiteY57" fmla="*/ 70881 h 1513381"/>
              <a:gd name="connsiteX58" fmla="*/ 1958866 w 2629239"/>
              <a:gd name="connsiteY58" fmla="*/ 138933 h 1513381"/>
              <a:gd name="connsiteX59" fmla="*/ 2048323 w 2629239"/>
              <a:gd name="connsiteY59" fmla="*/ 216698 h 1513381"/>
              <a:gd name="connsiteX60" fmla="*/ 2121579 w 2629239"/>
              <a:gd name="connsiteY60" fmla="*/ 282011 h 1513381"/>
              <a:gd name="connsiteX61" fmla="*/ 2174062 w 2629239"/>
              <a:gd name="connsiteY61" fmla="*/ 327730 h 1513381"/>
              <a:gd name="connsiteX62" fmla="*/ 2204333 w 2629239"/>
              <a:gd name="connsiteY62" fmla="*/ 386242 h 1513381"/>
              <a:gd name="connsiteX63" fmla="*/ 2159157 w 2629239"/>
              <a:gd name="connsiteY63" fmla="*/ 457815 h 1513381"/>
              <a:gd name="connsiteX64" fmla="*/ 2056242 w 2629239"/>
              <a:gd name="connsiteY64" fmla="*/ 487479 h 1513381"/>
              <a:gd name="connsiteX65" fmla="*/ 1931261 w 2629239"/>
              <a:gd name="connsiteY65" fmla="*/ 489248 h 1513381"/>
              <a:gd name="connsiteX66" fmla="*/ 1851999 w 2629239"/>
              <a:gd name="connsiteY66" fmla="*/ 477954 h 1513381"/>
              <a:gd name="connsiteX67" fmla="*/ 1705042 w 2629239"/>
              <a:gd name="connsiteY67" fmla="*/ 455094 h 1513381"/>
              <a:gd name="connsiteX68" fmla="*/ 1564616 w 2629239"/>
              <a:gd name="connsiteY68" fmla="*/ 428968 h 1513381"/>
              <a:gd name="connsiteX69" fmla="*/ 1433987 w 2629239"/>
              <a:gd name="connsiteY69" fmla="*/ 409374 h 1513381"/>
              <a:gd name="connsiteX70" fmla="*/ 1319687 w 2629239"/>
              <a:gd name="connsiteY70" fmla="*/ 412639 h 1513381"/>
              <a:gd name="connsiteX71" fmla="*/ 1219063 w 2629239"/>
              <a:gd name="connsiteY71" fmla="*/ 437880 h 1513381"/>
              <a:gd name="connsiteX72" fmla="*/ 1133542 w 2629239"/>
              <a:gd name="connsiteY72" fmla="*/ 468157 h 1513381"/>
              <a:gd name="connsiteX73" fmla="*/ 1018697 w 2629239"/>
              <a:gd name="connsiteY73" fmla="*/ 513877 h 1513381"/>
              <a:gd name="connsiteX74" fmla="*/ 918004 w 2629239"/>
              <a:gd name="connsiteY74" fmla="*/ 550683 h 1513381"/>
              <a:gd name="connsiteX75" fmla="*/ 767170 w 2629239"/>
              <a:gd name="connsiteY75" fmla="*/ 573272 h 1513381"/>
              <a:gd name="connsiteX76" fmla="*/ 652053 w 2629239"/>
              <a:gd name="connsiteY76" fmla="*/ 575403 h 1513381"/>
              <a:gd name="connsiteX77" fmla="*/ 520222 w 2629239"/>
              <a:gd name="connsiteY77" fmla="*/ 576288 h 1513381"/>
              <a:gd name="connsiteX78" fmla="*/ 402112 w 2629239"/>
              <a:gd name="connsiteY78" fmla="*/ 565515 h 1513381"/>
              <a:gd name="connsiteX79" fmla="*/ 299537 w 2629239"/>
              <a:gd name="connsiteY79" fmla="*/ 553859 h 1513381"/>
              <a:gd name="connsiteX80" fmla="*/ 169271 w 2629239"/>
              <a:gd name="connsiteY80" fmla="*/ 533743 h 1513381"/>
              <a:gd name="connsiteX0" fmla="*/ 2629239 w 2629239"/>
              <a:gd name="connsiteY0" fmla="*/ 1010265 h 1513381"/>
              <a:gd name="connsiteX1" fmla="*/ 2619623 w 2629239"/>
              <a:gd name="connsiteY1" fmla="*/ 1065782 h 1513381"/>
              <a:gd name="connsiteX2" fmla="*/ 2620938 w 2629239"/>
              <a:gd name="connsiteY2" fmla="*/ 1123681 h 1513381"/>
              <a:gd name="connsiteX3" fmla="*/ 2619442 w 2629239"/>
              <a:gd name="connsiteY3" fmla="*/ 1170285 h 1513381"/>
              <a:gd name="connsiteX4" fmla="*/ 2615904 w 2629239"/>
              <a:gd name="connsiteY4" fmla="*/ 1225190 h 1513381"/>
              <a:gd name="connsiteX5" fmla="*/ 2590934 w 2629239"/>
              <a:gd name="connsiteY5" fmla="*/ 1274879 h 1513381"/>
              <a:gd name="connsiteX6" fmla="*/ 2554127 w 2629239"/>
              <a:gd name="connsiteY6" fmla="*/ 1310711 h 1513381"/>
              <a:gd name="connsiteX7" fmla="*/ 2498610 w 2629239"/>
              <a:gd name="connsiteY7" fmla="*/ 1320508 h 1513381"/>
              <a:gd name="connsiteX8" fmla="*/ 2446359 w 2629239"/>
              <a:gd name="connsiteY8" fmla="*/ 1323774 h 1513381"/>
              <a:gd name="connsiteX9" fmla="*/ 2400639 w 2629239"/>
              <a:gd name="connsiteY9" fmla="*/ 1323774 h 1513381"/>
              <a:gd name="connsiteX10" fmla="*/ 2345122 w 2629239"/>
              <a:gd name="connsiteY10" fmla="*/ 1336837 h 1513381"/>
              <a:gd name="connsiteX11" fmla="*/ 2296499 w 2629239"/>
              <a:gd name="connsiteY11" fmla="*/ 1366500 h 1513381"/>
              <a:gd name="connsiteX12" fmla="*/ 2279807 w 2629239"/>
              <a:gd name="connsiteY12" fmla="*/ 1405417 h 1513381"/>
              <a:gd name="connsiteX13" fmla="*/ 2240619 w 2629239"/>
              <a:gd name="connsiteY13" fmla="*/ 1447871 h 1513381"/>
              <a:gd name="connsiteX14" fmla="*/ 2184218 w 2629239"/>
              <a:gd name="connsiteY14" fmla="*/ 1465969 h 1513381"/>
              <a:gd name="connsiteX15" fmla="*/ 2116522 w 2629239"/>
              <a:gd name="connsiteY15" fmla="*/ 1457668 h 1513381"/>
              <a:gd name="connsiteX16" fmla="*/ 2047942 w 2629239"/>
              <a:gd name="connsiteY16" fmla="*/ 1460934 h 1513381"/>
              <a:gd name="connsiteX17" fmla="*/ 2005487 w 2629239"/>
              <a:gd name="connsiteY17" fmla="*/ 1473997 h 1513381"/>
              <a:gd name="connsiteX18" fmla="*/ 1969564 w 2629239"/>
              <a:gd name="connsiteY18" fmla="*/ 1493591 h 1513381"/>
              <a:gd name="connsiteX19" fmla="*/ 1927019 w 2629239"/>
              <a:gd name="connsiteY19" fmla="*/ 1509829 h 1513381"/>
              <a:gd name="connsiteX20" fmla="*/ 1884202 w 2629239"/>
              <a:gd name="connsiteY20" fmla="*/ 1511075 h 1513381"/>
              <a:gd name="connsiteX21" fmla="*/ 1796482 w 2629239"/>
              <a:gd name="connsiteY21" fmla="*/ 1483454 h 1513381"/>
              <a:gd name="connsiteX22" fmla="*/ 1735046 w 2629239"/>
              <a:gd name="connsiteY22" fmla="*/ 1443720 h 1513381"/>
              <a:gd name="connsiteX23" fmla="*/ 1675378 w 2629239"/>
              <a:gd name="connsiteY23" fmla="*/ 1386979 h 1513381"/>
              <a:gd name="connsiteX24" fmla="*/ 1581012 w 2629239"/>
              <a:gd name="connsiteY24" fmla="*/ 1359969 h 1513381"/>
              <a:gd name="connsiteX25" fmla="*/ 1470795 w 2629239"/>
              <a:gd name="connsiteY25" fmla="*/ 1342755 h 1513381"/>
              <a:gd name="connsiteX26" fmla="*/ 1390037 w 2629239"/>
              <a:gd name="connsiteY26" fmla="*/ 1340374 h 1513381"/>
              <a:gd name="connsiteX27" fmla="*/ 1308122 w 2629239"/>
              <a:gd name="connsiteY27" fmla="*/ 1334455 h 1513381"/>
              <a:gd name="connsiteX28" fmla="*/ 1209809 w 2629239"/>
              <a:gd name="connsiteY28" fmla="*/ 1316631 h 1513381"/>
              <a:gd name="connsiteX29" fmla="*/ 1099388 w 2629239"/>
              <a:gd name="connsiteY29" fmla="*/ 1289347 h 1513381"/>
              <a:gd name="connsiteX30" fmla="*/ 963724 w 2629239"/>
              <a:gd name="connsiteY30" fmla="*/ 1247166 h 1513381"/>
              <a:gd name="connsiteX31" fmla="*/ 850922 w 2629239"/>
              <a:gd name="connsiteY31" fmla="*/ 1210971 h 1513381"/>
              <a:gd name="connsiteX32" fmla="*/ 752949 w 2629239"/>
              <a:gd name="connsiteY32" fmla="*/ 1178585 h 1513381"/>
              <a:gd name="connsiteX33" fmla="*/ 656747 w 2629239"/>
              <a:gd name="connsiteY33" fmla="*/ 1153957 h 1513381"/>
              <a:gd name="connsiteX34" fmla="*/ 554353 w 2629239"/>
              <a:gd name="connsiteY34" fmla="*/ 1128443 h 1513381"/>
              <a:gd name="connsiteX35" fmla="*/ 451007 w 2629239"/>
              <a:gd name="connsiteY35" fmla="*/ 1118034 h 1513381"/>
              <a:gd name="connsiteX36" fmla="*/ 372630 w 2629239"/>
              <a:gd name="connsiteY36" fmla="*/ 1111502 h 1513381"/>
              <a:gd name="connsiteX37" fmla="*/ 245879 w 2629239"/>
              <a:gd name="connsiteY37" fmla="*/ 1076464 h 1513381"/>
              <a:gd name="connsiteX38" fmla="*/ 172537 w 2629239"/>
              <a:gd name="connsiteY38" fmla="*/ 1031016 h 1513381"/>
              <a:gd name="connsiteX39" fmla="*/ 105794 w 2629239"/>
              <a:gd name="connsiteY39" fmla="*/ 962504 h 1513381"/>
              <a:gd name="connsiteX40" fmla="*/ 65925 w 2629239"/>
              <a:gd name="connsiteY40" fmla="*/ 901612 h 1513381"/>
              <a:gd name="connsiteX41" fmla="*/ 24967 w 2629239"/>
              <a:gd name="connsiteY41" fmla="*/ 814936 h 1513381"/>
              <a:gd name="connsiteX42" fmla="*/ 5986 w 2629239"/>
              <a:gd name="connsiteY42" fmla="*/ 715739 h 1513381"/>
              <a:gd name="connsiteX43" fmla="*/ 4217 w 2629239"/>
              <a:gd name="connsiteY43" fmla="*/ 611848 h 1513381"/>
              <a:gd name="connsiteX44" fmla="*/ 51433 w 2629239"/>
              <a:gd name="connsiteY44" fmla="*/ 504624 h 1513381"/>
              <a:gd name="connsiteX45" fmla="*/ 107495 w 2629239"/>
              <a:gd name="connsiteY45" fmla="*/ 448562 h 1513381"/>
              <a:gd name="connsiteX46" fmla="*/ 215876 w 2629239"/>
              <a:gd name="connsiteY46" fmla="*/ 370185 h 1513381"/>
              <a:gd name="connsiteX47" fmla="*/ 362833 w 2629239"/>
              <a:gd name="connsiteY47" fmla="*/ 301605 h 1513381"/>
              <a:gd name="connsiteX48" fmla="*/ 519587 w 2629239"/>
              <a:gd name="connsiteY48" fmla="*/ 255885 h 1513381"/>
              <a:gd name="connsiteX49" fmla="*/ 650828 w 2629239"/>
              <a:gd name="connsiteY49" fmla="*/ 216698 h 1513381"/>
              <a:gd name="connsiteX50" fmla="*/ 801664 w 2629239"/>
              <a:gd name="connsiteY50" fmla="*/ 179276 h 1513381"/>
              <a:gd name="connsiteX51" fmla="*/ 947396 w 2629239"/>
              <a:gd name="connsiteY51" fmla="*/ 154648 h 1513381"/>
              <a:gd name="connsiteX52" fmla="*/ 1138984 w 2629239"/>
              <a:gd name="connsiteY52" fmla="*/ 103826 h 1513381"/>
              <a:gd name="connsiteX53" fmla="*/ 1391533 w 2629239"/>
              <a:gd name="connsiteY53" fmla="*/ 37082 h 1513381"/>
              <a:gd name="connsiteX54" fmla="*/ 1541756 w 2629239"/>
              <a:gd name="connsiteY54" fmla="*/ 6195 h 1513381"/>
              <a:gd name="connsiteX55" fmla="*/ 1651044 w 2629239"/>
              <a:gd name="connsiteY55" fmla="*/ 325 h 1513381"/>
              <a:gd name="connsiteX56" fmla="*/ 1752785 w 2629239"/>
              <a:gd name="connsiteY56" fmla="*/ 13024 h 1513381"/>
              <a:gd name="connsiteX57" fmla="*/ 1859123 w 2629239"/>
              <a:gd name="connsiteY57" fmla="*/ 70881 h 1513381"/>
              <a:gd name="connsiteX58" fmla="*/ 1958866 w 2629239"/>
              <a:gd name="connsiteY58" fmla="*/ 138933 h 1513381"/>
              <a:gd name="connsiteX59" fmla="*/ 2048323 w 2629239"/>
              <a:gd name="connsiteY59" fmla="*/ 216698 h 1513381"/>
              <a:gd name="connsiteX60" fmla="*/ 2121579 w 2629239"/>
              <a:gd name="connsiteY60" fmla="*/ 282011 h 1513381"/>
              <a:gd name="connsiteX61" fmla="*/ 2174062 w 2629239"/>
              <a:gd name="connsiteY61" fmla="*/ 327730 h 1513381"/>
              <a:gd name="connsiteX62" fmla="*/ 2204333 w 2629239"/>
              <a:gd name="connsiteY62" fmla="*/ 386242 h 1513381"/>
              <a:gd name="connsiteX63" fmla="*/ 2159157 w 2629239"/>
              <a:gd name="connsiteY63" fmla="*/ 457815 h 1513381"/>
              <a:gd name="connsiteX64" fmla="*/ 2056242 w 2629239"/>
              <a:gd name="connsiteY64" fmla="*/ 493085 h 1513381"/>
              <a:gd name="connsiteX65" fmla="*/ 1931261 w 2629239"/>
              <a:gd name="connsiteY65" fmla="*/ 489248 h 1513381"/>
              <a:gd name="connsiteX66" fmla="*/ 1851999 w 2629239"/>
              <a:gd name="connsiteY66" fmla="*/ 477954 h 1513381"/>
              <a:gd name="connsiteX67" fmla="*/ 1705042 w 2629239"/>
              <a:gd name="connsiteY67" fmla="*/ 455094 h 1513381"/>
              <a:gd name="connsiteX68" fmla="*/ 1564616 w 2629239"/>
              <a:gd name="connsiteY68" fmla="*/ 428968 h 1513381"/>
              <a:gd name="connsiteX69" fmla="*/ 1433987 w 2629239"/>
              <a:gd name="connsiteY69" fmla="*/ 409374 h 1513381"/>
              <a:gd name="connsiteX70" fmla="*/ 1319687 w 2629239"/>
              <a:gd name="connsiteY70" fmla="*/ 412639 h 1513381"/>
              <a:gd name="connsiteX71" fmla="*/ 1219063 w 2629239"/>
              <a:gd name="connsiteY71" fmla="*/ 437880 h 1513381"/>
              <a:gd name="connsiteX72" fmla="*/ 1133542 w 2629239"/>
              <a:gd name="connsiteY72" fmla="*/ 468157 h 1513381"/>
              <a:gd name="connsiteX73" fmla="*/ 1018697 w 2629239"/>
              <a:gd name="connsiteY73" fmla="*/ 513877 h 1513381"/>
              <a:gd name="connsiteX74" fmla="*/ 918004 w 2629239"/>
              <a:gd name="connsiteY74" fmla="*/ 550683 h 1513381"/>
              <a:gd name="connsiteX75" fmla="*/ 767170 w 2629239"/>
              <a:gd name="connsiteY75" fmla="*/ 573272 h 1513381"/>
              <a:gd name="connsiteX76" fmla="*/ 652053 w 2629239"/>
              <a:gd name="connsiteY76" fmla="*/ 575403 h 1513381"/>
              <a:gd name="connsiteX77" fmla="*/ 520222 w 2629239"/>
              <a:gd name="connsiteY77" fmla="*/ 576288 h 1513381"/>
              <a:gd name="connsiteX78" fmla="*/ 402112 w 2629239"/>
              <a:gd name="connsiteY78" fmla="*/ 565515 h 1513381"/>
              <a:gd name="connsiteX79" fmla="*/ 299537 w 2629239"/>
              <a:gd name="connsiteY79" fmla="*/ 553859 h 1513381"/>
              <a:gd name="connsiteX80" fmla="*/ 169271 w 2629239"/>
              <a:gd name="connsiteY80" fmla="*/ 533743 h 1513381"/>
              <a:gd name="connsiteX0" fmla="*/ 2629239 w 2629239"/>
              <a:gd name="connsiteY0" fmla="*/ 1010265 h 1513381"/>
              <a:gd name="connsiteX1" fmla="*/ 2619623 w 2629239"/>
              <a:gd name="connsiteY1" fmla="*/ 1065782 h 1513381"/>
              <a:gd name="connsiteX2" fmla="*/ 2620938 w 2629239"/>
              <a:gd name="connsiteY2" fmla="*/ 1123681 h 1513381"/>
              <a:gd name="connsiteX3" fmla="*/ 2619442 w 2629239"/>
              <a:gd name="connsiteY3" fmla="*/ 1170285 h 1513381"/>
              <a:gd name="connsiteX4" fmla="*/ 2615904 w 2629239"/>
              <a:gd name="connsiteY4" fmla="*/ 1225190 h 1513381"/>
              <a:gd name="connsiteX5" fmla="*/ 2590934 w 2629239"/>
              <a:gd name="connsiteY5" fmla="*/ 1274879 h 1513381"/>
              <a:gd name="connsiteX6" fmla="*/ 2554127 w 2629239"/>
              <a:gd name="connsiteY6" fmla="*/ 1310711 h 1513381"/>
              <a:gd name="connsiteX7" fmla="*/ 2498610 w 2629239"/>
              <a:gd name="connsiteY7" fmla="*/ 1320508 h 1513381"/>
              <a:gd name="connsiteX8" fmla="*/ 2446359 w 2629239"/>
              <a:gd name="connsiteY8" fmla="*/ 1323774 h 1513381"/>
              <a:gd name="connsiteX9" fmla="*/ 2400639 w 2629239"/>
              <a:gd name="connsiteY9" fmla="*/ 1323774 h 1513381"/>
              <a:gd name="connsiteX10" fmla="*/ 2345122 w 2629239"/>
              <a:gd name="connsiteY10" fmla="*/ 1336837 h 1513381"/>
              <a:gd name="connsiteX11" fmla="*/ 2296499 w 2629239"/>
              <a:gd name="connsiteY11" fmla="*/ 1366500 h 1513381"/>
              <a:gd name="connsiteX12" fmla="*/ 2279807 w 2629239"/>
              <a:gd name="connsiteY12" fmla="*/ 1405417 h 1513381"/>
              <a:gd name="connsiteX13" fmla="*/ 2240619 w 2629239"/>
              <a:gd name="connsiteY13" fmla="*/ 1447871 h 1513381"/>
              <a:gd name="connsiteX14" fmla="*/ 2184218 w 2629239"/>
              <a:gd name="connsiteY14" fmla="*/ 1465969 h 1513381"/>
              <a:gd name="connsiteX15" fmla="*/ 2116522 w 2629239"/>
              <a:gd name="connsiteY15" fmla="*/ 1457668 h 1513381"/>
              <a:gd name="connsiteX16" fmla="*/ 2047942 w 2629239"/>
              <a:gd name="connsiteY16" fmla="*/ 1460934 h 1513381"/>
              <a:gd name="connsiteX17" fmla="*/ 2005487 w 2629239"/>
              <a:gd name="connsiteY17" fmla="*/ 1473997 h 1513381"/>
              <a:gd name="connsiteX18" fmla="*/ 1969564 w 2629239"/>
              <a:gd name="connsiteY18" fmla="*/ 1493591 h 1513381"/>
              <a:gd name="connsiteX19" fmla="*/ 1927019 w 2629239"/>
              <a:gd name="connsiteY19" fmla="*/ 1509829 h 1513381"/>
              <a:gd name="connsiteX20" fmla="*/ 1884202 w 2629239"/>
              <a:gd name="connsiteY20" fmla="*/ 1511075 h 1513381"/>
              <a:gd name="connsiteX21" fmla="*/ 1796482 w 2629239"/>
              <a:gd name="connsiteY21" fmla="*/ 1483454 h 1513381"/>
              <a:gd name="connsiteX22" fmla="*/ 1735046 w 2629239"/>
              <a:gd name="connsiteY22" fmla="*/ 1443720 h 1513381"/>
              <a:gd name="connsiteX23" fmla="*/ 1675378 w 2629239"/>
              <a:gd name="connsiteY23" fmla="*/ 1386979 h 1513381"/>
              <a:gd name="connsiteX24" fmla="*/ 1581012 w 2629239"/>
              <a:gd name="connsiteY24" fmla="*/ 1359969 h 1513381"/>
              <a:gd name="connsiteX25" fmla="*/ 1470795 w 2629239"/>
              <a:gd name="connsiteY25" fmla="*/ 1342755 h 1513381"/>
              <a:gd name="connsiteX26" fmla="*/ 1390037 w 2629239"/>
              <a:gd name="connsiteY26" fmla="*/ 1340374 h 1513381"/>
              <a:gd name="connsiteX27" fmla="*/ 1308122 w 2629239"/>
              <a:gd name="connsiteY27" fmla="*/ 1334455 h 1513381"/>
              <a:gd name="connsiteX28" fmla="*/ 1209809 w 2629239"/>
              <a:gd name="connsiteY28" fmla="*/ 1316631 h 1513381"/>
              <a:gd name="connsiteX29" fmla="*/ 1099388 w 2629239"/>
              <a:gd name="connsiteY29" fmla="*/ 1289347 h 1513381"/>
              <a:gd name="connsiteX30" fmla="*/ 963724 w 2629239"/>
              <a:gd name="connsiteY30" fmla="*/ 1247166 h 1513381"/>
              <a:gd name="connsiteX31" fmla="*/ 850922 w 2629239"/>
              <a:gd name="connsiteY31" fmla="*/ 1210971 h 1513381"/>
              <a:gd name="connsiteX32" fmla="*/ 752949 w 2629239"/>
              <a:gd name="connsiteY32" fmla="*/ 1178585 h 1513381"/>
              <a:gd name="connsiteX33" fmla="*/ 656747 w 2629239"/>
              <a:gd name="connsiteY33" fmla="*/ 1153957 h 1513381"/>
              <a:gd name="connsiteX34" fmla="*/ 554353 w 2629239"/>
              <a:gd name="connsiteY34" fmla="*/ 1128443 h 1513381"/>
              <a:gd name="connsiteX35" fmla="*/ 451007 w 2629239"/>
              <a:gd name="connsiteY35" fmla="*/ 1118034 h 1513381"/>
              <a:gd name="connsiteX36" fmla="*/ 372630 w 2629239"/>
              <a:gd name="connsiteY36" fmla="*/ 1111502 h 1513381"/>
              <a:gd name="connsiteX37" fmla="*/ 245879 w 2629239"/>
              <a:gd name="connsiteY37" fmla="*/ 1076464 h 1513381"/>
              <a:gd name="connsiteX38" fmla="*/ 172537 w 2629239"/>
              <a:gd name="connsiteY38" fmla="*/ 1031016 h 1513381"/>
              <a:gd name="connsiteX39" fmla="*/ 105794 w 2629239"/>
              <a:gd name="connsiteY39" fmla="*/ 962504 h 1513381"/>
              <a:gd name="connsiteX40" fmla="*/ 65925 w 2629239"/>
              <a:gd name="connsiteY40" fmla="*/ 901612 h 1513381"/>
              <a:gd name="connsiteX41" fmla="*/ 24967 w 2629239"/>
              <a:gd name="connsiteY41" fmla="*/ 814936 h 1513381"/>
              <a:gd name="connsiteX42" fmla="*/ 5986 w 2629239"/>
              <a:gd name="connsiteY42" fmla="*/ 715739 h 1513381"/>
              <a:gd name="connsiteX43" fmla="*/ 4217 w 2629239"/>
              <a:gd name="connsiteY43" fmla="*/ 611848 h 1513381"/>
              <a:gd name="connsiteX44" fmla="*/ 51433 w 2629239"/>
              <a:gd name="connsiteY44" fmla="*/ 504624 h 1513381"/>
              <a:gd name="connsiteX45" fmla="*/ 107495 w 2629239"/>
              <a:gd name="connsiteY45" fmla="*/ 448562 h 1513381"/>
              <a:gd name="connsiteX46" fmla="*/ 215876 w 2629239"/>
              <a:gd name="connsiteY46" fmla="*/ 370185 h 1513381"/>
              <a:gd name="connsiteX47" fmla="*/ 362833 w 2629239"/>
              <a:gd name="connsiteY47" fmla="*/ 301605 h 1513381"/>
              <a:gd name="connsiteX48" fmla="*/ 519587 w 2629239"/>
              <a:gd name="connsiteY48" fmla="*/ 255885 h 1513381"/>
              <a:gd name="connsiteX49" fmla="*/ 650828 w 2629239"/>
              <a:gd name="connsiteY49" fmla="*/ 216698 h 1513381"/>
              <a:gd name="connsiteX50" fmla="*/ 801664 w 2629239"/>
              <a:gd name="connsiteY50" fmla="*/ 179276 h 1513381"/>
              <a:gd name="connsiteX51" fmla="*/ 947396 w 2629239"/>
              <a:gd name="connsiteY51" fmla="*/ 154648 h 1513381"/>
              <a:gd name="connsiteX52" fmla="*/ 1138984 w 2629239"/>
              <a:gd name="connsiteY52" fmla="*/ 103826 h 1513381"/>
              <a:gd name="connsiteX53" fmla="*/ 1391533 w 2629239"/>
              <a:gd name="connsiteY53" fmla="*/ 37082 h 1513381"/>
              <a:gd name="connsiteX54" fmla="*/ 1541756 w 2629239"/>
              <a:gd name="connsiteY54" fmla="*/ 6195 h 1513381"/>
              <a:gd name="connsiteX55" fmla="*/ 1651044 w 2629239"/>
              <a:gd name="connsiteY55" fmla="*/ 325 h 1513381"/>
              <a:gd name="connsiteX56" fmla="*/ 1752785 w 2629239"/>
              <a:gd name="connsiteY56" fmla="*/ 13024 h 1513381"/>
              <a:gd name="connsiteX57" fmla="*/ 1859123 w 2629239"/>
              <a:gd name="connsiteY57" fmla="*/ 70881 h 1513381"/>
              <a:gd name="connsiteX58" fmla="*/ 1958866 w 2629239"/>
              <a:gd name="connsiteY58" fmla="*/ 138933 h 1513381"/>
              <a:gd name="connsiteX59" fmla="*/ 2048323 w 2629239"/>
              <a:gd name="connsiteY59" fmla="*/ 216698 h 1513381"/>
              <a:gd name="connsiteX60" fmla="*/ 2121579 w 2629239"/>
              <a:gd name="connsiteY60" fmla="*/ 282011 h 1513381"/>
              <a:gd name="connsiteX61" fmla="*/ 2174062 w 2629239"/>
              <a:gd name="connsiteY61" fmla="*/ 327730 h 1513381"/>
              <a:gd name="connsiteX62" fmla="*/ 2204333 w 2629239"/>
              <a:gd name="connsiteY62" fmla="*/ 386242 h 1513381"/>
              <a:gd name="connsiteX63" fmla="*/ 2159157 w 2629239"/>
              <a:gd name="connsiteY63" fmla="*/ 457815 h 1513381"/>
              <a:gd name="connsiteX64" fmla="*/ 2056242 w 2629239"/>
              <a:gd name="connsiteY64" fmla="*/ 493085 h 1513381"/>
              <a:gd name="connsiteX65" fmla="*/ 1931261 w 2629239"/>
              <a:gd name="connsiteY65" fmla="*/ 489248 h 1513381"/>
              <a:gd name="connsiteX66" fmla="*/ 1851999 w 2629239"/>
              <a:gd name="connsiteY66" fmla="*/ 477954 h 1513381"/>
              <a:gd name="connsiteX67" fmla="*/ 1705042 w 2629239"/>
              <a:gd name="connsiteY67" fmla="*/ 455094 h 1513381"/>
              <a:gd name="connsiteX68" fmla="*/ 1564616 w 2629239"/>
              <a:gd name="connsiteY68" fmla="*/ 428968 h 1513381"/>
              <a:gd name="connsiteX69" fmla="*/ 1433987 w 2629239"/>
              <a:gd name="connsiteY69" fmla="*/ 409374 h 1513381"/>
              <a:gd name="connsiteX70" fmla="*/ 1319687 w 2629239"/>
              <a:gd name="connsiteY70" fmla="*/ 412639 h 1513381"/>
              <a:gd name="connsiteX71" fmla="*/ 1219063 w 2629239"/>
              <a:gd name="connsiteY71" fmla="*/ 437880 h 1513381"/>
              <a:gd name="connsiteX72" fmla="*/ 1133542 w 2629239"/>
              <a:gd name="connsiteY72" fmla="*/ 468157 h 1513381"/>
              <a:gd name="connsiteX73" fmla="*/ 1018697 w 2629239"/>
              <a:gd name="connsiteY73" fmla="*/ 513877 h 1513381"/>
              <a:gd name="connsiteX74" fmla="*/ 918004 w 2629239"/>
              <a:gd name="connsiteY74" fmla="*/ 550683 h 1513381"/>
              <a:gd name="connsiteX75" fmla="*/ 767170 w 2629239"/>
              <a:gd name="connsiteY75" fmla="*/ 573272 h 1513381"/>
              <a:gd name="connsiteX76" fmla="*/ 652053 w 2629239"/>
              <a:gd name="connsiteY76" fmla="*/ 575403 h 1513381"/>
              <a:gd name="connsiteX77" fmla="*/ 520222 w 2629239"/>
              <a:gd name="connsiteY77" fmla="*/ 576288 h 1513381"/>
              <a:gd name="connsiteX78" fmla="*/ 402112 w 2629239"/>
              <a:gd name="connsiteY78" fmla="*/ 565515 h 1513381"/>
              <a:gd name="connsiteX79" fmla="*/ 299537 w 2629239"/>
              <a:gd name="connsiteY79" fmla="*/ 553859 h 1513381"/>
              <a:gd name="connsiteX80" fmla="*/ 169271 w 2629239"/>
              <a:gd name="connsiteY80" fmla="*/ 533743 h 1513381"/>
              <a:gd name="connsiteX0" fmla="*/ 2629239 w 2629239"/>
              <a:gd name="connsiteY0" fmla="*/ 1010265 h 1513381"/>
              <a:gd name="connsiteX1" fmla="*/ 2619623 w 2629239"/>
              <a:gd name="connsiteY1" fmla="*/ 1065782 h 1513381"/>
              <a:gd name="connsiteX2" fmla="*/ 2620938 w 2629239"/>
              <a:gd name="connsiteY2" fmla="*/ 1123681 h 1513381"/>
              <a:gd name="connsiteX3" fmla="*/ 2619442 w 2629239"/>
              <a:gd name="connsiteY3" fmla="*/ 1170285 h 1513381"/>
              <a:gd name="connsiteX4" fmla="*/ 2615904 w 2629239"/>
              <a:gd name="connsiteY4" fmla="*/ 1225190 h 1513381"/>
              <a:gd name="connsiteX5" fmla="*/ 2590934 w 2629239"/>
              <a:gd name="connsiteY5" fmla="*/ 1274879 h 1513381"/>
              <a:gd name="connsiteX6" fmla="*/ 2554127 w 2629239"/>
              <a:gd name="connsiteY6" fmla="*/ 1310711 h 1513381"/>
              <a:gd name="connsiteX7" fmla="*/ 2498610 w 2629239"/>
              <a:gd name="connsiteY7" fmla="*/ 1320508 h 1513381"/>
              <a:gd name="connsiteX8" fmla="*/ 2446359 w 2629239"/>
              <a:gd name="connsiteY8" fmla="*/ 1323774 h 1513381"/>
              <a:gd name="connsiteX9" fmla="*/ 2400639 w 2629239"/>
              <a:gd name="connsiteY9" fmla="*/ 1323774 h 1513381"/>
              <a:gd name="connsiteX10" fmla="*/ 2345122 w 2629239"/>
              <a:gd name="connsiteY10" fmla="*/ 1336837 h 1513381"/>
              <a:gd name="connsiteX11" fmla="*/ 2296499 w 2629239"/>
              <a:gd name="connsiteY11" fmla="*/ 1366500 h 1513381"/>
              <a:gd name="connsiteX12" fmla="*/ 2279807 w 2629239"/>
              <a:gd name="connsiteY12" fmla="*/ 1405417 h 1513381"/>
              <a:gd name="connsiteX13" fmla="*/ 2240619 w 2629239"/>
              <a:gd name="connsiteY13" fmla="*/ 1447871 h 1513381"/>
              <a:gd name="connsiteX14" fmla="*/ 2184218 w 2629239"/>
              <a:gd name="connsiteY14" fmla="*/ 1465969 h 1513381"/>
              <a:gd name="connsiteX15" fmla="*/ 2116522 w 2629239"/>
              <a:gd name="connsiteY15" fmla="*/ 1457668 h 1513381"/>
              <a:gd name="connsiteX16" fmla="*/ 2047942 w 2629239"/>
              <a:gd name="connsiteY16" fmla="*/ 1460934 h 1513381"/>
              <a:gd name="connsiteX17" fmla="*/ 2005487 w 2629239"/>
              <a:gd name="connsiteY17" fmla="*/ 1473997 h 1513381"/>
              <a:gd name="connsiteX18" fmla="*/ 1969564 w 2629239"/>
              <a:gd name="connsiteY18" fmla="*/ 1493591 h 1513381"/>
              <a:gd name="connsiteX19" fmla="*/ 1927019 w 2629239"/>
              <a:gd name="connsiteY19" fmla="*/ 1509829 h 1513381"/>
              <a:gd name="connsiteX20" fmla="*/ 1884202 w 2629239"/>
              <a:gd name="connsiteY20" fmla="*/ 1511075 h 1513381"/>
              <a:gd name="connsiteX21" fmla="*/ 1796482 w 2629239"/>
              <a:gd name="connsiteY21" fmla="*/ 1483454 h 1513381"/>
              <a:gd name="connsiteX22" fmla="*/ 1735046 w 2629239"/>
              <a:gd name="connsiteY22" fmla="*/ 1443720 h 1513381"/>
              <a:gd name="connsiteX23" fmla="*/ 1675378 w 2629239"/>
              <a:gd name="connsiteY23" fmla="*/ 1386979 h 1513381"/>
              <a:gd name="connsiteX24" fmla="*/ 1581012 w 2629239"/>
              <a:gd name="connsiteY24" fmla="*/ 1359969 h 1513381"/>
              <a:gd name="connsiteX25" fmla="*/ 1470795 w 2629239"/>
              <a:gd name="connsiteY25" fmla="*/ 1342755 h 1513381"/>
              <a:gd name="connsiteX26" fmla="*/ 1390037 w 2629239"/>
              <a:gd name="connsiteY26" fmla="*/ 1340374 h 1513381"/>
              <a:gd name="connsiteX27" fmla="*/ 1308122 w 2629239"/>
              <a:gd name="connsiteY27" fmla="*/ 1334455 h 1513381"/>
              <a:gd name="connsiteX28" fmla="*/ 1209809 w 2629239"/>
              <a:gd name="connsiteY28" fmla="*/ 1316631 h 1513381"/>
              <a:gd name="connsiteX29" fmla="*/ 1099388 w 2629239"/>
              <a:gd name="connsiteY29" fmla="*/ 1289347 h 1513381"/>
              <a:gd name="connsiteX30" fmla="*/ 963724 w 2629239"/>
              <a:gd name="connsiteY30" fmla="*/ 1247166 h 1513381"/>
              <a:gd name="connsiteX31" fmla="*/ 850922 w 2629239"/>
              <a:gd name="connsiteY31" fmla="*/ 1210971 h 1513381"/>
              <a:gd name="connsiteX32" fmla="*/ 752949 w 2629239"/>
              <a:gd name="connsiteY32" fmla="*/ 1178585 h 1513381"/>
              <a:gd name="connsiteX33" fmla="*/ 656747 w 2629239"/>
              <a:gd name="connsiteY33" fmla="*/ 1153957 h 1513381"/>
              <a:gd name="connsiteX34" fmla="*/ 554353 w 2629239"/>
              <a:gd name="connsiteY34" fmla="*/ 1128443 h 1513381"/>
              <a:gd name="connsiteX35" fmla="*/ 451007 w 2629239"/>
              <a:gd name="connsiteY35" fmla="*/ 1118034 h 1513381"/>
              <a:gd name="connsiteX36" fmla="*/ 372630 w 2629239"/>
              <a:gd name="connsiteY36" fmla="*/ 1111502 h 1513381"/>
              <a:gd name="connsiteX37" fmla="*/ 245879 w 2629239"/>
              <a:gd name="connsiteY37" fmla="*/ 1076464 h 1513381"/>
              <a:gd name="connsiteX38" fmla="*/ 172537 w 2629239"/>
              <a:gd name="connsiteY38" fmla="*/ 1031016 h 1513381"/>
              <a:gd name="connsiteX39" fmla="*/ 105794 w 2629239"/>
              <a:gd name="connsiteY39" fmla="*/ 962504 h 1513381"/>
              <a:gd name="connsiteX40" fmla="*/ 65925 w 2629239"/>
              <a:gd name="connsiteY40" fmla="*/ 901612 h 1513381"/>
              <a:gd name="connsiteX41" fmla="*/ 24967 w 2629239"/>
              <a:gd name="connsiteY41" fmla="*/ 814936 h 1513381"/>
              <a:gd name="connsiteX42" fmla="*/ 5986 w 2629239"/>
              <a:gd name="connsiteY42" fmla="*/ 715739 h 1513381"/>
              <a:gd name="connsiteX43" fmla="*/ 4217 w 2629239"/>
              <a:gd name="connsiteY43" fmla="*/ 611848 h 1513381"/>
              <a:gd name="connsiteX44" fmla="*/ 51433 w 2629239"/>
              <a:gd name="connsiteY44" fmla="*/ 504624 h 1513381"/>
              <a:gd name="connsiteX45" fmla="*/ 107495 w 2629239"/>
              <a:gd name="connsiteY45" fmla="*/ 448562 h 1513381"/>
              <a:gd name="connsiteX46" fmla="*/ 215876 w 2629239"/>
              <a:gd name="connsiteY46" fmla="*/ 370185 h 1513381"/>
              <a:gd name="connsiteX47" fmla="*/ 362833 w 2629239"/>
              <a:gd name="connsiteY47" fmla="*/ 301605 h 1513381"/>
              <a:gd name="connsiteX48" fmla="*/ 519587 w 2629239"/>
              <a:gd name="connsiteY48" fmla="*/ 255885 h 1513381"/>
              <a:gd name="connsiteX49" fmla="*/ 650828 w 2629239"/>
              <a:gd name="connsiteY49" fmla="*/ 216698 h 1513381"/>
              <a:gd name="connsiteX50" fmla="*/ 801664 w 2629239"/>
              <a:gd name="connsiteY50" fmla="*/ 179276 h 1513381"/>
              <a:gd name="connsiteX51" fmla="*/ 947396 w 2629239"/>
              <a:gd name="connsiteY51" fmla="*/ 154648 h 1513381"/>
              <a:gd name="connsiteX52" fmla="*/ 1138984 w 2629239"/>
              <a:gd name="connsiteY52" fmla="*/ 103826 h 1513381"/>
              <a:gd name="connsiteX53" fmla="*/ 1391533 w 2629239"/>
              <a:gd name="connsiteY53" fmla="*/ 37082 h 1513381"/>
              <a:gd name="connsiteX54" fmla="*/ 1541756 w 2629239"/>
              <a:gd name="connsiteY54" fmla="*/ 6195 h 1513381"/>
              <a:gd name="connsiteX55" fmla="*/ 1651044 w 2629239"/>
              <a:gd name="connsiteY55" fmla="*/ 325 h 1513381"/>
              <a:gd name="connsiteX56" fmla="*/ 1752785 w 2629239"/>
              <a:gd name="connsiteY56" fmla="*/ 13024 h 1513381"/>
              <a:gd name="connsiteX57" fmla="*/ 1859123 w 2629239"/>
              <a:gd name="connsiteY57" fmla="*/ 70881 h 1513381"/>
              <a:gd name="connsiteX58" fmla="*/ 1958866 w 2629239"/>
              <a:gd name="connsiteY58" fmla="*/ 138933 h 1513381"/>
              <a:gd name="connsiteX59" fmla="*/ 2048323 w 2629239"/>
              <a:gd name="connsiteY59" fmla="*/ 216698 h 1513381"/>
              <a:gd name="connsiteX60" fmla="*/ 2121579 w 2629239"/>
              <a:gd name="connsiteY60" fmla="*/ 282011 h 1513381"/>
              <a:gd name="connsiteX61" fmla="*/ 2174062 w 2629239"/>
              <a:gd name="connsiteY61" fmla="*/ 327730 h 1513381"/>
              <a:gd name="connsiteX62" fmla="*/ 2204333 w 2629239"/>
              <a:gd name="connsiteY62" fmla="*/ 386242 h 1513381"/>
              <a:gd name="connsiteX63" fmla="*/ 2159157 w 2629239"/>
              <a:gd name="connsiteY63" fmla="*/ 457815 h 1513381"/>
              <a:gd name="connsiteX64" fmla="*/ 2056242 w 2629239"/>
              <a:gd name="connsiteY64" fmla="*/ 493085 h 1513381"/>
              <a:gd name="connsiteX65" fmla="*/ 1931261 w 2629239"/>
              <a:gd name="connsiteY65" fmla="*/ 489248 h 1513381"/>
              <a:gd name="connsiteX66" fmla="*/ 1851999 w 2629239"/>
              <a:gd name="connsiteY66" fmla="*/ 477954 h 1513381"/>
              <a:gd name="connsiteX67" fmla="*/ 1705042 w 2629239"/>
              <a:gd name="connsiteY67" fmla="*/ 455094 h 1513381"/>
              <a:gd name="connsiteX68" fmla="*/ 1564616 w 2629239"/>
              <a:gd name="connsiteY68" fmla="*/ 428968 h 1513381"/>
              <a:gd name="connsiteX69" fmla="*/ 1433987 w 2629239"/>
              <a:gd name="connsiteY69" fmla="*/ 409374 h 1513381"/>
              <a:gd name="connsiteX70" fmla="*/ 1319687 w 2629239"/>
              <a:gd name="connsiteY70" fmla="*/ 412639 h 1513381"/>
              <a:gd name="connsiteX71" fmla="*/ 1219063 w 2629239"/>
              <a:gd name="connsiteY71" fmla="*/ 437880 h 1513381"/>
              <a:gd name="connsiteX72" fmla="*/ 1133542 w 2629239"/>
              <a:gd name="connsiteY72" fmla="*/ 468157 h 1513381"/>
              <a:gd name="connsiteX73" fmla="*/ 1018697 w 2629239"/>
              <a:gd name="connsiteY73" fmla="*/ 513877 h 1513381"/>
              <a:gd name="connsiteX74" fmla="*/ 918004 w 2629239"/>
              <a:gd name="connsiteY74" fmla="*/ 550683 h 1513381"/>
              <a:gd name="connsiteX75" fmla="*/ 767170 w 2629239"/>
              <a:gd name="connsiteY75" fmla="*/ 573272 h 1513381"/>
              <a:gd name="connsiteX76" fmla="*/ 652053 w 2629239"/>
              <a:gd name="connsiteY76" fmla="*/ 575403 h 1513381"/>
              <a:gd name="connsiteX77" fmla="*/ 520222 w 2629239"/>
              <a:gd name="connsiteY77" fmla="*/ 576288 h 1513381"/>
              <a:gd name="connsiteX78" fmla="*/ 402112 w 2629239"/>
              <a:gd name="connsiteY78" fmla="*/ 565515 h 1513381"/>
              <a:gd name="connsiteX79" fmla="*/ 299537 w 2629239"/>
              <a:gd name="connsiteY79" fmla="*/ 553859 h 1513381"/>
              <a:gd name="connsiteX80" fmla="*/ 169271 w 2629239"/>
              <a:gd name="connsiteY80" fmla="*/ 533743 h 1513381"/>
              <a:gd name="connsiteX0" fmla="*/ 2629239 w 2629239"/>
              <a:gd name="connsiteY0" fmla="*/ 1010265 h 1513381"/>
              <a:gd name="connsiteX1" fmla="*/ 2619623 w 2629239"/>
              <a:gd name="connsiteY1" fmla="*/ 1065782 h 1513381"/>
              <a:gd name="connsiteX2" fmla="*/ 2620938 w 2629239"/>
              <a:gd name="connsiteY2" fmla="*/ 1123681 h 1513381"/>
              <a:gd name="connsiteX3" fmla="*/ 2619442 w 2629239"/>
              <a:gd name="connsiteY3" fmla="*/ 1170285 h 1513381"/>
              <a:gd name="connsiteX4" fmla="*/ 2615904 w 2629239"/>
              <a:gd name="connsiteY4" fmla="*/ 1225190 h 1513381"/>
              <a:gd name="connsiteX5" fmla="*/ 2590934 w 2629239"/>
              <a:gd name="connsiteY5" fmla="*/ 1274879 h 1513381"/>
              <a:gd name="connsiteX6" fmla="*/ 2554127 w 2629239"/>
              <a:gd name="connsiteY6" fmla="*/ 1310711 h 1513381"/>
              <a:gd name="connsiteX7" fmla="*/ 2498610 w 2629239"/>
              <a:gd name="connsiteY7" fmla="*/ 1320508 h 1513381"/>
              <a:gd name="connsiteX8" fmla="*/ 2446359 w 2629239"/>
              <a:gd name="connsiteY8" fmla="*/ 1323774 h 1513381"/>
              <a:gd name="connsiteX9" fmla="*/ 2400639 w 2629239"/>
              <a:gd name="connsiteY9" fmla="*/ 1323774 h 1513381"/>
              <a:gd name="connsiteX10" fmla="*/ 2345122 w 2629239"/>
              <a:gd name="connsiteY10" fmla="*/ 1336837 h 1513381"/>
              <a:gd name="connsiteX11" fmla="*/ 2296499 w 2629239"/>
              <a:gd name="connsiteY11" fmla="*/ 1366500 h 1513381"/>
              <a:gd name="connsiteX12" fmla="*/ 2279807 w 2629239"/>
              <a:gd name="connsiteY12" fmla="*/ 1405417 h 1513381"/>
              <a:gd name="connsiteX13" fmla="*/ 2240619 w 2629239"/>
              <a:gd name="connsiteY13" fmla="*/ 1447871 h 1513381"/>
              <a:gd name="connsiteX14" fmla="*/ 2184218 w 2629239"/>
              <a:gd name="connsiteY14" fmla="*/ 1465969 h 1513381"/>
              <a:gd name="connsiteX15" fmla="*/ 2116522 w 2629239"/>
              <a:gd name="connsiteY15" fmla="*/ 1457668 h 1513381"/>
              <a:gd name="connsiteX16" fmla="*/ 2047942 w 2629239"/>
              <a:gd name="connsiteY16" fmla="*/ 1460934 h 1513381"/>
              <a:gd name="connsiteX17" fmla="*/ 2005487 w 2629239"/>
              <a:gd name="connsiteY17" fmla="*/ 1473997 h 1513381"/>
              <a:gd name="connsiteX18" fmla="*/ 1969564 w 2629239"/>
              <a:gd name="connsiteY18" fmla="*/ 1493591 h 1513381"/>
              <a:gd name="connsiteX19" fmla="*/ 1927019 w 2629239"/>
              <a:gd name="connsiteY19" fmla="*/ 1509829 h 1513381"/>
              <a:gd name="connsiteX20" fmla="*/ 1884202 w 2629239"/>
              <a:gd name="connsiteY20" fmla="*/ 1511075 h 1513381"/>
              <a:gd name="connsiteX21" fmla="*/ 1796482 w 2629239"/>
              <a:gd name="connsiteY21" fmla="*/ 1483454 h 1513381"/>
              <a:gd name="connsiteX22" fmla="*/ 1735046 w 2629239"/>
              <a:gd name="connsiteY22" fmla="*/ 1443720 h 1513381"/>
              <a:gd name="connsiteX23" fmla="*/ 1675378 w 2629239"/>
              <a:gd name="connsiteY23" fmla="*/ 1386979 h 1513381"/>
              <a:gd name="connsiteX24" fmla="*/ 1581012 w 2629239"/>
              <a:gd name="connsiteY24" fmla="*/ 1359969 h 1513381"/>
              <a:gd name="connsiteX25" fmla="*/ 1470795 w 2629239"/>
              <a:gd name="connsiteY25" fmla="*/ 1342755 h 1513381"/>
              <a:gd name="connsiteX26" fmla="*/ 1390037 w 2629239"/>
              <a:gd name="connsiteY26" fmla="*/ 1340374 h 1513381"/>
              <a:gd name="connsiteX27" fmla="*/ 1308122 w 2629239"/>
              <a:gd name="connsiteY27" fmla="*/ 1334455 h 1513381"/>
              <a:gd name="connsiteX28" fmla="*/ 1209809 w 2629239"/>
              <a:gd name="connsiteY28" fmla="*/ 1316631 h 1513381"/>
              <a:gd name="connsiteX29" fmla="*/ 1099388 w 2629239"/>
              <a:gd name="connsiteY29" fmla="*/ 1289347 h 1513381"/>
              <a:gd name="connsiteX30" fmla="*/ 963724 w 2629239"/>
              <a:gd name="connsiteY30" fmla="*/ 1247166 h 1513381"/>
              <a:gd name="connsiteX31" fmla="*/ 850922 w 2629239"/>
              <a:gd name="connsiteY31" fmla="*/ 1210971 h 1513381"/>
              <a:gd name="connsiteX32" fmla="*/ 752949 w 2629239"/>
              <a:gd name="connsiteY32" fmla="*/ 1178585 h 1513381"/>
              <a:gd name="connsiteX33" fmla="*/ 656747 w 2629239"/>
              <a:gd name="connsiteY33" fmla="*/ 1153957 h 1513381"/>
              <a:gd name="connsiteX34" fmla="*/ 554353 w 2629239"/>
              <a:gd name="connsiteY34" fmla="*/ 1128443 h 1513381"/>
              <a:gd name="connsiteX35" fmla="*/ 451007 w 2629239"/>
              <a:gd name="connsiteY35" fmla="*/ 1118034 h 1513381"/>
              <a:gd name="connsiteX36" fmla="*/ 372630 w 2629239"/>
              <a:gd name="connsiteY36" fmla="*/ 1111502 h 1513381"/>
              <a:gd name="connsiteX37" fmla="*/ 245879 w 2629239"/>
              <a:gd name="connsiteY37" fmla="*/ 1076464 h 1513381"/>
              <a:gd name="connsiteX38" fmla="*/ 172537 w 2629239"/>
              <a:gd name="connsiteY38" fmla="*/ 1031016 h 1513381"/>
              <a:gd name="connsiteX39" fmla="*/ 105794 w 2629239"/>
              <a:gd name="connsiteY39" fmla="*/ 962504 h 1513381"/>
              <a:gd name="connsiteX40" fmla="*/ 65925 w 2629239"/>
              <a:gd name="connsiteY40" fmla="*/ 901612 h 1513381"/>
              <a:gd name="connsiteX41" fmla="*/ 24967 w 2629239"/>
              <a:gd name="connsiteY41" fmla="*/ 814936 h 1513381"/>
              <a:gd name="connsiteX42" fmla="*/ 5986 w 2629239"/>
              <a:gd name="connsiteY42" fmla="*/ 715739 h 1513381"/>
              <a:gd name="connsiteX43" fmla="*/ 4217 w 2629239"/>
              <a:gd name="connsiteY43" fmla="*/ 611848 h 1513381"/>
              <a:gd name="connsiteX44" fmla="*/ 51433 w 2629239"/>
              <a:gd name="connsiteY44" fmla="*/ 504624 h 1513381"/>
              <a:gd name="connsiteX45" fmla="*/ 107495 w 2629239"/>
              <a:gd name="connsiteY45" fmla="*/ 448562 h 1513381"/>
              <a:gd name="connsiteX46" fmla="*/ 215876 w 2629239"/>
              <a:gd name="connsiteY46" fmla="*/ 370185 h 1513381"/>
              <a:gd name="connsiteX47" fmla="*/ 362833 w 2629239"/>
              <a:gd name="connsiteY47" fmla="*/ 301605 h 1513381"/>
              <a:gd name="connsiteX48" fmla="*/ 519587 w 2629239"/>
              <a:gd name="connsiteY48" fmla="*/ 255885 h 1513381"/>
              <a:gd name="connsiteX49" fmla="*/ 650828 w 2629239"/>
              <a:gd name="connsiteY49" fmla="*/ 216698 h 1513381"/>
              <a:gd name="connsiteX50" fmla="*/ 801664 w 2629239"/>
              <a:gd name="connsiteY50" fmla="*/ 179276 h 1513381"/>
              <a:gd name="connsiteX51" fmla="*/ 947396 w 2629239"/>
              <a:gd name="connsiteY51" fmla="*/ 154648 h 1513381"/>
              <a:gd name="connsiteX52" fmla="*/ 1138984 w 2629239"/>
              <a:gd name="connsiteY52" fmla="*/ 103826 h 1513381"/>
              <a:gd name="connsiteX53" fmla="*/ 1391533 w 2629239"/>
              <a:gd name="connsiteY53" fmla="*/ 37082 h 1513381"/>
              <a:gd name="connsiteX54" fmla="*/ 1541756 w 2629239"/>
              <a:gd name="connsiteY54" fmla="*/ 6195 h 1513381"/>
              <a:gd name="connsiteX55" fmla="*/ 1651044 w 2629239"/>
              <a:gd name="connsiteY55" fmla="*/ 325 h 1513381"/>
              <a:gd name="connsiteX56" fmla="*/ 1752785 w 2629239"/>
              <a:gd name="connsiteY56" fmla="*/ 13024 h 1513381"/>
              <a:gd name="connsiteX57" fmla="*/ 1859123 w 2629239"/>
              <a:gd name="connsiteY57" fmla="*/ 70881 h 1513381"/>
              <a:gd name="connsiteX58" fmla="*/ 1958866 w 2629239"/>
              <a:gd name="connsiteY58" fmla="*/ 138933 h 1513381"/>
              <a:gd name="connsiteX59" fmla="*/ 2048323 w 2629239"/>
              <a:gd name="connsiteY59" fmla="*/ 216698 h 1513381"/>
              <a:gd name="connsiteX60" fmla="*/ 2121579 w 2629239"/>
              <a:gd name="connsiteY60" fmla="*/ 259587 h 1513381"/>
              <a:gd name="connsiteX61" fmla="*/ 2174062 w 2629239"/>
              <a:gd name="connsiteY61" fmla="*/ 327730 h 1513381"/>
              <a:gd name="connsiteX62" fmla="*/ 2204333 w 2629239"/>
              <a:gd name="connsiteY62" fmla="*/ 386242 h 1513381"/>
              <a:gd name="connsiteX63" fmla="*/ 2159157 w 2629239"/>
              <a:gd name="connsiteY63" fmla="*/ 457815 h 1513381"/>
              <a:gd name="connsiteX64" fmla="*/ 2056242 w 2629239"/>
              <a:gd name="connsiteY64" fmla="*/ 493085 h 1513381"/>
              <a:gd name="connsiteX65" fmla="*/ 1931261 w 2629239"/>
              <a:gd name="connsiteY65" fmla="*/ 489248 h 1513381"/>
              <a:gd name="connsiteX66" fmla="*/ 1851999 w 2629239"/>
              <a:gd name="connsiteY66" fmla="*/ 477954 h 1513381"/>
              <a:gd name="connsiteX67" fmla="*/ 1705042 w 2629239"/>
              <a:gd name="connsiteY67" fmla="*/ 455094 h 1513381"/>
              <a:gd name="connsiteX68" fmla="*/ 1564616 w 2629239"/>
              <a:gd name="connsiteY68" fmla="*/ 428968 h 1513381"/>
              <a:gd name="connsiteX69" fmla="*/ 1433987 w 2629239"/>
              <a:gd name="connsiteY69" fmla="*/ 409374 h 1513381"/>
              <a:gd name="connsiteX70" fmla="*/ 1319687 w 2629239"/>
              <a:gd name="connsiteY70" fmla="*/ 412639 h 1513381"/>
              <a:gd name="connsiteX71" fmla="*/ 1219063 w 2629239"/>
              <a:gd name="connsiteY71" fmla="*/ 437880 h 1513381"/>
              <a:gd name="connsiteX72" fmla="*/ 1133542 w 2629239"/>
              <a:gd name="connsiteY72" fmla="*/ 468157 h 1513381"/>
              <a:gd name="connsiteX73" fmla="*/ 1018697 w 2629239"/>
              <a:gd name="connsiteY73" fmla="*/ 513877 h 1513381"/>
              <a:gd name="connsiteX74" fmla="*/ 918004 w 2629239"/>
              <a:gd name="connsiteY74" fmla="*/ 550683 h 1513381"/>
              <a:gd name="connsiteX75" fmla="*/ 767170 w 2629239"/>
              <a:gd name="connsiteY75" fmla="*/ 573272 h 1513381"/>
              <a:gd name="connsiteX76" fmla="*/ 652053 w 2629239"/>
              <a:gd name="connsiteY76" fmla="*/ 575403 h 1513381"/>
              <a:gd name="connsiteX77" fmla="*/ 520222 w 2629239"/>
              <a:gd name="connsiteY77" fmla="*/ 576288 h 1513381"/>
              <a:gd name="connsiteX78" fmla="*/ 402112 w 2629239"/>
              <a:gd name="connsiteY78" fmla="*/ 565515 h 1513381"/>
              <a:gd name="connsiteX79" fmla="*/ 299537 w 2629239"/>
              <a:gd name="connsiteY79" fmla="*/ 553859 h 1513381"/>
              <a:gd name="connsiteX80" fmla="*/ 169271 w 2629239"/>
              <a:gd name="connsiteY80" fmla="*/ 533743 h 1513381"/>
              <a:gd name="connsiteX0" fmla="*/ 2629239 w 2629239"/>
              <a:gd name="connsiteY0" fmla="*/ 1010265 h 1513381"/>
              <a:gd name="connsiteX1" fmla="*/ 2619623 w 2629239"/>
              <a:gd name="connsiteY1" fmla="*/ 1065782 h 1513381"/>
              <a:gd name="connsiteX2" fmla="*/ 2620938 w 2629239"/>
              <a:gd name="connsiteY2" fmla="*/ 1123681 h 1513381"/>
              <a:gd name="connsiteX3" fmla="*/ 2619442 w 2629239"/>
              <a:gd name="connsiteY3" fmla="*/ 1170285 h 1513381"/>
              <a:gd name="connsiteX4" fmla="*/ 2615904 w 2629239"/>
              <a:gd name="connsiteY4" fmla="*/ 1225190 h 1513381"/>
              <a:gd name="connsiteX5" fmla="*/ 2590934 w 2629239"/>
              <a:gd name="connsiteY5" fmla="*/ 1274879 h 1513381"/>
              <a:gd name="connsiteX6" fmla="*/ 2554127 w 2629239"/>
              <a:gd name="connsiteY6" fmla="*/ 1310711 h 1513381"/>
              <a:gd name="connsiteX7" fmla="*/ 2498610 w 2629239"/>
              <a:gd name="connsiteY7" fmla="*/ 1320508 h 1513381"/>
              <a:gd name="connsiteX8" fmla="*/ 2446359 w 2629239"/>
              <a:gd name="connsiteY8" fmla="*/ 1323774 h 1513381"/>
              <a:gd name="connsiteX9" fmla="*/ 2400639 w 2629239"/>
              <a:gd name="connsiteY9" fmla="*/ 1323774 h 1513381"/>
              <a:gd name="connsiteX10" fmla="*/ 2345122 w 2629239"/>
              <a:gd name="connsiteY10" fmla="*/ 1336837 h 1513381"/>
              <a:gd name="connsiteX11" fmla="*/ 2296499 w 2629239"/>
              <a:gd name="connsiteY11" fmla="*/ 1366500 h 1513381"/>
              <a:gd name="connsiteX12" fmla="*/ 2279807 w 2629239"/>
              <a:gd name="connsiteY12" fmla="*/ 1405417 h 1513381"/>
              <a:gd name="connsiteX13" fmla="*/ 2240619 w 2629239"/>
              <a:gd name="connsiteY13" fmla="*/ 1447871 h 1513381"/>
              <a:gd name="connsiteX14" fmla="*/ 2184218 w 2629239"/>
              <a:gd name="connsiteY14" fmla="*/ 1465969 h 1513381"/>
              <a:gd name="connsiteX15" fmla="*/ 2116522 w 2629239"/>
              <a:gd name="connsiteY15" fmla="*/ 1457668 h 1513381"/>
              <a:gd name="connsiteX16" fmla="*/ 2047942 w 2629239"/>
              <a:gd name="connsiteY16" fmla="*/ 1460934 h 1513381"/>
              <a:gd name="connsiteX17" fmla="*/ 2005487 w 2629239"/>
              <a:gd name="connsiteY17" fmla="*/ 1473997 h 1513381"/>
              <a:gd name="connsiteX18" fmla="*/ 1969564 w 2629239"/>
              <a:gd name="connsiteY18" fmla="*/ 1493591 h 1513381"/>
              <a:gd name="connsiteX19" fmla="*/ 1927019 w 2629239"/>
              <a:gd name="connsiteY19" fmla="*/ 1509829 h 1513381"/>
              <a:gd name="connsiteX20" fmla="*/ 1884202 w 2629239"/>
              <a:gd name="connsiteY20" fmla="*/ 1511075 h 1513381"/>
              <a:gd name="connsiteX21" fmla="*/ 1796482 w 2629239"/>
              <a:gd name="connsiteY21" fmla="*/ 1483454 h 1513381"/>
              <a:gd name="connsiteX22" fmla="*/ 1735046 w 2629239"/>
              <a:gd name="connsiteY22" fmla="*/ 1443720 h 1513381"/>
              <a:gd name="connsiteX23" fmla="*/ 1675378 w 2629239"/>
              <a:gd name="connsiteY23" fmla="*/ 1386979 h 1513381"/>
              <a:gd name="connsiteX24" fmla="*/ 1581012 w 2629239"/>
              <a:gd name="connsiteY24" fmla="*/ 1359969 h 1513381"/>
              <a:gd name="connsiteX25" fmla="*/ 1470795 w 2629239"/>
              <a:gd name="connsiteY25" fmla="*/ 1342755 h 1513381"/>
              <a:gd name="connsiteX26" fmla="*/ 1390037 w 2629239"/>
              <a:gd name="connsiteY26" fmla="*/ 1340374 h 1513381"/>
              <a:gd name="connsiteX27" fmla="*/ 1308122 w 2629239"/>
              <a:gd name="connsiteY27" fmla="*/ 1334455 h 1513381"/>
              <a:gd name="connsiteX28" fmla="*/ 1209809 w 2629239"/>
              <a:gd name="connsiteY28" fmla="*/ 1316631 h 1513381"/>
              <a:gd name="connsiteX29" fmla="*/ 1099388 w 2629239"/>
              <a:gd name="connsiteY29" fmla="*/ 1289347 h 1513381"/>
              <a:gd name="connsiteX30" fmla="*/ 963724 w 2629239"/>
              <a:gd name="connsiteY30" fmla="*/ 1247166 h 1513381"/>
              <a:gd name="connsiteX31" fmla="*/ 850922 w 2629239"/>
              <a:gd name="connsiteY31" fmla="*/ 1210971 h 1513381"/>
              <a:gd name="connsiteX32" fmla="*/ 752949 w 2629239"/>
              <a:gd name="connsiteY32" fmla="*/ 1178585 h 1513381"/>
              <a:gd name="connsiteX33" fmla="*/ 656747 w 2629239"/>
              <a:gd name="connsiteY33" fmla="*/ 1153957 h 1513381"/>
              <a:gd name="connsiteX34" fmla="*/ 554353 w 2629239"/>
              <a:gd name="connsiteY34" fmla="*/ 1128443 h 1513381"/>
              <a:gd name="connsiteX35" fmla="*/ 451007 w 2629239"/>
              <a:gd name="connsiteY35" fmla="*/ 1118034 h 1513381"/>
              <a:gd name="connsiteX36" fmla="*/ 372630 w 2629239"/>
              <a:gd name="connsiteY36" fmla="*/ 1111502 h 1513381"/>
              <a:gd name="connsiteX37" fmla="*/ 245879 w 2629239"/>
              <a:gd name="connsiteY37" fmla="*/ 1076464 h 1513381"/>
              <a:gd name="connsiteX38" fmla="*/ 172537 w 2629239"/>
              <a:gd name="connsiteY38" fmla="*/ 1031016 h 1513381"/>
              <a:gd name="connsiteX39" fmla="*/ 105794 w 2629239"/>
              <a:gd name="connsiteY39" fmla="*/ 962504 h 1513381"/>
              <a:gd name="connsiteX40" fmla="*/ 65925 w 2629239"/>
              <a:gd name="connsiteY40" fmla="*/ 901612 h 1513381"/>
              <a:gd name="connsiteX41" fmla="*/ 24967 w 2629239"/>
              <a:gd name="connsiteY41" fmla="*/ 814936 h 1513381"/>
              <a:gd name="connsiteX42" fmla="*/ 5986 w 2629239"/>
              <a:gd name="connsiteY42" fmla="*/ 715739 h 1513381"/>
              <a:gd name="connsiteX43" fmla="*/ 4217 w 2629239"/>
              <a:gd name="connsiteY43" fmla="*/ 611848 h 1513381"/>
              <a:gd name="connsiteX44" fmla="*/ 51433 w 2629239"/>
              <a:gd name="connsiteY44" fmla="*/ 504624 h 1513381"/>
              <a:gd name="connsiteX45" fmla="*/ 107495 w 2629239"/>
              <a:gd name="connsiteY45" fmla="*/ 448562 h 1513381"/>
              <a:gd name="connsiteX46" fmla="*/ 215876 w 2629239"/>
              <a:gd name="connsiteY46" fmla="*/ 370185 h 1513381"/>
              <a:gd name="connsiteX47" fmla="*/ 362833 w 2629239"/>
              <a:gd name="connsiteY47" fmla="*/ 301605 h 1513381"/>
              <a:gd name="connsiteX48" fmla="*/ 519587 w 2629239"/>
              <a:gd name="connsiteY48" fmla="*/ 255885 h 1513381"/>
              <a:gd name="connsiteX49" fmla="*/ 650828 w 2629239"/>
              <a:gd name="connsiteY49" fmla="*/ 216698 h 1513381"/>
              <a:gd name="connsiteX50" fmla="*/ 801664 w 2629239"/>
              <a:gd name="connsiteY50" fmla="*/ 179276 h 1513381"/>
              <a:gd name="connsiteX51" fmla="*/ 947396 w 2629239"/>
              <a:gd name="connsiteY51" fmla="*/ 154648 h 1513381"/>
              <a:gd name="connsiteX52" fmla="*/ 1138984 w 2629239"/>
              <a:gd name="connsiteY52" fmla="*/ 103826 h 1513381"/>
              <a:gd name="connsiteX53" fmla="*/ 1391533 w 2629239"/>
              <a:gd name="connsiteY53" fmla="*/ 37082 h 1513381"/>
              <a:gd name="connsiteX54" fmla="*/ 1541756 w 2629239"/>
              <a:gd name="connsiteY54" fmla="*/ 6195 h 1513381"/>
              <a:gd name="connsiteX55" fmla="*/ 1651044 w 2629239"/>
              <a:gd name="connsiteY55" fmla="*/ 325 h 1513381"/>
              <a:gd name="connsiteX56" fmla="*/ 1752785 w 2629239"/>
              <a:gd name="connsiteY56" fmla="*/ 13024 h 1513381"/>
              <a:gd name="connsiteX57" fmla="*/ 1859123 w 2629239"/>
              <a:gd name="connsiteY57" fmla="*/ 70881 h 1513381"/>
              <a:gd name="connsiteX58" fmla="*/ 1958866 w 2629239"/>
              <a:gd name="connsiteY58" fmla="*/ 138933 h 1513381"/>
              <a:gd name="connsiteX59" fmla="*/ 2048323 w 2629239"/>
              <a:gd name="connsiteY59" fmla="*/ 216698 h 1513381"/>
              <a:gd name="connsiteX60" fmla="*/ 2121579 w 2629239"/>
              <a:gd name="connsiteY60" fmla="*/ 270798 h 1513381"/>
              <a:gd name="connsiteX61" fmla="*/ 2174062 w 2629239"/>
              <a:gd name="connsiteY61" fmla="*/ 327730 h 1513381"/>
              <a:gd name="connsiteX62" fmla="*/ 2204333 w 2629239"/>
              <a:gd name="connsiteY62" fmla="*/ 386242 h 1513381"/>
              <a:gd name="connsiteX63" fmla="*/ 2159157 w 2629239"/>
              <a:gd name="connsiteY63" fmla="*/ 457815 h 1513381"/>
              <a:gd name="connsiteX64" fmla="*/ 2056242 w 2629239"/>
              <a:gd name="connsiteY64" fmla="*/ 493085 h 1513381"/>
              <a:gd name="connsiteX65" fmla="*/ 1931261 w 2629239"/>
              <a:gd name="connsiteY65" fmla="*/ 489248 h 1513381"/>
              <a:gd name="connsiteX66" fmla="*/ 1851999 w 2629239"/>
              <a:gd name="connsiteY66" fmla="*/ 477954 h 1513381"/>
              <a:gd name="connsiteX67" fmla="*/ 1705042 w 2629239"/>
              <a:gd name="connsiteY67" fmla="*/ 455094 h 1513381"/>
              <a:gd name="connsiteX68" fmla="*/ 1564616 w 2629239"/>
              <a:gd name="connsiteY68" fmla="*/ 428968 h 1513381"/>
              <a:gd name="connsiteX69" fmla="*/ 1433987 w 2629239"/>
              <a:gd name="connsiteY69" fmla="*/ 409374 h 1513381"/>
              <a:gd name="connsiteX70" fmla="*/ 1319687 w 2629239"/>
              <a:gd name="connsiteY70" fmla="*/ 412639 h 1513381"/>
              <a:gd name="connsiteX71" fmla="*/ 1219063 w 2629239"/>
              <a:gd name="connsiteY71" fmla="*/ 437880 h 1513381"/>
              <a:gd name="connsiteX72" fmla="*/ 1133542 w 2629239"/>
              <a:gd name="connsiteY72" fmla="*/ 468157 h 1513381"/>
              <a:gd name="connsiteX73" fmla="*/ 1018697 w 2629239"/>
              <a:gd name="connsiteY73" fmla="*/ 513877 h 1513381"/>
              <a:gd name="connsiteX74" fmla="*/ 918004 w 2629239"/>
              <a:gd name="connsiteY74" fmla="*/ 550683 h 1513381"/>
              <a:gd name="connsiteX75" fmla="*/ 767170 w 2629239"/>
              <a:gd name="connsiteY75" fmla="*/ 573272 h 1513381"/>
              <a:gd name="connsiteX76" fmla="*/ 652053 w 2629239"/>
              <a:gd name="connsiteY76" fmla="*/ 575403 h 1513381"/>
              <a:gd name="connsiteX77" fmla="*/ 520222 w 2629239"/>
              <a:gd name="connsiteY77" fmla="*/ 576288 h 1513381"/>
              <a:gd name="connsiteX78" fmla="*/ 402112 w 2629239"/>
              <a:gd name="connsiteY78" fmla="*/ 565515 h 1513381"/>
              <a:gd name="connsiteX79" fmla="*/ 299537 w 2629239"/>
              <a:gd name="connsiteY79" fmla="*/ 553859 h 1513381"/>
              <a:gd name="connsiteX80" fmla="*/ 169271 w 2629239"/>
              <a:gd name="connsiteY80" fmla="*/ 533743 h 1513381"/>
              <a:gd name="connsiteX0" fmla="*/ 2629239 w 2629239"/>
              <a:gd name="connsiteY0" fmla="*/ 1010265 h 1513381"/>
              <a:gd name="connsiteX1" fmla="*/ 2619623 w 2629239"/>
              <a:gd name="connsiteY1" fmla="*/ 1065782 h 1513381"/>
              <a:gd name="connsiteX2" fmla="*/ 2620938 w 2629239"/>
              <a:gd name="connsiteY2" fmla="*/ 1123681 h 1513381"/>
              <a:gd name="connsiteX3" fmla="*/ 2619442 w 2629239"/>
              <a:gd name="connsiteY3" fmla="*/ 1170285 h 1513381"/>
              <a:gd name="connsiteX4" fmla="*/ 2615904 w 2629239"/>
              <a:gd name="connsiteY4" fmla="*/ 1225190 h 1513381"/>
              <a:gd name="connsiteX5" fmla="*/ 2590934 w 2629239"/>
              <a:gd name="connsiteY5" fmla="*/ 1274879 h 1513381"/>
              <a:gd name="connsiteX6" fmla="*/ 2554127 w 2629239"/>
              <a:gd name="connsiteY6" fmla="*/ 1310711 h 1513381"/>
              <a:gd name="connsiteX7" fmla="*/ 2498610 w 2629239"/>
              <a:gd name="connsiteY7" fmla="*/ 1320508 h 1513381"/>
              <a:gd name="connsiteX8" fmla="*/ 2446359 w 2629239"/>
              <a:gd name="connsiteY8" fmla="*/ 1323774 h 1513381"/>
              <a:gd name="connsiteX9" fmla="*/ 2400639 w 2629239"/>
              <a:gd name="connsiteY9" fmla="*/ 1323774 h 1513381"/>
              <a:gd name="connsiteX10" fmla="*/ 2345122 w 2629239"/>
              <a:gd name="connsiteY10" fmla="*/ 1336837 h 1513381"/>
              <a:gd name="connsiteX11" fmla="*/ 2296499 w 2629239"/>
              <a:gd name="connsiteY11" fmla="*/ 1366500 h 1513381"/>
              <a:gd name="connsiteX12" fmla="*/ 2279807 w 2629239"/>
              <a:gd name="connsiteY12" fmla="*/ 1405417 h 1513381"/>
              <a:gd name="connsiteX13" fmla="*/ 2240619 w 2629239"/>
              <a:gd name="connsiteY13" fmla="*/ 1447871 h 1513381"/>
              <a:gd name="connsiteX14" fmla="*/ 2184218 w 2629239"/>
              <a:gd name="connsiteY14" fmla="*/ 1465969 h 1513381"/>
              <a:gd name="connsiteX15" fmla="*/ 2116522 w 2629239"/>
              <a:gd name="connsiteY15" fmla="*/ 1457668 h 1513381"/>
              <a:gd name="connsiteX16" fmla="*/ 2047942 w 2629239"/>
              <a:gd name="connsiteY16" fmla="*/ 1460934 h 1513381"/>
              <a:gd name="connsiteX17" fmla="*/ 2005487 w 2629239"/>
              <a:gd name="connsiteY17" fmla="*/ 1473997 h 1513381"/>
              <a:gd name="connsiteX18" fmla="*/ 1969564 w 2629239"/>
              <a:gd name="connsiteY18" fmla="*/ 1493591 h 1513381"/>
              <a:gd name="connsiteX19" fmla="*/ 1927019 w 2629239"/>
              <a:gd name="connsiteY19" fmla="*/ 1509829 h 1513381"/>
              <a:gd name="connsiteX20" fmla="*/ 1884202 w 2629239"/>
              <a:gd name="connsiteY20" fmla="*/ 1511075 h 1513381"/>
              <a:gd name="connsiteX21" fmla="*/ 1796482 w 2629239"/>
              <a:gd name="connsiteY21" fmla="*/ 1483454 h 1513381"/>
              <a:gd name="connsiteX22" fmla="*/ 1735046 w 2629239"/>
              <a:gd name="connsiteY22" fmla="*/ 1443720 h 1513381"/>
              <a:gd name="connsiteX23" fmla="*/ 1675378 w 2629239"/>
              <a:gd name="connsiteY23" fmla="*/ 1386979 h 1513381"/>
              <a:gd name="connsiteX24" fmla="*/ 1581012 w 2629239"/>
              <a:gd name="connsiteY24" fmla="*/ 1359969 h 1513381"/>
              <a:gd name="connsiteX25" fmla="*/ 1470795 w 2629239"/>
              <a:gd name="connsiteY25" fmla="*/ 1342755 h 1513381"/>
              <a:gd name="connsiteX26" fmla="*/ 1390037 w 2629239"/>
              <a:gd name="connsiteY26" fmla="*/ 1340374 h 1513381"/>
              <a:gd name="connsiteX27" fmla="*/ 1308122 w 2629239"/>
              <a:gd name="connsiteY27" fmla="*/ 1334455 h 1513381"/>
              <a:gd name="connsiteX28" fmla="*/ 1209809 w 2629239"/>
              <a:gd name="connsiteY28" fmla="*/ 1316631 h 1513381"/>
              <a:gd name="connsiteX29" fmla="*/ 1099388 w 2629239"/>
              <a:gd name="connsiteY29" fmla="*/ 1289347 h 1513381"/>
              <a:gd name="connsiteX30" fmla="*/ 963724 w 2629239"/>
              <a:gd name="connsiteY30" fmla="*/ 1247166 h 1513381"/>
              <a:gd name="connsiteX31" fmla="*/ 850922 w 2629239"/>
              <a:gd name="connsiteY31" fmla="*/ 1210971 h 1513381"/>
              <a:gd name="connsiteX32" fmla="*/ 752949 w 2629239"/>
              <a:gd name="connsiteY32" fmla="*/ 1178585 h 1513381"/>
              <a:gd name="connsiteX33" fmla="*/ 656747 w 2629239"/>
              <a:gd name="connsiteY33" fmla="*/ 1153957 h 1513381"/>
              <a:gd name="connsiteX34" fmla="*/ 554353 w 2629239"/>
              <a:gd name="connsiteY34" fmla="*/ 1128443 h 1513381"/>
              <a:gd name="connsiteX35" fmla="*/ 451007 w 2629239"/>
              <a:gd name="connsiteY35" fmla="*/ 1118034 h 1513381"/>
              <a:gd name="connsiteX36" fmla="*/ 372630 w 2629239"/>
              <a:gd name="connsiteY36" fmla="*/ 1111502 h 1513381"/>
              <a:gd name="connsiteX37" fmla="*/ 245879 w 2629239"/>
              <a:gd name="connsiteY37" fmla="*/ 1076464 h 1513381"/>
              <a:gd name="connsiteX38" fmla="*/ 172537 w 2629239"/>
              <a:gd name="connsiteY38" fmla="*/ 1031016 h 1513381"/>
              <a:gd name="connsiteX39" fmla="*/ 105794 w 2629239"/>
              <a:gd name="connsiteY39" fmla="*/ 962504 h 1513381"/>
              <a:gd name="connsiteX40" fmla="*/ 65925 w 2629239"/>
              <a:gd name="connsiteY40" fmla="*/ 901612 h 1513381"/>
              <a:gd name="connsiteX41" fmla="*/ 24967 w 2629239"/>
              <a:gd name="connsiteY41" fmla="*/ 814936 h 1513381"/>
              <a:gd name="connsiteX42" fmla="*/ 5986 w 2629239"/>
              <a:gd name="connsiteY42" fmla="*/ 715739 h 1513381"/>
              <a:gd name="connsiteX43" fmla="*/ 4217 w 2629239"/>
              <a:gd name="connsiteY43" fmla="*/ 611848 h 1513381"/>
              <a:gd name="connsiteX44" fmla="*/ 51433 w 2629239"/>
              <a:gd name="connsiteY44" fmla="*/ 504624 h 1513381"/>
              <a:gd name="connsiteX45" fmla="*/ 107495 w 2629239"/>
              <a:gd name="connsiteY45" fmla="*/ 448562 h 1513381"/>
              <a:gd name="connsiteX46" fmla="*/ 215876 w 2629239"/>
              <a:gd name="connsiteY46" fmla="*/ 370185 h 1513381"/>
              <a:gd name="connsiteX47" fmla="*/ 362833 w 2629239"/>
              <a:gd name="connsiteY47" fmla="*/ 301605 h 1513381"/>
              <a:gd name="connsiteX48" fmla="*/ 519587 w 2629239"/>
              <a:gd name="connsiteY48" fmla="*/ 255885 h 1513381"/>
              <a:gd name="connsiteX49" fmla="*/ 650828 w 2629239"/>
              <a:gd name="connsiteY49" fmla="*/ 216698 h 1513381"/>
              <a:gd name="connsiteX50" fmla="*/ 801664 w 2629239"/>
              <a:gd name="connsiteY50" fmla="*/ 179276 h 1513381"/>
              <a:gd name="connsiteX51" fmla="*/ 947396 w 2629239"/>
              <a:gd name="connsiteY51" fmla="*/ 154648 h 1513381"/>
              <a:gd name="connsiteX52" fmla="*/ 1138984 w 2629239"/>
              <a:gd name="connsiteY52" fmla="*/ 103826 h 1513381"/>
              <a:gd name="connsiteX53" fmla="*/ 1391533 w 2629239"/>
              <a:gd name="connsiteY53" fmla="*/ 37082 h 1513381"/>
              <a:gd name="connsiteX54" fmla="*/ 1541756 w 2629239"/>
              <a:gd name="connsiteY54" fmla="*/ 6195 h 1513381"/>
              <a:gd name="connsiteX55" fmla="*/ 1651044 w 2629239"/>
              <a:gd name="connsiteY55" fmla="*/ 325 h 1513381"/>
              <a:gd name="connsiteX56" fmla="*/ 1752785 w 2629239"/>
              <a:gd name="connsiteY56" fmla="*/ 13024 h 1513381"/>
              <a:gd name="connsiteX57" fmla="*/ 1859123 w 2629239"/>
              <a:gd name="connsiteY57" fmla="*/ 70881 h 1513381"/>
              <a:gd name="connsiteX58" fmla="*/ 1958866 w 2629239"/>
              <a:gd name="connsiteY58" fmla="*/ 138933 h 1513381"/>
              <a:gd name="connsiteX59" fmla="*/ 2048323 w 2629239"/>
              <a:gd name="connsiteY59" fmla="*/ 216698 h 1513381"/>
              <a:gd name="connsiteX60" fmla="*/ 2116057 w 2629239"/>
              <a:gd name="connsiteY60" fmla="*/ 270798 h 1513381"/>
              <a:gd name="connsiteX61" fmla="*/ 2174062 w 2629239"/>
              <a:gd name="connsiteY61" fmla="*/ 327730 h 1513381"/>
              <a:gd name="connsiteX62" fmla="*/ 2204333 w 2629239"/>
              <a:gd name="connsiteY62" fmla="*/ 386242 h 1513381"/>
              <a:gd name="connsiteX63" fmla="*/ 2159157 w 2629239"/>
              <a:gd name="connsiteY63" fmla="*/ 457815 h 1513381"/>
              <a:gd name="connsiteX64" fmla="*/ 2056242 w 2629239"/>
              <a:gd name="connsiteY64" fmla="*/ 493085 h 1513381"/>
              <a:gd name="connsiteX65" fmla="*/ 1931261 w 2629239"/>
              <a:gd name="connsiteY65" fmla="*/ 489248 h 1513381"/>
              <a:gd name="connsiteX66" fmla="*/ 1851999 w 2629239"/>
              <a:gd name="connsiteY66" fmla="*/ 477954 h 1513381"/>
              <a:gd name="connsiteX67" fmla="*/ 1705042 w 2629239"/>
              <a:gd name="connsiteY67" fmla="*/ 455094 h 1513381"/>
              <a:gd name="connsiteX68" fmla="*/ 1564616 w 2629239"/>
              <a:gd name="connsiteY68" fmla="*/ 428968 h 1513381"/>
              <a:gd name="connsiteX69" fmla="*/ 1433987 w 2629239"/>
              <a:gd name="connsiteY69" fmla="*/ 409374 h 1513381"/>
              <a:gd name="connsiteX70" fmla="*/ 1319687 w 2629239"/>
              <a:gd name="connsiteY70" fmla="*/ 412639 h 1513381"/>
              <a:gd name="connsiteX71" fmla="*/ 1219063 w 2629239"/>
              <a:gd name="connsiteY71" fmla="*/ 437880 h 1513381"/>
              <a:gd name="connsiteX72" fmla="*/ 1133542 w 2629239"/>
              <a:gd name="connsiteY72" fmla="*/ 468157 h 1513381"/>
              <a:gd name="connsiteX73" fmla="*/ 1018697 w 2629239"/>
              <a:gd name="connsiteY73" fmla="*/ 513877 h 1513381"/>
              <a:gd name="connsiteX74" fmla="*/ 918004 w 2629239"/>
              <a:gd name="connsiteY74" fmla="*/ 550683 h 1513381"/>
              <a:gd name="connsiteX75" fmla="*/ 767170 w 2629239"/>
              <a:gd name="connsiteY75" fmla="*/ 573272 h 1513381"/>
              <a:gd name="connsiteX76" fmla="*/ 652053 w 2629239"/>
              <a:gd name="connsiteY76" fmla="*/ 575403 h 1513381"/>
              <a:gd name="connsiteX77" fmla="*/ 520222 w 2629239"/>
              <a:gd name="connsiteY77" fmla="*/ 576288 h 1513381"/>
              <a:gd name="connsiteX78" fmla="*/ 402112 w 2629239"/>
              <a:gd name="connsiteY78" fmla="*/ 565515 h 1513381"/>
              <a:gd name="connsiteX79" fmla="*/ 299537 w 2629239"/>
              <a:gd name="connsiteY79" fmla="*/ 553859 h 1513381"/>
              <a:gd name="connsiteX80" fmla="*/ 169271 w 2629239"/>
              <a:gd name="connsiteY80" fmla="*/ 533743 h 1513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629239" h="1513381">
                <a:moveTo>
                  <a:pt x="2629239" y="1010265"/>
                </a:moveTo>
                <a:lnTo>
                  <a:pt x="2619623" y="1065782"/>
                </a:lnTo>
                <a:cubicBezTo>
                  <a:pt x="2617446" y="1084288"/>
                  <a:pt x="2620968" y="1106264"/>
                  <a:pt x="2620938" y="1123681"/>
                </a:cubicBezTo>
                <a:cubicBezTo>
                  <a:pt x="2620908" y="1141098"/>
                  <a:pt x="2621075" y="1151779"/>
                  <a:pt x="2619442" y="1170285"/>
                </a:cubicBezTo>
                <a:cubicBezTo>
                  <a:pt x="2618263" y="1188587"/>
                  <a:pt x="2620655" y="1207758"/>
                  <a:pt x="2615904" y="1225190"/>
                </a:cubicBezTo>
                <a:cubicBezTo>
                  <a:pt x="2611153" y="1242622"/>
                  <a:pt x="2601230" y="1260625"/>
                  <a:pt x="2590934" y="1274879"/>
                </a:cubicBezTo>
                <a:cubicBezTo>
                  <a:pt x="2580638" y="1289133"/>
                  <a:pt x="2569911" y="1303635"/>
                  <a:pt x="2554127" y="1310711"/>
                </a:cubicBezTo>
                <a:lnTo>
                  <a:pt x="2498610" y="1320508"/>
                </a:lnTo>
                <a:lnTo>
                  <a:pt x="2446359" y="1323774"/>
                </a:lnTo>
                <a:lnTo>
                  <a:pt x="2400639" y="1323774"/>
                </a:lnTo>
                <a:cubicBezTo>
                  <a:pt x="2383766" y="1325951"/>
                  <a:pt x="2362479" y="1329716"/>
                  <a:pt x="2345122" y="1336837"/>
                </a:cubicBezTo>
                <a:cubicBezTo>
                  <a:pt x="2327765" y="1343958"/>
                  <a:pt x="2307385" y="1355070"/>
                  <a:pt x="2296499" y="1366500"/>
                </a:cubicBezTo>
                <a:lnTo>
                  <a:pt x="2279807" y="1405417"/>
                </a:lnTo>
                <a:lnTo>
                  <a:pt x="2240619" y="1447871"/>
                </a:lnTo>
                <a:cubicBezTo>
                  <a:pt x="2224291" y="1458757"/>
                  <a:pt x="2204901" y="1464336"/>
                  <a:pt x="2184218" y="1465969"/>
                </a:cubicBezTo>
                <a:cubicBezTo>
                  <a:pt x="2163535" y="1467602"/>
                  <a:pt x="2138838" y="1459301"/>
                  <a:pt x="2116522" y="1457668"/>
                </a:cubicBezTo>
                <a:cubicBezTo>
                  <a:pt x="2093662" y="1458757"/>
                  <a:pt x="2077946" y="1452701"/>
                  <a:pt x="2047942" y="1460934"/>
                </a:cubicBezTo>
                <a:cubicBezTo>
                  <a:pt x="2017938" y="1469167"/>
                  <a:pt x="2018550" y="1468554"/>
                  <a:pt x="2005487" y="1473997"/>
                </a:cubicBezTo>
                <a:lnTo>
                  <a:pt x="1969564" y="1493591"/>
                </a:lnTo>
                <a:cubicBezTo>
                  <a:pt x="1956486" y="1499563"/>
                  <a:pt x="1941246" y="1506915"/>
                  <a:pt x="1927019" y="1509829"/>
                </a:cubicBezTo>
                <a:cubicBezTo>
                  <a:pt x="1912792" y="1512743"/>
                  <a:pt x="1905958" y="1515471"/>
                  <a:pt x="1884202" y="1511075"/>
                </a:cubicBezTo>
                <a:cubicBezTo>
                  <a:pt x="1862446" y="1506679"/>
                  <a:pt x="1821341" y="1494680"/>
                  <a:pt x="1796482" y="1483454"/>
                </a:cubicBezTo>
                <a:cubicBezTo>
                  <a:pt x="1771623" y="1472228"/>
                  <a:pt x="1755230" y="1459799"/>
                  <a:pt x="1735046" y="1443720"/>
                </a:cubicBezTo>
                <a:cubicBezTo>
                  <a:pt x="1714862" y="1427641"/>
                  <a:pt x="1701050" y="1400938"/>
                  <a:pt x="1675378" y="1386979"/>
                </a:cubicBezTo>
                <a:cubicBezTo>
                  <a:pt x="1649706" y="1373020"/>
                  <a:pt x="1615109" y="1367340"/>
                  <a:pt x="1581012" y="1359969"/>
                </a:cubicBezTo>
                <a:cubicBezTo>
                  <a:pt x="1546915" y="1352598"/>
                  <a:pt x="1502624" y="1346021"/>
                  <a:pt x="1470795" y="1342755"/>
                </a:cubicBezTo>
                <a:cubicBezTo>
                  <a:pt x="1438966" y="1339489"/>
                  <a:pt x="1418340" y="1342551"/>
                  <a:pt x="1390037" y="1340374"/>
                </a:cubicBezTo>
                <a:cubicBezTo>
                  <a:pt x="1361144" y="1339195"/>
                  <a:pt x="1338160" y="1338412"/>
                  <a:pt x="1308122" y="1334455"/>
                </a:cubicBezTo>
                <a:cubicBezTo>
                  <a:pt x="1278084" y="1330498"/>
                  <a:pt x="1244598" y="1324149"/>
                  <a:pt x="1209809" y="1316631"/>
                </a:cubicBezTo>
                <a:cubicBezTo>
                  <a:pt x="1175020" y="1309113"/>
                  <a:pt x="1142387" y="1301321"/>
                  <a:pt x="1099388" y="1289347"/>
                </a:cubicBezTo>
                <a:lnTo>
                  <a:pt x="963724" y="1247166"/>
                </a:lnTo>
                <a:lnTo>
                  <a:pt x="850922" y="1210971"/>
                </a:lnTo>
                <a:cubicBezTo>
                  <a:pt x="815793" y="1198747"/>
                  <a:pt x="785311" y="1188087"/>
                  <a:pt x="752949" y="1178585"/>
                </a:cubicBezTo>
                <a:cubicBezTo>
                  <a:pt x="720587" y="1169083"/>
                  <a:pt x="689846" y="1161520"/>
                  <a:pt x="656747" y="1153957"/>
                </a:cubicBezTo>
                <a:cubicBezTo>
                  <a:pt x="622457" y="1143616"/>
                  <a:pt x="588643" y="1134430"/>
                  <a:pt x="554353" y="1128443"/>
                </a:cubicBezTo>
                <a:cubicBezTo>
                  <a:pt x="520063" y="1122456"/>
                  <a:pt x="479310" y="1119667"/>
                  <a:pt x="451007" y="1118034"/>
                </a:cubicBezTo>
                <a:lnTo>
                  <a:pt x="372630" y="1111502"/>
                </a:lnTo>
                <a:cubicBezTo>
                  <a:pt x="346504" y="1109325"/>
                  <a:pt x="279228" y="1089878"/>
                  <a:pt x="245879" y="1076464"/>
                </a:cubicBezTo>
                <a:cubicBezTo>
                  <a:pt x="212530" y="1063050"/>
                  <a:pt x="195884" y="1050009"/>
                  <a:pt x="172537" y="1031016"/>
                </a:cubicBezTo>
                <a:cubicBezTo>
                  <a:pt x="149190" y="1012023"/>
                  <a:pt x="123563" y="984071"/>
                  <a:pt x="105794" y="962504"/>
                </a:cubicBezTo>
                <a:cubicBezTo>
                  <a:pt x="88025" y="940937"/>
                  <a:pt x="79396" y="926207"/>
                  <a:pt x="65925" y="901612"/>
                </a:cubicBezTo>
                <a:cubicBezTo>
                  <a:pt x="52454" y="877017"/>
                  <a:pt x="34957" y="845915"/>
                  <a:pt x="24967" y="814936"/>
                </a:cubicBezTo>
                <a:cubicBezTo>
                  <a:pt x="14977" y="783957"/>
                  <a:pt x="10726" y="748805"/>
                  <a:pt x="5986" y="715739"/>
                </a:cubicBezTo>
                <a:cubicBezTo>
                  <a:pt x="543" y="683082"/>
                  <a:pt x="-3357" y="647034"/>
                  <a:pt x="4217" y="611848"/>
                </a:cubicBezTo>
                <a:cubicBezTo>
                  <a:pt x="11792" y="576662"/>
                  <a:pt x="31839" y="531838"/>
                  <a:pt x="51433" y="504624"/>
                </a:cubicBezTo>
                <a:cubicBezTo>
                  <a:pt x="70120" y="485937"/>
                  <a:pt x="80088" y="470969"/>
                  <a:pt x="107495" y="448562"/>
                </a:cubicBezTo>
                <a:cubicBezTo>
                  <a:pt x="134902" y="426155"/>
                  <a:pt x="173320" y="394678"/>
                  <a:pt x="215876" y="370185"/>
                </a:cubicBezTo>
                <a:cubicBezTo>
                  <a:pt x="258432" y="345692"/>
                  <a:pt x="312215" y="320655"/>
                  <a:pt x="362833" y="301605"/>
                </a:cubicBezTo>
                <a:lnTo>
                  <a:pt x="519587" y="255885"/>
                </a:lnTo>
                <a:lnTo>
                  <a:pt x="650828" y="216698"/>
                </a:lnTo>
                <a:cubicBezTo>
                  <a:pt x="695459" y="204724"/>
                  <a:pt x="752236" y="189618"/>
                  <a:pt x="801664" y="179276"/>
                </a:cubicBezTo>
                <a:cubicBezTo>
                  <a:pt x="851092" y="168934"/>
                  <a:pt x="891176" y="167223"/>
                  <a:pt x="947396" y="154648"/>
                </a:cubicBezTo>
                <a:cubicBezTo>
                  <a:pt x="1003616" y="142073"/>
                  <a:pt x="1075121" y="120767"/>
                  <a:pt x="1138984" y="103826"/>
                </a:cubicBezTo>
                <a:lnTo>
                  <a:pt x="1391533" y="37082"/>
                </a:lnTo>
                <a:lnTo>
                  <a:pt x="1541756" y="6195"/>
                </a:lnTo>
                <a:cubicBezTo>
                  <a:pt x="1585008" y="1003"/>
                  <a:pt x="1615873" y="-813"/>
                  <a:pt x="1651044" y="325"/>
                </a:cubicBezTo>
                <a:cubicBezTo>
                  <a:pt x="1686215" y="1463"/>
                  <a:pt x="1718105" y="1265"/>
                  <a:pt x="1752785" y="13024"/>
                </a:cubicBezTo>
                <a:cubicBezTo>
                  <a:pt x="1787465" y="24783"/>
                  <a:pt x="1824776" y="49896"/>
                  <a:pt x="1859123" y="70881"/>
                </a:cubicBezTo>
                <a:cubicBezTo>
                  <a:pt x="1893470" y="91866"/>
                  <a:pt x="1929299" y="112512"/>
                  <a:pt x="1958866" y="138933"/>
                </a:cubicBezTo>
                <a:lnTo>
                  <a:pt x="2048323" y="216698"/>
                </a:lnTo>
                <a:cubicBezTo>
                  <a:pt x="2075442" y="240544"/>
                  <a:pt x="2095101" y="252293"/>
                  <a:pt x="2116057" y="270798"/>
                </a:cubicBezTo>
                <a:cubicBezTo>
                  <a:pt x="2137013" y="289303"/>
                  <a:pt x="2166986" y="311946"/>
                  <a:pt x="2174062" y="327730"/>
                </a:cubicBezTo>
                <a:cubicBezTo>
                  <a:pt x="2181138" y="343514"/>
                  <a:pt x="2206817" y="364561"/>
                  <a:pt x="2204333" y="386242"/>
                </a:cubicBezTo>
                <a:cubicBezTo>
                  <a:pt x="2201849" y="407923"/>
                  <a:pt x="2183839" y="440008"/>
                  <a:pt x="2159157" y="457815"/>
                </a:cubicBezTo>
                <a:cubicBezTo>
                  <a:pt x="2134475" y="475622"/>
                  <a:pt x="2094225" y="487846"/>
                  <a:pt x="2056242" y="493085"/>
                </a:cubicBezTo>
                <a:cubicBezTo>
                  <a:pt x="2018259" y="498324"/>
                  <a:pt x="1973715" y="487071"/>
                  <a:pt x="1931261" y="489248"/>
                </a:cubicBezTo>
                <a:lnTo>
                  <a:pt x="1851999" y="477954"/>
                </a:lnTo>
                <a:lnTo>
                  <a:pt x="1705042" y="455094"/>
                </a:lnTo>
                <a:lnTo>
                  <a:pt x="1564616" y="428968"/>
                </a:lnTo>
                <a:cubicBezTo>
                  <a:pt x="1519440" y="421348"/>
                  <a:pt x="1474808" y="412095"/>
                  <a:pt x="1433987" y="409374"/>
                </a:cubicBezTo>
                <a:cubicBezTo>
                  <a:pt x="1393166" y="406653"/>
                  <a:pt x="1355508" y="407888"/>
                  <a:pt x="1319687" y="412639"/>
                </a:cubicBezTo>
                <a:cubicBezTo>
                  <a:pt x="1283866" y="417390"/>
                  <a:pt x="1252604" y="429466"/>
                  <a:pt x="1219063" y="437880"/>
                </a:cubicBezTo>
                <a:cubicBezTo>
                  <a:pt x="1188039" y="447133"/>
                  <a:pt x="1166936" y="455491"/>
                  <a:pt x="1133542" y="468157"/>
                </a:cubicBezTo>
                <a:cubicBezTo>
                  <a:pt x="1100148" y="480823"/>
                  <a:pt x="1056979" y="498637"/>
                  <a:pt x="1018697" y="513877"/>
                </a:cubicBezTo>
                <a:cubicBezTo>
                  <a:pt x="982774" y="528028"/>
                  <a:pt x="959925" y="540784"/>
                  <a:pt x="918004" y="550683"/>
                </a:cubicBezTo>
                <a:cubicBezTo>
                  <a:pt x="876083" y="560582"/>
                  <a:pt x="815067" y="567829"/>
                  <a:pt x="767170" y="573272"/>
                </a:cubicBezTo>
                <a:lnTo>
                  <a:pt x="652053" y="575403"/>
                </a:lnTo>
                <a:cubicBezTo>
                  <a:pt x="608109" y="575698"/>
                  <a:pt x="561879" y="577936"/>
                  <a:pt x="520222" y="576288"/>
                </a:cubicBezTo>
                <a:cubicBezTo>
                  <a:pt x="478565" y="574640"/>
                  <a:pt x="444714" y="570312"/>
                  <a:pt x="402112" y="565515"/>
                </a:cubicBezTo>
                <a:cubicBezTo>
                  <a:pt x="367920" y="561630"/>
                  <a:pt x="338344" y="559154"/>
                  <a:pt x="299537" y="553859"/>
                </a:cubicBezTo>
                <a:cubicBezTo>
                  <a:pt x="260730" y="548564"/>
                  <a:pt x="213488" y="539654"/>
                  <a:pt x="169271" y="533743"/>
                </a:cubicBezTo>
              </a:path>
            </a:pathLst>
          </a:custGeom>
          <a:noFill/>
          <a:ln w="85725" cap="sq"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Freeform 25"/>
          <p:cNvSpPr/>
          <p:nvPr/>
        </p:nvSpPr>
        <p:spPr>
          <a:xfrm>
            <a:off x="1226351" y="5531463"/>
            <a:ext cx="394577" cy="108115"/>
          </a:xfrm>
          <a:custGeom>
            <a:avLst/>
            <a:gdLst>
              <a:gd name="connsiteX0" fmla="*/ 919163 w 919163"/>
              <a:gd name="connsiteY0" fmla="*/ 273844 h 273844"/>
              <a:gd name="connsiteX1" fmla="*/ 781050 w 919163"/>
              <a:gd name="connsiteY1" fmla="*/ 242888 h 273844"/>
              <a:gd name="connsiteX2" fmla="*/ 640556 w 919163"/>
              <a:gd name="connsiteY2" fmla="*/ 211931 h 273844"/>
              <a:gd name="connsiteX3" fmla="*/ 531019 w 919163"/>
              <a:gd name="connsiteY3" fmla="*/ 188119 h 273844"/>
              <a:gd name="connsiteX4" fmla="*/ 419100 w 919163"/>
              <a:gd name="connsiteY4" fmla="*/ 152400 h 273844"/>
              <a:gd name="connsiteX5" fmla="*/ 292894 w 919163"/>
              <a:gd name="connsiteY5" fmla="*/ 114300 h 273844"/>
              <a:gd name="connsiteX6" fmla="*/ 188119 w 919163"/>
              <a:gd name="connsiteY6" fmla="*/ 76200 h 273844"/>
              <a:gd name="connsiteX7" fmla="*/ 88106 w 919163"/>
              <a:gd name="connsiteY7" fmla="*/ 38100 h 273844"/>
              <a:gd name="connsiteX8" fmla="*/ 9525 w 919163"/>
              <a:gd name="connsiteY8" fmla="*/ 7144 h 273844"/>
              <a:gd name="connsiteX9" fmla="*/ 19050 w 919163"/>
              <a:gd name="connsiteY9" fmla="*/ 7144 h 273844"/>
              <a:gd name="connsiteX10" fmla="*/ 4763 w 919163"/>
              <a:gd name="connsiteY10" fmla="*/ 0 h 273844"/>
              <a:gd name="connsiteX11" fmla="*/ 4763 w 919163"/>
              <a:gd name="connsiteY11" fmla="*/ 0 h 273844"/>
              <a:gd name="connsiteX12" fmla="*/ 19050 w 919163"/>
              <a:gd name="connsiteY12" fmla="*/ 19050 h 273844"/>
              <a:gd name="connsiteX13" fmla="*/ 0 w 919163"/>
              <a:gd name="connsiteY13" fmla="*/ 9525 h 273844"/>
              <a:gd name="connsiteX14" fmla="*/ 9525 w 919163"/>
              <a:gd name="connsiteY14" fmla="*/ 9525 h 273844"/>
              <a:gd name="connsiteX15" fmla="*/ 28575 w 919163"/>
              <a:gd name="connsiteY15" fmla="*/ 9525 h 273844"/>
              <a:gd name="connsiteX16" fmla="*/ 28575 w 919163"/>
              <a:gd name="connsiteY16" fmla="*/ 9525 h 273844"/>
              <a:gd name="connsiteX0" fmla="*/ 919163 w 919163"/>
              <a:gd name="connsiteY0" fmla="*/ 273844 h 273844"/>
              <a:gd name="connsiteX1" fmla="*/ 781050 w 919163"/>
              <a:gd name="connsiteY1" fmla="*/ 242888 h 273844"/>
              <a:gd name="connsiteX2" fmla="*/ 640556 w 919163"/>
              <a:gd name="connsiteY2" fmla="*/ 211931 h 273844"/>
              <a:gd name="connsiteX3" fmla="*/ 531019 w 919163"/>
              <a:gd name="connsiteY3" fmla="*/ 188119 h 273844"/>
              <a:gd name="connsiteX4" fmla="*/ 419100 w 919163"/>
              <a:gd name="connsiteY4" fmla="*/ 152400 h 273844"/>
              <a:gd name="connsiteX5" fmla="*/ 292894 w 919163"/>
              <a:gd name="connsiteY5" fmla="*/ 114300 h 273844"/>
              <a:gd name="connsiteX6" fmla="*/ 188119 w 919163"/>
              <a:gd name="connsiteY6" fmla="*/ 76200 h 273844"/>
              <a:gd name="connsiteX7" fmla="*/ 88106 w 919163"/>
              <a:gd name="connsiteY7" fmla="*/ 38100 h 273844"/>
              <a:gd name="connsiteX8" fmla="*/ 9525 w 919163"/>
              <a:gd name="connsiteY8" fmla="*/ 7144 h 273844"/>
              <a:gd name="connsiteX9" fmla="*/ 19050 w 919163"/>
              <a:gd name="connsiteY9" fmla="*/ 7144 h 273844"/>
              <a:gd name="connsiteX10" fmla="*/ 4763 w 919163"/>
              <a:gd name="connsiteY10" fmla="*/ 0 h 273844"/>
              <a:gd name="connsiteX11" fmla="*/ 4763 w 919163"/>
              <a:gd name="connsiteY11" fmla="*/ 0 h 273844"/>
              <a:gd name="connsiteX12" fmla="*/ 19050 w 919163"/>
              <a:gd name="connsiteY12" fmla="*/ 19050 h 273844"/>
              <a:gd name="connsiteX13" fmla="*/ 0 w 919163"/>
              <a:gd name="connsiteY13" fmla="*/ 9525 h 273844"/>
              <a:gd name="connsiteX14" fmla="*/ 9525 w 919163"/>
              <a:gd name="connsiteY14" fmla="*/ 9525 h 273844"/>
              <a:gd name="connsiteX15" fmla="*/ 28575 w 919163"/>
              <a:gd name="connsiteY15" fmla="*/ 9525 h 273844"/>
              <a:gd name="connsiteX0" fmla="*/ 919163 w 919163"/>
              <a:gd name="connsiteY0" fmla="*/ 273844 h 273844"/>
              <a:gd name="connsiteX1" fmla="*/ 781050 w 919163"/>
              <a:gd name="connsiteY1" fmla="*/ 242888 h 273844"/>
              <a:gd name="connsiteX2" fmla="*/ 640556 w 919163"/>
              <a:gd name="connsiteY2" fmla="*/ 211931 h 273844"/>
              <a:gd name="connsiteX3" fmla="*/ 531019 w 919163"/>
              <a:gd name="connsiteY3" fmla="*/ 188119 h 273844"/>
              <a:gd name="connsiteX4" fmla="*/ 419100 w 919163"/>
              <a:gd name="connsiteY4" fmla="*/ 152400 h 273844"/>
              <a:gd name="connsiteX5" fmla="*/ 292894 w 919163"/>
              <a:gd name="connsiteY5" fmla="*/ 114300 h 273844"/>
              <a:gd name="connsiteX6" fmla="*/ 188119 w 919163"/>
              <a:gd name="connsiteY6" fmla="*/ 76200 h 273844"/>
              <a:gd name="connsiteX7" fmla="*/ 88106 w 919163"/>
              <a:gd name="connsiteY7" fmla="*/ 38100 h 273844"/>
              <a:gd name="connsiteX8" fmla="*/ 9525 w 919163"/>
              <a:gd name="connsiteY8" fmla="*/ 7144 h 273844"/>
              <a:gd name="connsiteX9" fmla="*/ 19050 w 919163"/>
              <a:gd name="connsiteY9" fmla="*/ 7144 h 273844"/>
              <a:gd name="connsiteX10" fmla="*/ 4763 w 919163"/>
              <a:gd name="connsiteY10" fmla="*/ 0 h 273844"/>
              <a:gd name="connsiteX11" fmla="*/ 4763 w 919163"/>
              <a:gd name="connsiteY11" fmla="*/ 0 h 273844"/>
              <a:gd name="connsiteX12" fmla="*/ 19050 w 919163"/>
              <a:gd name="connsiteY12" fmla="*/ 19050 h 273844"/>
              <a:gd name="connsiteX13" fmla="*/ 0 w 919163"/>
              <a:gd name="connsiteY13" fmla="*/ 9525 h 273844"/>
              <a:gd name="connsiteX14" fmla="*/ 28575 w 919163"/>
              <a:gd name="connsiteY14" fmla="*/ 9525 h 273844"/>
              <a:gd name="connsiteX0" fmla="*/ 919163 w 919163"/>
              <a:gd name="connsiteY0" fmla="*/ 273844 h 273844"/>
              <a:gd name="connsiteX1" fmla="*/ 781050 w 919163"/>
              <a:gd name="connsiteY1" fmla="*/ 242888 h 273844"/>
              <a:gd name="connsiteX2" fmla="*/ 640556 w 919163"/>
              <a:gd name="connsiteY2" fmla="*/ 211931 h 273844"/>
              <a:gd name="connsiteX3" fmla="*/ 531019 w 919163"/>
              <a:gd name="connsiteY3" fmla="*/ 188119 h 273844"/>
              <a:gd name="connsiteX4" fmla="*/ 419100 w 919163"/>
              <a:gd name="connsiteY4" fmla="*/ 152400 h 273844"/>
              <a:gd name="connsiteX5" fmla="*/ 292894 w 919163"/>
              <a:gd name="connsiteY5" fmla="*/ 114300 h 273844"/>
              <a:gd name="connsiteX6" fmla="*/ 188119 w 919163"/>
              <a:gd name="connsiteY6" fmla="*/ 76200 h 273844"/>
              <a:gd name="connsiteX7" fmla="*/ 88106 w 919163"/>
              <a:gd name="connsiteY7" fmla="*/ 38100 h 273844"/>
              <a:gd name="connsiteX8" fmla="*/ 9525 w 919163"/>
              <a:gd name="connsiteY8" fmla="*/ 7144 h 273844"/>
              <a:gd name="connsiteX9" fmla="*/ 19050 w 919163"/>
              <a:gd name="connsiteY9" fmla="*/ 7144 h 273844"/>
              <a:gd name="connsiteX10" fmla="*/ 4763 w 919163"/>
              <a:gd name="connsiteY10" fmla="*/ 0 h 273844"/>
              <a:gd name="connsiteX11" fmla="*/ 4763 w 919163"/>
              <a:gd name="connsiteY11" fmla="*/ 0 h 273844"/>
              <a:gd name="connsiteX12" fmla="*/ 19050 w 919163"/>
              <a:gd name="connsiteY12" fmla="*/ 19050 h 273844"/>
              <a:gd name="connsiteX13" fmla="*/ 0 w 919163"/>
              <a:gd name="connsiteY13" fmla="*/ 9525 h 273844"/>
              <a:gd name="connsiteX0" fmla="*/ 919163 w 919163"/>
              <a:gd name="connsiteY0" fmla="*/ 273844 h 273844"/>
              <a:gd name="connsiteX1" fmla="*/ 781050 w 919163"/>
              <a:gd name="connsiteY1" fmla="*/ 242888 h 273844"/>
              <a:gd name="connsiteX2" fmla="*/ 640556 w 919163"/>
              <a:gd name="connsiteY2" fmla="*/ 211931 h 273844"/>
              <a:gd name="connsiteX3" fmla="*/ 531019 w 919163"/>
              <a:gd name="connsiteY3" fmla="*/ 188119 h 273844"/>
              <a:gd name="connsiteX4" fmla="*/ 419100 w 919163"/>
              <a:gd name="connsiteY4" fmla="*/ 152400 h 273844"/>
              <a:gd name="connsiteX5" fmla="*/ 292894 w 919163"/>
              <a:gd name="connsiteY5" fmla="*/ 114300 h 273844"/>
              <a:gd name="connsiteX6" fmla="*/ 188119 w 919163"/>
              <a:gd name="connsiteY6" fmla="*/ 76200 h 273844"/>
              <a:gd name="connsiteX7" fmla="*/ 88106 w 919163"/>
              <a:gd name="connsiteY7" fmla="*/ 38100 h 273844"/>
              <a:gd name="connsiteX8" fmla="*/ 9525 w 919163"/>
              <a:gd name="connsiteY8" fmla="*/ 7144 h 273844"/>
              <a:gd name="connsiteX9" fmla="*/ 19050 w 919163"/>
              <a:gd name="connsiteY9" fmla="*/ 7144 h 273844"/>
              <a:gd name="connsiteX10" fmla="*/ 4763 w 919163"/>
              <a:gd name="connsiteY10" fmla="*/ 0 h 273844"/>
              <a:gd name="connsiteX11" fmla="*/ 4763 w 919163"/>
              <a:gd name="connsiteY11" fmla="*/ 0 h 273844"/>
              <a:gd name="connsiteX12" fmla="*/ 0 w 919163"/>
              <a:gd name="connsiteY12" fmla="*/ 9525 h 273844"/>
              <a:gd name="connsiteX0" fmla="*/ 919163 w 919163"/>
              <a:gd name="connsiteY0" fmla="*/ 273844 h 273844"/>
              <a:gd name="connsiteX1" fmla="*/ 781050 w 919163"/>
              <a:gd name="connsiteY1" fmla="*/ 242888 h 273844"/>
              <a:gd name="connsiteX2" fmla="*/ 640556 w 919163"/>
              <a:gd name="connsiteY2" fmla="*/ 211931 h 273844"/>
              <a:gd name="connsiteX3" fmla="*/ 531019 w 919163"/>
              <a:gd name="connsiteY3" fmla="*/ 188119 h 273844"/>
              <a:gd name="connsiteX4" fmla="*/ 419100 w 919163"/>
              <a:gd name="connsiteY4" fmla="*/ 152400 h 273844"/>
              <a:gd name="connsiteX5" fmla="*/ 292894 w 919163"/>
              <a:gd name="connsiteY5" fmla="*/ 114300 h 273844"/>
              <a:gd name="connsiteX6" fmla="*/ 188119 w 919163"/>
              <a:gd name="connsiteY6" fmla="*/ 76200 h 273844"/>
              <a:gd name="connsiteX7" fmla="*/ 88106 w 919163"/>
              <a:gd name="connsiteY7" fmla="*/ 38100 h 273844"/>
              <a:gd name="connsiteX8" fmla="*/ 9525 w 919163"/>
              <a:gd name="connsiteY8" fmla="*/ 7144 h 273844"/>
              <a:gd name="connsiteX9" fmla="*/ 19050 w 919163"/>
              <a:gd name="connsiteY9" fmla="*/ 7144 h 273844"/>
              <a:gd name="connsiteX10" fmla="*/ 4763 w 919163"/>
              <a:gd name="connsiteY10" fmla="*/ 0 h 273844"/>
              <a:gd name="connsiteX11" fmla="*/ 4763 w 919163"/>
              <a:gd name="connsiteY11" fmla="*/ 0 h 273844"/>
              <a:gd name="connsiteX12" fmla="*/ 19050 w 919163"/>
              <a:gd name="connsiteY12" fmla="*/ 9525 h 273844"/>
              <a:gd name="connsiteX13" fmla="*/ 0 w 919163"/>
              <a:gd name="connsiteY13" fmla="*/ 9525 h 273844"/>
              <a:gd name="connsiteX0" fmla="*/ 919163 w 919163"/>
              <a:gd name="connsiteY0" fmla="*/ 273844 h 273844"/>
              <a:gd name="connsiteX1" fmla="*/ 781050 w 919163"/>
              <a:gd name="connsiteY1" fmla="*/ 242888 h 273844"/>
              <a:gd name="connsiteX2" fmla="*/ 640556 w 919163"/>
              <a:gd name="connsiteY2" fmla="*/ 211931 h 273844"/>
              <a:gd name="connsiteX3" fmla="*/ 531019 w 919163"/>
              <a:gd name="connsiteY3" fmla="*/ 188119 h 273844"/>
              <a:gd name="connsiteX4" fmla="*/ 419100 w 919163"/>
              <a:gd name="connsiteY4" fmla="*/ 152400 h 273844"/>
              <a:gd name="connsiteX5" fmla="*/ 292894 w 919163"/>
              <a:gd name="connsiteY5" fmla="*/ 114300 h 273844"/>
              <a:gd name="connsiteX6" fmla="*/ 188119 w 919163"/>
              <a:gd name="connsiteY6" fmla="*/ 76200 h 273844"/>
              <a:gd name="connsiteX7" fmla="*/ 88106 w 919163"/>
              <a:gd name="connsiteY7" fmla="*/ 38100 h 273844"/>
              <a:gd name="connsiteX8" fmla="*/ 9525 w 919163"/>
              <a:gd name="connsiteY8" fmla="*/ 7144 h 273844"/>
              <a:gd name="connsiteX9" fmla="*/ 19050 w 919163"/>
              <a:gd name="connsiteY9" fmla="*/ 7144 h 273844"/>
              <a:gd name="connsiteX10" fmla="*/ 4763 w 919163"/>
              <a:gd name="connsiteY10" fmla="*/ 0 h 273844"/>
              <a:gd name="connsiteX11" fmla="*/ 4763 w 919163"/>
              <a:gd name="connsiteY11" fmla="*/ 0 h 273844"/>
              <a:gd name="connsiteX12" fmla="*/ 0 w 919163"/>
              <a:gd name="connsiteY12" fmla="*/ 9525 h 273844"/>
              <a:gd name="connsiteX0" fmla="*/ 919163 w 919163"/>
              <a:gd name="connsiteY0" fmla="*/ 273844 h 273844"/>
              <a:gd name="connsiteX1" fmla="*/ 781050 w 919163"/>
              <a:gd name="connsiteY1" fmla="*/ 242888 h 273844"/>
              <a:gd name="connsiteX2" fmla="*/ 640556 w 919163"/>
              <a:gd name="connsiteY2" fmla="*/ 211931 h 273844"/>
              <a:gd name="connsiteX3" fmla="*/ 531019 w 919163"/>
              <a:gd name="connsiteY3" fmla="*/ 188119 h 273844"/>
              <a:gd name="connsiteX4" fmla="*/ 419100 w 919163"/>
              <a:gd name="connsiteY4" fmla="*/ 152400 h 273844"/>
              <a:gd name="connsiteX5" fmla="*/ 292894 w 919163"/>
              <a:gd name="connsiteY5" fmla="*/ 114300 h 273844"/>
              <a:gd name="connsiteX6" fmla="*/ 188119 w 919163"/>
              <a:gd name="connsiteY6" fmla="*/ 76200 h 273844"/>
              <a:gd name="connsiteX7" fmla="*/ 88106 w 919163"/>
              <a:gd name="connsiteY7" fmla="*/ 38100 h 273844"/>
              <a:gd name="connsiteX8" fmla="*/ 9525 w 919163"/>
              <a:gd name="connsiteY8" fmla="*/ 7144 h 273844"/>
              <a:gd name="connsiteX9" fmla="*/ 19050 w 919163"/>
              <a:gd name="connsiteY9" fmla="*/ 7144 h 273844"/>
              <a:gd name="connsiteX10" fmla="*/ 4763 w 919163"/>
              <a:gd name="connsiteY10" fmla="*/ 0 h 273844"/>
              <a:gd name="connsiteX11" fmla="*/ 0 w 919163"/>
              <a:gd name="connsiteY11" fmla="*/ 9525 h 273844"/>
              <a:gd name="connsiteX0" fmla="*/ 914400 w 914400"/>
              <a:gd name="connsiteY0" fmla="*/ 273844 h 273844"/>
              <a:gd name="connsiteX1" fmla="*/ 776287 w 914400"/>
              <a:gd name="connsiteY1" fmla="*/ 242888 h 273844"/>
              <a:gd name="connsiteX2" fmla="*/ 635793 w 914400"/>
              <a:gd name="connsiteY2" fmla="*/ 211931 h 273844"/>
              <a:gd name="connsiteX3" fmla="*/ 526256 w 914400"/>
              <a:gd name="connsiteY3" fmla="*/ 188119 h 273844"/>
              <a:gd name="connsiteX4" fmla="*/ 414337 w 914400"/>
              <a:gd name="connsiteY4" fmla="*/ 152400 h 273844"/>
              <a:gd name="connsiteX5" fmla="*/ 288131 w 914400"/>
              <a:gd name="connsiteY5" fmla="*/ 114300 h 273844"/>
              <a:gd name="connsiteX6" fmla="*/ 183356 w 914400"/>
              <a:gd name="connsiteY6" fmla="*/ 76200 h 273844"/>
              <a:gd name="connsiteX7" fmla="*/ 83343 w 914400"/>
              <a:gd name="connsiteY7" fmla="*/ 38100 h 273844"/>
              <a:gd name="connsiteX8" fmla="*/ 4762 w 914400"/>
              <a:gd name="connsiteY8" fmla="*/ 7144 h 273844"/>
              <a:gd name="connsiteX9" fmla="*/ 14287 w 914400"/>
              <a:gd name="connsiteY9" fmla="*/ 7144 h 273844"/>
              <a:gd name="connsiteX10" fmla="*/ 0 w 914400"/>
              <a:gd name="connsiteY10" fmla="*/ 0 h 273844"/>
              <a:gd name="connsiteX0" fmla="*/ 909638 w 909638"/>
              <a:gd name="connsiteY0" fmla="*/ 266700 h 266700"/>
              <a:gd name="connsiteX1" fmla="*/ 771525 w 909638"/>
              <a:gd name="connsiteY1" fmla="*/ 235744 h 266700"/>
              <a:gd name="connsiteX2" fmla="*/ 631031 w 909638"/>
              <a:gd name="connsiteY2" fmla="*/ 204787 h 266700"/>
              <a:gd name="connsiteX3" fmla="*/ 521494 w 909638"/>
              <a:gd name="connsiteY3" fmla="*/ 180975 h 266700"/>
              <a:gd name="connsiteX4" fmla="*/ 409575 w 909638"/>
              <a:gd name="connsiteY4" fmla="*/ 145256 h 266700"/>
              <a:gd name="connsiteX5" fmla="*/ 283369 w 909638"/>
              <a:gd name="connsiteY5" fmla="*/ 107156 h 266700"/>
              <a:gd name="connsiteX6" fmla="*/ 178594 w 909638"/>
              <a:gd name="connsiteY6" fmla="*/ 69056 h 266700"/>
              <a:gd name="connsiteX7" fmla="*/ 78581 w 909638"/>
              <a:gd name="connsiteY7" fmla="*/ 30956 h 266700"/>
              <a:gd name="connsiteX8" fmla="*/ 0 w 909638"/>
              <a:gd name="connsiteY8" fmla="*/ 0 h 266700"/>
              <a:gd name="connsiteX9" fmla="*/ 9525 w 909638"/>
              <a:gd name="connsiteY9" fmla="*/ 0 h 266700"/>
              <a:gd name="connsiteX0" fmla="*/ 909638 w 909638"/>
              <a:gd name="connsiteY0" fmla="*/ 266700 h 266700"/>
              <a:gd name="connsiteX1" fmla="*/ 771525 w 909638"/>
              <a:gd name="connsiteY1" fmla="*/ 235744 h 266700"/>
              <a:gd name="connsiteX2" fmla="*/ 631031 w 909638"/>
              <a:gd name="connsiteY2" fmla="*/ 204787 h 266700"/>
              <a:gd name="connsiteX3" fmla="*/ 521494 w 909638"/>
              <a:gd name="connsiteY3" fmla="*/ 180975 h 266700"/>
              <a:gd name="connsiteX4" fmla="*/ 409575 w 909638"/>
              <a:gd name="connsiteY4" fmla="*/ 145256 h 266700"/>
              <a:gd name="connsiteX5" fmla="*/ 283369 w 909638"/>
              <a:gd name="connsiteY5" fmla="*/ 107156 h 266700"/>
              <a:gd name="connsiteX6" fmla="*/ 178594 w 909638"/>
              <a:gd name="connsiteY6" fmla="*/ 69056 h 266700"/>
              <a:gd name="connsiteX7" fmla="*/ 78581 w 909638"/>
              <a:gd name="connsiteY7" fmla="*/ 30956 h 266700"/>
              <a:gd name="connsiteX8" fmla="*/ 0 w 909638"/>
              <a:gd name="connsiteY8" fmla="*/ 0 h 266700"/>
              <a:gd name="connsiteX0" fmla="*/ 897732 w 897732"/>
              <a:gd name="connsiteY0" fmla="*/ 261938 h 261938"/>
              <a:gd name="connsiteX1" fmla="*/ 759619 w 897732"/>
              <a:gd name="connsiteY1" fmla="*/ 230982 h 261938"/>
              <a:gd name="connsiteX2" fmla="*/ 619125 w 897732"/>
              <a:gd name="connsiteY2" fmla="*/ 200025 h 261938"/>
              <a:gd name="connsiteX3" fmla="*/ 509588 w 897732"/>
              <a:gd name="connsiteY3" fmla="*/ 176213 h 261938"/>
              <a:gd name="connsiteX4" fmla="*/ 397669 w 897732"/>
              <a:gd name="connsiteY4" fmla="*/ 140494 h 261938"/>
              <a:gd name="connsiteX5" fmla="*/ 271463 w 897732"/>
              <a:gd name="connsiteY5" fmla="*/ 102394 h 261938"/>
              <a:gd name="connsiteX6" fmla="*/ 166688 w 897732"/>
              <a:gd name="connsiteY6" fmla="*/ 64294 h 261938"/>
              <a:gd name="connsiteX7" fmla="*/ 66675 w 897732"/>
              <a:gd name="connsiteY7" fmla="*/ 26194 h 261938"/>
              <a:gd name="connsiteX8" fmla="*/ 0 w 897732"/>
              <a:gd name="connsiteY8" fmla="*/ 0 h 261938"/>
              <a:gd name="connsiteX0" fmla="*/ 897732 w 897732"/>
              <a:gd name="connsiteY0" fmla="*/ 261938 h 261938"/>
              <a:gd name="connsiteX1" fmla="*/ 759619 w 897732"/>
              <a:gd name="connsiteY1" fmla="*/ 230982 h 261938"/>
              <a:gd name="connsiteX2" fmla="*/ 619125 w 897732"/>
              <a:gd name="connsiteY2" fmla="*/ 200025 h 261938"/>
              <a:gd name="connsiteX3" fmla="*/ 509588 w 897732"/>
              <a:gd name="connsiteY3" fmla="*/ 171450 h 261938"/>
              <a:gd name="connsiteX4" fmla="*/ 397669 w 897732"/>
              <a:gd name="connsiteY4" fmla="*/ 140494 h 261938"/>
              <a:gd name="connsiteX5" fmla="*/ 271463 w 897732"/>
              <a:gd name="connsiteY5" fmla="*/ 102394 h 261938"/>
              <a:gd name="connsiteX6" fmla="*/ 166688 w 897732"/>
              <a:gd name="connsiteY6" fmla="*/ 64294 h 261938"/>
              <a:gd name="connsiteX7" fmla="*/ 66675 w 897732"/>
              <a:gd name="connsiteY7" fmla="*/ 26194 h 261938"/>
              <a:gd name="connsiteX8" fmla="*/ 0 w 897732"/>
              <a:gd name="connsiteY8" fmla="*/ 0 h 261938"/>
              <a:gd name="connsiteX0" fmla="*/ 926307 w 926307"/>
              <a:gd name="connsiteY0" fmla="*/ 271463 h 271463"/>
              <a:gd name="connsiteX1" fmla="*/ 759619 w 926307"/>
              <a:gd name="connsiteY1" fmla="*/ 230982 h 271463"/>
              <a:gd name="connsiteX2" fmla="*/ 619125 w 926307"/>
              <a:gd name="connsiteY2" fmla="*/ 200025 h 271463"/>
              <a:gd name="connsiteX3" fmla="*/ 509588 w 926307"/>
              <a:gd name="connsiteY3" fmla="*/ 171450 h 271463"/>
              <a:gd name="connsiteX4" fmla="*/ 397669 w 926307"/>
              <a:gd name="connsiteY4" fmla="*/ 140494 h 271463"/>
              <a:gd name="connsiteX5" fmla="*/ 271463 w 926307"/>
              <a:gd name="connsiteY5" fmla="*/ 102394 h 271463"/>
              <a:gd name="connsiteX6" fmla="*/ 166688 w 926307"/>
              <a:gd name="connsiteY6" fmla="*/ 64294 h 271463"/>
              <a:gd name="connsiteX7" fmla="*/ 66675 w 926307"/>
              <a:gd name="connsiteY7" fmla="*/ 26194 h 271463"/>
              <a:gd name="connsiteX8" fmla="*/ 0 w 926307"/>
              <a:gd name="connsiteY8" fmla="*/ 0 h 271463"/>
              <a:gd name="connsiteX0" fmla="*/ 940595 w 940595"/>
              <a:gd name="connsiteY0" fmla="*/ 264319 h 264319"/>
              <a:gd name="connsiteX1" fmla="*/ 759619 w 940595"/>
              <a:gd name="connsiteY1" fmla="*/ 230982 h 264319"/>
              <a:gd name="connsiteX2" fmla="*/ 619125 w 940595"/>
              <a:gd name="connsiteY2" fmla="*/ 200025 h 264319"/>
              <a:gd name="connsiteX3" fmla="*/ 509588 w 940595"/>
              <a:gd name="connsiteY3" fmla="*/ 171450 h 264319"/>
              <a:gd name="connsiteX4" fmla="*/ 397669 w 940595"/>
              <a:gd name="connsiteY4" fmla="*/ 140494 h 264319"/>
              <a:gd name="connsiteX5" fmla="*/ 271463 w 940595"/>
              <a:gd name="connsiteY5" fmla="*/ 102394 h 264319"/>
              <a:gd name="connsiteX6" fmla="*/ 166688 w 940595"/>
              <a:gd name="connsiteY6" fmla="*/ 64294 h 264319"/>
              <a:gd name="connsiteX7" fmla="*/ 66675 w 940595"/>
              <a:gd name="connsiteY7" fmla="*/ 26194 h 264319"/>
              <a:gd name="connsiteX8" fmla="*/ 0 w 940595"/>
              <a:gd name="connsiteY8" fmla="*/ 0 h 264319"/>
              <a:gd name="connsiteX0" fmla="*/ 931070 w 931070"/>
              <a:gd name="connsiteY0" fmla="*/ 264319 h 264319"/>
              <a:gd name="connsiteX1" fmla="*/ 750094 w 931070"/>
              <a:gd name="connsiteY1" fmla="*/ 230982 h 264319"/>
              <a:gd name="connsiteX2" fmla="*/ 609600 w 931070"/>
              <a:gd name="connsiteY2" fmla="*/ 200025 h 264319"/>
              <a:gd name="connsiteX3" fmla="*/ 500063 w 931070"/>
              <a:gd name="connsiteY3" fmla="*/ 171450 h 264319"/>
              <a:gd name="connsiteX4" fmla="*/ 388144 w 931070"/>
              <a:gd name="connsiteY4" fmla="*/ 140494 h 264319"/>
              <a:gd name="connsiteX5" fmla="*/ 261938 w 931070"/>
              <a:gd name="connsiteY5" fmla="*/ 102394 h 264319"/>
              <a:gd name="connsiteX6" fmla="*/ 157163 w 931070"/>
              <a:gd name="connsiteY6" fmla="*/ 64294 h 264319"/>
              <a:gd name="connsiteX7" fmla="*/ 57150 w 931070"/>
              <a:gd name="connsiteY7" fmla="*/ 26194 h 264319"/>
              <a:gd name="connsiteX8" fmla="*/ 0 w 931070"/>
              <a:gd name="connsiteY8" fmla="*/ 0 h 264319"/>
              <a:gd name="connsiteX0" fmla="*/ 919163 w 919163"/>
              <a:gd name="connsiteY0" fmla="*/ 254794 h 254794"/>
              <a:gd name="connsiteX1" fmla="*/ 738187 w 919163"/>
              <a:gd name="connsiteY1" fmla="*/ 221457 h 254794"/>
              <a:gd name="connsiteX2" fmla="*/ 597693 w 919163"/>
              <a:gd name="connsiteY2" fmla="*/ 190500 h 254794"/>
              <a:gd name="connsiteX3" fmla="*/ 488156 w 919163"/>
              <a:gd name="connsiteY3" fmla="*/ 161925 h 254794"/>
              <a:gd name="connsiteX4" fmla="*/ 376237 w 919163"/>
              <a:gd name="connsiteY4" fmla="*/ 130969 h 254794"/>
              <a:gd name="connsiteX5" fmla="*/ 250031 w 919163"/>
              <a:gd name="connsiteY5" fmla="*/ 92869 h 254794"/>
              <a:gd name="connsiteX6" fmla="*/ 145256 w 919163"/>
              <a:gd name="connsiteY6" fmla="*/ 54769 h 254794"/>
              <a:gd name="connsiteX7" fmla="*/ 45243 w 919163"/>
              <a:gd name="connsiteY7" fmla="*/ 16669 h 254794"/>
              <a:gd name="connsiteX8" fmla="*/ 0 w 919163"/>
              <a:gd name="connsiteY8" fmla="*/ 0 h 254794"/>
              <a:gd name="connsiteX0" fmla="*/ 919163 w 919163"/>
              <a:gd name="connsiteY0" fmla="*/ 254794 h 254794"/>
              <a:gd name="connsiteX1" fmla="*/ 738187 w 919163"/>
              <a:gd name="connsiteY1" fmla="*/ 221457 h 254794"/>
              <a:gd name="connsiteX2" fmla="*/ 602455 w 919163"/>
              <a:gd name="connsiteY2" fmla="*/ 185738 h 254794"/>
              <a:gd name="connsiteX3" fmla="*/ 488156 w 919163"/>
              <a:gd name="connsiteY3" fmla="*/ 161925 h 254794"/>
              <a:gd name="connsiteX4" fmla="*/ 376237 w 919163"/>
              <a:gd name="connsiteY4" fmla="*/ 130969 h 254794"/>
              <a:gd name="connsiteX5" fmla="*/ 250031 w 919163"/>
              <a:gd name="connsiteY5" fmla="*/ 92869 h 254794"/>
              <a:gd name="connsiteX6" fmla="*/ 145256 w 919163"/>
              <a:gd name="connsiteY6" fmla="*/ 54769 h 254794"/>
              <a:gd name="connsiteX7" fmla="*/ 45243 w 919163"/>
              <a:gd name="connsiteY7" fmla="*/ 16669 h 254794"/>
              <a:gd name="connsiteX8" fmla="*/ 0 w 919163"/>
              <a:gd name="connsiteY8" fmla="*/ 0 h 254794"/>
              <a:gd name="connsiteX0" fmla="*/ 919163 w 919163"/>
              <a:gd name="connsiteY0" fmla="*/ 254794 h 254794"/>
              <a:gd name="connsiteX1" fmla="*/ 738187 w 919163"/>
              <a:gd name="connsiteY1" fmla="*/ 221457 h 254794"/>
              <a:gd name="connsiteX2" fmla="*/ 602455 w 919163"/>
              <a:gd name="connsiteY2" fmla="*/ 185738 h 254794"/>
              <a:gd name="connsiteX3" fmla="*/ 483393 w 919163"/>
              <a:gd name="connsiteY3" fmla="*/ 154781 h 254794"/>
              <a:gd name="connsiteX4" fmla="*/ 376237 w 919163"/>
              <a:gd name="connsiteY4" fmla="*/ 130969 h 254794"/>
              <a:gd name="connsiteX5" fmla="*/ 250031 w 919163"/>
              <a:gd name="connsiteY5" fmla="*/ 92869 h 254794"/>
              <a:gd name="connsiteX6" fmla="*/ 145256 w 919163"/>
              <a:gd name="connsiteY6" fmla="*/ 54769 h 254794"/>
              <a:gd name="connsiteX7" fmla="*/ 45243 w 919163"/>
              <a:gd name="connsiteY7" fmla="*/ 16669 h 254794"/>
              <a:gd name="connsiteX8" fmla="*/ 0 w 919163"/>
              <a:gd name="connsiteY8" fmla="*/ 0 h 254794"/>
              <a:gd name="connsiteX0" fmla="*/ 919163 w 919163"/>
              <a:gd name="connsiteY0" fmla="*/ 254794 h 254794"/>
              <a:gd name="connsiteX1" fmla="*/ 738187 w 919163"/>
              <a:gd name="connsiteY1" fmla="*/ 221457 h 254794"/>
              <a:gd name="connsiteX2" fmla="*/ 602455 w 919163"/>
              <a:gd name="connsiteY2" fmla="*/ 185738 h 254794"/>
              <a:gd name="connsiteX3" fmla="*/ 483393 w 919163"/>
              <a:gd name="connsiteY3" fmla="*/ 154781 h 254794"/>
              <a:gd name="connsiteX4" fmla="*/ 376237 w 919163"/>
              <a:gd name="connsiteY4" fmla="*/ 123825 h 254794"/>
              <a:gd name="connsiteX5" fmla="*/ 250031 w 919163"/>
              <a:gd name="connsiteY5" fmla="*/ 92869 h 254794"/>
              <a:gd name="connsiteX6" fmla="*/ 145256 w 919163"/>
              <a:gd name="connsiteY6" fmla="*/ 54769 h 254794"/>
              <a:gd name="connsiteX7" fmla="*/ 45243 w 919163"/>
              <a:gd name="connsiteY7" fmla="*/ 16669 h 254794"/>
              <a:gd name="connsiteX8" fmla="*/ 0 w 919163"/>
              <a:gd name="connsiteY8" fmla="*/ 0 h 254794"/>
              <a:gd name="connsiteX0" fmla="*/ 919163 w 919163"/>
              <a:gd name="connsiteY0" fmla="*/ 254794 h 254794"/>
              <a:gd name="connsiteX1" fmla="*/ 738187 w 919163"/>
              <a:gd name="connsiteY1" fmla="*/ 221457 h 254794"/>
              <a:gd name="connsiteX2" fmla="*/ 602455 w 919163"/>
              <a:gd name="connsiteY2" fmla="*/ 185738 h 254794"/>
              <a:gd name="connsiteX3" fmla="*/ 483393 w 919163"/>
              <a:gd name="connsiteY3" fmla="*/ 154781 h 254794"/>
              <a:gd name="connsiteX4" fmla="*/ 376237 w 919163"/>
              <a:gd name="connsiteY4" fmla="*/ 123825 h 254794"/>
              <a:gd name="connsiteX5" fmla="*/ 250031 w 919163"/>
              <a:gd name="connsiteY5" fmla="*/ 85725 h 254794"/>
              <a:gd name="connsiteX6" fmla="*/ 145256 w 919163"/>
              <a:gd name="connsiteY6" fmla="*/ 54769 h 254794"/>
              <a:gd name="connsiteX7" fmla="*/ 45243 w 919163"/>
              <a:gd name="connsiteY7" fmla="*/ 16669 h 254794"/>
              <a:gd name="connsiteX8" fmla="*/ 0 w 919163"/>
              <a:gd name="connsiteY8" fmla="*/ 0 h 254794"/>
              <a:gd name="connsiteX0" fmla="*/ 919163 w 919163"/>
              <a:gd name="connsiteY0" fmla="*/ 254794 h 254794"/>
              <a:gd name="connsiteX1" fmla="*/ 738187 w 919163"/>
              <a:gd name="connsiteY1" fmla="*/ 221457 h 254794"/>
              <a:gd name="connsiteX2" fmla="*/ 602455 w 919163"/>
              <a:gd name="connsiteY2" fmla="*/ 185738 h 254794"/>
              <a:gd name="connsiteX3" fmla="*/ 483393 w 919163"/>
              <a:gd name="connsiteY3" fmla="*/ 154781 h 254794"/>
              <a:gd name="connsiteX4" fmla="*/ 376237 w 919163"/>
              <a:gd name="connsiteY4" fmla="*/ 123825 h 254794"/>
              <a:gd name="connsiteX5" fmla="*/ 250031 w 919163"/>
              <a:gd name="connsiteY5" fmla="*/ 85725 h 254794"/>
              <a:gd name="connsiteX6" fmla="*/ 138112 w 919163"/>
              <a:gd name="connsiteY6" fmla="*/ 52388 h 254794"/>
              <a:gd name="connsiteX7" fmla="*/ 45243 w 919163"/>
              <a:gd name="connsiteY7" fmla="*/ 16669 h 254794"/>
              <a:gd name="connsiteX8" fmla="*/ 0 w 919163"/>
              <a:gd name="connsiteY8" fmla="*/ 0 h 254794"/>
              <a:gd name="connsiteX0" fmla="*/ 919163 w 919163"/>
              <a:gd name="connsiteY0" fmla="*/ 254794 h 254794"/>
              <a:gd name="connsiteX1" fmla="*/ 738187 w 919163"/>
              <a:gd name="connsiteY1" fmla="*/ 221457 h 254794"/>
              <a:gd name="connsiteX2" fmla="*/ 602455 w 919163"/>
              <a:gd name="connsiteY2" fmla="*/ 185738 h 254794"/>
              <a:gd name="connsiteX3" fmla="*/ 483393 w 919163"/>
              <a:gd name="connsiteY3" fmla="*/ 154781 h 254794"/>
              <a:gd name="connsiteX4" fmla="*/ 376237 w 919163"/>
              <a:gd name="connsiteY4" fmla="*/ 123825 h 254794"/>
              <a:gd name="connsiteX5" fmla="*/ 250031 w 919163"/>
              <a:gd name="connsiteY5" fmla="*/ 85725 h 254794"/>
              <a:gd name="connsiteX6" fmla="*/ 147637 w 919163"/>
              <a:gd name="connsiteY6" fmla="*/ 52388 h 254794"/>
              <a:gd name="connsiteX7" fmla="*/ 45243 w 919163"/>
              <a:gd name="connsiteY7" fmla="*/ 16669 h 254794"/>
              <a:gd name="connsiteX8" fmla="*/ 0 w 919163"/>
              <a:gd name="connsiteY8" fmla="*/ 0 h 254794"/>
              <a:gd name="connsiteX0" fmla="*/ 919163 w 919163"/>
              <a:gd name="connsiteY0" fmla="*/ 254794 h 254794"/>
              <a:gd name="connsiteX1" fmla="*/ 745331 w 919163"/>
              <a:gd name="connsiteY1" fmla="*/ 221457 h 254794"/>
              <a:gd name="connsiteX2" fmla="*/ 602455 w 919163"/>
              <a:gd name="connsiteY2" fmla="*/ 185738 h 254794"/>
              <a:gd name="connsiteX3" fmla="*/ 483393 w 919163"/>
              <a:gd name="connsiteY3" fmla="*/ 154781 h 254794"/>
              <a:gd name="connsiteX4" fmla="*/ 376237 w 919163"/>
              <a:gd name="connsiteY4" fmla="*/ 123825 h 254794"/>
              <a:gd name="connsiteX5" fmla="*/ 250031 w 919163"/>
              <a:gd name="connsiteY5" fmla="*/ 85725 h 254794"/>
              <a:gd name="connsiteX6" fmla="*/ 147637 w 919163"/>
              <a:gd name="connsiteY6" fmla="*/ 52388 h 254794"/>
              <a:gd name="connsiteX7" fmla="*/ 45243 w 919163"/>
              <a:gd name="connsiteY7" fmla="*/ 16669 h 254794"/>
              <a:gd name="connsiteX8" fmla="*/ 0 w 919163"/>
              <a:gd name="connsiteY8" fmla="*/ 0 h 254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9163" h="254794">
                <a:moveTo>
                  <a:pt x="919163" y="254794"/>
                </a:moveTo>
                <a:cubicBezTo>
                  <a:pt x="858838" y="243682"/>
                  <a:pt x="798116" y="232966"/>
                  <a:pt x="745331" y="221457"/>
                </a:cubicBezTo>
                <a:cubicBezTo>
                  <a:pt x="692546" y="209948"/>
                  <a:pt x="646111" y="196851"/>
                  <a:pt x="602455" y="185738"/>
                </a:cubicBezTo>
                <a:lnTo>
                  <a:pt x="483393" y="154781"/>
                </a:lnTo>
                <a:cubicBezTo>
                  <a:pt x="447674" y="146844"/>
                  <a:pt x="415131" y="135334"/>
                  <a:pt x="376237" y="123825"/>
                </a:cubicBezTo>
                <a:lnTo>
                  <a:pt x="250031" y="85725"/>
                </a:lnTo>
                <a:cubicBezTo>
                  <a:pt x="215106" y="75406"/>
                  <a:pt x="181768" y="63897"/>
                  <a:pt x="147637" y="52388"/>
                </a:cubicBezTo>
                <a:cubicBezTo>
                  <a:pt x="113506" y="40879"/>
                  <a:pt x="69849" y="25400"/>
                  <a:pt x="45243" y="16669"/>
                </a:cubicBezTo>
                <a:cubicBezTo>
                  <a:pt x="20637" y="7938"/>
                  <a:pt x="19050" y="8731"/>
                  <a:pt x="0" y="0"/>
                </a:cubicBezTo>
              </a:path>
            </a:pathLst>
          </a:custGeom>
          <a:noFill/>
          <a:ln w="85725" cap="rnd"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p:cNvSpPr/>
          <p:nvPr/>
        </p:nvSpPr>
        <p:spPr>
          <a:xfrm>
            <a:off x="6276676" y="3171017"/>
            <a:ext cx="1879003" cy="923330"/>
          </a:xfrm>
          <a:prstGeom prst="rect">
            <a:avLst/>
          </a:prstGeom>
          <a:solidFill>
            <a:srgbClr val="F2F2F2"/>
          </a:solidFill>
        </p:spPr>
        <p:txBody>
          <a:bodyPr vert="horz" wrap="square" lIns="45720" tIns="45720" rIns="45720" bIns="45720">
            <a:spAutoFit/>
          </a:bodyPr>
          <a:lstStyle/>
          <a:p>
            <a:pPr marL="108000" lvl="1" algn="ctr" defTabSz="914286">
              <a:buClr>
                <a:schemeClr val="tx2">
                  <a:lumMod val="100000"/>
                </a:schemeClr>
              </a:buClr>
              <a:buSzPct val="100000"/>
              <a:defRPr/>
            </a:pPr>
            <a:r>
              <a:rPr lang="en-AU" dirty="0">
                <a:solidFill>
                  <a:schemeClr val="tx1">
                    <a:lumMod val="100000"/>
                  </a:schemeClr>
                </a:solidFill>
                <a:latin typeface="Trebuchet MS" panose="020B0603020202020204" pitchFamily="34" charset="0"/>
                <a:ea typeface="+mj-ea"/>
                <a:cs typeface="+mj-cs"/>
                <a:sym typeface="Trebuchet MS" panose="020B0603020202020204" pitchFamily="34" charset="0"/>
              </a:rPr>
              <a:t>Build capabilities while executing</a:t>
            </a:r>
          </a:p>
        </p:txBody>
      </p:sp>
      <p:sp>
        <p:nvSpPr>
          <p:cNvPr id="50" name="TextBox 49"/>
          <p:cNvSpPr txBox="1"/>
          <p:nvPr/>
        </p:nvSpPr>
        <p:spPr>
          <a:xfrm>
            <a:off x="8300400" y="5267532"/>
            <a:ext cx="2011680" cy="1200329"/>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108000" lvl="1" algn="ctr" defTabSz="914286">
              <a:buClr>
                <a:schemeClr val="tx2">
                  <a:lumMod val="100000"/>
                </a:schemeClr>
              </a:buClr>
              <a:buSzPct val="100000"/>
              <a:defRPr/>
            </a:pPr>
            <a:r>
              <a:rPr lang="en-US" dirty="0">
                <a:solidFill>
                  <a:schemeClr val="tx1">
                    <a:lumMod val="100000"/>
                  </a:schemeClr>
                </a:solidFill>
                <a:latin typeface="Trebuchet MS" panose="020B0603020202020204" pitchFamily="34" charset="0"/>
                <a:sym typeface="Trebuchet MS" panose="020B0603020202020204" pitchFamily="34" charset="0"/>
              </a:rPr>
              <a:t>Apply innovative methods, digital</a:t>
            </a:r>
            <a:br>
              <a:rPr lang="en-US" dirty="0">
                <a:solidFill>
                  <a:schemeClr val="tx1">
                    <a:lumMod val="100000"/>
                  </a:schemeClr>
                </a:solidFill>
                <a:latin typeface="Trebuchet MS" panose="020B0603020202020204" pitchFamily="34" charset="0"/>
                <a:sym typeface="Trebuchet MS" panose="020B0603020202020204" pitchFamily="34" charset="0"/>
              </a:rPr>
            </a:br>
            <a:r>
              <a:rPr lang="en-US" dirty="0">
                <a:solidFill>
                  <a:schemeClr val="tx1">
                    <a:lumMod val="100000"/>
                  </a:schemeClr>
                </a:solidFill>
                <a:latin typeface="Trebuchet MS" panose="020B0603020202020204" pitchFamily="34" charset="0"/>
                <a:sym typeface="Trebuchet MS" panose="020B0603020202020204" pitchFamily="34" charset="0"/>
              </a:rPr>
              <a:t>tools, and agile</a:t>
            </a:r>
            <a:br>
              <a:rPr lang="en-US" dirty="0">
                <a:solidFill>
                  <a:schemeClr val="tx1">
                    <a:lumMod val="100000"/>
                  </a:schemeClr>
                </a:solidFill>
                <a:latin typeface="Trebuchet MS" panose="020B0603020202020204" pitchFamily="34" charset="0"/>
                <a:sym typeface="Trebuchet MS" panose="020B0603020202020204" pitchFamily="34" charset="0"/>
              </a:rPr>
            </a:br>
            <a:r>
              <a:rPr lang="en-US" dirty="0">
                <a:solidFill>
                  <a:schemeClr val="tx1">
                    <a:lumMod val="100000"/>
                  </a:schemeClr>
                </a:solidFill>
                <a:latin typeface="Trebuchet MS" panose="020B0603020202020204" pitchFamily="34" charset="0"/>
                <a:sym typeface="Trebuchet MS" panose="020B0603020202020204" pitchFamily="34" charset="0"/>
              </a:rPr>
              <a:t>ways of working</a:t>
            </a:r>
          </a:p>
        </p:txBody>
      </p:sp>
      <p:sp>
        <p:nvSpPr>
          <p:cNvPr id="51" name="TextBox 50"/>
          <p:cNvSpPr txBox="1"/>
          <p:nvPr/>
        </p:nvSpPr>
        <p:spPr>
          <a:xfrm>
            <a:off x="9832720" y="3062531"/>
            <a:ext cx="2349904" cy="1200329"/>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108000" lvl="1" algn="ctr" defTabSz="914286">
              <a:buClr>
                <a:schemeClr val="tx2">
                  <a:lumMod val="100000"/>
                </a:schemeClr>
              </a:buClr>
              <a:buSzPct val="100000"/>
              <a:defRPr/>
            </a:pPr>
            <a:r>
              <a:rPr lang="en-US" dirty="0">
                <a:solidFill>
                  <a:schemeClr val="tx1">
                    <a:lumMod val="100000"/>
                  </a:schemeClr>
                </a:solidFill>
                <a:latin typeface="Trebuchet MS" panose="020B0603020202020204" pitchFamily="34" charset="0"/>
                <a:sym typeface="Trebuchet MS" panose="020B0603020202020204" pitchFamily="34" charset="0"/>
              </a:rPr>
              <a:t>Entrust your best leaders with the big rocks and ensure ongoing cooperation</a:t>
            </a:r>
            <a:endParaRPr lang="en-AU" dirty="0">
              <a:solidFill>
                <a:schemeClr val="tx1">
                  <a:lumMod val="100000"/>
                </a:schemeClr>
              </a:solidFill>
              <a:latin typeface="Trebuchet MS" panose="020B0603020202020204" pitchFamily="34" charset="0"/>
              <a:sym typeface="Trebuchet MS" panose="020B0603020202020204" pitchFamily="34" charset="0"/>
            </a:endParaRPr>
          </a:p>
        </p:txBody>
      </p:sp>
      <p:sp>
        <p:nvSpPr>
          <p:cNvPr id="52" name="TextBox 51"/>
          <p:cNvSpPr txBox="1"/>
          <p:nvPr/>
        </p:nvSpPr>
        <p:spPr>
          <a:xfrm>
            <a:off x="8155679" y="1274611"/>
            <a:ext cx="2157485" cy="1200329"/>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108000" lvl="1" algn="ctr" defTabSz="914286">
              <a:buClr>
                <a:schemeClr val="tx2">
                  <a:lumMod val="100000"/>
                </a:schemeClr>
              </a:buClr>
              <a:buSzPct val="100000"/>
              <a:defRPr/>
            </a:pPr>
            <a:r>
              <a:rPr lang="en-US" dirty="0">
                <a:solidFill>
                  <a:srgbClr val="575757"/>
                </a:solidFill>
              </a:rPr>
              <a:t>Ensure executional discipline and set teams up for success </a:t>
            </a:r>
          </a:p>
        </p:txBody>
      </p:sp>
      <p:grpSp>
        <p:nvGrpSpPr>
          <p:cNvPr id="67" name="bcgIcons_ThumbsUp">
            <a:extLst>
              <a:ext uri="{FF2B5EF4-FFF2-40B4-BE49-F238E27FC236}">
                <a16:creationId xmlns:a16="http://schemas.microsoft.com/office/drawing/2014/main" id="{C683F435-8684-42DF-9D7A-77B11EA29B55}"/>
              </a:ext>
            </a:extLst>
          </p:cNvPr>
          <p:cNvGrpSpPr>
            <a:grpSpLocks noChangeAspect="1"/>
          </p:cNvGrpSpPr>
          <p:nvPr/>
        </p:nvGrpSpPr>
        <p:grpSpPr bwMode="auto">
          <a:xfrm>
            <a:off x="8932124" y="617829"/>
            <a:ext cx="813194" cy="813946"/>
            <a:chOff x="1682" y="0"/>
            <a:chExt cx="4316" cy="4320"/>
          </a:xfrm>
        </p:grpSpPr>
        <p:sp>
          <p:nvSpPr>
            <p:cNvPr id="68" name="AutoShape 3">
              <a:extLst>
                <a:ext uri="{FF2B5EF4-FFF2-40B4-BE49-F238E27FC236}">
                  <a16:creationId xmlns:a16="http://schemas.microsoft.com/office/drawing/2014/main" id="{3791D042-F92F-4CC2-8DD6-DDE02CC55D4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5">
              <a:extLst>
                <a:ext uri="{FF2B5EF4-FFF2-40B4-BE49-F238E27FC236}">
                  <a16:creationId xmlns:a16="http://schemas.microsoft.com/office/drawing/2014/main" id="{A1D8D785-64BE-4F3D-B7FB-AA35AB4AB0C9}"/>
                </a:ext>
              </a:extLst>
            </p:cNvPr>
            <p:cNvSpPr>
              <a:spLocks/>
            </p:cNvSpPr>
            <p:nvPr/>
          </p:nvSpPr>
          <p:spPr bwMode="auto">
            <a:xfrm>
              <a:off x="3248" y="698"/>
              <a:ext cx="2034" cy="2919"/>
            </a:xfrm>
            <a:custGeom>
              <a:avLst/>
              <a:gdLst>
                <a:gd name="T0" fmla="*/ 1086 w 1086"/>
                <a:gd name="T1" fmla="*/ 681 h 1557"/>
                <a:gd name="T2" fmla="*/ 530 w 1086"/>
                <a:gd name="T3" fmla="*/ 537 h 1557"/>
                <a:gd name="T4" fmla="*/ 593 w 1086"/>
                <a:gd name="T5" fmla="*/ 253 h 1557"/>
                <a:gd name="T6" fmla="*/ 391 w 1086"/>
                <a:gd name="T7" fmla="*/ 4 h 1557"/>
                <a:gd name="T8" fmla="*/ 279 w 1086"/>
                <a:gd name="T9" fmla="*/ 114 h 1557"/>
                <a:gd name="T10" fmla="*/ 279 w 1086"/>
                <a:gd name="T11" fmla="*/ 221 h 1557"/>
                <a:gd name="T12" fmla="*/ 0 w 1086"/>
                <a:gd name="T13" fmla="*/ 523 h 1557"/>
                <a:gd name="T14" fmla="*/ 203 w 1086"/>
                <a:gd name="T15" fmla="*/ 459 h 1557"/>
                <a:gd name="T16" fmla="*/ 323 w 1086"/>
                <a:gd name="T17" fmla="*/ 114 h 1557"/>
                <a:gd name="T18" fmla="*/ 386 w 1086"/>
                <a:gd name="T19" fmla="*/ 48 h 1557"/>
                <a:gd name="T20" fmla="*/ 549 w 1086"/>
                <a:gd name="T21" fmla="*/ 257 h 1557"/>
                <a:gd name="T22" fmla="*/ 476 w 1086"/>
                <a:gd name="T23" fmla="*/ 570 h 1557"/>
                <a:gd name="T24" fmla="*/ 942 w 1086"/>
                <a:gd name="T25" fmla="*/ 581 h 1557"/>
                <a:gd name="T26" fmla="*/ 942 w 1086"/>
                <a:gd name="T27" fmla="*/ 781 h 1557"/>
                <a:gd name="T28" fmla="*/ 917 w 1086"/>
                <a:gd name="T29" fmla="*/ 780 h 1557"/>
                <a:gd name="T30" fmla="*/ 757 w 1086"/>
                <a:gd name="T31" fmla="*/ 802 h 1557"/>
                <a:gd name="T32" fmla="*/ 807 w 1086"/>
                <a:gd name="T33" fmla="*/ 824 h 1557"/>
                <a:gd name="T34" fmla="*/ 924 w 1086"/>
                <a:gd name="T35" fmla="*/ 825 h 1557"/>
                <a:gd name="T36" fmla="*/ 917 w 1086"/>
                <a:gd name="T37" fmla="*/ 1024 h 1557"/>
                <a:gd name="T38" fmla="*/ 874 w 1086"/>
                <a:gd name="T39" fmla="*/ 1025 h 1557"/>
                <a:gd name="T40" fmla="*/ 757 w 1086"/>
                <a:gd name="T41" fmla="*/ 1024 h 1557"/>
                <a:gd name="T42" fmla="*/ 757 w 1086"/>
                <a:gd name="T43" fmla="*/ 1068 h 1557"/>
                <a:gd name="T44" fmla="*/ 961 w 1086"/>
                <a:gd name="T45" fmla="*/ 1168 h 1557"/>
                <a:gd name="T46" fmla="*/ 793 w 1086"/>
                <a:gd name="T47" fmla="*/ 1269 h 1557"/>
                <a:gd name="T48" fmla="*/ 724 w 1086"/>
                <a:gd name="T49" fmla="*/ 1269 h 1557"/>
                <a:gd name="T50" fmla="*/ 724 w 1086"/>
                <a:gd name="T51" fmla="*/ 1313 h 1557"/>
                <a:gd name="T52" fmla="*/ 793 w 1086"/>
                <a:gd name="T53" fmla="*/ 1313 h 1557"/>
                <a:gd name="T54" fmla="*/ 793 w 1086"/>
                <a:gd name="T55" fmla="*/ 1513 h 1557"/>
                <a:gd name="T56" fmla="*/ 26 w 1086"/>
                <a:gd name="T57" fmla="*/ 1394 h 1557"/>
                <a:gd name="T58" fmla="*/ 344 w 1086"/>
                <a:gd name="T59" fmla="*/ 1557 h 1557"/>
                <a:gd name="T60" fmla="*/ 937 w 1086"/>
                <a:gd name="T61" fmla="*/ 1413 h 1557"/>
                <a:gd name="T62" fmla="*/ 1005 w 1086"/>
                <a:gd name="T63" fmla="*/ 1168 h 1557"/>
                <a:gd name="T64" fmla="*/ 1061 w 1086"/>
                <a:gd name="T65" fmla="*/ 924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6" h="1557">
                  <a:moveTo>
                    <a:pt x="1004" y="810"/>
                  </a:moveTo>
                  <a:cubicBezTo>
                    <a:pt x="1052" y="787"/>
                    <a:pt x="1086" y="738"/>
                    <a:pt x="1086" y="681"/>
                  </a:cubicBezTo>
                  <a:cubicBezTo>
                    <a:pt x="1086" y="601"/>
                    <a:pt x="1021" y="537"/>
                    <a:pt x="942" y="537"/>
                  </a:cubicBezTo>
                  <a:cubicBezTo>
                    <a:pt x="530" y="537"/>
                    <a:pt x="530" y="537"/>
                    <a:pt x="530" y="537"/>
                  </a:cubicBezTo>
                  <a:cubicBezTo>
                    <a:pt x="553" y="485"/>
                    <a:pt x="593" y="378"/>
                    <a:pt x="593" y="255"/>
                  </a:cubicBezTo>
                  <a:cubicBezTo>
                    <a:pt x="593" y="255"/>
                    <a:pt x="593" y="254"/>
                    <a:pt x="593" y="253"/>
                  </a:cubicBezTo>
                  <a:cubicBezTo>
                    <a:pt x="592" y="251"/>
                    <a:pt x="586" y="193"/>
                    <a:pt x="559" y="134"/>
                  </a:cubicBezTo>
                  <a:cubicBezTo>
                    <a:pt x="522" y="52"/>
                    <a:pt x="464" y="7"/>
                    <a:pt x="391" y="4"/>
                  </a:cubicBezTo>
                  <a:cubicBezTo>
                    <a:pt x="383" y="3"/>
                    <a:pt x="344" y="0"/>
                    <a:pt x="313" y="26"/>
                  </a:cubicBezTo>
                  <a:cubicBezTo>
                    <a:pt x="291" y="46"/>
                    <a:pt x="279" y="75"/>
                    <a:pt x="279" y="114"/>
                  </a:cubicBezTo>
                  <a:cubicBezTo>
                    <a:pt x="279" y="221"/>
                    <a:pt x="279" y="221"/>
                    <a:pt x="279" y="221"/>
                  </a:cubicBezTo>
                  <a:cubicBezTo>
                    <a:pt x="279" y="221"/>
                    <a:pt x="279" y="221"/>
                    <a:pt x="279" y="221"/>
                  </a:cubicBezTo>
                  <a:cubicBezTo>
                    <a:pt x="279" y="223"/>
                    <a:pt x="283" y="364"/>
                    <a:pt x="181" y="420"/>
                  </a:cubicBezTo>
                  <a:cubicBezTo>
                    <a:pt x="132" y="448"/>
                    <a:pt x="63" y="487"/>
                    <a:pt x="0" y="523"/>
                  </a:cubicBezTo>
                  <a:cubicBezTo>
                    <a:pt x="12" y="531"/>
                    <a:pt x="21" y="544"/>
                    <a:pt x="25" y="559"/>
                  </a:cubicBezTo>
                  <a:cubicBezTo>
                    <a:pt x="86" y="524"/>
                    <a:pt x="154" y="486"/>
                    <a:pt x="203" y="459"/>
                  </a:cubicBezTo>
                  <a:cubicBezTo>
                    <a:pt x="326" y="390"/>
                    <a:pt x="324" y="232"/>
                    <a:pt x="323" y="220"/>
                  </a:cubicBezTo>
                  <a:cubicBezTo>
                    <a:pt x="323" y="114"/>
                    <a:pt x="323" y="114"/>
                    <a:pt x="323" y="114"/>
                  </a:cubicBezTo>
                  <a:cubicBezTo>
                    <a:pt x="323" y="89"/>
                    <a:pt x="330" y="70"/>
                    <a:pt x="342" y="60"/>
                  </a:cubicBezTo>
                  <a:cubicBezTo>
                    <a:pt x="359" y="44"/>
                    <a:pt x="386" y="48"/>
                    <a:pt x="386" y="48"/>
                  </a:cubicBezTo>
                  <a:cubicBezTo>
                    <a:pt x="387" y="48"/>
                    <a:pt x="388" y="48"/>
                    <a:pt x="389" y="48"/>
                  </a:cubicBezTo>
                  <a:cubicBezTo>
                    <a:pt x="520" y="52"/>
                    <a:pt x="547" y="241"/>
                    <a:pt x="549" y="257"/>
                  </a:cubicBezTo>
                  <a:cubicBezTo>
                    <a:pt x="548" y="413"/>
                    <a:pt x="476" y="547"/>
                    <a:pt x="476" y="548"/>
                  </a:cubicBezTo>
                  <a:cubicBezTo>
                    <a:pt x="472" y="555"/>
                    <a:pt x="472" y="563"/>
                    <a:pt x="476" y="570"/>
                  </a:cubicBezTo>
                  <a:cubicBezTo>
                    <a:pt x="480" y="577"/>
                    <a:pt x="487" y="581"/>
                    <a:pt x="495" y="581"/>
                  </a:cubicBezTo>
                  <a:cubicBezTo>
                    <a:pt x="942" y="581"/>
                    <a:pt x="942" y="581"/>
                    <a:pt x="942" y="581"/>
                  </a:cubicBezTo>
                  <a:cubicBezTo>
                    <a:pt x="997" y="581"/>
                    <a:pt x="1042" y="626"/>
                    <a:pt x="1042" y="681"/>
                  </a:cubicBezTo>
                  <a:cubicBezTo>
                    <a:pt x="1042" y="736"/>
                    <a:pt x="997" y="781"/>
                    <a:pt x="942" y="781"/>
                  </a:cubicBezTo>
                  <a:cubicBezTo>
                    <a:pt x="926" y="781"/>
                    <a:pt x="926" y="781"/>
                    <a:pt x="926" y="781"/>
                  </a:cubicBezTo>
                  <a:cubicBezTo>
                    <a:pt x="923" y="781"/>
                    <a:pt x="920" y="780"/>
                    <a:pt x="917" y="780"/>
                  </a:cubicBezTo>
                  <a:cubicBezTo>
                    <a:pt x="779" y="780"/>
                    <a:pt x="779" y="780"/>
                    <a:pt x="779" y="780"/>
                  </a:cubicBezTo>
                  <a:cubicBezTo>
                    <a:pt x="767" y="780"/>
                    <a:pt x="757" y="790"/>
                    <a:pt x="757" y="802"/>
                  </a:cubicBezTo>
                  <a:cubicBezTo>
                    <a:pt x="757" y="815"/>
                    <a:pt x="767" y="824"/>
                    <a:pt x="779" y="824"/>
                  </a:cubicBezTo>
                  <a:cubicBezTo>
                    <a:pt x="807" y="824"/>
                    <a:pt x="807" y="824"/>
                    <a:pt x="807" y="824"/>
                  </a:cubicBezTo>
                  <a:cubicBezTo>
                    <a:pt x="809" y="825"/>
                    <a:pt x="810" y="825"/>
                    <a:pt x="811" y="825"/>
                  </a:cubicBezTo>
                  <a:cubicBezTo>
                    <a:pt x="924" y="825"/>
                    <a:pt x="924" y="825"/>
                    <a:pt x="924" y="825"/>
                  </a:cubicBezTo>
                  <a:cubicBezTo>
                    <a:pt x="976" y="829"/>
                    <a:pt x="1017" y="872"/>
                    <a:pt x="1017" y="924"/>
                  </a:cubicBezTo>
                  <a:cubicBezTo>
                    <a:pt x="1017" y="980"/>
                    <a:pt x="972" y="1024"/>
                    <a:pt x="917" y="1024"/>
                  </a:cubicBezTo>
                  <a:cubicBezTo>
                    <a:pt x="879" y="1024"/>
                    <a:pt x="879" y="1024"/>
                    <a:pt x="879" y="1024"/>
                  </a:cubicBezTo>
                  <a:cubicBezTo>
                    <a:pt x="877" y="1024"/>
                    <a:pt x="875" y="1025"/>
                    <a:pt x="874" y="1025"/>
                  </a:cubicBezTo>
                  <a:cubicBezTo>
                    <a:pt x="869" y="1025"/>
                    <a:pt x="865" y="1024"/>
                    <a:pt x="861" y="1024"/>
                  </a:cubicBezTo>
                  <a:cubicBezTo>
                    <a:pt x="757" y="1024"/>
                    <a:pt x="757" y="1024"/>
                    <a:pt x="757" y="1024"/>
                  </a:cubicBezTo>
                  <a:cubicBezTo>
                    <a:pt x="745" y="1024"/>
                    <a:pt x="735" y="1034"/>
                    <a:pt x="735" y="1046"/>
                  </a:cubicBezTo>
                  <a:cubicBezTo>
                    <a:pt x="735" y="1059"/>
                    <a:pt x="745" y="1068"/>
                    <a:pt x="757" y="1068"/>
                  </a:cubicBezTo>
                  <a:cubicBezTo>
                    <a:pt x="861" y="1068"/>
                    <a:pt x="861" y="1068"/>
                    <a:pt x="861" y="1068"/>
                  </a:cubicBezTo>
                  <a:cubicBezTo>
                    <a:pt x="916" y="1068"/>
                    <a:pt x="961" y="1113"/>
                    <a:pt x="961" y="1168"/>
                  </a:cubicBezTo>
                  <a:cubicBezTo>
                    <a:pt x="961" y="1224"/>
                    <a:pt x="916" y="1269"/>
                    <a:pt x="861" y="1269"/>
                  </a:cubicBezTo>
                  <a:cubicBezTo>
                    <a:pt x="793" y="1269"/>
                    <a:pt x="793" y="1269"/>
                    <a:pt x="793" y="1269"/>
                  </a:cubicBezTo>
                  <a:cubicBezTo>
                    <a:pt x="757" y="1269"/>
                    <a:pt x="757" y="1269"/>
                    <a:pt x="757" y="1269"/>
                  </a:cubicBezTo>
                  <a:cubicBezTo>
                    <a:pt x="724" y="1269"/>
                    <a:pt x="724" y="1269"/>
                    <a:pt x="724" y="1269"/>
                  </a:cubicBezTo>
                  <a:cubicBezTo>
                    <a:pt x="712" y="1269"/>
                    <a:pt x="702" y="1278"/>
                    <a:pt x="702" y="1291"/>
                  </a:cubicBezTo>
                  <a:cubicBezTo>
                    <a:pt x="702" y="1303"/>
                    <a:pt x="712" y="1313"/>
                    <a:pt x="724" y="1313"/>
                  </a:cubicBezTo>
                  <a:cubicBezTo>
                    <a:pt x="757" y="1313"/>
                    <a:pt x="757" y="1313"/>
                    <a:pt x="757" y="1313"/>
                  </a:cubicBezTo>
                  <a:cubicBezTo>
                    <a:pt x="793" y="1313"/>
                    <a:pt x="793" y="1313"/>
                    <a:pt x="793" y="1313"/>
                  </a:cubicBezTo>
                  <a:cubicBezTo>
                    <a:pt x="848" y="1313"/>
                    <a:pt x="893" y="1357"/>
                    <a:pt x="893" y="1413"/>
                  </a:cubicBezTo>
                  <a:cubicBezTo>
                    <a:pt x="893" y="1468"/>
                    <a:pt x="848" y="1513"/>
                    <a:pt x="793" y="1513"/>
                  </a:cubicBezTo>
                  <a:cubicBezTo>
                    <a:pt x="344" y="1513"/>
                    <a:pt x="344" y="1513"/>
                    <a:pt x="344" y="1513"/>
                  </a:cubicBezTo>
                  <a:cubicBezTo>
                    <a:pt x="301" y="1513"/>
                    <a:pt x="175" y="1513"/>
                    <a:pt x="26" y="1394"/>
                  </a:cubicBezTo>
                  <a:cubicBezTo>
                    <a:pt x="26" y="1449"/>
                    <a:pt x="26" y="1449"/>
                    <a:pt x="26" y="1449"/>
                  </a:cubicBezTo>
                  <a:cubicBezTo>
                    <a:pt x="126" y="1521"/>
                    <a:pt x="230" y="1557"/>
                    <a:pt x="344" y="1557"/>
                  </a:cubicBezTo>
                  <a:cubicBezTo>
                    <a:pt x="793" y="1557"/>
                    <a:pt x="793" y="1557"/>
                    <a:pt x="793" y="1557"/>
                  </a:cubicBezTo>
                  <a:cubicBezTo>
                    <a:pt x="872" y="1557"/>
                    <a:pt x="937" y="1492"/>
                    <a:pt x="937" y="1413"/>
                  </a:cubicBezTo>
                  <a:cubicBezTo>
                    <a:pt x="937" y="1372"/>
                    <a:pt x="920" y="1335"/>
                    <a:pt x="892" y="1309"/>
                  </a:cubicBezTo>
                  <a:cubicBezTo>
                    <a:pt x="957" y="1294"/>
                    <a:pt x="1005" y="1237"/>
                    <a:pt x="1005" y="1168"/>
                  </a:cubicBezTo>
                  <a:cubicBezTo>
                    <a:pt x="1005" y="1127"/>
                    <a:pt x="987" y="1089"/>
                    <a:pt x="958" y="1062"/>
                  </a:cubicBezTo>
                  <a:cubicBezTo>
                    <a:pt x="1017" y="1045"/>
                    <a:pt x="1061" y="989"/>
                    <a:pt x="1061" y="924"/>
                  </a:cubicBezTo>
                  <a:cubicBezTo>
                    <a:pt x="1061" y="878"/>
                    <a:pt x="1039" y="837"/>
                    <a:pt x="1004" y="81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6">
              <a:extLst>
                <a:ext uri="{FF2B5EF4-FFF2-40B4-BE49-F238E27FC236}">
                  <a16:creationId xmlns:a16="http://schemas.microsoft.com/office/drawing/2014/main" id="{708D731E-486F-4551-ADA2-5356DB56F2F4}"/>
                </a:ext>
              </a:extLst>
            </p:cNvPr>
            <p:cNvSpPr>
              <a:spLocks noEditPoints="1"/>
            </p:cNvSpPr>
            <p:nvPr/>
          </p:nvSpPr>
          <p:spPr bwMode="auto">
            <a:xfrm>
              <a:off x="2368" y="1740"/>
              <a:ext cx="846" cy="1723"/>
            </a:xfrm>
            <a:custGeom>
              <a:avLst/>
              <a:gdLst>
                <a:gd name="T0" fmla="*/ 193 w 452"/>
                <a:gd name="T1" fmla="*/ 773 h 919"/>
                <a:gd name="T2" fmla="*/ 146 w 452"/>
                <a:gd name="T3" fmla="*/ 820 h 919"/>
                <a:gd name="T4" fmla="*/ 99 w 452"/>
                <a:gd name="T5" fmla="*/ 773 h 919"/>
                <a:gd name="T6" fmla="*/ 146 w 452"/>
                <a:gd name="T7" fmla="*/ 726 h 919"/>
                <a:gd name="T8" fmla="*/ 193 w 452"/>
                <a:gd name="T9" fmla="*/ 773 h 919"/>
                <a:gd name="T10" fmla="*/ 452 w 452"/>
                <a:gd name="T11" fmla="*/ 22 h 919"/>
                <a:gd name="T12" fmla="*/ 452 w 452"/>
                <a:gd name="T13" fmla="*/ 897 h 919"/>
                <a:gd name="T14" fmla="*/ 430 w 452"/>
                <a:gd name="T15" fmla="*/ 919 h 919"/>
                <a:gd name="T16" fmla="*/ 22 w 452"/>
                <a:gd name="T17" fmla="*/ 919 h 919"/>
                <a:gd name="T18" fmla="*/ 0 w 452"/>
                <a:gd name="T19" fmla="*/ 897 h 919"/>
                <a:gd name="T20" fmla="*/ 0 w 452"/>
                <a:gd name="T21" fmla="*/ 22 h 919"/>
                <a:gd name="T22" fmla="*/ 22 w 452"/>
                <a:gd name="T23" fmla="*/ 0 h 919"/>
                <a:gd name="T24" fmla="*/ 430 w 452"/>
                <a:gd name="T25" fmla="*/ 0 h 919"/>
                <a:gd name="T26" fmla="*/ 452 w 452"/>
                <a:gd name="T27" fmla="*/ 22 h 919"/>
                <a:gd name="T28" fmla="*/ 237 w 452"/>
                <a:gd name="T29" fmla="*/ 773 h 919"/>
                <a:gd name="T30" fmla="*/ 146 w 452"/>
                <a:gd name="T31" fmla="*/ 682 h 919"/>
                <a:gd name="T32" fmla="*/ 55 w 452"/>
                <a:gd name="T33" fmla="*/ 773 h 919"/>
                <a:gd name="T34" fmla="*/ 146 w 452"/>
                <a:gd name="T35" fmla="*/ 864 h 919"/>
                <a:gd name="T36" fmla="*/ 237 w 452"/>
                <a:gd name="T37" fmla="*/ 773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919">
                  <a:moveTo>
                    <a:pt x="193" y="773"/>
                  </a:moveTo>
                  <a:cubicBezTo>
                    <a:pt x="193" y="799"/>
                    <a:pt x="172" y="820"/>
                    <a:pt x="146" y="820"/>
                  </a:cubicBezTo>
                  <a:cubicBezTo>
                    <a:pt x="120" y="820"/>
                    <a:pt x="99" y="799"/>
                    <a:pt x="99" y="773"/>
                  </a:cubicBezTo>
                  <a:cubicBezTo>
                    <a:pt x="99" y="747"/>
                    <a:pt x="120" y="726"/>
                    <a:pt x="146" y="726"/>
                  </a:cubicBezTo>
                  <a:cubicBezTo>
                    <a:pt x="172" y="726"/>
                    <a:pt x="193" y="747"/>
                    <a:pt x="193" y="773"/>
                  </a:cubicBezTo>
                  <a:close/>
                  <a:moveTo>
                    <a:pt x="452" y="22"/>
                  </a:moveTo>
                  <a:cubicBezTo>
                    <a:pt x="452" y="897"/>
                    <a:pt x="452" y="897"/>
                    <a:pt x="452" y="897"/>
                  </a:cubicBezTo>
                  <a:cubicBezTo>
                    <a:pt x="452" y="909"/>
                    <a:pt x="442" y="919"/>
                    <a:pt x="430" y="919"/>
                  </a:cubicBezTo>
                  <a:cubicBezTo>
                    <a:pt x="22" y="919"/>
                    <a:pt x="22" y="919"/>
                    <a:pt x="22" y="919"/>
                  </a:cubicBezTo>
                  <a:cubicBezTo>
                    <a:pt x="10" y="919"/>
                    <a:pt x="0" y="909"/>
                    <a:pt x="0" y="897"/>
                  </a:cubicBezTo>
                  <a:cubicBezTo>
                    <a:pt x="0" y="22"/>
                    <a:pt x="0" y="22"/>
                    <a:pt x="0" y="22"/>
                  </a:cubicBezTo>
                  <a:cubicBezTo>
                    <a:pt x="0" y="10"/>
                    <a:pt x="10" y="0"/>
                    <a:pt x="22" y="0"/>
                  </a:cubicBezTo>
                  <a:cubicBezTo>
                    <a:pt x="430" y="0"/>
                    <a:pt x="430" y="0"/>
                    <a:pt x="430" y="0"/>
                  </a:cubicBezTo>
                  <a:cubicBezTo>
                    <a:pt x="442" y="0"/>
                    <a:pt x="452" y="10"/>
                    <a:pt x="452" y="22"/>
                  </a:cubicBezTo>
                  <a:close/>
                  <a:moveTo>
                    <a:pt x="237" y="773"/>
                  </a:moveTo>
                  <a:cubicBezTo>
                    <a:pt x="237" y="722"/>
                    <a:pt x="196" y="682"/>
                    <a:pt x="146" y="682"/>
                  </a:cubicBezTo>
                  <a:cubicBezTo>
                    <a:pt x="96" y="682"/>
                    <a:pt x="55" y="722"/>
                    <a:pt x="55" y="773"/>
                  </a:cubicBezTo>
                  <a:cubicBezTo>
                    <a:pt x="55" y="823"/>
                    <a:pt x="96" y="864"/>
                    <a:pt x="146" y="864"/>
                  </a:cubicBezTo>
                  <a:cubicBezTo>
                    <a:pt x="196" y="864"/>
                    <a:pt x="237" y="823"/>
                    <a:pt x="237" y="77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1" name="Group 14">
            <a:extLst>
              <a:ext uri="{FF2B5EF4-FFF2-40B4-BE49-F238E27FC236}">
                <a16:creationId xmlns:a16="http://schemas.microsoft.com/office/drawing/2014/main" id="{15CAE5E3-72DF-41C3-A784-148D839F9723}"/>
              </a:ext>
            </a:extLst>
          </p:cNvPr>
          <p:cNvGrpSpPr>
            <a:grpSpLocks noChangeAspect="1"/>
          </p:cNvGrpSpPr>
          <p:nvPr/>
        </p:nvGrpSpPr>
        <p:grpSpPr bwMode="auto">
          <a:xfrm>
            <a:off x="8829056" y="4478692"/>
            <a:ext cx="857473" cy="858266"/>
            <a:chOff x="1682" y="0"/>
            <a:chExt cx="4316" cy="4320"/>
          </a:xfrm>
        </p:grpSpPr>
        <p:sp>
          <p:nvSpPr>
            <p:cNvPr id="72" name="AutoShape 13">
              <a:extLst>
                <a:ext uri="{FF2B5EF4-FFF2-40B4-BE49-F238E27FC236}">
                  <a16:creationId xmlns:a16="http://schemas.microsoft.com/office/drawing/2014/main" id="{E9FDEB61-5258-4ED9-BC49-684EB514A8E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15">
              <a:extLst>
                <a:ext uri="{FF2B5EF4-FFF2-40B4-BE49-F238E27FC236}">
                  <a16:creationId xmlns:a16="http://schemas.microsoft.com/office/drawing/2014/main" id="{5E2833B0-B0EE-4841-B526-E162A3A2937A}"/>
                </a:ext>
              </a:extLst>
            </p:cNvPr>
            <p:cNvSpPr>
              <a:spLocks/>
            </p:cNvSpPr>
            <p:nvPr/>
          </p:nvSpPr>
          <p:spPr bwMode="auto">
            <a:xfrm>
              <a:off x="2579" y="988"/>
              <a:ext cx="2587" cy="2471"/>
            </a:xfrm>
            <a:custGeom>
              <a:avLst/>
              <a:gdLst>
                <a:gd name="T0" fmla="*/ 1365 w 1381"/>
                <a:gd name="T1" fmla="*/ 244 h 1318"/>
                <a:gd name="T2" fmla="*/ 559 w 1381"/>
                <a:gd name="T3" fmla="*/ 885 h 1318"/>
                <a:gd name="T4" fmla="*/ 732 w 1381"/>
                <a:gd name="T5" fmla="*/ 1288 h 1318"/>
                <a:gd name="T6" fmla="*/ 202 w 1381"/>
                <a:gd name="T7" fmla="*/ 494 h 1318"/>
                <a:gd name="T8" fmla="*/ 217 w 1381"/>
                <a:gd name="T9" fmla="*/ 494 h 1318"/>
                <a:gd name="T10" fmla="*/ 217 w 1381"/>
                <a:gd name="T11" fmla="*/ 494 h 1318"/>
                <a:gd name="T12" fmla="*/ 403 w 1381"/>
                <a:gd name="T13" fmla="*/ 436 h 1318"/>
                <a:gd name="T14" fmla="*/ 538 w 1381"/>
                <a:gd name="T15" fmla="*/ 226 h 1318"/>
                <a:gd name="T16" fmla="*/ 530 w 1381"/>
                <a:gd name="T17" fmla="*/ 75 h 1318"/>
                <a:gd name="T18" fmla="*/ 861 w 1381"/>
                <a:gd name="T19" fmla="*/ 0 h 1318"/>
                <a:gd name="T20" fmla="*/ 1365 w 1381"/>
                <a:gd name="T21" fmla="*/ 244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81" h="1318">
                  <a:moveTo>
                    <a:pt x="1365" y="244"/>
                  </a:moveTo>
                  <a:cubicBezTo>
                    <a:pt x="1138" y="654"/>
                    <a:pt x="559" y="885"/>
                    <a:pt x="559" y="885"/>
                  </a:cubicBezTo>
                  <a:cubicBezTo>
                    <a:pt x="471" y="1088"/>
                    <a:pt x="760" y="1255"/>
                    <a:pt x="732" y="1288"/>
                  </a:cubicBezTo>
                  <a:cubicBezTo>
                    <a:pt x="707" y="1318"/>
                    <a:pt x="0" y="1138"/>
                    <a:pt x="202" y="494"/>
                  </a:cubicBezTo>
                  <a:cubicBezTo>
                    <a:pt x="207" y="494"/>
                    <a:pt x="212" y="494"/>
                    <a:pt x="217" y="494"/>
                  </a:cubicBezTo>
                  <a:cubicBezTo>
                    <a:pt x="217" y="494"/>
                    <a:pt x="217" y="494"/>
                    <a:pt x="217" y="494"/>
                  </a:cubicBezTo>
                  <a:cubicBezTo>
                    <a:pt x="284" y="494"/>
                    <a:pt x="348" y="474"/>
                    <a:pt x="403" y="436"/>
                  </a:cubicBezTo>
                  <a:cubicBezTo>
                    <a:pt x="475" y="386"/>
                    <a:pt x="523" y="311"/>
                    <a:pt x="538" y="226"/>
                  </a:cubicBezTo>
                  <a:cubicBezTo>
                    <a:pt x="547" y="175"/>
                    <a:pt x="544" y="123"/>
                    <a:pt x="530" y="75"/>
                  </a:cubicBezTo>
                  <a:cubicBezTo>
                    <a:pt x="620" y="29"/>
                    <a:pt x="730" y="0"/>
                    <a:pt x="861" y="0"/>
                  </a:cubicBezTo>
                  <a:cubicBezTo>
                    <a:pt x="1229" y="0"/>
                    <a:pt x="1381" y="169"/>
                    <a:pt x="1365" y="2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16">
              <a:extLst>
                <a:ext uri="{FF2B5EF4-FFF2-40B4-BE49-F238E27FC236}">
                  <a16:creationId xmlns:a16="http://schemas.microsoft.com/office/drawing/2014/main" id="{61B4B2D2-A8E4-4229-9C01-25D8144F8FCB}"/>
                </a:ext>
              </a:extLst>
            </p:cNvPr>
            <p:cNvSpPr>
              <a:spLocks/>
            </p:cNvSpPr>
            <p:nvPr/>
          </p:nvSpPr>
          <p:spPr bwMode="auto">
            <a:xfrm>
              <a:off x="3104" y="711"/>
              <a:ext cx="300" cy="326"/>
            </a:xfrm>
            <a:custGeom>
              <a:avLst/>
              <a:gdLst>
                <a:gd name="T0" fmla="*/ 24 w 160"/>
                <a:gd name="T1" fmla="*/ 174 h 174"/>
                <a:gd name="T2" fmla="*/ 2 w 160"/>
                <a:gd name="T3" fmla="*/ 155 h 174"/>
                <a:gd name="T4" fmla="*/ 21 w 160"/>
                <a:gd name="T5" fmla="*/ 130 h 174"/>
                <a:gd name="T6" fmla="*/ 113 w 160"/>
                <a:gd name="T7" fmla="*/ 118 h 174"/>
                <a:gd name="T8" fmla="*/ 101 w 160"/>
                <a:gd name="T9" fmla="*/ 26 h 174"/>
                <a:gd name="T10" fmla="*/ 119 w 160"/>
                <a:gd name="T11" fmla="*/ 1 h 174"/>
                <a:gd name="T12" fmla="*/ 144 w 160"/>
                <a:gd name="T13" fmla="*/ 20 h 174"/>
                <a:gd name="T14" fmla="*/ 159 w 160"/>
                <a:gd name="T15" fmla="*/ 134 h 174"/>
                <a:gd name="T16" fmla="*/ 155 w 160"/>
                <a:gd name="T17" fmla="*/ 150 h 174"/>
                <a:gd name="T18" fmla="*/ 141 w 160"/>
                <a:gd name="T19" fmla="*/ 159 h 174"/>
                <a:gd name="T20" fmla="*/ 27 w 160"/>
                <a:gd name="T21" fmla="*/ 174 h 174"/>
                <a:gd name="T22" fmla="*/ 24 w 160"/>
                <a:gd name="T23"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 h="174">
                  <a:moveTo>
                    <a:pt x="24" y="174"/>
                  </a:moveTo>
                  <a:cubicBezTo>
                    <a:pt x="13" y="174"/>
                    <a:pt x="3" y="166"/>
                    <a:pt x="2" y="155"/>
                  </a:cubicBezTo>
                  <a:cubicBezTo>
                    <a:pt x="0" y="143"/>
                    <a:pt x="9" y="132"/>
                    <a:pt x="21" y="130"/>
                  </a:cubicBezTo>
                  <a:cubicBezTo>
                    <a:pt x="113" y="118"/>
                    <a:pt x="113" y="118"/>
                    <a:pt x="113" y="118"/>
                  </a:cubicBezTo>
                  <a:cubicBezTo>
                    <a:pt x="101" y="26"/>
                    <a:pt x="101" y="26"/>
                    <a:pt x="101" y="26"/>
                  </a:cubicBezTo>
                  <a:cubicBezTo>
                    <a:pt x="99" y="14"/>
                    <a:pt x="107" y="3"/>
                    <a:pt x="119" y="1"/>
                  </a:cubicBezTo>
                  <a:cubicBezTo>
                    <a:pt x="131" y="0"/>
                    <a:pt x="143" y="8"/>
                    <a:pt x="144" y="20"/>
                  </a:cubicBezTo>
                  <a:cubicBezTo>
                    <a:pt x="159" y="134"/>
                    <a:pt x="159" y="134"/>
                    <a:pt x="159" y="134"/>
                  </a:cubicBezTo>
                  <a:cubicBezTo>
                    <a:pt x="160" y="140"/>
                    <a:pt x="159" y="146"/>
                    <a:pt x="155" y="150"/>
                  </a:cubicBezTo>
                  <a:cubicBezTo>
                    <a:pt x="152" y="155"/>
                    <a:pt x="146" y="158"/>
                    <a:pt x="141" y="159"/>
                  </a:cubicBezTo>
                  <a:cubicBezTo>
                    <a:pt x="27" y="174"/>
                    <a:pt x="27" y="174"/>
                    <a:pt x="27" y="174"/>
                  </a:cubicBezTo>
                  <a:cubicBezTo>
                    <a:pt x="26" y="174"/>
                    <a:pt x="25" y="174"/>
                    <a:pt x="24" y="174"/>
                  </a:cubicBez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17">
              <a:extLst>
                <a:ext uri="{FF2B5EF4-FFF2-40B4-BE49-F238E27FC236}">
                  <a16:creationId xmlns:a16="http://schemas.microsoft.com/office/drawing/2014/main" id="{DABAA24E-C998-4F7F-9084-6003FE17B891}"/>
                </a:ext>
              </a:extLst>
            </p:cNvPr>
            <p:cNvSpPr>
              <a:spLocks noEditPoints="1"/>
            </p:cNvSpPr>
            <p:nvPr/>
          </p:nvSpPr>
          <p:spPr bwMode="auto">
            <a:xfrm>
              <a:off x="2429" y="711"/>
              <a:ext cx="3007" cy="3159"/>
            </a:xfrm>
            <a:custGeom>
              <a:avLst/>
              <a:gdLst>
                <a:gd name="T0" fmla="*/ 1449 w 1605"/>
                <a:gd name="T1" fmla="*/ 1053 h 1685"/>
                <a:gd name="T2" fmla="*/ 1422 w 1605"/>
                <a:gd name="T3" fmla="*/ 1361 h 1685"/>
                <a:gd name="T4" fmla="*/ 1122 w 1605"/>
                <a:gd name="T5" fmla="*/ 1388 h 1685"/>
                <a:gd name="T6" fmla="*/ 1101 w 1605"/>
                <a:gd name="T7" fmla="*/ 1684 h 1685"/>
                <a:gd name="T8" fmla="*/ 689 w 1605"/>
                <a:gd name="T9" fmla="*/ 1593 h 1685"/>
                <a:gd name="T10" fmla="*/ 679 w 1605"/>
                <a:gd name="T11" fmla="*/ 1458 h 1685"/>
                <a:gd name="T12" fmla="*/ 723 w 1605"/>
                <a:gd name="T13" fmla="*/ 1561 h 1685"/>
                <a:gd name="T14" fmla="*/ 1078 w 1605"/>
                <a:gd name="T15" fmla="*/ 1363 h 1685"/>
                <a:gd name="T16" fmla="*/ 1106 w 1605"/>
                <a:gd name="T17" fmla="*/ 1342 h 1685"/>
                <a:gd name="T18" fmla="*/ 1390 w 1605"/>
                <a:gd name="T19" fmla="*/ 1331 h 1685"/>
                <a:gd name="T20" fmla="*/ 1404 w 1605"/>
                <a:gd name="T21" fmla="*/ 1031 h 1685"/>
                <a:gd name="T22" fmla="*/ 1428 w 1605"/>
                <a:gd name="T23" fmla="*/ 1007 h 1685"/>
                <a:gd name="T24" fmla="*/ 1507 w 1605"/>
                <a:gd name="T25" fmla="*/ 907 h 1685"/>
                <a:gd name="T26" fmla="*/ 1418 w 1605"/>
                <a:gd name="T27" fmla="*/ 669 h 1685"/>
                <a:gd name="T28" fmla="*/ 1404 w 1605"/>
                <a:gd name="T29" fmla="*/ 535 h 1685"/>
                <a:gd name="T30" fmla="*/ 1460 w 1605"/>
                <a:gd name="T31" fmla="*/ 606 h 1685"/>
                <a:gd name="T32" fmla="*/ 1470 w 1605"/>
                <a:gd name="T33" fmla="*/ 767 h 1685"/>
                <a:gd name="T34" fmla="*/ 1593 w 1605"/>
                <a:gd name="T35" fmla="*/ 991 h 1685"/>
                <a:gd name="T36" fmla="*/ 158 w 1605"/>
                <a:gd name="T37" fmla="*/ 115 h 1685"/>
                <a:gd name="T38" fmla="*/ 340 w 1605"/>
                <a:gd name="T39" fmla="*/ 75 h 1685"/>
                <a:gd name="T40" fmla="*/ 381 w 1605"/>
                <a:gd name="T41" fmla="*/ 130 h 1685"/>
                <a:gd name="T42" fmla="*/ 384 w 1605"/>
                <a:gd name="T43" fmla="*/ 174 h 1685"/>
                <a:gd name="T44" fmla="*/ 501 w 1605"/>
                <a:gd name="T45" fmla="*/ 159 h 1685"/>
                <a:gd name="T46" fmla="*/ 519 w 1605"/>
                <a:gd name="T47" fmla="*/ 134 h 1685"/>
                <a:gd name="T48" fmla="*/ 479 w 1605"/>
                <a:gd name="T49" fmla="*/ 1 h 1685"/>
                <a:gd name="T50" fmla="*/ 468 w 1605"/>
                <a:gd name="T51" fmla="*/ 84 h 1685"/>
                <a:gd name="T52" fmla="*/ 132 w 1605"/>
                <a:gd name="T53" fmla="*/ 79 h 1685"/>
                <a:gd name="T54" fmla="*/ 54 w 1605"/>
                <a:gd name="T55" fmla="*/ 471 h 1685"/>
                <a:gd name="T56" fmla="*/ 89 w 1605"/>
                <a:gd name="T57" fmla="*/ 444 h 1685"/>
                <a:gd name="T58" fmla="*/ 550 w 1605"/>
                <a:gd name="T59" fmla="*/ 177 h 1685"/>
                <a:gd name="T60" fmla="*/ 538 w 1605"/>
                <a:gd name="T61" fmla="*/ 359 h 1685"/>
                <a:gd name="T62" fmla="*/ 254 w 1605"/>
                <a:gd name="T63" fmla="*/ 556 h 1685"/>
                <a:gd name="T64" fmla="*/ 227 w 1605"/>
                <a:gd name="T65" fmla="*/ 513 h 1685"/>
                <a:gd name="T66" fmla="*/ 221 w 1605"/>
                <a:gd name="T67" fmla="*/ 469 h 1685"/>
                <a:gd name="T68" fmla="*/ 93 w 1605"/>
                <a:gd name="T69" fmla="*/ 493 h 1685"/>
                <a:gd name="T70" fmla="*/ 104 w 1605"/>
                <a:gd name="T71" fmla="*/ 623 h 1685"/>
                <a:gd name="T72" fmla="*/ 129 w 1605"/>
                <a:gd name="T73" fmla="*/ 642 h 1685"/>
                <a:gd name="T74" fmla="*/ 139 w 1605"/>
                <a:gd name="T75" fmla="*/ 557 h 1685"/>
                <a:gd name="T76" fmla="*/ 298 w 1605"/>
                <a:gd name="T77" fmla="*/ 604 h 1685"/>
                <a:gd name="T78" fmla="*/ 581 w 1605"/>
                <a:gd name="T79" fmla="*/ 367 h 1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5" h="1685">
                  <a:moveTo>
                    <a:pt x="1593" y="991"/>
                  </a:moveTo>
                  <a:cubicBezTo>
                    <a:pt x="1585" y="1010"/>
                    <a:pt x="1544" y="1055"/>
                    <a:pt x="1449" y="1053"/>
                  </a:cubicBezTo>
                  <a:cubicBezTo>
                    <a:pt x="1451" y="1080"/>
                    <a:pt x="1453" y="1125"/>
                    <a:pt x="1453" y="1172"/>
                  </a:cubicBezTo>
                  <a:cubicBezTo>
                    <a:pt x="1453" y="1311"/>
                    <a:pt x="1436" y="1346"/>
                    <a:pt x="1422" y="1361"/>
                  </a:cubicBezTo>
                  <a:cubicBezTo>
                    <a:pt x="1408" y="1376"/>
                    <a:pt x="1374" y="1395"/>
                    <a:pt x="1240" y="1393"/>
                  </a:cubicBezTo>
                  <a:cubicBezTo>
                    <a:pt x="1203" y="1393"/>
                    <a:pt x="1153" y="1391"/>
                    <a:pt x="1122" y="1388"/>
                  </a:cubicBezTo>
                  <a:cubicBezTo>
                    <a:pt x="1122" y="1662"/>
                    <a:pt x="1122" y="1662"/>
                    <a:pt x="1122" y="1662"/>
                  </a:cubicBezTo>
                  <a:cubicBezTo>
                    <a:pt x="1122" y="1674"/>
                    <a:pt x="1113" y="1683"/>
                    <a:pt x="1101" y="1684"/>
                  </a:cubicBezTo>
                  <a:cubicBezTo>
                    <a:pt x="1099" y="1684"/>
                    <a:pt x="1087" y="1685"/>
                    <a:pt x="1067" y="1685"/>
                  </a:cubicBezTo>
                  <a:cubicBezTo>
                    <a:pt x="995" y="1685"/>
                    <a:pt x="826" y="1675"/>
                    <a:pt x="689" y="1593"/>
                  </a:cubicBezTo>
                  <a:cubicBezTo>
                    <a:pt x="683" y="1589"/>
                    <a:pt x="679" y="1582"/>
                    <a:pt x="679" y="1574"/>
                  </a:cubicBezTo>
                  <a:cubicBezTo>
                    <a:pt x="679" y="1458"/>
                    <a:pt x="679" y="1458"/>
                    <a:pt x="679" y="1458"/>
                  </a:cubicBezTo>
                  <a:cubicBezTo>
                    <a:pt x="694" y="1463"/>
                    <a:pt x="709" y="1467"/>
                    <a:pt x="723" y="1471"/>
                  </a:cubicBezTo>
                  <a:cubicBezTo>
                    <a:pt x="723" y="1561"/>
                    <a:pt x="723" y="1561"/>
                    <a:pt x="723" y="1561"/>
                  </a:cubicBezTo>
                  <a:cubicBezTo>
                    <a:pt x="855" y="1636"/>
                    <a:pt x="1021" y="1641"/>
                    <a:pt x="1078" y="1641"/>
                  </a:cubicBezTo>
                  <a:cubicBezTo>
                    <a:pt x="1078" y="1363"/>
                    <a:pt x="1078" y="1363"/>
                    <a:pt x="1078" y="1363"/>
                  </a:cubicBezTo>
                  <a:cubicBezTo>
                    <a:pt x="1078" y="1356"/>
                    <a:pt x="1082" y="1349"/>
                    <a:pt x="1088" y="1345"/>
                  </a:cubicBezTo>
                  <a:cubicBezTo>
                    <a:pt x="1093" y="1341"/>
                    <a:pt x="1100" y="1340"/>
                    <a:pt x="1106" y="1342"/>
                  </a:cubicBezTo>
                  <a:cubicBezTo>
                    <a:pt x="1115" y="1343"/>
                    <a:pt x="1178" y="1349"/>
                    <a:pt x="1246" y="1349"/>
                  </a:cubicBezTo>
                  <a:cubicBezTo>
                    <a:pt x="1368" y="1350"/>
                    <a:pt x="1388" y="1333"/>
                    <a:pt x="1390" y="1331"/>
                  </a:cubicBezTo>
                  <a:cubicBezTo>
                    <a:pt x="1392" y="1329"/>
                    <a:pt x="1409" y="1307"/>
                    <a:pt x="1409" y="1172"/>
                  </a:cubicBezTo>
                  <a:cubicBezTo>
                    <a:pt x="1409" y="1100"/>
                    <a:pt x="1404" y="1031"/>
                    <a:pt x="1404" y="1031"/>
                  </a:cubicBezTo>
                  <a:cubicBezTo>
                    <a:pt x="1403" y="1024"/>
                    <a:pt x="1406" y="1018"/>
                    <a:pt x="1410" y="1013"/>
                  </a:cubicBezTo>
                  <a:cubicBezTo>
                    <a:pt x="1415" y="1009"/>
                    <a:pt x="1422" y="1006"/>
                    <a:pt x="1428" y="1007"/>
                  </a:cubicBezTo>
                  <a:cubicBezTo>
                    <a:pt x="1510" y="1016"/>
                    <a:pt x="1545" y="986"/>
                    <a:pt x="1552" y="975"/>
                  </a:cubicBezTo>
                  <a:cubicBezTo>
                    <a:pt x="1551" y="966"/>
                    <a:pt x="1538" y="937"/>
                    <a:pt x="1507" y="907"/>
                  </a:cubicBezTo>
                  <a:cubicBezTo>
                    <a:pt x="1464" y="863"/>
                    <a:pt x="1437" y="801"/>
                    <a:pt x="1429" y="783"/>
                  </a:cubicBezTo>
                  <a:cubicBezTo>
                    <a:pt x="1421" y="763"/>
                    <a:pt x="1420" y="725"/>
                    <a:pt x="1418" y="669"/>
                  </a:cubicBezTo>
                  <a:cubicBezTo>
                    <a:pt x="1418" y="646"/>
                    <a:pt x="1417" y="626"/>
                    <a:pt x="1416" y="610"/>
                  </a:cubicBezTo>
                  <a:cubicBezTo>
                    <a:pt x="1414" y="591"/>
                    <a:pt x="1409" y="561"/>
                    <a:pt x="1404" y="535"/>
                  </a:cubicBezTo>
                  <a:cubicBezTo>
                    <a:pt x="1416" y="519"/>
                    <a:pt x="1427" y="502"/>
                    <a:pt x="1438" y="486"/>
                  </a:cubicBezTo>
                  <a:cubicBezTo>
                    <a:pt x="1445" y="519"/>
                    <a:pt x="1457" y="574"/>
                    <a:pt x="1460" y="606"/>
                  </a:cubicBezTo>
                  <a:cubicBezTo>
                    <a:pt x="1461" y="623"/>
                    <a:pt x="1462" y="645"/>
                    <a:pt x="1462" y="668"/>
                  </a:cubicBezTo>
                  <a:cubicBezTo>
                    <a:pt x="1463" y="703"/>
                    <a:pt x="1464" y="753"/>
                    <a:pt x="1470" y="767"/>
                  </a:cubicBezTo>
                  <a:cubicBezTo>
                    <a:pt x="1484" y="800"/>
                    <a:pt x="1509" y="846"/>
                    <a:pt x="1538" y="875"/>
                  </a:cubicBezTo>
                  <a:cubicBezTo>
                    <a:pt x="1573" y="911"/>
                    <a:pt x="1605" y="962"/>
                    <a:pt x="1593" y="991"/>
                  </a:cubicBezTo>
                  <a:close/>
                  <a:moveTo>
                    <a:pt x="57" y="273"/>
                  </a:moveTo>
                  <a:cubicBezTo>
                    <a:pt x="68" y="208"/>
                    <a:pt x="104" y="152"/>
                    <a:pt x="158" y="115"/>
                  </a:cubicBezTo>
                  <a:cubicBezTo>
                    <a:pt x="199" y="86"/>
                    <a:pt x="247" y="71"/>
                    <a:pt x="297" y="71"/>
                  </a:cubicBezTo>
                  <a:cubicBezTo>
                    <a:pt x="311" y="71"/>
                    <a:pt x="326" y="73"/>
                    <a:pt x="340" y="75"/>
                  </a:cubicBezTo>
                  <a:cubicBezTo>
                    <a:pt x="379" y="82"/>
                    <a:pt x="415" y="98"/>
                    <a:pt x="446" y="122"/>
                  </a:cubicBezTo>
                  <a:cubicBezTo>
                    <a:pt x="381" y="130"/>
                    <a:pt x="381" y="130"/>
                    <a:pt x="381" y="130"/>
                  </a:cubicBezTo>
                  <a:cubicBezTo>
                    <a:pt x="369" y="132"/>
                    <a:pt x="360" y="143"/>
                    <a:pt x="362" y="155"/>
                  </a:cubicBezTo>
                  <a:cubicBezTo>
                    <a:pt x="363" y="166"/>
                    <a:pt x="373" y="174"/>
                    <a:pt x="384" y="174"/>
                  </a:cubicBezTo>
                  <a:cubicBezTo>
                    <a:pt x="385" y="174"/>
                    <a:pt x="386" y="174"/>
                    <a:pt x="387" y="174"/>
                  </a:cubicBezTo>
                  <a:cubicBezTo>
                    <a:pt x="501" y="159"/>
                    <a:pt x="501" y="159"/>
                    <a:pt x="501" y="159"/>
                  </a:cubicBezTo>
                  <a:cubicBezTo>
                    <a:pt x="506" y="158"/>
                    <a:pt x="512" y="155"/>
                    <a:pt x="515" y="150"/>
                  </a:cubicBezTo>
                  <a:cubicBezTo>
                    <a:pt x="519" y="146"/>
                    <a:pt x="520" y="140"/>
                    <a:pt x="519" y="134"/>
                  </a:cubicBezTo>
                  <a:cubicBezTo>
                    <a:pt x="504" y="20"/>
                    <a:pt x="504" y="20"/>
                    <a:pt x="504" y="20"/>
                  </a:cubicBezTo>
                  <a:cubicBezTo>
                    <a:pt x="503" y="8"/>
                    <a:pt x="491" y="0"/>
                    <a:pt x="479" y="1"/>
                  </a:cubicBezTo>
                  <a:cubicBezTo>
                    <a:pt x="467" y="3"/>
                    <a:pt x="459" y="14"/>
                    <a:pt x="461" y="26"/>
                  </a:cubicBezTo>
                  <a:cubicBezTo>
                    <a:pt x="468" y="84"/>
                    <a:pt x="468" y="84"/>
                    <a:pt x="468" y="84"/>
                  </a:cubicBezTo>
                  <a:cubicBezTo>
                    <a:pt x="433" y="58"/>
                    <a:pt x="392" y="40"/>
                    <a:pt x="348" y="32"/>
                  </a:cubicBezTo>
                  <a:cubicBezTo>
                    <a:pt x="272" y="18"/>
                    <a:pt x="196" y="35"/>
                    <a:pt x="132" y="79"/>
                  </a:cubicBezTo>
                  <a:cubicBezTo>
                    <a:pt x="69" y="123"/>
                    <a:pt x="27" y="189"/>
                    <a:pt x="13" y="265"/>
                  </a:cubicBezTo>
                  <a:cubicBezTo>
                    <a:pt x="0" y="337"/>
                    <a:pt x="15" y="410"/>
                    <a:pt x="54" y="471"/>
                  </a:cubicBezTo>
                  <a:cubicBezTo>
                    <a:pt x="55" y="470"/>
                    <a:pt x="57" y="468"/>
                    <a:pt x="58" y="466"/>
                  </a:cubicBezTo>
                  <a:cubicBezTo>
                    <a:pt x="66" y="456"/>
                    <a:pt x="77" y="448"/>
                    <a:pt x="89" y="444"/>
                  </a:cubicBezTo>
                  <a:cubicBezTo>
                    <a:pt x="57" y="392"/>
                    <a:pt x="46" y="332"/>
                    <a:pt x="57" y="273"/>
                  </a:cubicBezTo>
                  <a:close/>
                  <a:moveTo>
                    <a:pt x="550" y="177"/>
                  </a:moveTo>
                  <a:cubicBezTo>
                    <a:pt x="541" y="189"/>
                    <a:pt x="528" y="198"/>
                    <a:pt x="513" y="201"/>
                  </a:cubicBezTo>
                  <a:cubicBezTo>
                    <a:pt x="539" y="249"/>
                    <a:pt x="547" y="304"/>
                    <a:pt x="538" y="359"/>
                  </a:cubicBezTo>
                  <a:cubicBezTo>
                    <a:pt x="526" y="423"/>
                    <a:pt x="490" y="479"/>
                    <a:pt x="437" y="516"/>
                  </a:cubicBezTo>
                  <a:cubicBezTo>
                    <a:pt x="383" y="554"/>
                    <a:pt x="318" y="568"/>
                    <a:pt x="254" y="556"/>
                  </a:cubicBezTo>
                  <a:cubicBezTo>
                    <a:pt x="221" y="551"/>
                    <a:pt x="191" y="538"/>
                    <a:pt x="164" y="521"/>
                  </a:cubicBezTo>
                  <a:cubicBezTo>
                    <a:pt x="227" y="513"/>
                    <a:pt x="227" y="513"/>
                    <a:pt x="227" y="513"/>
                  </a:cubicBezTo>
                  <a:cubicBezTo>
                    <a:pt x="239" y="511"/>
                    <a:pt x="248" y="500"/>
                    <a:pt x="246" y="488"/>
                  </a:cubicBezTo>
                  <a:cubicBezTo>
                    <a:pt x="244" y="476"/>
                    <a:pt x="233" y="467"/>
                    <a:pt x="221" y="469"/>
                  </a:cubicBezTo>
                  <a:cubicBezTo>
                    <a:pt x="107" y="484"/>
                    <a:pt x="107" y="484"/>
                    <a:pt x="107" y="484"/>
                  </a:cubicBezTo>
                  <a:cubicBezTo>
                    <a:pt x="102" y="485"/>
                    <a:pt x="96" y="488"/>
                    <a:pt x="93" y="493"/>
                  </a:cubicBezTo>
                  <a:cubicBezTo>
                    <a:pt x="89" y="497"/>
                    <a:pt x="88" y="503"/>
                    <a:pt x="89" y="509"/>
                  </a:cubicBezTo>
                  <a:cubicBezTo>
                    <a:pt x="104" y="623"/>
                    <a:pt x="104" y="623"/>
                    <a:pt x="104" y="623"/>
                  </a:cubicBezTo>
                  <a:cubicBezTo>
                    <a:pt x="105" y="634"/>
                    <a:pt x="115" y="642"/>
                    <a:pt x="126" y="642"/>
                  </a:cubicBezTo>
                  <a:cubicBezTo>
                    <a:pt x="127" y="642"/>
                    <a:pt x="128" y="642"/>
                    <a:pt x="129" y="642"/>
                  </a:cubicBezTo>
                  <a:cubicBezTo>
                    <a:pt x="141" y="640"/>
                    <a:pt x="149" y="629"/>
                    <a:pt x="147" y="617"/>
                  </a:cubicBezTo>
                  <a:cubicBezTo>
                    <a:pt x="139" y="557"/>
                    <a:pt x="139" y="557"/>
                    <a:pt x="139" y="557"/>
                  </a:cubicBezTo>
                  <a:cubicBezTo>
                    <a:pt x="171" y="578"/>
                    <a:pt x="207" y="593"/>
                    <a:pt x="246" y="600"/>
                  </a:cubicBezTo>
                  <a:cubicBezTo>
                    <a:pt x="263" y="603"/>
                    <a:pt x="281" y="604"/>
                    <a:pt x="298" y="604"/>
                  </a:cubicBezTo>
                  <a:cubicBezTo>
                    <a:pt x="356" y="604"/>
                    <a:pt x="413" y="587"/>
                    <a:pt x="462" y="553"/>
                  </a:cubicBezTo>
                  <a:cubicBezTo>
                    <a:pt x="525" y="509"/>
                    <a:pt x="567" y="443"/>
                    <a:pt x="581" y="367"/>
                  </a:cubicBezTo>
                  <a:cubicBezTo>
                    <a:pt x="593" y="301"/>
                    <a:pt x="582" y="235"/>
                    <a:pt x="550" y="1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6" name="bcgIcons_Handshake">
            <a:extLst>
              <a:ext uri="{FF2B5EF4-FFF2-40B4-BE49-F238E27FC236}">
                <a16:creationId xmlns:a16="http://schemas.microsoft.com/office/drawing/2014/main" id="{D893BADC-A732-41E8-8249-D660E2FAAB73}"/>
              </a:ext>
            </a:extLst>
          </p:cNvPr>
          <p:cNvGrpSpPr>
            <a:grpSpLocks noChangeAspect="1"/>
          </p:cNvGrpSpPr>
          <p:nvPr/>
        </p:nvGrpSpPr>
        <p:grpSpPr bwMode="auto">
          <a:xfrm>
            <a:off x="11024252" y="2328292"/>
            <a:ext cx="1006936" cy="1007866"/>
            <a:chOff x="1682" y="0"/>
            <a:chExt cx="4316" cy="4320"/>
          </a:xfrm>
        </p:grpSpPr>
        <p:sp>
          <p:nvSpPr>
            <p:cNvPr id="77" name="AutoShape 3">
              <a:extLst>
                <a:ext uri="{FF2B5EF4-FFF2-40B4-BE49-F238E27FC236}">
                  <a16:creationId xmlns:a16="http://schemas.microsoft.com/office/drawing/2014/main" id="{FDA3489F-1C07-4F67-9645-357FDA317B2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5">
              <a:extLst>
                <a:ext uri="{FF2B5EF4-FFF2-40B4-BE49-F238E27FC236}">
                  <a16:creationId xmlns:a16="http://schemas.microsoft.com/office/drawing/2014/main" id="{635C37A3-4872-4D68-B937-AF240485678A}"/>
                </a:ext>
              </a:extLst>
            </p:cNvPr>
            <p:cNvSpPr>
              <a:spLocks noEditPoints="1"/>
            </p:cNvSpPr>
            <p:nvPr/>
          </p:nvSpPr>
          <p:spPr bwMode="auto">
            <a:xfrm>
              <a:off x="2699" y="763"/>
              <a:ext cx="2730" cy="2428"/>
            </a:xfrm>
            <a:custGeom>
              <a:avLst/>
              <a:gdLst>
                <a:gd name="T0" fmla="*/ 182 w 1457"/>
                <a:gd name="T1" fmla="*/ 441 h 1295"/>
                <a:gd name="T2" fmla="*/ 163 w 1457"/>
                <a:gd name="T3" fmla="*/ 326 h 1295"/>
                <a:gd name="T4" fmla="*/ 724 w 1457"/>
                <a:gd name="T5" fmla="*/ 120 h 1295"/>
                <a:gd name="T6" fmla="*/ 1145 w 1457"/>
                <a:gd name="T7" fmla="*/ 295 h 1295"/>
                <a:gd name="T8" fmla="*/ 1419 w 1457"/>
                <a:gd name="T9" fmla="*/ 153 h 1295"/>
                <a:gd name="T10" fmla="*/ 1457 w 1457"/>
                <a:gd name="T11" fmla="*/ 172 h 1295"/>
                <a:gd name="T12" fmla="*/ 1457 w 1457"/>
                <a:gd name="T13" fmla="*/ 660 h 1295"/>
                <a:gd name="T14" fmla="*/ 1449 w 1457"/>
                <a:gd name="T15" fmla="*/ 672 h 1295"/>
                <a:gd name="T16" fmla="*/ 1275 w 1457"/>
                <a:gd name="T17" fmla="*/ 716 h 1295"/>
                <a:gd name="T18" fmla="*/ 1263 w 1457"/>
                <a:gd name="T19" fmla="*/ 715 h 1295"/>
                <a:gd name="T20" fmla="*/ 668 w 1457"/>
                <a:gd name="T21" fmla="*/ 358 h 1295"/>
                <a:gd name="T22" fmla="*/ 462 w 1457"/>
                <a:gd name="T23" fmla="*/ 341 h 1295"/>
                <a:gd name="T24" fmla="*/ 421 w 1457"/>
                <a:gd name="T25" fmla="*/ 361 h 1295"/>
                <a:gd name="T26" fmla="*/ 182 w 1457"/>
                <a:gd name="T27" fmla="*/ 441 h 1295"/>
                <a:gd name="T28" fmla="*/ 592 w 1457"/>
                <a:gd name="T29" fmla="*/ 1039 h 1295"/>
                <a:gd name="T30" fmla="*/ 528 w 1457"/>
                <a:gd name="T31" fmla="*/ 1079 h 1295"/>
                <a:gd name="T32" fmla="*/ 472 w 1457"/>
                <a:gd name="T33" fmla="*/ 1191 h 1295"/>
                <a:gd name="T34" fmla="*/ 505 w 1457"/>
                <a:gd name="T35" fmla="*/ 1287 h 1295"/>
                <a:gd name="T36" fmla="*/ 505 w 1457"/>
                <a:gd name="T37" fmla="*/ 1287 h 1295"/>
                <a:gd name="T38" fmla="*/ 536 w 1457"/>
                <a:gd name="T39" fmla="*/ 1295 h 1295"/>
                <a:gd name="T40" fmla="*/ 601 w 1457"/>
                <a:gd name="T41" fmla="*/ 1255 h 1295"/>
                <a:gd name="T42" fmla="*/ 657 w 1457"/>
                <a:gd name="T43" fmla="*/ 1143 h 1295"/>
                <a:gd name="T44" fmla="*/ 624 w 1457"/>
                <a:gd name="T45" fmla="*/ 1046 h 1295"/>
                <a:gd name="T46" fmla="*/ 592 w 1457"/>
                <a:gd name="T47" fmla="*/ 1039 h 1295"/>
                <a:gd name="T48" fmla="*/ 462 w 1457"/>
                <a:gd name="T49" fmla="*/ 901 h 1295"/>
                <a:gd name="T50" fmla="*/ 397 w 1457"/>
                <a:gd name="T51" fmla="*/ 941 h 1295"/>
                <a:gd name="T52" fmla="*/ 307 w 1457"/>
                <a:gd name="T53" fmla="*/ 1123 h 1295"/>
                <a:gd name="T54" fmla="*/ 339 w 1457"/>
                <a:gd name="T55" fmla="*/ 1219 h 1295"/>
                <a:gd name="T56" fmla="*/ 339 w 1457"/>
                <a:gd name="T57" fmla="*/ 1219 h 1295"/>
                <a:gd name="T58" fmla="*/ 371 w 1457"/>
                <a:gd name="T59" fmla="*/ 1227 h 1295"/>
                <a:gd name="T60" fmla="*/ 435 w 1457"/>
                <a:gd name="T61" fmla="*/ 1187 h 1295"/>
                <a:gd name="T62" fmla="*/ 526 w 1457"/>
                <a:gd name="T63" fmla="*/ 1005 h 1295"/>
                <a:gd name="T64" fmla="*/ 493 w 1457"/>
                <a:gd name="T65" fmla="*/ 909 h 1295"/>
                <a:gd name="T66" fmla="*/ 493 w 1457"/>
                <a:gd name="T67" fmla="*/ 909 h 1295"/>
                <a:gd name="T68" fmla="*/ 462 w 1457"/>
                <a:gd name="T69" fmla="*/ 901 h 1295"/>
                <a:gd name="T70" fmla="*/ 298 w 1457"/>
                <a:gd name="T71" fmla="*/ 829 h 1295"/>
                <a:gd name="T72" fmla="*/ 233 w 1457"/>
                <a:gd name="T73" fmla="*/ 869 h 1295"/>
                <a:gd name="T74" fmla="*/ 150 w 1457"/>
                <a:gd name="T75" fmla="*/ 1036 h 1295"/>
                <a:gd name="T76" fmla="*/ 183 w 1457"/>
                <a:gd name="T77" fmla="*/ 1132 h 1295"/>
                <a:gd name="T78" fmla="*/ 215 w 1457"/>
                <a:gd name="T79" fmla="*/ 1140 h 1295"/>
                <a:gd name="T80" fmla="*/ 279 w 1457"/>
                <a:gd name="T81" fmla="*/ 1100 h 1295"/>
                <a:gd name="T82" fmla="*/ 362 w 1457"/>
                <a:gd name="T83" fmla="*/ 933 h 1295"/>
                <a:gd name="T84" fmla="*/ 330 w 1457"/>
                <a:gd name="T85" fmla="*/ 837 h 1295"/>
                <a:gd name="T86" fmla="*/ 330 w 1457"/>
                <a:gd name="T87" fmla="*/ 837 h 1295"/>
                <a:gd name="T88" fmla="*/ 298 w 1457"/>
                <a:gd name="T89" fmla="*/ 829 h 1295"/>
                <a:gd name="T90" fmla="*/ 131 w 1457"/>
                <a:gd name="T91" fmla="*/ 762 h 1295"/>
                <a:gd name="T92" fmla="*/ 66 w 1457"/>
                <a:gd name="T93" fmla="*/ 802 h 1295"/>
                <a:gd name="T94" fmla="*/ 18 w 1457"/>
                <a:gd name="T95" fmla="*/ 900 h 1295"/>
                <a:gd name="T96" fmla="*/ 50 w 1457"/>
                <a:gd name="T97" fmla="*/ 996 h 1295"/>
                <a:gd name="T98" fmla="*/ 82 w 1457"/>
                <a:gd name="T99" fmla="*/ 1004 h 1295"/>
                <a:gd name="T100" fmla="*/ 146 w 1457"/>
                <a:gd name="T101" fmla="*/ 964 h 1295"/>
                <a:gd name="T102" fmla="*/ 195 w 1457"/>
                <a:gd name="T103" fmla="*/ 866 h 1295"/>
                <a:gd name="T104" fmla="*/ 162 w 1457"/>
                <a:gd name="T105" fmla="*/ 770 h 1295"/>
                <a:gd name="T106" fmla="*/ 131 w 1457"/>
                <a:gd name="T107" fmla="*/ 762 h 1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57" h="1295">
                  <a:moveTo>
                    <a:pt x="182" y="441"/>
                  </a:moveTo>
                  <a:cubicBezTo>
                    <a:pt x="138" y="419"/>
                    <a:pt x="128" y="361"/>
                    <a:pt x="163" y="326"/>
                  </a:cubicBezTo>
                  <a:cubicBezTo>
                    <a:pt x="484" y="0"/>
                    <a:pt x="654" y="98"/>
                    <a:pt x="724" y="120"/>
                  </a:cubicBezTo>
                  <a:cubicBezTo>
                    <a:pt x="823" y="149"/>
                    <a:pt x="1071" y="278"/>
                    <a:pt x="1145" y="295"/>
                  </a:cubicBezTo>
                  <a:cubicBezTo>
                    <a:pt x="1199" y="308"/>
                    <a:pt x="1348" y="206"/>
                    <a:pt x="1419" y="153"/>
                  </a:cubicBezTo>
                  <a:cubicBezTo>
                    <a:pt x="1435" y="142"/>
                    <a:pt x="1457" y="153"/>
                    <a:pt x="1457" y="172"/>
                  </a:cubicBezTo>
                  <a:cubicBezTo>
                    <a:pt x="1457" y="172"/>
                    <a:pt x="1457" y="172"/>
                    <a:pt x="1457" y="660"/>
                  </a:cubicBezTo>
                  <a:cubicBezTo>
                    <a:pt x="1457" y="666"/>
                    <a:pt x="1454" y="670"/>
                    <a:pt x="1449" y="672"/>
                  </a:cubicBezTo>
                  <a:cubicBezTo>
                    <a:pt x="1449" y="672"/>
                    <a:pt x="1449" y="672"/>
                    <a:pt x="1275" y="716"/>
                  </a:cubicBezTo>
                  <a:cubicBezTo>
                    <a:pt x="1271" y="718"/>
                    <a:pt x="1266" y="717"/>
                    <a:pt x="1263" y="715"/>
                  </a:cubicBezTo>
                  <a:cubicBezTo>
                    <a:pt x="1207" y="679"/>
                    <a:pt x="737" y="382"/>
                    <a:pt x="668" y="358"/>
                  </a:cubicBezTo>
                  <a:cubicBezTo>
                    <a:pt x="614" y="338"/>
                    <a:pt x="510" y="340"/>
                    <a:pt x="462" y="341"/>
                  </a:cubicBezTo>
                  <a:cubicBezTo>
                    <a:pt x="446" y="342"/>
                    <a:pt x="431" y="349"/>
                    <a:pt x="421" y="361"/>
                  </a:cubicBezTo>
                  <a:cubicBezTo>
                    <a:pt x="320" y="472"/>
                    <a:pt x="237" y="468"/>
                    <a:pt x="182" y="441"/>
                  </a:cubicBezTo>
                  <a:close/>
                  <a:moveTo>
                    <a:pt x="592" y="1039"/>
                  </a:moveTo>
                  <a:cubicBezTo>
                    <a:pt x="566" y="1039"/>
                    <a:pt x="541" y="1054"/>
                    <a:pt x="528" y="1079"/>
                  </a:cubicBezTo>
                  <a:cubicBezTo>
                    <a:pt x="472" y="1191"/>
                    <a:pt x="472" y="1191"/>
                    <a:pt x="472" y="1191"/>
                  </a:cubicBezTo>
                  <a:cubicBezTo>
                    <a:pt x="455" y="1227"/>
                    <a:pt x="469" y="1270"/>
                    <a:pt x="505" y="1287"/>
                  </a:cubicBezTo>
                  <a:cubicBezTo>
                    <a:pt x="505" y="1287"/>
                    <a:pt x="505" y="1287"/>
                    <a:pt x="505" y="1287"/>
                  </a:cubicBezTo>
                  <a:cubicBezTo>
                    <a:pt x="515" y="1292"/>
                    <a:pt x="526" y="1295"/>
                    <a:pt x="536" y="1295"/>
                  </a:cubicBezTo>
                  <a:cubicBezTo>
                    <a:pt x="563" y="1295"/>
                    <a:pt x="588" y="1280"/>
                    <a:pt x="601" y="1255"/>
                  </a:cubicBezTo>
                  <a:cubicBezTo>
                    <a:pt x="657" y="1143"/>
                    <a:pt x="657" y="1143"/>
                    <a:pt x="657" y="1143"/>
                  </a:cubicBezTo>
                  <a:cubicBezTo>
                    <a:pt x="674" y="1107"/>
                    <a:pt x="660" y="1064"/>
                    <a:pt x="624" y="1046"/>
                  </a:cubicBezTo>
                  <a:cubicBezTo>
                    <a:pt x="614" y="1041"/>
                    <a:pt x="603" y="1039"/>
                    <a:pt x="592" y="1039"/>
                  </a:cubicBezTo>
                  <a:moveTo>
                    <a:pt x="462" y="901"/>
                  </a:moveTo>
                  <a:cubicBezTo>
                    <a:pt x="435" y="901"/>
                    <a:pt x="410" y="916"/>
                    <a:pt x="397" y="941"/>
                  </a:cubicBezTo>
                  <a:cubicBezTo>
                    <a:pt x="307" y="1123"/>
                    <a:pt x="307" y="1123"/>
                    <a:pt x="307" y="1123"/>
                  </a:cubicBezTo>
                  <a:cubicBezTo>
                    <a:pt x="289" y="1159"/>
                    <a:pt x="304" y="1202"/>
                    <a:pt x="339" y="1219"/>
                  </a:cubicBezTo>
                  <a:cubicBezTo>
                    <a:pt x="339" y="1219"/>
                    <a:pt x="339" y="1219"/>
                    <a:pt x="339" y="1219"/>
                  </a:cubicBezTo>
                  <a:cubicBezTo>
                    <a:pt x="350" y="1224"/>
                    <a:pt x="360" y="1227"/>
                    <a:pt x="371" y="1227"/>
                  </a:cubicBezTo>
                  <a:cubicBezTo>
                    <a:pt x="397" y="1227"/>
                    <a:pt x="423" y="1212"/>
                    <a:pt x="435" y="1187"/>
                  </a:cubicBezTo>
                  <a:cubicBezTo>
                    <a:pt x="526" y="1005"/>
                    <a:pt x="526" y="1005"/>
                    <a:pt x="526" y="1005"/>
                  </a:cubicBezTo>
                  <a:cubicBezTo>
                    <a:pt x="543" y="970"/>
                    <a:pt x="529" y="927"/>
                    <a:pt x="493" y="909"/>
                  </a:cubicBezTo>
                  <a:cubicBezTo>
                    <a:pt x="493" y="909"/>
                    <a:pt x="493" y="909"/>
                    <a:pt x="493" y="909"/>
                  </a:cubicBezTo>
                  <a:cubicBezTo>
                    <a:pt x="483" y="904"/>
                    <a:pt x="472" y="901"/>
                    <a:pt x="462" y="901"/>
                  </a:cubicBezTo>
                  <a:moveTo>
                    <a:pt x="298" y="829"/>
                  </a:moveTo>
                  <a:cubicBezTo>
                    <a:pt x="271" y="829"/>
                    <a:pt x="246" y="844"/>
                    <a:pt x="233" y="869"/>
                  </a:cubicBezTo>
                  <a:cubicBezTo>
                    <a:pt x="150" y="1036"/>
                    <a:pt x="150" y="1036"/>
                    <a:pt x="150" y="1036"/>
                  </a:cubicBezTo>
                  <a:cubicBezTo>
                    <a:pt x="133" y="1072"/>
                    <a:pt x="147" y="1115"/>
                    <a:pt x="183" y="1132"/>
                  </a:cubicBezTo>
                  <a:cubicBezTo>
                    <a:pt x="193" y="1138"/>
                    <a:pt x="204" y="1140"/>
                    <a:pt x="215" y="1140"/>
                  </a:cubicBezTo>
                  <a:cubicBezTo>
                    <a:pt x="241" y="1140"/>
                    <a:pt x="266" y="1125"/>
                    <a:pt x="279" y="1100"/>
                  </a:cubicBezTo>
                  <a:cubicBezTo>
                    <a:pt x="362" y="933"/>
                    <a:pt x="362" y="933"/>
                    <a:pt x="362" y="933"/>
                  </a:cubicBezTo>
                  <a:cubicBezTo>
                    <a:pt x="379" y="898"/>
                    <a:pt x="365" y="855"/>
                    <a:pt x="330" y="837"/>
                  </a:cubicBezTo>
                  <a:cubicBezTo>
                    <a:pt x="330" y="837"/>
                    <a:pt x="330" y="837"/>
                    <a:pt x="330" y="837"/>
                  </a:cubicBezTo>
                  <a:cubicBezTo>
                    <a:pt x="319" y="832"/>
                    <a:pt x="308" y="829"/>
                    <a:pt x="298" y="829"/>
                  </a:cubicBezTo>
                  <a:moveTo>
                    <a:pt x="131" y="762"/>
                  </a:moveTo>
                  <a:cubicBezTo>
                    <a:pt x="104" y="762"/>
                    <a:pt x="79" y="777"/>
                    <a:pt x="66" y="802"/>
                  </a:cubicBezTo>
                  <a:cubicBezTo>
                    <a:pt x="18" y="900"/>
                    <a:pt x="18" y="900"/>
                    <a:pt x="18" y="900"/>
                  </a:cubicBezTo>
                  <a:cubicBezTo>
                    <a:pt x="0" y="936"/>
                    <a:pt x="14" y="979"/>
                    <a:pt x="50" y="996"/>
                  </a:cubicBezTo>
                  <a:cubicBezTo>
                    <a:pt x="60" y="1002"/>
                    <a:pt x="71" y="1004"/>
                    <a:pt x="82" y="1004"/>
                  </a:cubicBezTo>
                  <a:cubicBezTo>
                    <a:pt x="108" y="1004"/>
                    <a:pt x="133" y="989"/>
                    <a:pt x="146" y="964"/>
                  </a:cubicBezTo>
                  <a:cubicBezTo>
                    <a:pt x="195" y="866"/>
                    <a:pt x="195" y="866"/>
                    <a:pt x="195" y="866"/>
                  </a:cubicBezTo>
                  <a:cubicBezTo>
                    <a:pt x="212" y="830"/>
                    <a:pt x="198" y="787"/>
                    <a:pt x="162" y="770"/>
                  </a:cubicBezTo>
                  <a:cubicBezTo>
                    <a:pt x="152" y="765"/>
                    <a:pt x="141" y="762"/>
                    <a:pt x="131" y="76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6">
              <a:extLst>
                <a:ext uri="{FF2B5EF4-FFF2-40B4-BE49-F238E27FC236}">
                  <a16:creationId xmlns:a16="http://schemas.microsoft.com/office/drawing/2014/main" id="{23479137-BE96-4407-88BC-DAA4B923DFDD}"/>
                </a:ext>
              </a:extLst>
            </p:cNvPr>
            <p:cNvSpPr>
              <a:spLocks noEditPoints="1"/>
            </p:cNvSpPr>
            <p:nvPr/>
          </p:nvSpPr>
          <p:spPr bwMode="auto">
            <a:xfrm>
              <a:off x="2251" y="921"/>
              <a:ext cx="3007" cy="2422"/>
            </a:xfrm>
            <a:custGeom>
              <a:avLst/>
              <a:gdLst>
                <a:gd name="T0" fmla="*/ 262 w 1605"/>
                <a:gd name="T1" fmla="*/ 725 h 1292"/>
                <a:gd name="T2" fmla="*/ 15 w 1605"/>
                <a:gd name="T3" fmla="*/ 587 h 1292"/>
                <a:gd name="T4" fmla="*/ 0 w 1605"/>
                <a:gd name="T5" fmla="*/ 37 h 1292"/>
                <a:gd name="T6" fmla="*/ 36 w 1605"/>
                <a:gd name="T7" fmla="*/ 0 h 1292"/>
                <a:gd name="T8" fmla="*/ 155 w 1605"/>
                <a:gd name="T9" fmla="*/ 96 h 1292"/>
                <a:gd name="T10" fmla="*/ 324 w 1605"/>
                <a:gd name="T11" fmla="*/ 190 h 1292"/>
                <a:gd name="T12" fmla="*/ 364 w 1605"/>
                <a:gd name="T13" fmla="*/ 178 h 1292"/>
                <a:gd name="T14" fmla="*/ 366 w 1605"/>
                <a:gd name="T15" fmla="*/ 207 h 1292"/>
                <a:gd name="T16" fmla="*/ 324 w 1605"/>
                <a:gd name="T17" fmla="*/ 226 h 1292"/>
                <a:gd name="T18" fmla="*/ 36 w 1605"/>
                <a:gd name="T19" fmla="*/ 36 h 1292"/>
                <a:gd name="T20" fmla="*/ 1538 w 1605"/>
                <a:gd name="T21" fmla="*/ 719 h 1292"/>
                <a:gd name="T22" fmla="*/ 785 w 1605"/>
                <a:gd name="T23" fmla="*/ 307 h 1292"/>
                <a:gd name="T24" fmla="*/ 1544 w 1605"/>
                <a:gd name="T25" fmla="*/ 848 h 1292"/>
                <a:gd name="T26" fmla="*/ 1482 w 1605"/>
                <a:gd name="T27" fmla="*/ 883 h 1292"/>
                <a:gd name="T28" fmla="*/ 1236 w 1605"/>
                <a:gd name="T29" fmla="*/ 747 h 1292"/>
                <a:gd name="T30" fmla="*/ 1210 w 1605"/>
                <a:gd name="T31" fmla="*/ 752 h 1292"/>
                <a:gd name="T32" fmla="*/ 1380 w 1605"/>
                <a:gd name="T33" fmla="*/ 881 h 1292"/>
                <a:gd name="T34" fmla="*/ 1345 w 1605"/>
                <a:gd name="T35" fmla="*/ 1015 h 1292"/>
                <a:gd name="T36" fmla="*/ 1123 w 1605"/>
                <a:gd name="T37" fmla="*/ 893 h 1292"/>
                <a:gd name="T38" fmla="*/ 1098 w 1605"/>
                <a:gd name="T39" fmla="*/ 898 h 1292"/>
                <a:gd name="T40" fmla="*/ 1229 w 1605"/>
                <a:gd name="T41" fmla="*/ 1002 h 1292"/>
                <a:gd name="T42" fmla="*/ 1253 w 1605"/>
                <a:gd name="T43" fmla="*/ 1100 h 1292"/>
                <a:gd name="T44" fmla="*/ 1155 w 1605"/>
                <a:gd name="T45" fmla="*/ 1124 h 1292"/>
                <a:gd name="T46" fmla="*/ 986 w 1605"/>
                <a:gd name="T47" fmla="*/ 1044 h 1292"/>
                <a:gd name="T48" fmla="*/ 992 w 1605"/>
                <a:gd name="T49" fmla="*/ 1075 h 1292"/>
                <a:gd name="T50" fmla="*/ 1097 w 1605"/>
                <a:gd name="T51" fmla="*/ 1222 h 1292"/>
                <a:gd name="T52" fmla="*/ 998 w 1605"/>
                <a:gd name="T53" fmla="*/ 1246 h 1292"/>
                <a:gd name="T54" fmla="*/ 862 w 1605"/>
                <a:gd name="T55" fmla="*/ 1206 h 1292"/>
                <a:gd name="T56" fmla="*/ 1035 w 1605"/>
                <a:gd name="T57" fmla="*/ 1292 h 1292"/>
                <a:gd name="T58" fmla="*/ 1139 w 1605"/>
                <a:gd name="T59" fmla="*/ 1157 h 1292"/>
                <a:gd name="T60" fmla="*/ 1284 w 1605"/>
                <a:gd name="T61" fmla="*/ 1119 h 1292"/>
                <a:gd name="T62" fmla="*/ 1345 w 1605"/>
                <a:gd name="T63" fmla="*/ 1051 h 1292"/>
                <a:gd name="T64" fmla="*/ 1450 w 1605"/>
                <a:gd name="T65" fmla="*/ 917 h 1292"/>
                <a:gd name="T66" fmla="*/ 1482 w 1605"/>
                <a:gd name="T67" fmla="*/ 919 h 1292"/>
                <a:gd name="T68" fmla="*/ 1538 w 1605"/>
                <a:gd name="T69" fmla="*/ 719 h 1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5" h="1292">
                  <a:moveTo>
                    <a:pt x="36" y="558"/>
                  </a:moveTo>
                  <a:cubicBezTo>
                    <a:pt x="262" y="725"/>
                    <a:pt x="262" y="725"/>
                    <a:pt x="262" y="725"/>
                  </a:cubicBezTo>
                  <a:cubicBezTo>
                    <a:pt x="246" y="757"/>
                    <a:pt x="246" y="757"/>
                    <a:pt x="246" y="757"/>
                  </a:cubicBezTo>
                  <a:cubicBezTo>
                    <a:pt x="15" y="587"/>
                    <a:pt x="15" y="587"/>
                    <a:pt x="15" y="587"/>
                  </a:cubicBezTo>
                  <a:cubicBezTo>
                    <a:pt x="6" y="580"/>
                    <a:pt x="0" y="569"/>
                    <a:pt x="0" y="558"/>
                  </a:cubicBezTo>
                  <a:cubicBezTo>
                    <a:pt x="0" y="37"/>
                    <a:pt x="0" y="37"/>
                    <a:pt x="0" y="37"/>
                  </a:cubicBezTo>
                  <a:cubicBezTo>
                    <a:pt x="0" y="24"/>
                    <a:pt x="7" y="11"/>
                    <a:pt x="18" y="5"/>
                  </a:cubicBezTo>
                  <a:cubicBezTo>
                    <a:pt x="24" y="1"/>
                    <a:pt x="30" y="0"/>
                    <a:pt x="36" y="0"/>
                  </a:cubicBezTo>
                  <a:cubicBezTo>
                    <a:pt x="45" y="0"/>
                    <a:pt x="54" y="3"/>
                    <a:pt x="61" y="9"/>
                  </a:cubicBezTo>
                  <a:cubicBezTo>
                    <a:pt x="155" y="96"/>
                    <a:pt x="155" y="96"/>
                    <a:pt x="155" y="96"/>
                  </a:cubicBezTo>
                  <a:cubicBezTo>
                    <a:pt x="156" y="97"/>
                    <a:pt x="156" y="97"/>
                    <a:pt x="156" y="97"/>
                  </a:cubicBezTo>
                  <a:cubicBezTo>
                    <a:pt x="182" y="123"/>
                    <a:pt x="263" y="190"/>
                    <a:pt x="324" y="190"/>
                  </a:cubicBezTo>
                  <a:cubicBezTo>
                    <a:pt x="336" y="190"/>
                    <a:pt x="346" y="187"/>
                    <a:pt x="355" y="182"/>
                  </a:cubicBezTo>
                  <a:cubicBezTo>
                    <a:pt x="358" y="180"/>
                    <a:pt x="361" y="179"/>
                    <a:pt x="364" y="178"/>
                  </a:cubicBezTo>
                  <a:cubicBezTo>
                    <a:pt x="413" y="161"/>
                    <a:pt x="413" y="161"/>
                    <a:pt x="413" y="161"/>
                  </a:cubicBezTo>
                  <a:cubicBezTo>
                    <a:pt x="397" y="176"/>
                    <a:pt x="382" y="191"/>
                    <a:pt x="366" y="207"/>
                  </a:cubicBezTo>
                  <a:cubicBezTo>
                    <a:pt x="361" y="212"/>
                    <a:pt x="357" y="217"/>
                    <a:pt x="353" y="222"/>
                  </a:cubicBezTo>
                  <a:cubicBezTo>
                    <a:pt x="344" y="225"/>
                    <a:pt x="334" y="226"/>
                    <a:pt x="324" y="226"/>
                  </a:cubicBezTo>
                  <a:cubicBezTo>
                    <a:pt x="234" y="226"/>
                    <a:pt x="131" y="123"/>
                    <a:pt x="131" y="123"/>
                  </a:cubicBezTo>
                  <a:cubicBezTo>
                    <a:pt x="36" y="36"/>
                    <a:pt x="36" y="36"/>
                    <a:pt x="36" y="36"/>
                  </a:cubicBezTo>
                  <a:lnTo>
                    <a:pt x="36" y="558"/>
                  </a:lnTo>
                  <a:close/>
                  <a:moveTo>
                    <a:pt x="1538" y="719"/>
                  </a:moveTo>
                  <a:cubicBezTo>
                    <a:pt x="868" y="315"/>
                    <a:pt x="868" y="315"/>
                    <a:pt x="868" y="315"/>
                  </a:cubicBezTo>
                  <a:cubicBezTo>
                    <a:pt x="850" y="312"/>
                    <a:pt x="824" y="309"/>
                    <a:pt x="785" y="307"/>
                  </a:cubicBezTo>
                  <a:cubicBezTo>
                    <a:pt x="1520" y="750"/>
                    <a:pt x="1520" y="750"/>
                    <a:pt x="1520" y="750"/>
                  </a:cubicBezTo>
                  <a:cubicBezTo>
                    <a:pt x="1553" y="770"/>
                    <a:pt x="1564" y="814"/>
                    <a:pt x="1544" y="848"/>
                  </a:cubicBezTo>
                  <a:cubicBezTo>
                    <a:pt x="1544" y="848"/>
                    <a:pt x="1544" y="848"/>
                    <a:pt x="1544" y="848"/>
                  </a:cubicBezTo>
                  <a:cubicBezTo>
                    <a:pt x="1531" y="871"/>
                    <a:pt x="1507" y="883"/>
                    <a:pt x="1482" y="883"/>
                  </a:cubicBezTo>
                  <a:cubicBezTo>
                    <a:pt x="1470" y="883"/>
                    <a:pt x="1457" y="880"/>
                    <a:pt x="1446" y="873"/>
                  </a:cubicBezTo>
                  <a:cubicBezTo>
                    <a:pt x="1236" y="747"/>
                    <a:pt x="1236" y="747"/>
                    <a:pt x="1236" y="747"/>
                  </a:cubicBezTo>
                  <a:cubicBezTo>
                    <a:pt x="1227" y="741"/>
                    <a:pt x="1216" y="743"/>
                    <a:pt x="1210" y="752"/>
                  </a:cubicBezTo>
                  <a:cubicBezTo>
                    <a:pt x="1210" y="752"/>
                    <a:pt x="1210" y="752"/>
                    <a:pt x="1210" y="752"/>
                  </a:cubicBezTo>
                  <a:cubicBezTo>
                    <a:pt x="1202" y="761"/>
                    <a:pt x="1205" y="775"/>
                    <a:pt x="1215" y="781"/>
                  </a:cubicBezTo>
                  <a:cubicBezTo>
                    <a:pt x="1380" y="881"/>
                    <a:pt x="1380" y="881"/>
                    <a:pt x="1380" y="881"/>
                  </a:cubicBezTo>
                  <a:cubicBezTo>
                    <a:pt x="1414" y="901"/>
                    <a:pt x="1427" y="947"/>
                    <a:pt x="1406" y="981"/>
                  </a:cubicBezTo>
                  <a:cubicBezTo>
                    <a:pt x="1393" y="1003"/>
                    <a:pt x="1369" y="1015"/>
                    <a:pt x="1345" y="1015"/>
                  </a:cubicBezTo>
                  <a:cubicBezTo>
                    <a:pt x="1332" y="1015"/>
                    <a:pt x="1320" y="1012"/>
                    <a:pt x="1308" y="1005"/>
                  </a:cubicBezTo>
                  <a:cubicBezTo>
                    <a:pt x="1123" y="893"/>
                    <a:pt x="1123" y="893"/>
                    <a:pt x="1123" y="893"/>
                  </a:cubicBezTo>
                  <a:cubicBezTo>
                    <a:pt x="1115" y="888"/>
                    <a:pt x="1104" y="890"/>
                    <a:pt x="1098" y="898"/>
                  </a:cubicBezTo>
                  <a:cubicBezTo>
                    <a:pt x="1098" y="898"/>
                    <a:pt x="1098" y="898"/>
                    <a:pt x="1098" y="898"/>
                  </a:cubicBezTo>
                  <a:cubicBezTo>
                    <a:pt x="1091" y="907"/>
                    <a:pt x="1093" y="920"/>
                    <a:pt x="1103" y="926"/>
                  </a:cubicBezTo>
                  <a:cubicBezTo>
                    <a:pt x="1229" y="1002"/>
                    <a:pt x="1229" y="1002"/>
                    <a:pt x="1229" y="1002"/>
                  </a:cubicBezTo>
                  <a:cubicBezTo>
                    <a:pt x="1263" y="1022"/>
                    <a:pt x="1274" y="1066"/>
                    <a:pt x="1253" y="1100"/>
                  </a:cubicBezTo>
                  <a:cubicBezTo>
                    <a:pt x="1253" y="1100"/>
                    <a:pt x="1253" y="1100"/>
                    <a:pt x="1253" y="1100"/>
                  </a:cubicBezTo>
                  <a:cubicBezTo>
                    <a:pt x="1240" y="1122"/>
                    <a:pt x="1216" y="1135"/>
                    <a:pt x="1192" y="1135"/>
                  </a:cubicBezTo>
                  <a:cubicBezTo>
                    <a:pt x="1179" y="1135"/>
                    <a:pt x="1167" y="1131"/>
                    <a:pt x="1155" y="1124"/>
                  </a:cubicBezTo>
                  <a:cubicBezTo>
                    <a:pt x="1013" y="1039"/>
                    <a:pt x="1013" y="1039"/>
                    <a:pt x="1013" y="1039"/>
                  </a:cubicBezTo>
                  <a:cubicBezTo>
                    <a:pt x="1004" y="1033"/>
                    <a:pt x="992" y="1036"/>
                    <a:pt x="986" y="1044"/>
                  </a:cubicBezTo>
                  <a:cubicBezTo>
                    <a:pt x="986" y="1044"/>
                    <a:pt x="986" y="1044"/>
                    <a:pt x="986" y="1044"/>
                  </a:cubicBezTo>
                  <a:cubicBezTo>
                    <a:pt x="978" y="1054"/>
                    <a:pt x="981" y="1068"/>
                    <a:pt x="992" y="1075"/>
                  </a:cubicBezTo>
                  <a:cubicBezTo>
                    <a:pt x="1071" y="1122"/>
                    <a:pt x="1071" y="1122"/>
                    <a:pt x="1071" y="1122"/>
                  </a:cubicBezTo>
                  <a:cubicBezTo>
                    <a:pt x="1105" y="1143"/>
                    <a:pt x="1117" y="1188"/>
                    <a:pt x="1097" y="1222"/>
                  </a:cubicBezTo>
                  <a:cubicBezTo>
                    <a:pt x="1083" y="1244"/>
                    <a:pt x="1059" y="1256"/>
                    <a:pt x="1035" y="1256"/>
                  </a:cubicBezTo>
                  <a:cubicBezTo>
                    <a:pt x="1023" y="1256"/>
                    <a:pt x="1010" y="1253"/>
                    <a:pt x="998" y="1246"/>
                  </a:cubicBezTo>
                  <a:cubicBezTo>
                    <a:pt x="884" y="1177"/>
                    <a:pt x="884" y="1177"/>
                    <a:pt x="884" y="1177"/>
                  </a:cubicBezTo>
                  <a:cubicBezTo>
                    <a:pt x="862" y="1206"/>
                    <a:pt x="862" y="1206"/>
                    <a:pt x="862" y="1206"/>
                  </a:cubicBezTo>
                  <a:cubicBezTo>
                    <a:pt x="980" y="1277"/>
                    <a:pt x="980" y="1277"/>
                    <a:pt x="980" y="1277"/>
                  </a:cubicBezTo>
                  <a:cubicBezTo>
                    <a:pt x="997" y="1287"/>
                    <a:pt x="1016" y="1292"/>
                    <a:pt x="1035" y="1292"/>
                  </a:cubicBezTo>
                  <a:cubicBezTo>
                    <a:pt x="1073" y="1292"/>
                    <a:pt x="1108" y="1272"/>
                    <a:pt x="1128" y="1240"/>
                  </a:cubicBezTo>
                  <a:cubicBezTo>
                    <a:pt x="1143" y="1214"/>
                    <a:pt x="1147" y="1184"/>
                    <a:pt x="1139" y="1157"/>
                  </a:cubicBezTo>
                  <a:cubicBezTo>
                    <a:pt x="1155" y="1166"/>
                    <a:pt x="1174" y="1171"/>
                    <a:pt x="1192" y="1171"/>
                  </a:cubicBezTo>
                  <a:cubicBezTo>
                    <a:pt x="1230" y="1171"/>
                    <a:pt x="1265" y="1151"/>
                    <a:pt x="1284" y="1119"/>
                  </a:cubicBezTo>
                  <a:cubicBezTo>
                    <a:pt x="1299" y="1094"/>
                    <a:pt x="1303" y="1066"/>
                    <a:pt x="1297" y="1040"/>
                  </a:cubicBezTo>
                  <a:cubicBezTo>
                    <a:pt x="1312" y="1047"/>
                    <a:pt x="1328" y="1051"/>
                    <a:pt x="1345" y="1051"/>
                  </a:cubicBezTo>
                  <a:cubicBezTo>
                    <a:pt x="1383" y="1051"/>
                    <a:pt x="1418" y="1031"/>
                    <a:pt x="1437" y="999"/>
                  </a:cubicBezTo>
                  <a:cubicBezTo>
                    <a:pt x="1452" y="974"/>
                    <a:pt x="1457" y="945"/>
                    <a:pt x="1450" y="917"/>
                  </a:cubicBezTo>
                  <a:cubicBezTo>
                    <a:pt x="1449" y="916"/>
                    <a:pt x="1449" y="915"/>
                    <a:pt x="1449" y="913"/>
                  </a:cubicBezTo>
                  <a:cubicBezTo>
                    <a:pt x="1459" y="917"/>
                    <a:pt x="1471" y="919"/>
                    <a:pt x="1482" y="919"/>
                  </a:cubicBezTo>
                  <a:cubicBezTo>
                    <a:pt x="1520" y="919"/>
                    <a:pt x="1555" y="899"/>
                    <a:pt x="1575" y="867"/>
                  </a:cubicBezTo>
                  <a:cubicBezTo>
                    <a:pt x="1605" y="816"/>
                    <a:pt x="1589" y="750"/>
                    <a:pt x="1538" y="7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0" name="bcgIcons_ToolKit">
            <a:extLst>
              <a:ext uri="{FF2B5EF4-FFF2-40B4-BE49-F238E27FC236}">
                <a16:creationId xmlns:a16="http://schemas.microsoft.com/office/drawing/2014/main" id="{668AE661-E693-4206-8494-2031C7B9E095}"/>
              </a:ext>
            </a:extLst>
          </p:cNvPr>
          <p:cNvGrpSpPr>
            <a:grpSpLocks noChangeAspect="1"/>
          </p:cNvGrpSpPr>
          <p:nvPr/>
        </p:nvGrpSpPr>
        <p:grpSpPr bwMode="auto">
          <a:xfrm>
            <a:off x="6738533" y="2456363"/>
            <a:ext cx="706058" cy="706710"/>
            <a:chOff x="1682" y="0"/>
            <a:chExt cx="4316" cy="4320"/>
          </a:xfrm>
        </p:grpSpPr>
        <p:sp>
          <p:nvSpPr>
            <p:cNvPr id="81" name="AutoShape 3">
              <a:extLst>
                <a:ext uri="{FF2B5EF4-FFF2-40B4-BE49-F238E27FC236}">
                  <a16:creationId xmlns:a16="http://schemas.microsoft.com/office/drawing/2014/main" id="{C4EC4ED0-CE05-4FB5-B3E9-09512D323DE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5">
              <a:extLst>
                <a:ext uri="{FF2B5EF4-FFF2-40B4-BE49-F238E27FC236}">
                  <a16:creationId xmlns:a16="http://schemas.microsoft.com/office/drawing/2014/main" id="{2946DED1-03A0-4071-9519-B925CEEF78FD}"/>
                </a:ext>
              </a:extLst>
            </p:cNvPr>
            <p:cNvSpPr>
              <a:spLocks noEditPoints="1"/>
            </p:cNvSpPr>
            <p:nvPr/>
          </p:nvSpPr>
          <p:spPr bwMode="auto">
            <a:xfrm>
              <a:off x="2414" y="1577"/>
              <a:ext cx="2900" cy="2167"/>
            </a:xfrm>
            <a:custGeom>
              <a:avLst/>
              <a:gdLst>
                <a:gd name="T0" fmla="*/ 973 w 1548"/>
                <a:gd name="T1" fmla="*/ 304 h 1156"/>
                <a:gd name="T2" fmla="*/ 894 w 1548"/>
                <a:gd name="T3" fmla="*/ 298 h 1156"/>
                <a:gd name="T4" fmla="*/ 912 w 1548"/>
                <a:gd name="T5" fmla="*/ 261 h 1156"/>
                <a:gd name="T6" fmla="*/ 839 w 1548"/>
                <a:gd name="T7" fmla="*/ 171 h 1156"/>
                <a:gd name="T8" fmla="*/ 779 w 1548"/>
                <a:gd name="T9" fmla="*/ 171 h 1156"/>
                <a:gd name="T10" fmla="*/ 538 w 1548"/>
                <a:gd name="T11" fmla="*/ 429 h 1156"/>
                <a:gd name="T12" fmla="*/ 611 w 1548"/>
                <a:gd name="T13" fmla="*/ 519 h 1156"/>
                <a:gd name="T14" fmla="*/ 672 w 1548"/>
                <a:gd name="T15" fmla="*/ 519 h 1156"/>
                <a:gd name="T16" fmla="*/ 677 w 1548"/>
                <a:gd name="T17" fmla="*/ 577 h 1156"/>
                <a:gd name="T18" fmla="*/ 1232 w 1548"/>
                <a:gd name="T19" fmla="*/ 1140 h 1156"/>
                <a:gd name="T20" fmla="*/ 1330 w 1548"/>
                <a:gd name="T21" fmla="*/ 1143 h 1156"/>
                <a:gd name="T22" fmla="*/ 1523 w 1548"/>
                <a:gd name="T23" fmla="*/ 950 h 1156"/>
                <a:gd name="T24" fmla="*/ 642 w 1548"/>
                <a:gd name="T25" fmla="*/ 488 h 1156"/>
                <a:gd name="T26" fmla="*/ 809 w 1548"/>
                <a:gd name="T27" fmla="*/ 202 h 1156"/>
                <a:gd name="T28" fmla="*/ 642 w 1548"/>
                <a:gd name="T29" fmla="*/ 488 h 1156"/>
                <a:gd name="T30" fmla="*/ 1411 w 1548"/>
                <a:gd name="T31" fmla="*/ 1031 h 1156"/>
                <a:gd name="T32" fmla="*/ 1263 w 1548"/>
                <a:gd name="T33" fmla="*/ 1109 h 1156"/>
                <a:gd name="T34" fmla="*/ 718 w 1548"/>
                <a:gd name="T35" fmla="*/ 474 h 1156"/>
                <a:gd name="T36" fmla="*/ 948 w 1548"/>
                <a:gd name="T37" fmla="*/ 342 h 1156"/>
                <a:gd name="T38" fmla="*/ 1483 w 1548"/>
                <a:gd name="T39" fmla="*/ 932 h 1156"/>
                <a:gd name="T40" fmla="*/ 839 w 1548"/>
                <a:gd name="T41" fmla="*/ 119 h 1156"/>
                <a:gd name="T42" fmla="*/ 958 w 1548"/>
                <a:gd name="T43" fmla="*/ 0 h 1156"/>
                <a:gd name="T44" fmla="*/ 1145 w 1548"/>
                <a:gd name="T45" fmla="*/ 186 h 1156"/>
                <a:gd name="T46" fmla="*/ 1031 w 1548"/>
                <a:gd name="T47" fmla="*/ 300 h 1156"/>
                <a:gd name="T48" fmla="*/ 957 w 1548"/>
                <a:gd name="T49" fmla="*/ 254 h 1156"/>
                <a:gd name="T50" fmla="*/ 931 w 1548"/>
                <a:gd name="T51" fmla="*/ 200 h 1156"/>
                <a:gd name="T52" fmla="*/ 633 w 1548"/>
                <a:gd name="T53" fmla="*/ 578 h 1156"/>
                <a:gd name="T54" fmla="*/ 580 w 1548"/>
                <a:gd name="T55" fmla="*/ 551 h 1156"/>
                <a:gd name="T56" fmla="*/ 500 w 1548"/>
                <a:gd name="T57" fmla="*/ 459 h 1156"/>
                <a:gd name="T58" fmla="*/ 51 w 1548"/>
                <a:gd name="T59" fmla="*/ 907 h 1156"/>
                <a:gd name="T60" fmla="*/ 237 w 1548"/>
                <a:gd name="T61" fmla="*/ 1094 h 1156"/>
                <a:gd name="T62" fmla="*/ 680 w 1548"/>
                <a:gd name="T63" fmla="*/ 651 h 1156"/>
                <a:gd name="T64" fmla="*/ 633 w 1548"/>
                <a:gd name="T65" fmla="*/ 578 h 1156"/>
                <a:gd name="T66" fmla="*/ 87 w 1548"/>
                <a:gd name="T67" fmla="*/ 1058 h 1156"/>
                <a:gd name="T68" fmla="*/ 201 w 1548"/>
                <a:gd name="T69" fmla="*/ 943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48" h="1156">
                  <a:moveTo>
                    <a:pt x="1521" y="852"/>
                  </a:moveTo>
                  <a:cubicBezTo>
                    <a:pt x="973" y="304"/>
                    <a:pt x="973" y="304"/>
                    <a:pt x="973" y="304"/>
                  </a:cubicBezTo>
                  <a:cubicBezTo>
                    <a:pt x="969" y="300"/>
                    <a:pt x="963" y="298"/>
                    <a:pt x="957" y="298"/>
                  </a:cubicBezTo>
                  <a:cubicBezTo>
                    <a:pt x="894" y="298"/>
                    <a:pt x="894" y="298"/>
                    <a:pt x="894" y="298"/>
                  </a:cubicBezTo>
                  <a:cubicBezTo>
                    <a:pt x="900" y="292"/>
                    <a:pt x="900" y="292"/>
                    <a:pt x="900" y="292"/>
                  </a:cubicBezTo>
                  <a:cubicBezTo>
                    <a:pt x="908" y="284"/>
                    <a:pt x="912" y="273"/>
                    <a:pt x="912" y="261"/>
                  </a:cubicBezTo>
                  <a:cubicBezTo>
                    <a:pt x="912" y="250"/>
                    <a:pt x="908" y="239"/>
                    <a:pt x="900" y="231"/>
                  </a:cubicBezTo>
                  <a:cubicBezTo>
                    <a:pt x="839" y="171"/>
                    <a:pt x="839" y="171"/>
                    <a:pt x="839" y="171"/>
                  </a:cubicBezTo>
                  <a:cubicBezTo>
                    <a:pt x="831" y="162"/>
                    <a:pt x="820" y="158"/>
                    <a:pt x="809" y="158"/>
                  </a:cubicBezTo>
                  <a:cubicBezTo>
                    <a:pt x="798" y="158"/>
                    <a:pt x="787" y="162"/>
                    <a:pt x="779" y="171"/>
                  </a:cubicBezTo>
                  <a:cubicBezTo>
                    <a:pt x="551" y="398"/>
                    <a:pt x="551" y="398"/>
                    <a:pt x="551" y="398"/>
                  </a:cubicBezTo>
                  <a:cubicBezTo>
                    <a:pt x="543" y="406"/>
                    <a:pt x="538" y="417"/>
                    <a:pt x="538" y="429"/>
                  </a:cubicBezTo>
                  <a:cubicBezTo>
                    <a:pt x="538" y="440"/>
                    <a:pt x="543" y="451"/>
                    <a:pt x="551" y="459"/>
                  </a:cubicBezTo>
                  <a:cubicBezTo>
                    <a:pt x="611" y="519"/>
                    <a:pt x="611" y="519"/>
                    <a:pt x="611" y="519"/>
                  </a:cubicBezTo>
                  <a:cubicBezTo>
                    <a:pt x="619" y="528"/>
                    <a:pt x="630" y="532"/>
                    <a:pt x="642" y="532"/>
                  </a:cubicBezTo>
                  <a:cubicBezTo>
                    <a:pt x="653" y="532"/>
                    <a:pt x="664" y="528"/>
                    <a:pt x="672" y="519"/>
                  </a:cubicBezTo>
                  <a:cubicBezTo>
                    <a:pt x="675" y="516"/>
                    <a:pt x="675" y="516"/>
                    <a:pt x="675" y="516"/>
                  </a:cubicBezTo>
                  <a:cubicBezTo>
                    <a:pt x="677" y="577"/>
                    <a:pt x="677" y="577"/>
                    <a:pt x="677" y="577"/>
                  </a:cubicBezTo>
                  <a:cubicBezTo>
                    <a:pt x="677" y="582"/>
                    <a:pt x="679" y="588"/>
                    <a:pt x="683" y="592"/>
                  </a:cubicBezTo>
                  <a:cubicBezTo>
                    <a:pt x="1232" y="1140"/>
                    <a:pt x="1232" y="1140"/>
                    <a:pt x="1232" y="1140"/>
                  </a:cubicBezTo>
                  <a:cubicBezTo>
                    <a:pt x="1239" y="1148"/>
                    <a:pt x="1253" y="1156"/>
                    <a:pt x="1275" y="1156"/>
                  </a:cubicBezTo>
                  <a:cubicBezTo>
                    <a:pt x="1289" y="1156"/>
                    <a:pt x="1307" y="1153"/>
                    <a:pt x="1330" y="1143"/>
                  </a:cubicBezTo>
                  <a:cubicBezTo>
                    <a:pt x="1366" y="1127"/>
                    <a:pt x="1406" y="1098"/>
                    <a:pt x="1442" y="1062"/>
                  </a:cubicBezTo>
                  <a:cubicBezTo>
                    <a:pt x="1479" y="1026"/>
                    <a:pt x="1507" y="986"/>
                    <a:pt x="1523" y="950"/>
                  </a:cubicBezTo>
                  <a:cubicBezTo>
                    <a:pt x="1548" y="892"/>
                    <a:pt x="1532" y="864"/>
                    <a:pt x="1521" y="852"/>
                  </a:cubicBezTo>
                  <a:close/>
                  <a:moveTo>
                    <a:pt x="642" y="488"/>
                  </a:moveTo>
                  <a:cubicBezTo>
                    <a:pt x="583" y="429"/>
                    <a:pt x="583" y="429"/>
                    <a:pt x="583" y="429"/>
                  </a:cubicBezTo>
                  <a:cubicBezTo>
                    <a:pt x="809" y="202"/>
                    <a:pt x="809" y="202"/>
                    <a:pt x="809" y="202"/>
                  </a:cubicBezTo>
                  <a:cubicBezTo>
                    <a:pt x="868" y="261"/>
                    <a:pt x="868" y="261"/>
                    <a:pt x="868" y="261"/>
                  </a:cubicBezTo>
                  <a:lnTo>
                    <a:pt x="642" y="488"/>
                  </a:lnTo>
                  <a:close/>
                  <a:moveTo>
                    <a:pt x="1483" y="932"/>
                  </a:moveTo>
                  <a:cubicBezTo>
                    <a:pt x="1469" y="963"/>
                    <a:pt x="1444" y="998"/>
                    <a:pt x="1411" y="1031"/>
                  </a:cubicBezTo>
                  <a:cubicBezTo>
                    <a:pt x="1379" y="1063"/>
                    <a:pt x="1343" y="1089"/>
                    <a:pt x="1312" y="1103"/>
                  </a:cubicBezTo>
                  <a:cubicBezTo>
                    <a:pt x="1286" y="1114"/>
                    <a:pt x="1268" y="1114"/>
                    <a:pt x="1263" y="1109"/>
                  </a:cubicBezTo>
                  <a:cubicBezTo>
                    <a:pt x="721" y="567"/>
                    <a:pt x="721" y="567"/>
                    <a:pt x="721" y="567"/>
                  </a:cubicBezTo>
                  <a:cubicBezTo>
                    <a:pt x="718" y="474"/>
                    <a:pt x="718" y="474"/>
                    <a:pt x="718" y="474"/>
                  </a:cubicBezTo>
                  <a:cubicBezTo>
                    <a:pt x="850" y="341"/>
                    <a:pt x="850" y="341"/>
                    <a:pt x="850" y="341"/>
                  </a:cubicBezTo>
                  <a:cubicBezTo>
                    <a:pt x="948" y="342"/>
                    <a:pt x="948" y="342"/>
                    <a:pt x="948" y="342"/>
                  </a:cubicBezTo>
                  <a:cubicBezTo>
                    <a:pt x="1490" y="883"/>
                    <a:pt x="1490" y="883"/>
                    <a:pt x="1490" y="883"/>
                  </a:cubicBezTo>
                  <a:cubicBezTo>
                    <a:pt x="1495" y="888"/>
                    <a:pt x="1494" y="905"/>
                    <a:pt x="1483" y="932"/>
                  </a:cubicBezTo>
                  <a:close/>
                  <a:moveTo>
                    <a:pt x="871" y="140"/>
                  </a:moveTo>
                  <a:cubicBezTo>
                    <a:pt x="861" y="130"/>
                    <a:pt x="851" y="124"/>
                    <a:pt x="839" y="119"/>
                  </a:cubicBezTo>
                  <a:cubicBezTo>
                    <a:pt x="844" y="114"/>
                    <a:pt x="844" y="114"/>
                    <a:pt x="844" y="114"/>
                  </a:cubicBezTo>
                  <a:cubicBezTo>
                    <a:pt x="958" y="0"/>
                    <a:pt x="958" y="0"/>
                    <a:pt x="958" y="0"/>
                  </a:cubicBezTo>
                  <a:cubicBezTo>
                    <a:pt x="977" y="40"/>
                    <a:pt x="1003" y="77"/>
                    <a:pt x="1035" y="109"/>
                  </a:cubicBezTo>
                  <a:cubicBezTo>
                    <a:pt x="1068" y="142"/>
                    <a:pt x="1105" y="168"/>
                    <a:pt x="1145" y="186"/>
                  </a:cubicBezTo>
                  <a:cubicBezTo>
                    <a:pt x="1036" y="295"/>
                    <a:pt x="1036" y="295"/>
                    <a:pt x="1036" y="295"/>
                  </a:cubicBezTo>
                  <a:cubicBezTo>
                    <a:pt x="1031" y="300"/>
                    <a:pt x="1031" y="300"/>
                    <a:pt x="1031" y="300"/>
                  </a:cubicBezTo>
                  <a:cubicBezTo>
                    <a:pt x="1004" y="273"/>
                    <a:pt x="1004" y="273"/>
                    <a:pt x="1004" y="273"/>
                  </a:cubicBezTo>
                  <a:cubicBezTo>
                    <a:pt x="992" y="261"/>
                    <a:pt x="975" y="254"/>
                    <a:pt x="957" y="254"/>
                  </a:cubicBezTo>
                  <a:cubicBezTo>
                    <a:pt x="956" y="254"/>
                    <a:pt x="956" y="254"/>
                    <a:pt x="956" y="254"/>
                  </a:cubicBezTo>
                  <a:cubicBezTo>
                    <a:pt x="954" y="233"/>
                    <a:pt x="945" y="214"/>
                    <a:pt x="931" y="200"/>
                  </a:cubicBezTo>
                  <a:lnTo>
                    <a:pt x="871" y="140"/>
                  </a:lnTo>
                  <a:close/>
                  <a:moveTo>
                    <a:pt x="633" y="578"/>
                  </a:moveTo>
                  <a:cubicBezTo>
                    <a:pt x="633" y="576"/>
                    <a:pt x="633" y="576"/>
                    <a:pt x="633" y="576"/>
                  </a:cubicBezTo>
                  <a:cubicBezTo>
                    <a:pt x="613" y="574"/>
                    <a:pt x="594" y="565"/>
                    <a:pt x="580" y="551"/>
                  </a:cubicBezTo>
                  <a:cubicBezTo>
                    <a:pt x="520" y="490"/>
                    <a:pt x="520" y="490"/>
                    <a:pt x="520" y="490"/>
                  </a:cubicBezTo>
                  <a:cubicBezTo>
                    <a:pt x="511" y="481"/>
                    <a:pt x="504" y="470"/>
                    <a:pt x="500" y="459"/>
                  </a:cubicBezTo>
                  <a:cubicBezTo>
                    <a:pt x="494" y="464"/>
                    <a:pt x="494" y="464"/>
                    <a:pt x="494" y="464"/>
                  </a:cubicBezTo>
                  <a:cubicBezTo>
                    <a:pt x="51" y="907"/>
                    <a:pt x="51" y="907"/>
                    <a:pt x="51" y="907"/>
                  </a:cubicBezTo>
                  <a:cubicBezTo>
                    <a:pt x="0" y="959"/>
                    <a:pt x="0" y="1042"/>
                    <a:pt x="51" y="1094"/>
                  </a:cubicBezTo>
                  <a:cubicBezTo>
                    <a:pt x="102" y="1145"/>
                    <a:pt x="186" y="1145"/>
                    <a:pt x="237" y="1094"/>
                  </a:cubicBezTo>
                  <a:cubicBezTo>
                    <a:pt x="675" y="656"/>
                    <a:pt x="675" y="656"/>
                    <a:pt x="675" y="656"/>
                  </a:cubicBezTo>
                  <a:cubicBezTo>
                    <a:pt x="680" y="651"/>
                    <a:pt x="680" y="651"/>
                    <a:pt x="680" y="651"/>
                  </a:cubicBezTo>
                  <a:cubicBezTo>
                    <a:pt x="652" y="623"/>
                    <a:pt x="652" y="623"/>
                    <a:pt x="652" y="623"/>
                  </a:cubicBezTo>
                  <a:cubicBezTo>
                    <a:pt x="640" y="611"/>
                    <a:pt x="634" y="595"/>
                    <a:pt x="633" y="578"/>
                  </a:cubicBezTo>
                  <a:close/>
                  <a:moveTo>
                    <a:pt x="201" y="1058"/>
                  </a:moveTo>
                  <a:cubicBezTo>
                    <a:pt x="170" y="1089"/>
                    <a:pt x="119" y="1089"/>
                    <a:pt x="87" y="1058"/>
                  </a:cubicBezTo>
                  <a:cubicBezTo>
                    <a:pt x="55" y="1026"/>
                    <a:pt x="55" y="975"/>
                    <a:pt x="87" y="943"/>
                  </a:cubicBezTo>
                  <a:cubicBezTo>
                    <a:pt x="119" y="912"/>
                    <a:pt x="170" y="912"/>
                    <a:pt x="201" y="943"/>
                  </a:cubicBezTo>
                  <a:cubicBezTo>
                    <a:pt x="233" y="975"/>
                    <a:pt x="233" y="1026"/>
                    <a:pt x="201" y="105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6">
              <a:extLst>
                <a:ext uri="{FF2B5EF4-FFF2-40B4-BE49-F238E27FC236}">
                  <a16:creationId xmlns:a16="http://schemas.microsoft.com/office/drawing/2014/main" id="{936E6E90-17DE-4809-BB96-64781B8A343D}"/>
                </a:ext>
              </a:extLst>
            </p:cNvPr>
            <p:cNvSpPr>
              <a:spLocks noEditPoints="1"/>
            </p:cNvSpPr>
            <p:nvPr/>
          </p:nvSpPr>
          <p:spPr bwMode="auto">
            <a:xfrm>
              <a:off x="2167" y="576"/>
              <a:ext cx="3391" cy="2891"/>
            </a:xfrm>
            <a:custGeom>
              <a:avLst/>
              <a:gdLst>
                <a:gd name="T0" fmla="*/ 1764 w 1810"/>
                <a:gd name="T1" fmla="*/ 246 h 1542"/>
                <a:gd name="T2" fmla="*/ 1686 w 1810"/>
                <a:gd name="T3" fmla="*/ 610 h 1542"/>
                <a:gd name="T4" fmla="*/ 1200 w 1810"/>
                <a:gd name="T5" fmla="*/ 610 h 1542"/>
                <a:gd name="T6" fmla="*/ 1200 w 1810"/>
                <a:gd name="T7" fmla="*/ 125 h 1542"/>
                <a:gd name="T8" fmla="*/ 1564 w 1810"/>
                <a:gd name="T9" fmla="*/ 47 h 1542"/>
                <a:gd name="T10" fmla="*/ 1416 w 1810"/>
                <a:gd name="T11" fmla="*/ 195 h 1542"/>
                <a:gd name="T12" fmla="*/ 1301 w 1810"/>
                <a:gd name="T13" fmla="*/ 310 h 1542"/>
                <a:gd name="T14" fmla="*/ 1343 w 1810"/>
                <a:gd name="T15" fmla="*/ 467 h 1542"/>
                <a:gd name="T16" fmla="*/ 1501 w 1810"/>
                <a:gd name="T17" fmla="*/ 510 h 1542"/>
                <a:gd name="T18" fmla="*/ 1616 w 1810"/>
                <a:gd name="T19" fmla="*/ 394 h 1542"/>
                <a:gd name="T20" fmla="*/ 1764 w 1810"/>
                <a:gd name="T21" fmla="*/ 246 h 1542"/>
                <a:gd name="T22" fmla="*/ 714 w 1810"/>
                <a:gd name="T23" fmla="*/ 839 h 1542"/>
                <a:gd name="T24" fmla="*/ 815 w 1810"/>
                <a:gd name="T25" fmla="*/ 737 h 1542"/>
                <a:gd name="T26" fmla="*/ 266 w 1810"/>
                <a:gd name="T27" fmla="*/ 190 h 1542"/>
                <a:gd name="T28" fmla="*/ 254 w 1810"/>
                <a:gd name="T29" fmla="*/ 113 h 1542"/>
                <a:gd name="T30" fmla="*/ 72 w 1810"/>
                <a:gd name="T31" fmla="*/ 22 h 1542"/>
                <a:gd name="T32" fmla="*/ 36 w 1810"/>
                <a:gd name="T33" fmla="*/ 58 h 1542"/>
                <a:gd name="T34" fmla="*/ 36 w 1810"/>
                <a:gd name="T35" fmla="*/ 58 h 1542"/>
                <a:gd name="T36" fmla="*/ 0 w 1810"/>
                <a:gd name="T37" fmla="*/ 94 h 1542"/>
                <a:gd name="T38" fmla="*/ 92 w 1810"/>
                <a:gd name="T39" fmla="*/ 276 h 1542"/>
                <a:gd name="T40" fmla="*/ 161 w 1810"/>
                <a:gd name="T41" fmla="*/ 286 h 1542"/>
                <a:gd name="T42" fmla="*/ 714 w 1810"/>
                <a:gd name="T43" fmla="*/ 839 h 1542"/>
                <a:gd name="T44" fmla="*/ 989 w 1810"/>
                <a:gd name="T45" fmla="*/ 1073 h 1542"/>
                <a:gd name="T46" fmla="*/ 957 w 1810"/>
                <a:gd name="T47" fmla="*/ 1073 h 1542"/>
                <a:gd name="T48" fmla="*/ 957 w 1810"/>
                <a:gd name="T49" fmla="*/ 1104 h 1542"/>
                <a:gd name="T50" fmla="*/ 1389 w 1810"/>
                <a:gd name="T51" fmla="*/ 1536 h 1542"/>
                <a:gd name="T52" fmla="*/ 1405 w 1810"/>
                <a:gd name="T53" fmla="*/ 1542 h 1542"/>
                <a:gd name="T54" fmla="*/ 1420 w 1810"/>
                <a:gd name="T55" fmla="*/ 1536 h 1542"/>
                <a:gd name="T56" fmla="*/ 1420 w 1810"/>
                <a:gd name="T57" fmla="*/ 1505 h 1542"/>
                <a:gd name="T58" fmla="*/ 989 w 1810"/>
                <a:gd name="T59" fmla="*/ 1073 h 1542"/>
                <a:gd name="T60" fmla="*/ 1514 w 1810"/>
                <a:gd name="T61" fmla="*/ 1411 h 1542"/>
                <a:gd name="T62" fmla="*/ 1082 w 1810"/>
                <a:gd name="T63" fmla="*/ 979 h 1542"/>
                <a:gd name="T64" fmla="*/ 1051 w 1810"/>
                <a:gd name="T65" fmla="*/ 979 h 1542"/>
                <a:gd name="T66" fmla="*/ 1051 w 1810"/>
                <a:gd name="T67" fmla="*/ 1010 h 1542"/>
                <a:gd name="T68" fmla="*/ 1483 w 1810"/>
                <a:gd name="T69" fmla="*/ 1442 h 1542"/>
                <a:gd name="T70" fmla="*/ 1498 w 1810"/>
                <a:gd name="T71" fmla="*/ 1448 h 1542"/>
                <a:gd name="T72" fmla="*/ 1514 w 1810"/>
                <a:gd name="T73" fmla="*/ 1442 h 1542"/>
                <a:gd name="T74" fmla="*/ 1514 w 1810"/>
                <a:gd name="T75" fmla="*/ 141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0" h="1542">
                  <a:moveTo>
                    <a:pt x="1764" y="246"/>
                  </a:moveTo>
                  <a:cubicBezTo>
                    <a:pt x="1810" y="369"/>
                    <a:pt x="1784" y="512"/>
                    <a:pt x="1686" y="610"/>
                  </a:cubicBezTo>
                  <a:cubicBezTo>
                    <a:pt x="1552" y="744"/>
                    <a:pt x="1334" y="744"/>
                    <a:pt x="1200" y="610"/>
                  </a:cubicBezTo>
                  <a:cubicBezTo>
                    <a:pt x="1066" y="476"/>
                    <a:pt x="1066" y="259"/>
                    <a:pt x="1200" y="125"/>
                  </a:cubicBezTo>
                  <a:cubicBezTo>
                    <a:pt x="1299" y="26"/>
                    <a:pt x="1442" y="0"/>
                    <a:pt x="1564" y="47"/>
                  </a:cubicBezTo>
                  <a:cubicBezTo>
                    <a:pt x="1416" y="195"/>
                    <a:pt x="1416" y="195"/>
                    <a:pt x="1416" y="195"/>
                  </a:cubicBezTo>
                  <a:cubicBezTo>
                    <a:pt x="1301" y="310"/>
                    <a:pt x="1301" y="310"/>
                    <a:pt x="1301" y="310"/>
                  </a:cubicBezTo>
                  <a:cubicBezTo>
                    <a:pt x="1343" y="467"/>
                    <a:pt x="1343" y="467"/>
                    <a:pt x="1343" y="467"/>
                  </a:cubicBezTo>
                  <a:cubicBezTo>
                    <a:pt x="1501" y="510"/>
                    <a:pt x="1501" y="510"/>
                    <a:pt x="1501" y="510"/>
                  </a:cubicBezTo>
                  <a:cubicBezTo>
                    <a:pt x="1616" y="394"/>
                    <a:pt x="1616" y="394"/>
                    <a:pt x="1616" y="394"/>
                  </a:cubicBezTo>
                  <a:lnTo>
                    <a:pt x="1764" y="246"/>
                  </a:lnTo>
                  <a:close/>
                  <a:moveTo>
                    <a:pt x="714" y="839"/>
                  </a:moveTo>
                  <a:cubicBezTo>
                    <a:pt x="815" y="737"/>
                    <a:pt x="815" y="737"/>
                    <a:pt x="815" y="737"/>
                  </a:cubicBezTo>
                  <a:cubicBezTo>
                    <a:pt x="266" y="190"/>
                    <a:pt x="266" y="190"/>
                    <a:pt x="266" y="190"/>
                  </a:cubicBezTo>
                  <a:cubicBezTo>
                    <a:pt x="254" y="113"/>
                    <a:pt x="254" y="113"/>
                    <a:pt x="254" y="113"/>
                  </a:cubicBezTo>
                  <a:cubicBezTo>
                    <a:pt x="72" y="22"/>
                    <a:pt x="72" y="22"/>
                    <a:pt x="72" y="22"/>
                  </a:cubicBezTo>
                  <a:cubicBezTo>
                    <a:pt x="36" y="58"/>
                    <a:pt x="36" y="58"/>
                    <a:pt x="36" y="58"/>
                  </a:cubicBezTo>
                  <a:cubicBezTo>
                    <a:pt x="36" y="58"/>
                    <a:pt x="36" y="58"/>
                    <a:pt x="36" y="58"/>
                  </a:cubicBezTo>
                  <a:cubicBezTo>
                    <a:pt x="0" y="94"/>
                    <a:pt x="0" y="94"/>
                    <a:pt x="0" y="94"/>
                  </a:cubicBezTo>
                  <a:cubicBezTo>
                    <a:pt x="92" y="276"/>
                    <a:pt x="92" y="276"/>
                    <a:pt x="92" y="276"/>
                  </a:cubicBezTo>
                  <a:cubicBezTo>
                    <a:pt x="161" y="286"/>
                    <a:pt x="161" y="286"/>
                    <a:pt x="161" y="286"/>
                  </a:cubicBezTo>
                  <a:lnTo>
                    <a:pt x="714" y="839"/>
                  </a:lnTo>
                  <a:close/>
                  <a:moveTo>
                    <a:pt x="989" y="1073"/>
                  </a:moveTo>
                  <a:cubicBezTo>
                    <a:pt x="980" y="1064"/>
                    <a:pt x="966" y="1064"/>
                    <a:pt x="957" y="1073"/>
                  </a:cubicBezTo>
                  <a:cubicBezTo>
                    <a:pt x="949" y="1082"/>
                    <a:pt x="949" y="1096"/>
                    <a:pt x="957" y="1104"/>
                  </a:cubicBezTo>
                  <a:cubicBezTo>
                    <a:pt x="1389" y="1536"/>
                    <a:pt x="1389" y="1536"/>
                    <a:pt x="1389" y="1536"/>
                  </a:cubicBezTo>
                  <a:cubicBezTo>
                    <a:pt x="1393" y="1540"/>
                    <a:pt x="1399" y="1542"/>
                    <a:pt x="1405" y="1542"/>
                  </a:cubicBezTo>
                  <a:cubicBezTo>
                    <a:pt x="1410" y="1542"/>
                    <a:pt x="1416" y="1540"/>
                    <a:pt x="1420" y="1536"/>
                  </a:cubicBezTo>
                  <a:cubicBezTo>
                    <a:pt x="1429" y="1527"/>
                    <a:pt x="1429" y="1513"/>
                    <a:pt x="1420" y="1505"/>
                  </a:cubicBezTo>
                  <a:lnTo>
                    <a:pt x="989" y="1073"/>
                  </a:lnTo>
                  <a:close/>
                  <a:moveTo>
                    <a:pt x="1514" y="1411"/>
                  </a:moveTo>
                  <a:cubicBezTo>
                    <a:pt x="1082" y="979"/>
                    <a:pt x="1082" y="979"/>
                    <a:pt x="1082" y="979"/>
                  </a:cubicBezTo>
                  <a:cubicBezTo>
                    <a:pt x="1074" y="971"/>
                    <a:pt x="1060" y="971"/>
                    <a:pt x="1051" y="979"/>
                  </a:cubicBezTo>
                  <a:cubicBezTo>
                    <a:pt x="1043" y="988"/>
                    <a:pt x="1043" y="1002"/>
                    <a:pt x="1051" y="1010"/>
                  </a:cubicBezTo>
                  <a:cubicBezTo>
                    <a:pt x="1483" y="1442"/>
                    <a:pt x="1483" y="1442"/>
                    <a:pt x="1483" y="1442"/>
                  </a:cubicBezTo>
                  <a:cubicBezTo>
                    <a:pt x="1487" y="1446"/>
                    <a:pt x="1493" y="1448"/>
                    <a:pt x="1498" y="1448"/>
                  </a:cubicBezTo>
                  <a:cubicBezTo>
                    <a:pt x="1504" y="1448"/>
                    <a:pt x="1510" y="1446"/>
                    <a:pt x="1514" y="1442"/>
                  </a:cubicBezTo>
                  <a:cubicBezTo>
                    <a:pt x="1523" y="1433"/>
                    <a:pt x="1523" y="1419"/>
                    <a:pt x="1514" y="141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6" name="TextBox 85"/>
          <p:cNvSpPr txBox="1"/>
          <p:nvPr/>
        </p:nvSpPr>
        <p:spPr>
          <a:xfrm>
            <a:off x="4350439" y="3430276"/>
            <a:ext cx="1830925" cy="7010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286">
              <a:defRPr/>
            </a:pPr>
            <a:r>
              <a:rPr lang="en-US" sz="2100" dirty="0">
                <a:solidFill>
                  <a:srgbClr val="29BA74"/>
                </a:solidFill>
                <a:sym typeface="Trebuchet MS" panose="020B0603020202020204" pitchFamily="34" charset="0"/>
              </a:rPr>
              <a:t>EXECUTE AND INNOVATE WITH AGILITY</a:t>
            </a:r>
          </a:p>
        </p:txBody>
      </p:sp>
      <p:sp>
        <p:nvSpPr>
          <p:cNvPr id="5" name="Rectangle 4"/>
          <p:cNvSpPr/>
          <p:nvPr/>
        </p:nvSpPr>
        <p:spPr>
          <a:xfrm>
            <a:off x="4085639" y="6520933"/>
            <a:ext cx="1420582" cy="246221"/>
          </a:xfrm>
          <a:prstGeom prst="rect">
            <a:avLst/>
          </a:prstGeom>
        </p:spPr>
        <p:txBody>
          <a:bodyPr wrap="none">
            <a:spAutoFit/>
          </a:bodyPr>
          <a:lstStyle/>
          <a:p>
            <a:r>
              <a:rPr lang="en-US" sz="1000" dirty="0">
                <a:solidFill>
                  <a:schemeClr val="bg1">
                    <a:lumMod val="50000"/>
                  </a:schemeClr>
                </a:solidFill>
                <a:latin typeface="Trebuchet MS" panose="020B0603020202020204" pitchFamily="34" charset="0"/>
                <a:cs typeface="Arial" pitchFamily="34" charset="0"/>
              </a:rPr>
              <a:t>Source: BCG analysis.</a:t>
            </a:r>
          </a:p>
        </p:txBody>
      </p:sp>
      <p:cxnSp>
        <p:nvCxnSpPr>
          <p:cNvPr id="37" name="Straight Connector 36"/>
          <p:cNvCxnSpPr/>
          <p:nvPr/>
        </p:nvCxnSpPr>
        <p:spPr>
          <a:xfrm>
            <a:off x="6374895" y="1958232"/>
            <a:ext cx="0" cy="3645127"/>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016139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294607" y="0"/>
          <a:ext cx="158750" cy="158750"/>
        </p:xfrm>
        <a:graphic>
          <a:graphicData uri="http://schemas.openxmlformats.org/presentationml/2006/ole">
            <mc:AlternateContent xmlns:mc="http://schemas.openxmlformats.org/markup-compatibility/2006">
              <mc:Choice xmlns:v="urn:schemas-microsoft-com:vml" Requires="v">
                <p:oleObj spid="_x0000_s149513"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94607"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443198"/>
          </a:xfrm>
        </p:spPr>
        <p:txBody>
          <a:bodyPr/>
          <a:lstStyle/>
          <a:p>
            <a:r>
              <a:rPr lang="en-US" sz="3200" dirty="0"/>
              <a:t>Transformation Management Offices (</a:t>
            </a:r>
            <a:r>
              <a:rPr lang="en-US" sz="3200" dirty="0" err="1"/>
              <a:t>TMO</a:t>
            </a:r>
            <a:r>
              <a:rPr lang="en-US" sz="3200" dirty="0"/>
              <a:t>)</a:t>
            </a:r>
          </a:p>
        </p:txBody>
      </p:sp>
      <p:sp>
        <p:nvSpPr>
          <p:cNvPr id="3" name="Text Placeholder 2"/>
          <p:cNvSpPr>
            <a:spLocks noGrp="1"/>
          </p:cNvSpPr>
          <p:nvPr>
            <p:ph type="body" sz="quarter" idx="4294967295"/>
          </p:nvPr>
        </p:nvSpPr>
        <p:spPr>
          <a:xfrm>
            <a:off x="1899068" y="1243912"/>
            <a:ext cx="6111457" cy="5162610"/>
          </a:xfrm>
          <a:prstGeom prst="rect">
            <a:avLst/>
          </a:prstGeom>
        </p:spPr>
        <p:txBody>
          <a:bodyPr vert="horz" lIns="91439" tIns="89999" rIns="91439" bIns="89999" rtlCol="0">
            <a:noAutofit/>
          </a:bodyPr>
          <a:lstStyle/>
          <a:p>
            <a:pPr>
              <a:spcBef>
                <a:spcPts val="20"/>
              </a:spcBef>
              <a:spcAft>
                <a:spcPts val="0"/>
              </a:spcAft>
              <a:buSzPct val="100000"/>
            </a:pPr>
            <a:r>
              <a:rPr lang="en-US" sz="2000" dirty="0">
                <a:latin typeface="Trebuchet MS" panose="020B0603020202020204" pitchFamily="34" charset="0"/>
              </a:rPr>
              <a:t>Guide transformation effort</a:t>
            </a:r>
          </a:p>
          <a:p>
            <a:pPr>
              <a:spcBef>
                <a:spcPts val="20"/>
              </a:spcBef>
              <a:spcAft>
                <a:spcPts val="0"/>
              </a:spcAft>
              <a:buSzPct val="100000"/>
              <a:buNone/>
            </a:pPr>
            <a:endParaRPr lang="en-US" sz="1600" b="1" dirty="0">
              <a:latin typeface="Arial"/>
            </a:endParaRPr>
          </a:p>
          <a:p>
            <a:pPr>
              <a:spcBef>
                <a:spcPts val="20"/>
              </a:spcBef>
              <a:spcAft>
                <a:spcPts val="0"/>
              </a:spcAft>
              <a:buSzPct val="100000"/>
              <a:buNone/>
            </a:pPr>
            <a:endParaRPr lang="en-US" sz="1600" b="1" dirty="0">
              <a:latin typeface="Arial"/>
            </a:endParaRPr>
          </a:p>
          <a:p>
            <a:pPr>
              <a:spcBef>
                <a:spcPts val="20"/>
              </a:spcBef>
              <a:spcAft>
                <a:spcPts val="0"/>
              </a:spcAft>
              <a:buSzPct val="100000"/>
            </a:pPr>
            <a:r>
              <a:rPr lang="en-US" sz="2000" dirty="0">
                <a:latin typeface="Trebuchet MS" panose="020B0603020202020204" pitchFamily="34" charset="0"/>
              </a:rPr>
              <a:t>Keep transformation on track</a:t>
            </a:r>
          </a:p>
          <a:p>
            <a:pPr>
              <a:spcBef>
                <a:spcPts val="20"/>
              </a:spcBef>
              <a:spcAft>
                <a:spcPts val="0"/>
              </a:spcAft>
              <a:buSzPct val="100000"/>
            </a:pPr>
            <a:endParaRPr lang="en-US" sz="1600" b="1" dirty="0">
              <a:latin typeface="Arial"/>
            </a:endParaRPr>
          </a:p>
          <a:p>
            <a:pPr>
              <a:spcBef>
                <a:spcPts val="20"/>
              </a:spcBef>
              <a:spcAft>
                <a:spcPts val="0"/>
              </a:spcAft>
              <a:buSzPct val="100000"/>
              <a:buNone/>
            </a:pPr>
            <a:endParaRPr lang="en-US" sz="1600" b="1" dirty="0">
              <a:latin typeface="Arial"/>
            </a:endParaRPr>
          </a:p>
          <a:p>
            <a:pPr>
              <a:spcBef>
                <a:spcPts val="20"/>
              </a:spcBef>
              <a:spcAft>
                <a:spcPts val="0"/>
              </a:spcAft>
              <a:buSzPct val="100000"/>
            </a:pPr>
            <a:r>
              <a:rPr lang="en-US" sz="2000" dirty="0">
                <a:latin typeface="Trebuchet MS" panose="020B0603020202020204" pitchFamily="34" charset="0"/>
              </a:rPr>
              <a:t>Communicate and support change management </a:t>
            </a:r>
          </a:p>
          <a:p>
            <a:pPr>
              <a:spcBef>
                <a:spcPts val="20"/>
              </a:spcBef>
              <a:spcAft>
                <a:spcPts val="0"/>
              </a:spcAft>
              <a:buSzPct val="100000"/>
            </a:pPr>
            <a:endParaRPr lang="en-US" sz="1600" b="1" dirty="0">
              <a:latin typeface="Arial"/>
            </a:endParaRPr>
          </a:p>
          <a:p>
            <a:pPr>
              <a:spcBef>
                <a:spcPts val="20"/>
              </a:spcBef>
              <a:spcAft>
                <a:spcPts val="0"/>
              </a:spcAft>
              <a:buSzPct val="100000"/>
              <a:buNone/>
            </a:pPr>
            <a:endParaRPr lang="en-US" sz="1600" b="1" dirty="0">
              <a:latin typeface="Arial"/>
            </a:endParaRPr>
          </a:p>
          <a:p>
            <a:pPr>
              <a:spcBef>
                <a:spcPts val="20"/>
              </a:spcBef>
              <a:spcAft>
                <a:spcPts val="0"/>
              </a:spcAft>
              <a:buSzPct val="100000"/>
            </a:pPr>
            <a:r>
              <a:rPr lang="en-US" sz="2000" dirty="0">
                <a:latin typeface="Trebuchet MS" panose="020B0603020202020204" pitchFamily="34" charset="0"/>
              </a:rPr>
              <a:t>Set up and structure new initiatives for success</a:t>
            </a:r>
          </a:p>
          <a:p>
            <a:pPr>
              <a:spcBef>
                <a:spcPts val="20"/>
              </a:spcBef>
              <a:spcAft>
                <a:spcPts val="0"/>
              </a:spcAft>
              <a:buSzPct val="100000"/>
            </a:pPr>
            <a:endParaRPr lang="en-US" sz="1600" b="1" dirty="0">
              <a:latin typeface="Arial"/>
            </a:endParaRPr>
          </a:p>
          <a:p>
            <a:pPr>
              <a:spcBef>
                <a:spcPts val="20"/>
              </a:spcBef>
              <a:spcAft>
                <a:spcPts val="0"/>
              </a:spcAft>
              <a:buSzPct val="100000"/>
            </a:pPr>
            <a:endParaRPr lang="en-US" sz="1600" b="1" dirty="0">
              <a:latin typeface="Arial"/>
            </a:endParaRPr>
          </a:p>
          <a:p>
            <a:pPr>
              <a:spcBef>
                <a:spcPts val="20"/>
              </a:spcBef>
              <a:spcAft>
                <a:spcPts val="0"/>
              </a:spcAft>
              <a:buSzPct val="100000"/>
              <a:buNone/>
            </a:pPr>
            <a:endParaRPr lang="en-US" sz="1600" b="1" dirty="0">
              <a:latin typeface="Arial"/>
            </a:endParaRPr>
          </a:p>
          <a:p>
            <a:pPr>
              <a:spcBef>
                <a:spcPts val="20"/>
              </a:spcBef>
              <a:spcAft>
                <a:spcPts val="0"/>
              </a:spcAft>
              <a:buSzPct val="100000"/>
            </a:pPr>
            <a:r>
              <a:rPr lang="en-US" sz="2000" dirty="0">
                <a:latin typeface="Trebuchet MS" panose="020B0603020202020204" pitchFamily="34" charset="0"/>
              </a:rPr>
              <a:t>Support existing workstreams to ensure success</a:t>
            </a:r>
          </a:p>
          <a:p>
            <a:pPr>
              <a:spcBef>
                <a:spcPts val="20"/>
              </a:spcBef>
              <a:spcAft>
                <a:spcPts val="0"/>
              </a:spcAft>
              <a:buSzPct val="100000"/>
            </a:pPr>
            <a:endParaRPr lang="en-US" dirty="0">
              <a:latin typeface="Arial"/>
            </a:endParaRPr>
          </a:p>
        </p:txBody>
      </p:sp>
      <p:sp>
        <p:nvSpPr>
          <p:cNvPr id="32" name="Oval 2"/>
          <p:cNvSpPr>
            <a:spLocks noChangeArrowheads="1"/>
          </p:cNvSpPr>
          <p:nvPr/>
        </p:nvSpPr>
        <p:spPr bwMode="gray">
          <a:xfrm>
            <a:off x="1603743" y="1335991"/>
            <a:ext cx="295324" cy="295275"/>
          </a:xfrm>
          <a:prstGeom prst="ellipse">
            <a:avLst/>
          </a:prstGeom>
          <a:solidFill>
            <a:schemeClr val="tx2"/>
          </a:solidFill>
          <a:ln w="44450" cap="rnd" cmpd="dbl">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fontAlgn="base">
              <a:spcBef>
                <a:spcPct val="0"/>
              </a:spcBef>
              <a:spcAft>
                <a:spcPct val="0"/>
              </a:spcAft>
            </a:pPr>
            <a:r>
              <a:rPr lang="en-US" sz="1400" b="1" dirty="0">
                <a:solidFill>
                  <a:schemeClr val="bg1"/>
                </a:solidFill>
                <a:latin typeface="Arial" pitchFamily="34" charset="0"/>
                <a:cs typeface="Arial" pitchFamily="34" charset="0"/>
              </a:rPr>
              <a:t>A</a:t>
            </a:r>
          </a:p>
        </p:txBody>
      </p:sp>
      <p:sp>
        <p:nvSpPr>
          <p:cNvPr id="36" name="Oval 3"/>
          <p:cNvSpPr>
            <a:spLocks noChangeArrowheads="1"/>
          </p:cNvSpPr>
          <p:nvPr/>
        </p:nvSpPr>
        <p:spPr bwMode="gray">
          <a:xfrm>
            <a:off x="1603743" y="2229582"/>
            <a:ext cx="295324" cy="295275"/>
          </a:xfrm>
          <a:prstGeom prst="ellipse">
            <a:avLst/>
          </a:prstGeom>
          <a:solidFill>
            <a:schemeClr val="tx2"/>
          </a:solidFill>
          <a:ln w="44450" cap="rnd" cmpd="dbl">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fontAlgn="base">
              <a:spcBef>
                <a:spcPct val="0"/>
              </a:spcBef>
              <a:spcAft>
                <a:spcPct val="0"/>
              </a:spcAft>
            </a:pPr>
            <a:r>
              <a:rPr lang="en-US" sz="1400" b="1" dirty="0">
                <a:solidFill>
                  <a:schemeClr val="bg1"/>
                </a:solidFill>
                <a:latin typeface="Arial" pitchFamily="34" charset="0"/>
                <a:cs typeface="Arial" pitchFamily="34" charset="0"/>
              </a:rPr>
              <a:t>B</a:t>
            </a:r>
          </a:p>
        </p:txBody>
      </p:sp>
      <p:sp>
        <p:nvSpPr>
          <p:cNvPr id="37" name="Oval 3"/>
          <p:cNvSpPr>
            <a:spLocks noChangeArrowheads="1"/>
          </p:cNvSpPr>
          <p:nvPr/>
        </p:nvSpPr>
        <p:spPr bwMode="gray">
          <a:xfrm>
            <a:off x="1617062" y="3965674"/>
            <a:ext cx="295324" cy="295275"/>
          </a:xfrm>
          <a:prstGeom prst="ellipse">
            <a:avLst/>
          </a:prstGeom>
          <a:solidFill>
            <a:schemeClr val="tx2"/>
          </a:solidFill>
          <a:ln w="44450" cap="rnd" cmpd="dbl">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fontAlgn="base">
              <a:spcBef>
                <a:spcPct val="0"/>
              </a:spcBef>
              <a:spcAft>
                <a:spcPct val="0"/>
              </a:spcAft>
            </a:pPr>
            <a:r>
              <a:rPr lang="en-US" sz="1400" b="1" dirty="0">
                <a:solidFill>
                  <a:schemeClr val="bg1"/>
                </a:solidFill>
                <a:latin typeface="Arial" pitchFamily="34" charset="0"/>
                <a:cs typeface="Arial" pitchFamily="34" charset="0"/>
              </a:rPr>
              <a:t>D</a:t>
            </a:r>
          </a:p>
        </p:txBody>
      </p:sp>
      <p:grpSp>
        <p:nvGrpSpPr>
          <p:cNvPr id="4" name="Group 19"/>
          <p:cNvGrpSpPr/>
          <p:nvPr/>
        </p:nvGrpSpPr>
        <p:grpSpPr>
          <a:xfrm>
            <a:off x="8144869" y="1334305"/>
            <a:ext cx="2452439" cy="4837896"/>
            <a:chOff x="6850262" y="1871449"/>
            <a:chExt cx="2452439" cy="3763607"/>
          </a:xfrm>
          <a:solidFill>
            <a:schemeClr val="tx2"/>
          </a:solidFill>
        </p:grpSpPr>
        <p:cxnSp>
          <p:nvCxnSpPr>
            <p:cNvPr id="8" name="AutoShape 28"/>
            <p:cNvCxnSpPr>
              <a:cxnSpLocks noChangeShapeType="1"/>
            </p:cNvCxnSpPr>
            <p:nvPr/>
          </p:nvCxnSpPr>
          <p:spPr bwMode="auto">
            <a:xfrm>
              <a:off x="8282739" y="3396853"/>
              <a:ext cx="0" cy="741567"/>
            </a:xfrm>
            <a:prstGeom prst="straightConnector1">
              <a:avLst/>
            </a:prstGeom>
            <a:grpFill/>
            <a:ln w="9525">
              <a:solidFill>
                <a:schemeClr val="tx2"/>
              </a:solidFill>
              <a:round/>
              <a:headEnd type="triangle" w="lg" len="lg"/>
              <a:tailEnd type="triangle" w="lg" len="lg"/>
            </a:ln>
          </p:spPr>
        </p:cxnSp>
        <p:sp>
          <p:nvSpPr>
            <p:cNvPr id="9" name="Rectangle 10"/>
            <p:cNvSpPr>
              <a:spLocks noChangeArrowheads="1"/>
            </p:cNvSpPr>
            <p:nvPr/>
          </p:nvSpPr>
          <p:spPr bwMode="auto">
            <a:xfrm>
              <a:off x="6850262" y="1871449"/>
              <a:ext cx="2067584" cy="833595"/>
            </a:xfrm>
            <a:prstGeom prst="rect">
              <a:avLst/>
            </a:prstGeom>
            <a:grpFill/>
            <a:ln w="9525" algn="ctr">
              <a:solidFill>
                <a:schemeClr val="tx2"/>
              </a:solidFill>
              <a:miter lim="800000"/>
              <a:headEnd type="none" w="lg" len="lg"/>
              <a:tailEnd type="none" w="lg" len="lg"/>
            </a:ln>
          </p:spPr>
          <p:txBody>
            <a:bodyPr lIns="90000" tIns="91440" rIns="90000" bIns="91440" anchor="ctr"/>
            <a:lstStyle/>
            <a:p>
              <a:pPr algn="ctr">
                <a:lnSpc>
                  <a:spcPct val="90000"/>
                </a:lnSpc>
                <a:defRPr/>
              </a:pPr>
              <a:r>
                <a:rPr lang="en-US" sz="1400" b="1" dirty="0">
                  <a:solidFill>
                    <a:schemeClr val="bg1"/>
                  </a:solidFill>
                </a:rPr>
                <a:t>Executive committee</a:t>
              </a:r>
            </a:p>
          </p:txBody>
        </p:sp>
        <p:sp>
          <p:nvSpPr>
            <p:cNvPr id="10" name="Rectangle 10"/>
            <p:cNvSpPr>
              <a:spLocks noChangeArrowheads="1"/>
            </p:cNvSpPr>
            <p:nvPr/>
          </p:nvSpPr>
          <p:spPr bwMode="auto">
            <a:xfrm>
              <a:off x="7229321" y="2490889"/>
              <a:ext cx="2073380" cy="833595"/>
            </a:xfrm>
            <a:prstGeom prst="rect">
              <a:avLst/>
            </a:prstGeom>
            <a:grpFill/>
            <a:ln w="9525" algn="ctr">
              <a:solidFill>
                <a:schemeClr val="tx2"/>
              </a:solidFill>
              <a:miter lim="800000"/>
              <a:headEnd type="none" w="lg" len="lg"/>
              <a:tailEnd type="none" w="lg" len="lg"/>
            </a:ln>
          </p:spPr>
          <p:txBody>
            <a:bodyPr lIns="90000" tIns="91440" rIns="90000" bIns="91440" anchor="ctr"/>
            <a:lstStyle/>
            <a:p>
              <a:pPr algn="ctr">
                <a:lnSpc>
                  <a:spcPct val="90000"/>
                </a:lnSpc>
              </a:pPr>
              <a:r>
                <a:rPr lang="en-US" sz="1400" b="1" dirty="0">
                  <a:solidFill>
                    <a:schemeClr val="bg1"/>
                  </a:solidFill>
                </a:rPr>
                <a:t>TMO</a:t>
              </a:r>
            </a:p>
          </p:txBody>
        </p:sp>
        <p:grpSp>
          <p:nvGrpSpPr>
            <p:cNvPr id="5" name="Group 57"/>
            <p:cNvGrpSpPr/>
            <p:nvPr/>
          </p:nvGrpSpPr>
          <p:grpSpPr>
            <a:xfrm>
              <a:off x="6991061" y="4210789"/>
              <a:ext cx="2270925" cy="1424267"/>
              <a:chOff x="6851361" y="4244689"/>
              <a:chExt cx="2270925" cy="1580108"/>
            </a:xfrm>
            <a:grpFill/>
          </p:grpSpPr>
          <p:sp>
            <p:nvSpPr>
              <p:cNvPr id="53" name="Rectangle 40"/>
              <p:cNvSpPr>
                <a:spLocks noChangeArrowheads="1"/>
              </p:cNvSpPr>
              <p:nvPr/>
            </p:nvSpPr>
            <p:spPr bwMode="auto">
              <a:xfrm>
                <a:off x="7674042" y="4244689"/>
                <a:ext cx="1448244" cy="871598"/>
              </a:xfrm>
              <a:prstGeom prst="rect">
                <a:avLst/>
              </a:prstGeom>
              <a:grpFill/>
              <a:ln w="9525" algn="ctr">
                <a:solidFill>
                  <a:schemeClr val="tx2"/>
                </a:solidFill>
                <a:miter lim="800000"/>
                <a:headEnd type="none" w="lg" len="lg"/>
                <a:tailEnd type="none" w="lg" len="lg"/>
              </a:ln>
            </p:spPr>
            <p:txBody>
              <a:bodyPr wrap="none" tIns="91440" bIns="91440" anchor="ctr"/>
              <a:lstStyle/>
              <a:p>
                <a:endParaRPr lang="en-US" sz="1600" dirty="0">
                  <a:solidFill>
                    <a:srgbClr val="000000"/>
                  </a:solidFill>
                </a:endParaRPr>
              </a:p>
            </p:txBody>
          </p:sp>
          <p:sp>
            <p:nvSpPr>
              <p:cNvPr id="54" name="Rectangle 40"/>
              <p:cNvSpPr>
                <a:spLocks noChangeArrowheads="1"/>
              </p:cNvSpPr>
              <p:nvPr/>
            </p:nvSpPr>
            <p:spPr bwMode="auto">
              <a:xfrm>
                <a:off x="7491640" y="4422125"/>
                <a:ext cx="1448243" cy="871597"/>
              </a:xfrm>
              <a:prstGeom prst="rect">
                <a:avLst/>
              </a:prstGeom>
              <a:grpFill/>
              <a:ln w="9525" algn="ctr">
                <a:solidFill>
                  <a:schemeClr val="tx2"/>
                </a:solidFill>
                <a:miter lim="800000"/>
                <a:headEnd type="none" w="lg" len="lg"/>
                <a:tailEnd type="none" w="lg" len="lg"/>
              </a:ln>
            </p:spPr>
            <p:txBody>
              <a:bodyPr wrap="none" tIns="91440" bIns="91440" anchor="ctr"/>
              <a:lstStyle/>
              <a:p>
                <a:endParaRPr lang="en-US" sz="1600" dirty="0">
                  <a:solidFill>
                    <a:srgbClr val="000000"/>
                  </a:solidFill>
                </a:endParaRPr>
              </a:p>
            </p:txBody>
          </p:sp>
          <p:sp>
            <p:nvSpPr>
              <p:cNvPr id="55" name="Rectangle 40"/>
              <p:cNvSpPr>
                <a:spLocks noChangeArrowheads="1"/>
              </p:cNvSpPr>
              <p:nvPr/>
            </p:nvSpPr>
            <p:spPr bwMode="auto">
              <a:xfrm>
                <a:off x="7291777" y="4596359"/>
                <a:ext cx="1448243" cy="871597"/>
              </a:xfrm>
              <a:prstGeom prst="rect">
                <a:avLst/>
              </a:prstGeom>
              <a:grpFill/>
              <a:ln w="9525" algn="ctr">
                <a:solidFill>
                  <a:schemeClr val="tx2"/>
                </a:solidFill>
                <a:miter lim="800000"/>
                <a:headEnd type="none" w="lg" len="lg"/>
                <a:tailEnd type="none" w="lg" len="lg"/>
              </a:ln>
            </p:spPr>
            <p:txBody>
              <a:bodyPr wrap="none" tIns="91440" bIns="91440" anchor="ctr"/>
              <a:lstStyle/>
              <a:p>
                <a:endParaRPr lang="en-US" sz="1600" dirty="0">
                  <a:solidFill>
                    <a:srgbClr val="000000"/>
                  </a:solidFill>
                </a:endParaRPr>
              </a:p>
            </p:txBody>
          </p:sp>
          <p:sp>
            <p:nvSpPr>
              <p:cNvPr id="56" name="Rectangle 41"/>
              <p:cNvSpPr>
                <a:spLocks noChangeArrowheads="1"/>
              </p:cNvSpPr>
              <p:nvPr/>
            </p:nvSpPr>
            <p:spPr bwMode="auto">
              <a:xfrm>
                <a:off x="7089621" y="4779237"/>
                <a:ext cx="1448243" cy="871597"/>
              </a:xfrm>
              <a:prstGeom prst="rect">
                <a:avLst/>
              </a:prstGeom>
              <a:grpFill/>
              <a:ln w="9525" algn="ctr">
                <a:solidFill>
                  <a:schemeClr val="tx2"/>
                </a:solidFill>
                <a:miter lim="800000"/>
                <a:headEnd type="none" w="lg" len="lg"/>
                <a:tailEnd type="none" w="lg" len="lg"/>
              </a:ln>
            </p:spPr>
            <p:txBody>
              <a:bodyPr wrap="none" tIns="91440" bIns="91440" anchor="ctr"/>
              <a:lstStyle/>
              <a:p>
                <a:endParaRPr lang="en-US" sz="1600" dirty="0">
                  <a:solidFill>
                    <a:srgbClr val="000000"/>
                  </a:solidFill>
                </a:endParaRPr>
              </a:p>
            </p:txBody>
          </p:sp>
          <p:sp>
            <p:nvSpPr>
              <p:cNvPr id="57" name="Rectangle 43"/>
              <p:cNvSpPr>
                <a:spLocks noChangeArrowheads="1"/>
              </p:cNvSpPr>
              <p:nvPr/>
            </p:nvSpPr>
            <p:spPr bwMode="auto">
              <a:xfrm>
                <a:off x="6851361" y="4953200"/>
                <a:ext cx="1448243" cy="871597"/>
              </a:xfrm>
              <a:prstGeom prst="rect">
                <a:avLst/>
              </a:prstGeom>
              <a:grpFill/>
              <a:ln w="9525" algn="ctr">
                <a:solidFill>
                  <a:schemeClr val="tx2"/>
                </a:solidFill>
                <a:miter lim="800000"/>
                <a:headEnd type="none" w="lg" len="lg"/>
                <a:tailEnd type="none" w="lg" len="lg"/>
              </a:ln>
            </p:spPr>
            <p:txBody>
              <a:bodyPr lIns="0" tIns="82295" rIns="0" bIns="82295" anchor="ctr"/>
              <a:lstStyle/>
              <a:p>
                <a:pPr algn="ctr"/>
                <a:r>
                  <a:rPr lang="en-US" sz="1400" b="1" dirty="0" err="1">
                    <a:solidFill>
                      <a:schemeClr val="bg1"/>
                    </a:solidFill>
                  </a:rPr>
                  <a:t>Workstreams</a:t>
                </a:r>
                <a:r>
                  <a:rPr lang="en-US" sz="1400" b="1" dirty="0">
                    <a:solidFill>
                      <a:srgbClr val="000000"/>
                    </a:solidFill>
                  </a:rPr>
                  <a:t> </a:t>
                </a:r>
              </a:p>
            </p:txBody>
          </p:sp>
        </p:grpSp>
      </p:grpSp>
      <p:sp>
        <p:nvSpPr>
          <p:cNvPr id="59" name="Oval 3"/>
          <p:cNvSpPr>
            <a:spLocks noChangeArrowheads="1"/>
          </p:cNvSpPr>
          <p:nvPr/>
        </p:nvSpPr>
        <p:spPr bwMode="gray">
          <a:xfrm>
            <a:off x="1603743" y="3070796"/>
            <a:ext cx="295324" cy="295275"/>
          </a:xfrm>
          <a:prstGeom prst="ellipse">
            <a:avLst/>
          </a:prstGeom>
          <a:solidFill>
            <a:schemeClr val="tx2"/>
          </a:solidFill>
          <a:ln w="44450" cap="rnd" cmpd="dbl">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fontAlgn="base">
              <a:spcBef>
                <a:spcPct val="0"/>
              </a:spcBef>
              <a:spcAft>
                <a:spcPct val="0"/>
              </a:spcAft>
            </a:pPr>
            <a:r>
              <a:rPr lang="en-US" sz="1400" b="1" dirty="0">
                <a:solidFill>
                  <a:schemeClr val="bg1"/>
                </a:solidFill>
                <a:latin typeface="Arial" pitchFamily="34" charset="0"/>
                <a:cs typeface="Arial" pitchFamily="34" charset="0"/>
              </a:rPr>
              <a:t>C</a:t>
            </a:r>
          </a:p>
        </p:txBody>
      </p:sp>
      <p:sp>
        <p:nvSpPr>
          <p:cNvPr id="22" name="Oval 3"/>
          <p:cNvSpPr>
            <a:spLocks noChangeArrowheads="1"/>
          </p:cNvSpPr>
          <p:nvPr/>
        </p:nvSpPr>
        <p:spPr bwMode="gray">
          <a:xfrm>
            <a:off x="1603743" y="5098640"/>
            <a:ext cx="295324" cy="295275"/>
          </a:xfrm>
          <a:prstGeom prst="ellipse">
            <a:avLst/>
          </a:prstGeom>
          <a:solidFill>
            <a:schemeClr val="tx2"/>
          </a:solidFill>
          <a:ln w="44450" cap="rnd" cmpd="dbl">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fontAlgn="base">
              <a:spcBef>
                <a:spcPct val="0"/>
              </a:spcBef>
              <a:spcAft>
                <a:spcPct val="0"/>
              </a:spcAft>
            </a:pPr>
            <a:r>
              <a:rPr lang="en-US" sz="1400" b="1" dirty="0">
                <a:solidFill>
                  <a:schemeClr val="bg1"/>
                </a:solidFill>
                <a:latin typeface="Arial" pitchFamily="34" charset="0"/>
                <a:cs typeface="Arial" pitchFamily="34" charset="0"/>
              </a:rPr>
              <a:t>E</a:t>
            </a:r>
          </a:p>
        </p:txBody>
      </p:sp>
    </p:spTree>
    <p:extLst>
      <p:ext uri="{BB962C8B-B14F-4D97-AF65-F5344CB8AC3E}">
        <p14:creationId xmlns:p14="http://schemas.microsoft.com/office/powerpoint/2010/main" val="32326439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Object 4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37" name="think-cell Slide" r:id="rId6" imgW="338" imgH="338" progId="TCLayout.ActiveDocument.1">
                  <p:embed/>
                </p:oleObj>
              </mc:Choice>
              <mc:Fallback>
                <p:oleObj name="think-cell Slide" r:id="rId6" imgW="338" imgH="338"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a:solidFill>
            <a:srgbClr val="A6A6A6"/>
          </a:solidFill>
          <a:ln w="9525" cap="rnd" cmpd="sng" algn="ctr">
            <a:solidFill>
              <a:srgbClr val="A6A6A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555425"/>
            <a:ext cx="10933350" cy="886397"/>
          </a:xfrm>
          <a:prstGeom prst="rect">
            <a:avLst/>
          </a:prstGeom>
        </p:spPr>
        <p:txBody>
          <a:bodyPr>
            <a:spAutoFit/>
          </a:bodyPr>
          <a:lstStyle/>
          <a:p>
            <a:r>
              <a:rPr lang="en-US" sz="3200" dirty="0"/>
              <a:t>Impact Centers: enabling visual progress tracking and timely interventions</a:t>
            </a:r>
            <a:endParaRPr lang="en-US" sz="3200" dirty="0">
              <a:solidFill>
                <a:srgbClr val="000000">
                  <a:lumMod val="100000"/>
                </a:srgbClr>
              </a:solidFill>
              <a:latin typeface="Trade Gothic for Nike BdCn" panose="020B0806040303020004" pitchFamily="34" charset="0"/>
            </a:endParaRPr>
          </a:p>
        </p:txBody>
      </p:sp>
      <p:sp>
        <p:nvSpPr>
          <p:cNvPr id="55" name="TextBox 54"/>
          <p:cNvSpPr txBox="1"/>
          <p:nvPr/>
        </p:nvSpPr>
        <p:spPr>
          <a:xfrm>
            <a:off x="2640122" y="1677841"/>
            <a:ext cx="3456190" cy="393507"/>
          </a:xfrm>
          <a:prstGeom prst="rect">
            <a:avLst/>
          </a:prstGeom>
          <a:noFill/>
          <a:ln>
            <a:noFill/>
          </a:ln>
        </p:spPr>
        <p:txBody>
          <a:bodyPr vert="horz" wrap="square" lIns="0" tIns="0" rIns="0" bIns="0" rtlCol="0" anchor="b" anchorCtr="0">
            <a:noAutofit/>
          </a:bodyPr>
          <a:lstStyle>
            <a:defPPr>
              <a:defRPr lang="en-US"/>
            </a:defPPr>
            <a:lvl1pPr algn="ctr">
              <a:lnSpc>
                <a:spcPct val="104000"/>
              </a:lnSpc>
              <a:spcBef>
                <a:spcPts val="600"/>
              </a:spcBef>
              <a:spcAft>
                <a:spcPts val="300"/>
              </a:spcAft>
              <a:buClr>
                <a:schemeClr val="tx2"/>
              </a:buClr>
              <a:defRPr sz="2000">
                <a:solidFill>
                  <a:srgbClr val="3EAD92"/>
                </a:solidFill>
                <a:latin typeface="Trebuchet MS"/>
                <a:ea typeface="+mj-ea"/>
                <a:cs typeface="+mj-cs"/>
              </a:defRPr>
            </a:lvl1pPr>
          </a:lstStyle>
          <a:p>
            <a:pPr algn="l">
              <a:buSzPts val="2000"/>
            </a:pPr>
            <a:r>
              <a:rPr lang="en-US" sz="1800" dirty="0">
                <a:solidFill>
                  <a:srgbClr val="000000">
                    <a:lumMod val="100000"/>
                  </a:srgbClr>
                </a:solidFill>
                <a:latin typeface="Trade Gothic for Nike BdCn" panose="020B0806040303020004" pitchFamily="34" charset="0"/>
                <a:sym typeface="Trebuchet MS"/>
              </a:rPr>
              <a:t>        </a:t>
            </a:r>
            <a:r>
              <a:rPr lang="en-US" sz="1800" dirty="0">
                <a:solidFill>
                  <a:srgbClr val="000000">
                    <a:lumMod val="100000"/>
                  </a:srgbClr>
                </a:solidFill>
                <a:latin typeface="Trebuchet MS" panose="020B0603020202020204" pitchFamily="34" charset="0"/>
                <a:sym typeface="Trebuchet MS"/>
              </a:rPr>
              <a:t>       </a:t>
            </a:r>
            <a:r>
              <a:rPr lang="en-US" sz="1800" b="1" dirty="0">
                <a:solidFill>
                  <a:schemeClr val="tx1"/>
                </a:solidFill>
                <a:latin typeface="Trebuchet MS" panose="020B0603020202020204" pitchFamily="34" charset="0"/>
                <a:ea typeface="+mn-ea"/>
                <a:cs typeface="+mn-cs"/>
                <a:sym typeface="Trebuchet MS"/>
              </a:rPr>
              <a:t>  </a:t>
            </a:r>
            <a:r>
              <a:rPr lang="en-US" sz="1800" dirty="0">
                <a:solidFill>
                  <a:schemeClr val="tx1"/>
                </a:solidFill>
                <a:latin typeface="Trebuchet MS" panose="020B0603020202020204" pitchFamily="34" charset="0"/>
                <a:ea typeface="+mn-ea"/>
                <a:cs typeface="+mn-cs"/>
                <a:sym typeface="Trebuchet MS"/>
              </a:rPr>
              <a:t> Impact Centers</a:t>
            </a:r>
            <a:r>
              <a:rPr lang="en-US" sz="1800" dirty="0">
                <a:solidFill>
                  <a:srgbClr val="000000">
                    <a:lumMod val="100000"/>
                  </a:srgbClr>
                </a:solidFill>
                <a:latin typeface="Trade Gothic for Nike BdCn" panose="020B0806040303020004" pitchFamily="34" charset="0"/>
                <a:sym typeface="Trebuchet MS"/>
              </a:rPr>
              <a:t>                  </a:t>
            </a:r>
          </a:p>
        </p:txBody>
      </p:sp>
      <p:grpSp>
        <p:nvGrpSpPr>
          <p:cNvPr id="91" name="Group 90"/>
          <p:cNvGrpSpPr>
            <a:grpSpLocks noChangeAspect="1"/>
          </p:cNvGrpSpPr>
          <p:nvPr/>
        </p:nvGrpSpPr>
        <p:grpSpPr>
          <a:xfrm>
            <a:off x="6615956" y="4528520"/>
            <a:ext cx="687701" cy="688338"/>
            <a:chOff x="5273801" y="2606040"/>
            <a:chExt cx="1644397" cy="1645920"/>
          </a:xfrm>
        </p:grpSpPr>
        <p:sp>
          <p:nvSpPr>
            <p:cNvPr id="92" name="AutoShape 12">
              <a:extLst>
                <a:ext uri="{FF2B5EF4-FFF2-40B4-BE49-F238E27FC236}">
                  <a16:creationId xmlns:a16="http://schemas.microsoft.com/office/drawing/2014/main" id="{0404F15B-46A3-46E4-8085-74FF02B2D88D}"/>
                </a:ext>
              </a:extLst>
            </p:cNvPr>
            <p:cNvSpPr>
              <a:spLocks noChangeAspect="1" noChangeArrowheads="1" noTextEdit="1"/>
            </p:cNvSpPr>
            <p:nvPr/>
          </p:nvSpPr>
          <p:spPr bwMode="auto">
            <a:xfrm>
              <a:off x="5273801"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3" name="Group 92"/>
            <p:cNvGrpSpPr/>
            <p:nvPr/>
          </p:nvGrpSpPr>
          <p:grpSpPr>
            <a:xfrm>
              <a:off x="5370956" y="3056763"/>
              <a:ext cx="1448944" cy="745998"/>
              <a:chOff x="5370956" y="3056763"/>
              <a:chExt cx="1448944" cy="745998"/>
            </a:xfrm>
          </p:grpSpPr>
          <p:sp>
            <p:nvSpPr>
              <p:cNvPr id="94" name="Freeform 14">
                <a:extLst>
                  <a:ext uri="{FF2B5EF4-FFF2-40B4-BE49-F238E27FC236}">
                    <a16:creationId xmlns:a16="http://schemas.microsoft.com/office/drawing/2014/main" id="{F2E1839F-95BE-4872-A2D3-2F7CE08805C1}"/>
                  </a:ext>
                </a:extLst>
              </p:cNvPr>
              <p:cNvSpPr>
                <a:spLocks noEditPoints="1"/>
              </p:cNvSpPr>
              <p:nvPr/>
            </p:nvSpPr>
            <p:spPr bwMode="auto">
              <a:xfrm>
                <a:off x="5829680" y="3161919"/>
                <a:ext cx="534543" cy="535686"/>
              </a:xfrm>
              <a:custGeom>
                <a:avLst/>
                <a:gdLst>
                  <a:gd name="T0" fmla="*/ 375 w 749"/>
                  <a:gd name="T1" fmla="*/ 0 h 750"/>
                  <a:gd name="T2" fmla="*/ 0 w 749"/>
                  <a:gd name="T3" fmla="*/ 375 h 750"/>
                  <a:gd name="T4" fmla="*/ 375 w 749"/>
                  <a:gd name="T5" fmla="*/ 750 h 750"/>
                  <a:gd name="T6" fmla="*/ 749 w 749"/>
                  <a:gd name="T7" fmla="*/ 375 h 750"/>
                  <a:gd name="T8" fmla="*/ 375 w 749"/>
                  <a:gd name="T9" fmla="*/ 0 h 750"/>
                  <a:gd name="T10" fmla="*/ 375 w 749"/>
                  <a:gd name="T11" fmla="*/ 549 h 750"/>
                  <a:gd name="T12" fmla="*/ 200 w 749"/>
                  <a:gd name="T13" fmla="*/ 375 h 750"/>
                  <a:gd name="T14" fmla="*/ 375 w 749"/>
                  <a:gd name="T15" fmla="*/ 201 h 750"/>
                  <a:gd name="T16" fmla="*/ 549 w 749"/>
                  <a:gd name="T17" fmla="*/ 375 h 750"/>
                  <a:gd name="T18" fmla="*/ 375 w 749"/>
                  <a:gd name="T19" fmla="*/ 549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9" h="750">
                    <a:moveTo>
                      <a:pt x="375" y="0"/>
                    </a:moveTo>
                    <a:cubicBezTo>
                      <a:pt x="167" y="0"/>
                      <a:pt x="0" y="169"/>
                      <a:pt x="0" y="375"/>
                    </a:cubicBezTo>
                    <a:cubicBezTo>
                      <a:pt x="0" y="582"/>
                      <a:pt x="167" y="750"/>
                      <a:pt x="375" y="750"/>
                    </a:cubicBezTo>
                    <a:cubicBezTo>
                      <a:pt x="582" y="750"/>
                      <a:pt x="749" y="582"/>
                      <a:pt x="749" y="375"/>
                    </a:cubicBezTo>
                    <a:cubicBezTo>
                      <a:pt x="749" y="169"/>
                      <a:pt x="582" y="0"/>
                      <a:pt x="375" y="0"/>
                    </a:cubicBezTo>
                    <a:close/>
                    <a:moveTo>
                      <a:pt x="375" y="549"/>
                    </a:moveTo>
                    <a:cubicBezTo>
                      <a:pt x="279" y="549"/>
                      <a:pt x="200" y="472"/>
                      <a:pt x="200" y="375"/>
                    </a:cubicBezTo>
                    <a:cubicBezTo>
                      <a:pt x="200" y="279"/>
                      <a:pt x="279" y="201"/>
                      <a:pt x="375" y="201"/>
                    </a:cubicBezTo>
                    <a:cubicBezTo>
                      <a:pt x="471" y="201"/>
                      <a:pt x="549" y="279"/>
                      <a:pt x="549" y="375"/>
                    </a:cubicBezTo>
                    <a:cubicBezTo>
                      <a:pt x="549" y="472"/>
                      <a:pt x="471" y="549"/>
                      <a:pt x="375" y="549"/>
                    </a:cubicBezTo>
                    <a:close/>
                  </a:path>
                </a:pathLst>
              </a:custGeom>
              <a:solidFill>
                <a:srgbClr val="2AC8AC">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5">
                <a:extLst>
                  <a:ext uri="{FF2B5EF4-FFF2-40B4-BE49-F238E27FC236}">
                    <a16:creationId xmlns:a16="http://schemas.microsoft.com/office/drawing/2014/main" id="{4595F452-7D04-4C9E-B982-85F70F8BEB0E}"/>
                  </a:ext>
                </a:extLst>
              </p:cNvPr>
              <p:cNvSpPr>
                <a:spLocks noEditPoints="1"/>
              </p:cNvSpPr>
              <p:nvPr/>
            </p:nvSpPr>
            <p:spPr bwMode="auto">
              <a:xfrm>
                <a:off x="5370956" y="3056763"/>
                <a:ext cx="1448944" cy="745998"/>
              </a:xfrm>
              <a:custGeom>
                <a:avLst/>
                <a:gdLst>
                  <a:gd name="T0" fmla="*/ 1012 w 2030"/>
                  <a:gd name="T1" fmla="*/ 1044 h 1044"/>
                  <a:gd name="T2" fmla="*/ 293 w 2030"/>
                  <a:gd name="T3" fmla="*/ 790 h 1044"/>
                  <a:gd name="T4" fmla="*/ 7 w 2030"/>
                  <a:gd name="T5" fmla="*/ 536 h 1044"/>
                  <a:gd name="T6" fmla="*/ 7 w 2030"/>
                  <a:gd name="T7" fmla="*/ 508 h 1044"/>
                  <a:gd name="T8" fmla="*/ 295 w 2030"/>
                  <a:gd name="T9" fmla="*/ 254 h 1044"/>
                  <a:gd name="T10" fmla="*/ 1018 w 2030"/>
                  <a:gd name="T11" fmla="*/ 0 h 1044"/>
                  <a:gd name="T12" fmla="*/ 1737 w 2030"/>
                  <a:gd name="T13" fmla="*/ 254 h 1044"/>
                  <a:gd name="T14" fmla="*/ 2023 w 2030"/>
                  <a:gd name="T15" fmla="*/ 508 h 1044"/>
                  <a:gd name="T16" fmla="*/ 2023 w 2030"/>
                  <a:gd name="T17" fmla="*/ 536 h 1044"/>
                  <a:gd name="T18" fmla="*/ 1735 w 2030"/>
                  <a:gd name="T19" fmla="*/ 790 h 1044"/>
                  <a:gd name="T20" fmla="*/ 1012 w 2030"/>
                  <a:gd name="T21" fmla="*/ 1044 h 1044"/>
                  <a:gd name="T22" fmla="*/ 53 w 2030"/>
                  <a:gd name="T23" fmla="*/ 522 h 1044"/>
                  <a:gd name="T24" fmla="*/ 319 w 2030"/>
                  <a:gd name="T25" fmla="*/ 755 h 1044"/>
                  <a:gd name="T26" fmla="*/ 1012 w 2030"/>
                  <a:gd name="T27" fmla="*/ 1000 h 1044"/>
                  <a:gd name="T28" fmla="*/ 1709 w 2030"/>
                  <a:gd name="T29" fmla="*/ 754 h 1044"/>
                  <a:gd name="T30" fmla="*/ 1977 w 2030"/>
                  <a:gd name="T31" fmla="*/ 522 h 1044"/>
                  <a:gd name="T32" fmla="*/ 1711 w 2030"/>
                  <a:gd name="T33" fmla="*/ 289 h 1044"/>
                  <a:gd name="T34" fmla="*/ 1018 w 2030"/>
                  <a:gd name="T35" fmla="*/ 44 h 1044"/>
                  <a:gd name="T36" fmla="*/ 321 w 2030"/>
                  <a:gd name="T37" fmla="*/ 290 h 1044"/>
                  <a:gd name="T38" fmla="*/ 53 w 2030"/>
                  <a:gd name="T39" fmla="*/ 522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30" h="1044">
                    <a:moveTo>
                      <a:pt x="1012" y="1044"/>
                    </a:moveTo>
                    <a:cubicBezTo>
                      <a:pt x="714" y="1044"/>
                      <a:pt x="456" y="906"/>
                      <a:pt x="293" y="790"/>
                    </a:cubicBezTo>
                    <a:cubicBezTo>
                      <a:pt x="116" y="665"/>
                      <a:pt x="11" y="541"/>
                      <a:pt x="7" y="536"/>
                    </a:cubicBezTo>
                    <a:cubicBezTo>
                      <a:pt x="0" y="528"/>
                      <a:pt x="0" y="516"/>
                      <a:pt x="7" y="508"/>
                    </a:cubicBezTo>
                    <a:cubicBezTo>
                      <a:pt x="11" y="503"/>
                      <a:pt x="117" y="379"/>
                      <a:pt x="295" y="254"/>
                    </a:cubicBezTo>
                    <a:cubicBezTo>
                      <a:pt x="460" y="138"/>
                      <a:pt x="719" y="0"/>
                      <a:pt x="1018" y="0"/>
                    </a:cubicBezTo>
                    <a:cubicBezTo>
                      <a:pt x="1316" y="0"/>
                      <a:pt x="1574" y="138"/>
                      <a:pt x="1737" y="254"/>
                    </a:cubicBezTo>
                    <a:cubicBezTo>
                      <a:pt x="1914" y="379"/>
                      <a:pt x="2019" y="503"/>
                      <a:pt x="2023" y="508"/>
                    </a:cubicBezTo>
                    <a:cubicBezTo>
                      <a:pt x="2030" y="516"/>
                      <a:pt x="2030" y="528"/>
                      <a:pt x="2023" y="536"/>
                    </a:cubicBezTo>
                    <a:cubicBezTo>
                      <a:pt x="2019" y="541"/>
                      <a:pt x="1912" y="665"/>
                      <a:pt x="1735" y="790"/>
                    </a:cubicBezTo>
                    <a:cubicBezTo>
                      <a:pt x="1570" y="906"/>
                      <a:pt x="1311" y="1044"/>
                      <a:pt x="1012" y="1044"/>
                    </a:cubicBezTo>
                    <a:close/>
                    <a:moveTo>
                      <a:pt x="53" y="522"/>
                    </a:moveTo>
                    <a:cubicBezTo>
                      <a:pt x="86" y="558"/>
                      <a:pt x="181" y="657"/>
                      <a:pt x="319" y="755"/>
                    </a:cubicBezTo>
                    <a:cubicBezTo>
                      <a:pt x="477" y="867"/>
                      <a:pt x="726" y="1000"/>
                      <a:pt x="1012" y="1000"/>
                    </a:cubicBezTo>
                    <a:cubicBezTo>
                      <a:pt x="1299" y="1000"/>
                      <a:pt x="1550" y="866"/>
                      <a:pt x="1709" y="754"/>
                    </a:cubicBezTo>
                    <a:cubicBezTo>
                      <a:pt x="1848" y="656"/>
                      <a:pt x="1944" y="558"/>
                      <a:pt x="1977" y="522"/>
                    </a:cubicBezTo>
                    <a:cubicBezTo>
                      <a:pt x="1944" y="486"/>
                      <a:pt x="1849" y="387"/>
                      <a:pt x="1711" y="289"/>
                    </a:cubicBezTo>
                    <a:cubicBezTo>
                      <a:pt x="1553" y="177"/>
                      <a:pt x="1304" y="44"/>
                      <a:pt x="1018" y="44"/>
                    </a:cubicBezTo>
                    <a:cubicBezTo>
                      <a:pt x="731" y="44"/>
                      <a:pt x="480" y="178"/>
                      <a:pt x="321" y="290"/>
                    </a:cubicBezTo>
                    <a:cubicBezTo>
                      <a:pt x="182" y="388"/>
                      <a:pt x="86" y="486"/>
                      <a:pt x="53" y="522"/>
                    </a:cubicBezTo>
                    <a:close/>
                  </a:path>
                </a:pathLst>
              </a:custGeom>
              <a:solidFill>
                <a:srgbClr val="03522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6" name="Group 85"/>
          <p:cNvGrpSpPr>
            <a:grpSpLocks noChangeAspect="1"/>
          </p:cNvGrpSpPr>
          <p:nvPr/>
        </p:nvGrpSpPr>
        <p:grpSpPr>
          <a:xfrm>
            <a:off x="6615956" y="3444873"/>
            <a:ext cx="687701" cy="688338"/>
            <a:chOff x="5273803" y="2606040"/>
            <a:chExt cx="1644396" cy="1645920"/>
          </a:xfrm>
        </p:grpSpPr>
        <p:sp>
          <p:nvSpPr>
            <p:cNvPr id="87" name="AutoShape 18">
              <a:extLst>
                <a:ext uri="{FF2B5EF4-FFF2-40B4-BE49-F238E27FC236}">
                  <a16:creationId xmlns:a16="http://schemas.microsoft.com/office/drawing/2014/main" id="{575286B9-FCC8-4EFB-9834-BD5493C559C3}"/>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8" name="Group 87"/>
            <p:cNvGrpSpPr/>
            <p:nvPr/>
          </p:nvGrpSpPr>
          <p:grpSpPr>
            <a:xfrm>
              <a:off x="5336668" y="2770251"/>
              <a:ext cx="1515999" cy="1311783"/>
              <a:chOff x="5336668" y="2770251"/>
              <a:chExt cx="1515999" cy="1311783"/>
            </a:xfrm>
          </p:grpSpPr>
          <p:sp>
            <p:nvSpPr>
              <p:cNvPr id="89" name="Freeform 20">
                <a:extLst>
                  <a:ext uri="{FF2B5EF4-FFF2-40B4-BE49-F238E27FC236}">
                    <a16:creationId xmlns:a16="http://schemas.microsoft.com/office/drawing/2014/main" id="{CEF9E0BC-00B7-4B29-B377-3473BD5B2EB2}"/>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rgbClr val="03522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21">
                <a:extLst>
                  <a:ext uri="{FF2B5EF4-FFF2-40B4-BE49-F238E27FC236}">
                    <a16:creationId xmlns:a16="http://schemas.microsoft.com/office/drawing/2014/main" id="{9A32768F-1F7B-41E4-AD1E-05F5E20985B3}"/>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rgbClr val="2AC8AC">
                  <a:lumMod val="100000"/>
                </a:srgbClr>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81" name="Group 80"/>
          <p:cNvGrpSpPr>
            <a:grpSpLocks noChangeAspect="1"/>
          </p:cNvGrpSpPr>
          <p:nvPr/>
        </p:nvGrpSpPr>
        <p:grpSpPr>
          <a:xfrm>
            <a:off x="6615956" y="2428004"/>
            <a:ext cx="687701" cy="688338"/>
            <a:chOff x="5273801" y="2606040"/>
            <a:chExt cx="1644396" cy="1645920"/>
          </a:xfrm>
        </p:grpSpPr>
        <p:sp>
          <p:nvSpPr>
            <p:cNvPr id="82" name="AutoShape 18">
              <a:extLst>
                <a:ext uri="{FF2B5EF4-FFF2-40B4-BE49-F238E27FC236}">
                  <a16:creationId xmlns:a16="http://schemas.microsoft.com/office/drawing/2014/main" id="{100AC5BD-F30F-4F9C-94F8-3ECEAAF56365}"/>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3" name="Group 82"/>
            <p:cNvGrpSpPr/>
            <p:nvPr/>
          </p:nvGrpSpPr>
          <p:grpSpPr>
            <a:xfrm>
              <a:off x="5388863" y="2953131"/>
              <a:ext cx="1409319" cy="967359"/>
              <a:chOff x="5388863" y="2953131"/>
              <a:chExt cx="1409319" cy="967359"/>
            </a:xfrm>
          </p:grpSpPr>
          <p:sp>
            <p:nvSpPr>
              <p:cNvPr id="84" name="Freeform 20">
                <a:extLst>
                  <a:ext uri="{FF2B5EF4-FFF2-40B4-BE49-F238E27FC236}">
                    <a16:creationId xmlns:a16="http://schemas.microsoft.com/office/drawing/2014/main" id="{D44F01FC-0979-4CF2-A046-0010F3FF82EE}"/>
                  </a:ext>
                </a:extLst>
              </p:cNvPr>
              <p:cNvSpPr>
                <a:spLocks noEditPoints="1"/>
              </p:cNvSpPr>
              <p:nvPr/>
            </p:nvSpPr>
            <p:spPr bwMode="auto">
              <a:xfrm>
                <a:off x="5388863" y="3167634"/>
                <a:ext cx="737235" cy="752856"/>
              </a:xfrm>
              <a:custGeom>
                <a:avLst/>
                <a:gdLst>
                  <a:gd name="T0" fmla="*/ 989 w 1033"/>
                  <a:gd name="T1" fmla="*/ 0 h 1054"/>
                  <a:gd name="T2" fmla="*/ 44 w 1033"/>
                  <a:gd name="T3" fmla="*/ 0 h 1054"/>
                  <a:gd name="T4" fmla="*/ 0 w 1033"/>
                  <a:gd name="T5" fmla="*/ 44 h 1054"/>
                  <a:gd name="T6" fmla="*/ 0 w 1033"/>
                  <a:gd name="T7" fmla="*/ 725 h 1054"/>
                  <a:gd name="T8" fmla="*/ 44 w 1033"/>
                  <a:gd name="T9" fmla="*/ 769 h 1054"/>
                  <a:gd name="T10" fmla="*/ 299 w 1033"/>
                  <a:gd name="T11" fmla="*/ 769 h 1054"/>
                  <a:gd name="T12" fmla="*/ 299 w 1033"/>
                  <a:gd name="T13" fmla="*/ 1010 h 1054"/>
                  <a:gd name="T14" fmla="*/ 300 w 1033"/>
                  <a:gd name="T15" fmla="*/ 1017 h 1054"/>
                  <a:gd name="T16" fmla="*/ 337 w 1033"/>
                  <a:gd name="T17" fmla="*/ 1053 h 1054"/>
                  <a:gd name="T18" fmla="*/ 347 w 1033"/>
                  <a:gd name="T19" fmla="*/ 1054 h 1054"/>
                  <a:gd name="T20" fmla="*/ 401 w 1033"/>
                  <a:gd name="T21" fmla="*/ 1026 h 1054"/>
                  <a:gd name="T22" fmla="*/ 469 w 1033"/>
                  <a:gd name="T23" fmla="*/ 951 h 1054"/>
                  <a:gd name="T24" fmla="*/ 637 w 1033"/>
                  <a:gd name="T25" fmla="*/ 769 h 1054"/>
                  <a:gd name="T26" fmla="*/ 989 w 1033"/>
                  <a:gd name="T27" fmla="*/ 769 h 1054"/>
                  <a:gd name="T28" fmla="*/ 1033 w 1033"/>
                  <a:gd name="T29" fmla="*/ 725 h 1054"/>
                  <a:gd name="T30" fmla="*/ 1033 w 1033"/>
                  <a:gd name="T31" fmla="*/ 44 h 1054"/>
                  <a:gd name="T32" fmla="*/ 989 w 1033"/>
                  <a:gd name="T33" fmla="*/ 0 h 1054"/>
                  <a:gd name="T34" fmla="*/ 832 w 1033"/>
                  <a:gd name="T35" fmla="*/ 552 h 1054"/>
                  <a:gd name="T36" fmla="*/ 201 w 1033"/>
                  <a:gd name="T37" fmla="*/ 552 h 1054"/>
                  <a:gd name="T38" fmla="*/ 179 w 1033"/>
                  <a:gd name="T39" fmla="*/ 530 h 1054"/>
                  <a:gd name="T40" fmla="*/ 201 w 1033"/>
                  <a:gd name="T41" fmla="*/ 508 h 1054"/>
                  <a:gd name="T42" fmla="*/ 832 w 1033"/>
                  <a:gd name="T43" fmla="*/ 508 h 1054"/>
                  <a:gd name="T44" fmla="*/ 854 w 1033"/>
                  <a:gd name="T45" fmla="*/ 530 h 1054"/>
                  <a:gd name="T46" fmla="*/ 832 w 1033"/>
                  <a:gd name="T47" fmla="*/ 552 h 1054"/>
                  <a:gd name="T48" fmla="*/ 832 w 1033"/>
                  <a:gd name="T49" fmla="*/ 415 h 1054"/>
                  <a:gd name="T50" fmla="*/ 201 w 1033"/>
                  <a:gd name="T51" fmla="*/ 415 h 1054"/>
                  <a:gd name="T52" fmla="*/ 179 w 1033"/>
                  <a:gd name="T53" fmla="*/ 393 h 1054"/>
                  <a:gd name="T54" fmla="*/ 201 w 1033"/>
                  <a:gd name="T55" fmla="*/ 371 h 1054"/>
                  <a:gd name="T56" fmla="*/ 832 w 1033"/>
                  <a:gd name="T57" fmla="*/ 371 h 1054"/>
                  <a:gd name="T58" fmla="*/ 854 w 1033"/>
                  <a:gd name="T59" fmla="*/ 393 h 1054"/>
                  <a:gd name="T60" fmla="*/ 832 w 1033"/>
                  <a:gd name="T61" fmla="*/ 415 h 1054"/>
                  <a:gd name="T62" fmla="*/ 832 w 1033"/>
                  <a:gd name="T63" fmla="*/ 279 h 1054"/>
                  <a:gd name="T64" fmla="*/ 201 w 1033"/>
                  <a:gd name="T65" fmla="*/ 279 h 1054"/>
                  <a:gd name="T66" fmla="*/ 179 w 1033"/>
                  <a:gd name="T67" fmla="*/ 257 h 1054"/>
                  <a:gd name="T68" fmla="*/ 201 w 1033"/>
                  <a:gd name="T69" fmla="*/ 235 h 1054"/>
                  <a:gd name="T70" fmla="*/ 832 w 1033"/>
                  <a:gd name="T71" fmla="*/ 235 h 1054"/>
                  <a:gd name="T72" fmla="*/ 854 w 1033"/>
                  <a:gd name="T73" fmla="*/ 257 h 1054"/>
                  <a:gd name="T74" fmla="*/ 832 w 1033"/>
                  <a:gd name="T75" fmla="*/ 279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3" h="1054">
                    <a:moveTo>
                      <a:pt x="989" y="0"/>
                    </a:moveTo>
                    <a:cubicBezTo>
                      <a:pt x="44" y="0"/>
                      <a:pt x="44" y="0"/>
                      <a:pt x="44" y="0"/>
                    </a:cubicBezTo>
                    <a:cubicBezTo>
                      <a:pt x="20" y="0"/>
                      <a:pt x="0" y="20"/>
                      <a:pt x="0" y="44"/>
                    </a:cubicBezTo>
                    <a:cubicBezTo>
                      <a:pt x="0" y="725"/>
                      <a:pt x="0" y="725"/>
                      <a:pt x="0" y="725"/>
                    </a:cubicBezTo>
                    <a:cubicBezTo>
                      <a:pt x="0" y="750"/>
                      <a:pt x="20" y="769"/>
                      <a:pt x="44" y="769"/>
                    </a:cubicBezTo>
                    <a:cubicBezTo>
                      <a:pt x="299" y="769"/>
                      <a:pt x="299" y="769"/>
                      <a:pt x="299" y="769"/>
                    </a:cubicBezTo>
                    <a:cubicBezTo>
                      <a:pt x="299" y="1010"/>
                      <a:pt x="299" y="1010"/>
                      <a:pt x="299" y="1010"/>
                    </a:cubicBezTo>
                    <a:cubicBezTo>
                      <a:pt x="299" y="1012"/>
                      <a:pt x="299" y="1015"/>
                      <a:pt x="300" y="1017"/>
                    </a:cubicBezTo>
                    <a:cubicBezTo>
                      <a:pt x="301" y="1020"/>
                      <a:pt x="311" y="1047"/>
                      <a:pt x="337" y="1053"/>
                    </a:cubicBezTo>
                    <a:cubicBezTo>
                      <a:pt x="341" y="1054"/>
                      <a:pt x="344" y="1054"/>
                      <a:pt x="347" y="1054"/>
                    </a:cubicBezTo>
                    <a:cubicBezTo>
                      <a:pt x="365" y="1054"/>
                      <a:pt x="383" y="1045"/>
                      <a:pt x="401" y="1026"/>
                    </a:cubicBezTo>
                    <a:cubicBezTo>
                      <a:pt x="414" y="1013"/>
                      <a:pt x="438" y="986"/>
                      <a:pt x="469" y="951"/>
                    </a:cubicBezTo>
                    <a:cubicBezTo>
                      <a:pt x="516" y="899"/>
                      <a:pt x="579" y="829"/>
                      <a:pt x="637" y="769"/>
                    </a:cubicBezTo>
                    <a:cubicBezTo>
                      <a:pt x="989" y="769"/>
                      <a:pt x="989" y="769"/>
                      <a:pt x="989" y="769"/>
                    </a:cubicBezTo>
                    <a:cubicBezTo>
                      <a:pt x="1013" y="769"/>
                      <a:pt x="1033" y="750"/>
                      <a:pt x="1033" y="725"/>
                    </a:cubicBezTo>
                    <a:cubicBezTo>
                      <a:pt x="1033" y="44"/>
                      <a:pt x="1033" y="44"/>
                      <a:pt x="1033" y="44"/>
                    </a:cubicBezTo>
                    <a:cubicBezTo>
                      <a:pt x="1033" y="20"/>
                      <a:pt x="1013" y="0"/>
                      <a:pt x="989" y="0"/>
                    </a:cubicBezTo>
                    <a:close/>
                    <a:moveTo>
                      <a:pt x="832" y="552"/>
                    </a:moveTo>
                    <a:cubicBezTo>
                      <a:pt x="201" y="552"/>
                      <a:pt x="201" y="552"/>
                      <a:pt x="201" y="552"/>
                    </a:cubicBezTo>
                    <a:cubicBezTo>
                      <a:pt x="189" y="552"/>
                      <a:pt x="179" y="543"/>
                      <a:pt x="179" y="530"/>
                    </a:cubicBezTo>
                    <a:cubicBezTo>
                      <a:pt x="179" y="518"/>
                      <a:pt x="189" y="508"/>
                      <a:pt x="201" y="508"/>
                    </a:cubicBezTo>
                    <a:cubicBezTo>
                      <a:pt x="832" y="508"/>
                      <a:pt x="832" y="508"/>
                      <a:pt x="832" y="508"/>
                    </a:cubicBezTo>
                    <a:cubicBezTo>
                      <a:pt x="844" y="508"/>
                      <a:pt x="854" y="518"/>
                      <a:pt x="854" y="530"/>
                    </a:cubicBezTo>
                    <a:cubicBezTo>
                      <a:pt x="854" y="543"/>
                      <a:pt x="844" y="552"/>
                      <a:pt x="832" y="552"/>
                    </a:cubicBezTo>
                    <a:close/>
                    <a:moveTo>
                      <a:pt x="832" y="415"/>
                    </a:moveTo>
                    <a:cubicBezTo>
                      <a:pt x="201" y="415"/>
                      <a:pt x="201" y="415"/>
                      <a:pt x="201" y="415"/>
                    </a:cubicBezTo>
                    <a:cubicBezTo>
                      <a:pt x="189" y="415"/>
                      <a:pt x="179" y="405"/>
                      <a:pt x="179" y="393"/>
                    </a:cubicBezTo>
                    <a:cubicBezTo>
                      <a:pt x="179" y="380"/>
                      <a:pt x="189" y="371"/>
                      <a:pt x="201" y="371"/>
                    </a:cubicBezTo>
                    <a:cubicBezTo>
                      <a:pt x="832" y="371"/>
                      <a:pt x="832" y="371"/>
                      <a:pt x="832" y="371"/>
                    </a:cubicBezTo>
                    <a:cubicBezTo>
                      <a:pt x="844" y="371"/>
                      <a:pt x="854" y="380"/>
                      <a:pt x="854" y="393"/>
                    </a:cubicBezTo>
                    <a:cubicBezTo>
                      <a:pt x="854" y="405"/>
                      <a:pt x="844" y="415"/>
                      <a:pt x="832" y="415"/>
                    </a:cubicBezTo>
                    <a:close/>
                    <a:moveTo>
                      <a:pt x="832" y="279"/>
                    </a:moveTo>
                    <a:cubicBezTo>
                      <a:pt x="201" y="279"/>
                      <a:pt x="201" y="279"/>
                      <a:pt x="201" y="279"/>
                    </a:cubicBezTo>
                    <a:cubicBezTo>
                      <a:pt x="189" y="279"/>
                      <a:pt x="179" y="269"/>
                      <a:pt x="179" y="257"/>
                    </a:cubicBezTo>
                    <a:cubicBezTo>
                      <a:pt x="179" y="245"/>
                      <a:pt x="189" y="235"/>
                      <a:pt x="201" y="235"/>
                    </a:cubicBezTo>
                    <a:cubicBezTo>
                      <a:pt x="832" y="235"/>
                      <a:pt x="832" y="235"/>
                      <a:pt x="832" y="235"/>
                    </a:cubicBezTo>
                    <a:cubicBezTo>
                      <a:pt x="844" y="235"/>
                      <a:pt x="854" y="245"/>
                      <a:pt x="854" y="257"/>
                    </a:cubicBezTo>
                    <a:cubicBezTo>
                      <a:pt x="854" y="269"/>
                      <a:pt x="844" y="279"/>
                      <a:pt x="832" y="279"/>
                    </a:cubicBezTo>
                    <a:close/>
                  </a:path>
                </a:pathLst>
              </a:custGeom>
              <a:solidFill>
                <a:srgbClr val="2AC8AC">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21">
                <a:extLst>
                  <a:ext uri="{FF2B5EF4-FFF2-40B4-BE49-F238E27FC236}">
                    <a16:creationId xmlns:a16="http://schemas.microsoft.com/office/drawing/2014/main" id="{9FEAEA2A-1D9C-469F-A298-EC5C9220C30F}"/>
                  </a:ext>
                </a:extLst>
              </p:cNvPr>
              <p:cNvSpPr>
                <a:spLocks noEditPoints="1"/>
              </p:cNvSpPr>
              <p:nvPr/>
            </p:nvSpPr>
            <p:spPr bwMode="auto">
              <a:xfrm>
                <a:off x="6060947" y="2953131"/>
                <a:ext cx="737235" cy="752856"/>
              </a:xfrm>
              <a:custGeom>
                <a:avLst/>
                <a:gdLst>
                  <a:gd name="T0" fmla="*/ 1033 w 1033"/>
                  <a:gd name="T1" fmla="*/ 44 h 1054"/>
                  <a:gd name="T2" fmla="*/ 1033 w 1033"/>
                  <a:gd name="T3" fmla="*/ 725 h 1054"/>
                  <a:gd name="T4" fmla="*/ 989 w 1033"/>
                  <a:gd name="T5" fmla="*/ 769 h 1054"/>
                  <a:gd name="T6" fmla="*/ 734 w 1033"/>
                  <a:gd name="T7" fmla="*/ 769 h 1054"/>
                  <a:gd name="T8" fmla="*/ 734 w 1033"/>
                  <a:gd name="T9" fmla="*/ 1010 h 1054"/>
                  <a:gd name="T10" fmla="*/ 733 w 1033"/>
                  <a:gd name="T11" fmla="*/ 1017 h 1054"/>
                  <a:gd name="T12" fmla="*/ 696 w 1033"/>
                  <a:gd name="T13" fmla="*/ 1053 h 1054"/>
                  <a:gd name="T14" fmla="*/ 686 w 1033"/>
                  <a:gd name="T15" fmla="*/ 1054 h 1054"/>
                  <a:gd name="T16" fmla="*/ 632 w 1033"/>
                  <a:gd name="T17" fmla="*/ 1025 h 1054"/>
                  <a:gd name="T18" fmla="*/ 564 w 1033"/>
                  <a:gd name="T19" fmla="*/ 951 h 1054"/>
                  <a:gd name="T20" fmla="*/ 396 w 1033"/>
                  <a:gd name="T21" fmla="*/ 769 h 1054"/>
                  <a:gd name="T22" fmla="*/ 135 w 1033"/>
                  <a:gd name="T23" fmla="*/ 769 h 1054"/>
                  <a:gd name="T24" fmla="*/ 135 w 1033"/>
                  <a:gd name="T25" fmla="*/ 725 h 1054"/>
                  <a:gd name="T26" fmla="*/ 405 w 1033"/>
                  <a:gd name="T27" fmla="*/ 725 h 1054"/>
                  <a:gd name="T28" fmla="*/ 421 w 1033"/>
                  <a:gd name="T29" fmla="*/ 732 h 1054"/>
                  <a:gd name="T30" fmla="*/ 597 w 1033"/>
                  <a:gd name="T31" fmla="*/ 922 h 1054"/>
                  <a:gd name="T32" fmla="*/ 663 w 1033"/>
                  <a:gd name="T33" fmla="*/ 994 h 1054"/>
                  <a:gd name="T34" fmla="*/ 686 w 1033"/>
                  <a:gd name="T35" fmla="*/ 1010 h 1054"/>
                  <a:gd name="T36" fmla="*/ 690 w 1033"/>
                  <a:gd name="T37" fmla="*/ 1005 h 1054"/>
                  <a:gd name="T38" fmla="*/ 690 w 1033"/>
                  <a:gd name="T39" fmla="*/ 747 h 1054"/>
                  <a:gd name="T40" fmla="*/ 712 w 1033"/>
                  <a:gd name="T41" fmla="*/ 725 h 1054"/>
                  <a:gd name="T42" fmla="*/ 989 w 1033"/>
                  <a:gd name="T43" fmla="*/ 725 h 1054"/>
                  <a:gd name="T44" fmla="*/ 989 w 1033"/>
                  <a:gd name="T45" fmla="*/ 44 h 1054"/>
                  <a:gd name="T46" fmla="*/ 44 w 1033"/>
                  <a:gd name="T47" fmla="*/ 44 h 1054"/>
                  <a:gd name="T48" fmla="*/ 44 w 1033"/>
                  <a:gd name="T49" fmla="*/ 256 h 1054"/>
                  <a:gd name="T50" fmla="*/ 0 w 1033"/>
                  <a:gd name="T51" fmla="*/ 256 h 1054"/>
                  <a:gd name="T52" fmla="*/ 0 w 1033"/>
                  <a:gd name="T53" fmla="*/ 44 h 1054"/>
                  <a:gd name="T54" fmla="*/ 44 w 1033"/>
                  <a:gd name="T55" fmla="*/ 0 h 1054"/>
                  <a:gd name="T56" fmla="*/ 989 w 1033"/>
                  <a:gd name="T57" fmla="*/ 0 h 1054"/>
                  <a:gd name="T58" fmla="*/ 1033 w 1033"/>
                  <a:gd name="T59" fmla="*/ 44 h 1054"/>
                  <a:gd name="T60" fmla="*/ 835 w 1033"/>
                  <a:gd name="T61" fmla="*/ 247 h 1054"/>
                  <a:gd name="T62" fmla="*/ 813 w 1033"/>
                  <a:gd name="T63" fmla="*/ 225 h 1054"/>
                  <a:gd name="T64" fmla="*/ 220 w 1033"/>
                  <a:gd name="T65" fmla="*/ 225 h 1054"/>
                  <a:gd name="T66" fmla="*/ 198 w 1033"/>
                  <a:gd name="T67" fmla="*/ 247 h 1054"/>
                  <a:gd name="T68" fmla="*/ 220 w 1033"/>
                  <a:gd name="T69" fmla="*/ 269 h 1054"/>
                  <a:gd name="T70" fmla="*/ 813 w 1033"/>
                  <a:gd name="T71" fmla="*/ 269 h 1054"/>
                  <a:gd name="T72" fmla="*/ 835 w 1033"/>
                  <a:gd name="T73" fmla="*/ 247 h 1054"/>
                  <a:gd name="T74" fmla="*/ 835 w 1033"/>
                  <a:gd name="T75" fmla="*/ 383 h 1054"/>
                  <a:gd name="T76" fmla="*/ 813 w 1033"/>
                  <a:gd name="T77" fmla="*/ 361 h 1054"/>
                  <a:gd name="T78" fmla="*/ 220 w 1033"/>
                  <a:gd name="T79" fmla="*/ 361 h 1054"/>
                  <a:gd name="T80" fmla="*/ 198 w 1033"/>
                  <a:gd name="T81" fmla="*/ 383 h 1054"/>
                  <a:gd name="T82" fmla="*/ 220 w 1033"/>
                  <a:gd name="T83" fmla="*/ 405 h 1054"/>
                  <a:gd name="T84" fmla="*/ 813 w 1033"/>
                  <a:gd name="T85" fmla="*/ 405 h 1054"/>
                  <a:gd name="T86" fmla="*/ 835 w 1033"/>
                  <a:gd name="T87" fmla="*/ 383 h 1054"/>
                  <a:gd name="T88" fmla="*/ 835 w 1033"/>
                  <a:gd name="T89" fmla="*/ 521 h 1054"/>
                  <a:gd name="T90" fmla="*/ 813 w 1033"/>
                  <a:gd name="T91" fmla="*/ 499 h 1054"/>
                  <a:gd name="T92" fmla="*/ 220 w 1033"/>
                  <a:gd name="T93" fmla="*/ 499 h 1054"/>
                  <a:gd name="T94" fmla="*/ 198 w 1033"/>
                  <a:gd name="T95" fmla="*/ 521 h 1054"/>
                  <a:gd name="T96" fmla="*/ 220 w 1033"/>
                  <a:gd name="T97" fmla="*/ 543 h 1054"/>
                  <a:gd name="T98" fmla="*/ 813 w 1033"/>
                  <a:gd name="T99" fmla="*/ 543 h 1054"/>
                  <a:gd name="T100" fmla="*/ 835 w 1033"/>
                  <a:gd name="T101" fmla="*/ 521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3" h="1054">
                    <a:moveTo>
                      <a:pt x="1033" y="44"/>
                    </a:moveTo>
                    <a:cubicBezTo>
                      <a:pt x="1033" y="725"/>
                      <a:pt x="1033" y="725"/>
                      <a:pt x="1033" y="725"/>
                    </a:cubicBezTo>
                    <a:cubicBezTo>
                      <a:pt x="1033" y="750"/>
                      <a:pt x="1013" y="769"/>
                      <a:pt x="989" y="769"/>
                    </a:cubicBezTo>
                    <a:cubicBezTo>
                      <a:pt x="734" y="769"/>
                      <a:pt x="734" y="769"/>
                      <a:pt x="734" y="769"/>
                    </a:cubicBezTo>
                    <a:cubicBezTo>
                      <a:pt x="734" y="1010"/>
                      <a:pt x="734" y="1010"/>
                      <a:pt x="734" y="1010"/>
                    </a:cubicBezTo>
                    <a:cubicBezTo>
                      <a:pt x="734" y="1012"/>
                      <a:pt x="734" y="1015"/>
                      <a:pt x="733" y="1017"/>
                    </a:cubicBezTo>
                    <a:cubicBezTo>
                      <a:pt x="732" y="1020"/>
                      <a:pt x="722" y="1047"/>
                      <a:pt x="696" y="1053"/>
                    </a:cubicBezTo>
                    <a:cubicBezTo>
                      <a:pt x="693" y="1054"/>
                      <a:pt x="689" y="1054"/>
                      <a:pt x="686" y="1054"/>
                    </a:cubicBezTo>
                    <a:cubicBezTo>
                      <a:pt x="668" y="1054"/>
                      <a:pt x="650" y="1044"/>
                      <a:pt x="632" y="1025"/>
                    </a:cubicBezTo>
                    <a:cubicBezTo>
                      <a:pt x="619" y="1013"/>
                      <a:pt x="595" y="985"/>
                      <a:pt x="564" y="951"/>
                    </a:cubicBezTo>
                    <a:cubicBezTo>
                      <a:pt x="517" y="899"/>
                      <a:pt x="454" y="829"/>
                      <a:pt x="396" y="769"/>
                    </a:cubicBezTo>
                    <a:cubicBezTo>
                      <a:pt x="135" y="769"/>
                      <a:pt x="135" y="769"/>
                      <a:pt x="135" y="769"/>
                    </a:cubicBezTo>
                    <a:cubicBezTo>
                      <a:pt x="135" y="725"/>
                      <a:pt x="135" y="725"/>
                      <a:pt x="135" y="725"/>
                    </a:cubicBezTo>
                    <a:cubicBezTo>
                      <a:pt x="405" y="725"/>
                      <a:pt x="405" y="725"/>
                      <a:pt x="405" y="725"/>
                    </a:cubicBezTo>
                    <a:cubicBezTo>
                      <a:pt x="411" y="725"/>
                      <a:pt x="417" y="728"/>
                      <a:pt x="421" y="732"/>
                    </a:cubicBezTo>
                    <a:cubicBezTo>
                      <a:pt x="481" y="793"/>
                      <a:pt x="548" y="867"/>
                      <a:pt x="597" y="922"/>
                    </a:cubicBezTo>
                    <a:cubicBezTo>
                      <a:pt x="627" y="956"/>
                      <a:pt x="651" y="982"/>
                      <a:pt x="663" y="994"/>
                    </a:cubicBezTo>
                    <a:cubicBezTo>
                      <a:pt x="677" y="1008"/>
                      <a:pt x="684" y="1010"/>
                      <a:pt x="686" y="1010"/>
                    </a:cubicBezTo>
                    <a:cubicBezTo>
                      <a:pt x="687" y="1010"/>
                      <a:pt x="689" y="1008"/>
                      <a:pt x="690" y="1005"/>
                    </a:cubicBezTo>
                    <a:cubicBezTo>
                      <a:pt x="690" y="747"/>
                      <a:pt x="690" y="747"/>
                      <a:pt x="690" y="747"/>
                    </a:cubicBezTo>
                    <a:cubicBezTo>
                      <a:pt x="690" y="735"/>
                      <a:pt x="700" y="725"/>
                      <a:pt x="712" y="725"/>
                    </a:cubicBezTo>
                    <a:cubicBezTo>
                      <a:pt x="989" y="725"/>
                      <a:pt x="989" y="725"/>
                      <a:pt x="989" y="725"/>
                    </a:cubicBezTo>
                    <a:cubicBezTo>
                      <a:pt x="989" y="44"/>
                      <a:pt x="989" y="44"/>
                      <a:pt x="989" y="44"/>
                    </a:cubicBezTo>
                    <a:cubicBezTo>
                      <a:pt x="44" y="44"/>
                      <a:pt x="44" y="44"/>
                      <a:pt x="44" y="44"/>
                    </a:cubicBezTo>
                    <a:cubicBezTo>
                      <a:pt x="44" y="256"/>
                      <a:pt x="44" y="256"/>
                      <a:pt x="44" y="256"/>
                    </a:cubicBezTo>
                    <a:cubicBezTo>
                      <a:pt x="0" y="256"/>
                      <a:pt x="0" y="256"/>
                      <a:pt x="0" y="256"/>
                    </a:cubicBezTo>
                    <a:cubicBezTo>
                      <a:pt x="0" y="44"/>
                      <a:pt x="0" y="44"/>
                      <a:pt x="0" y="44"/>
                    </a:cubicBezTo>
                    <a:cubicBezTo>
                      <a:pt x="0" y="20"/>
                      <a:pt x="20" y="0"/>
                      <a:pt x="44" y="0"/>
                    </a:cubicBezTo>
                    <a:cubicBezTo>
                      <a:pt x="989" y="0"/>
                      <a:pt x="989" y="0"/>
                      <a:pt x="989" y="0"/>
                    </a:cubicBezTo>
                    <a:cubicBezTo>
                      <a:pt x="1013" y="0"/>
                      <a:pt x="1033" y="20"/>
                      <a:pt x="1033" y="44"/>
                    </a:cubicBezTo>
                    <a:close/>
                    <a:moveTo>
                      <a:pt x="835" y="247"/>
                    </a:moveTo>
                    <a:cubicBezTo>
                      <a:pt x="835" y="235"/>
                      <a:pt x="826" y="225"/>
                      <a:pt x="813" y="225"/>
                    </a:cubicBezTo>
                    <a:cubicBezTo>
                      <a:pt x="220" y="225"/>
                      <a:pt x="220" y="225"/>
                      <a:pt x="220" y="225"/>
                    </a:cubicBezTo>
                    <a:cubicBezTo>
                      <a:pt x="208" y="225"/>
                      <a:pt x="198" y="235"/>
                      <a:pt x="198" y="247"/>
                    </a:cubicBezTo>
                    <a:cubicBezTo>
                      <a:pt x="198" y="259"/>
                      <a:pt x="208" y="269"/>
                      <a:pt x="220" y="269"/>
                    </a:cubicBezTo>
                    <a:cubicBezTo>
                      <a:pt x="813" y="269"/>
                      <a:pt x="813" y="269"/>
                      <a:pt x="813" y="269"/>
                    </a:cubicBezTo>
                    <a:cubicBezTo>
                      <a:pt x="826" y="269"/>
                      <a:pt x="835" y="259"/>
                      <a:pt x="835" y="247"/>
                    </a:cubicBezTo>
                    <a:close/>
                    <a:moveTo>
                      <a:pt x="835" y="383"/>
                    </a:moveTo>
                    <a:cubicBezTo>
                      <a:pt x="835" y="371"/>
                      <a:pt x="826" y="361"/>
                      <a:pt x="813" y="361"/>
                    </a:cubicBezTo>
                    <a:cubicBezTo>
                      <a:pt x="220" y="361"/>
                      <a:pt x="220" y="361"/>
                      <a:pt x="220" y="361"/>
                    </a:cubicBezTo>
                    <a:cubicBezTo>
                      <a:pt x="208" y="361"/>
                      <a:pt x="198" y="371"/>
                      <a:pt x="198" y="383"/>
                    </a:cubicBezTo>
                    <a:cubicBezTo>
                      <a:pt x="198" y="395"/>
                      <a:pt x="208" y="405"/>
                      <a:pt x="220" y="405"/>
                    </a:cubicBezTo>
                    <a:cubicBezTo>
                      <a:pt x="813" y="405"/>
                      <a:pt x="813" y="405"/>
                      <a:pt x="813" y="405"/>
                    </a:cubicBezTo>
                    <a:cubicBezTo>
                      <a:pt x="826" y="405"/>
                      <a:pt x="835" y="395"/>
                      <a:pt x="835" y="383"/>
                    </a:cubicBezTo>
                    <a:close/>
                    <a:moveTo>
                      <a:pt x="835" y="521"/>
                    </a:moveTo>
                    <a:cubicBezTo>
                      <a:pt x="835" y="508"/>
                      <a:pt x="826" y="499"/>
                      <a:pt x="813" y="499"/>
                    </a:cubicBezTo>
                    <a:cubicBezTo>
                      <a:pt x="220" y="499"/>
                      <a:pt x="220" y="499"/>
                      <a:pt x="220" y="499"/>
                    </a:cubicBezTo>
                    <a:cubicBezTo>
                      <a:pt x="208" y="499"/>
                      <a:pt x="198" y="508"/>
                      <a:pt x="198" y="521"/>
                    </a:cubicBezTo>
                    <a:cubicBezTo>
                      <a:pt x="198" y="533"/>
                      <a:pt x="208" y="543"/>
                      <a:pt x="220" y="543"/>
                    </a:cubicBezTo>
                    <a:cubicBezTo>
                      <a:pt x="813" y="543"/>
                      <a:pt x="813" y="543"/>
                      <a:pt x="813" y="543"/>
                    </a:cubicBezTo>
                    <a:cubicBezTo>
                      <a:pt x="826" y="543"/>
                      <a:pt x="835" y="533"/>
                      <a:pt x="835" y="521"/>
                    </a:cubicBezTo>
                    <a:close/>
                  </a:path>
                </a:pathLst>
              </a:custGeom>
              <a:solidFill>
                <a:srgbClr val="03522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96" name="bcgIcons_Simplicity">
            <a:extLst>
              <a:ext uri="{FF2B5EF4-FFF2-40B4-BE49-F238E27FC236}">
                <a16:creationId xmlns:a16="http://schemas.microsoft.com/office/drawing/2014/main" id="{3FE70084-3A31-4EB4-8F49-3599B78A66D2}"/>
              </a:ext>
            </a:extLst>
          </p:cNvPr>
          <p:cNvGrpSpPr>
            <a:grpSpLocks noChangeAspect="1"/>
          </p:cNvGrpSpPr>
          <p:nvPr/>
        </p:nvGrpSpPr>
        <p:grpSpPr bwMode="auto">
          <a:xfrm>
            <a:off x="6615957" y="5612168"/>
            <a:ext cx="687701" cy="688338"/>
            <a:chOff x="1682" y="0"/>
            <a:chExt cx="4316" cy="4320"/>
          </a:xfrm>
        </p:grpSpPr>
        <p:sp>
          <p:nvSpPr>
            <p:cNvPr id="97" name="AutoShape 23">
              <a:extLst>
                <a:ext uri="{FF2B5EF4-FFF2-40B4-BE49-F238E27FC236}">
                  <a16:creationId xmlns:a16="http://schemas.microsoft.com/office/drawing/2014/main" id="{3659893E-A63E-43B3-9581-A797B0C717D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25">
              <a:extLst>
                <a:ext uri="{FF2B5EF4-FFF2-40B4-BE49-F238E27FC236}">
                  <a16:creationId xmlns:a16="http://schemas.microsoft.com/office/drawing/2014/main" id="{428B800B-7BCF-495B-A3E0-A8B64B387C09}"/>
                </a:ext>
              </a:extLst>
            </p:cNvPr>
            <p:cNvSpPr>
              <a:spLocks noEditPoints="1"/>
            </p:cNvSpPr>
            <p:nvPr/>
          </p:nvSpPr>
          <p:spPr bwMode="auto">
            <a:xfrm>
              <a:off x="2251" y="351"/>
              <a:ext cx="3178" cy="3615"/>
            </a:xfrm>
            <a:custGeom>
              <a:avLst/>
              <a:gdLst>
                <a:gd name="T0" fmla="*/ 1693 w 1696"/>
                <a:gd name="T1" fmla="*/ 1152 h 1928"/>
                <a:gd name="T2" fmla="*/ 1394 w 1696"/>
                <a:gd name="T3" fmla="*/ 1637 h 1928"/>
                <a:gd name="T4" fmla="*/ 865 w 1696"/>
                <a:gd name="T5" fmla="*/ 1831 h 1928"/>
                <a:gd name="T6" fmla="*/ 924 w 1696"/>
                <a:gd name="T7" fmla="*/ 1891 h 1928"/>
                <a:gd name="T8" fmla="*/ 923 w 1696"/>
                <a:gd name="T9" fmla="*/ 1922 h 1928"/>
                <a:gd name="T10" fmla="*/ 908 w 1696"/>
                <a:gd name="T11" fmla="*/ 1928 h 1928"/>
                <a:gd name="T12" fmla="*/ 892 w 1696"/>
                <a:gd name="T13" fmla="*/ 1922 h 1928"/>
                <a:gd name="T14" fmla="*/ 796 w 1696"/>
                <a:gd name="T15" fmla="*/ 1823 h 1928"/>
                <a:gd name="T16" fmla="*/ 796 w 1696"/>
                <a:gd name="T17" fmla="*/ 1791 h 1928"/>
                <a:gd name="T18" fmla="*/ 895 w 1696"/>
                <a:gd name="T19" fmla="*/ 1695 h 1928"/>
                <a:gd name="T20" fmla="*/ 926 w 1696"/>
                <a:gd name="T21" fmla="*/ 1695 h 1928"/>
                <a:gd name="T22" fmla="*/ 926 w 1696"/>
                <a:gd name="T23" fmla="*/ 1726 h 1928"/>
                <a:gd name="T24" fmla="*/ 864 w 1696"/>
                <a:gd name="T25" fmla="*/ 1787 h 1928"/>
                <a:gd name="T26" fmla="*/ 1650 w 1696"/>
                <a:gd name="T27" fmla="*/ 1143 h 1928"/>
                <a:gd name="T28" fmla="*/ 1677 w 1696"/>
                <a:gd name="T29" fmla="*/ 1126 h 1928"/>
                <a:gd name="T30" fmla="*/ 1693 w 1696"/>
                <a:gd name="T31" fmla="*/ 1152 h 1928"/>
                <a:gd name="T32" fmla="*/ 900 w 1696"/>
                <a:gd name="T33" fmla="*/ 107 h 1928"/>
                <a:gd name="T34" fmla="*/ 804 w 1696"/>
                <a:gd name="T35" fmla="*/ 8 h 1928"/>
                <a:gd name="T36" fmla="*/ 773 w 1696"/>
                <a:gd name="T37" fmla="*/ 8 h 1928"/>
                <a:gd name="T38" fmla="*/ 772 w 1696"/>
                <a:gd name="T39" fmla="*/ 39 h 1928"/>
                <a:gd name="T40" fmla="*/ 831 w 1696"/>
                <a:gd name="T41" fmla="*/ 99 h 1928"/>
                <a:gd name="T42" fmla="*/ 302 w 1696"/>
                <a:gd name="T43" fmla="*/ 293 h 1928"/>
                <a:gd name="T44" fmla="*/ 3 w 1696"/>
                <a:gd name="T45" fmla="*/ 778 h 1928"/>
                <a:gd name="T46" fmla="*/ 19 w 1696"/>
                <a:gd name="T47" fmla="*/ 804 h 1928"/>
                <a:gd name="T48" fmla="*/ 24 w 1696"/>
                <a:gd name="T49" fmla="*/ 804 h 1928"/>
                <a:gd name="T50" fmla="*/ 46 w 1696"/>
                <a:gd name="T51" fmla="*/ 787 h 1928"/>
                <a:gd name="T52" fmla="*/ 832 w 1696"/>
                <a:gd name="T53" fmla="*/ 143 h 1928"/>
                <a:gd name="T54" fmla="*/ 770 w 1696"/>
                <a:gd name="T55" fmla="*/ 204 h 1928"/>
                <a:gd name="T56" fmla="*/ 770 w 1696"/>
                <a:gd name="T57" fmla="*/ 235 h 1928"/>
                <a:gd name="T58" fmla="*/ 786 w 1696"/>
                <a:gd name="T59" fmla="*/ 241 h 1928"/>
                <a:gd name="T60" fmla="*/ 801 w 1696"/>
                <a:gd name="T61" fmla="*/ 235 h 1928"/>
                <a:gd name="T62" fmla="*/ 900 w 1696"/>
                <a:gd name="T63" fmla="*/ 139 h 1928"/>
                <a:gd name="T64" fmla="*/ 900 w 1696"/>
                <a:gd name="T65" fmla="*/ 107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6" h="1928">
                  <a:moveTo>
                    <a:pt x="1693" y="1152"/>
                  </a:moveTo>
                  <a:cubicBezTo>
                    <a:pt x="1652" y="1342"/>
                    <a:pt x="1545" y="1514"/>
                    <a:pt x="1394" y="1637"/>
                  </a:cubicBezTo>
                  <a:cubicBezTo>
                    <a:pt x="1245" y="1759"/>
                    <a:pt x="1057" y="1827"/>
                    <a:pt x="865" y="1831"/>
                  </a:cubicBezTo>
                  <a:cubicBezTo>
                    <a:pt x="924" y="1891"/>
                    <a:pt x="924" y="1891"/>
                    <a:pt x="924" y="1891"/>
                  </a:cubicBezTo>
                  <a:cubicBezTo>
                    <a:pt x="932" y="1900"/>
                    <a:pt x="932" y="1914"/>
                    <a:pt x="923" y="1922"/>
                  </a:cubicBezTo>
                  <a:cubicBezTo>
                    <a:pt x="919" y="1926"/>
                    <a:pt x="913" y="1928"/>
                    <a:pt x="908" y="1928"/>
                  </a:cubicBezTo>
                  <a:cubicBezTo>
                    <a:pt x="902" y="1928"/>
                    <a:pt x="896" y="1926"/>
                    <a:pt x="892" y="1922"/>
                  </a:cubicBezTo>
                  <a:cubicBezTo>
                    <a:pt x="796" y="1823"/>
                    <a:pt x="796" y="1823"/>
                    <a:pt x="796" y="1823"/>
                  </a:cubicBezTo>
                  <a:cubicBezTo>
                    <a:pt x="787" y="1814"/>
                    <a:pt x="787" y="1800"/>
                    <a:pt x="796" y="1791"/>
                  </a:cubicBezTo>
                  <a:cubicBezTo>
                    <a:pt x="895" y="1695"/>
                    <a:pt x="895" y="1695"/>
                    <a:pt x="895" y="1695"/>
                  </a:cubicBezTo>
                  <a:cubicBezTo>
                    <a:pt x="904" y="1686"/>
                    <a:pt x="918" y="1687"/>
                    <a:pt x="926" y="1695"/>
                  </a:cubicBezTo>
                  <a:cubicBezTo>
                    <a:pt x="935" y="1704"/>
                    <a:pt x="934" y="1718"/>
                    <a:pt x="926" y="1726"/>
                  </a:cubicBezTo>
                  <a:cubicBezTo>
                    <a:pt x="864" y="1787"/>
                    <a:pt x="864" y="1787"/>
                    <a:pt x="864" y="1787"/>
                  </a:cubicBezTo>
                  <a:cubicBezTo>
                    <a:pt x="1240" y="1779"/>
                    <a:pt x="1569" y="1511"/>
                    <a:pt x="1650" y="1143"/>
                  </a:cubicBezTo>
                  <a:cubicBezTo>
                    <a:pt x="1653" y="1131"/>
                    <a:pt x="1665" y="1124"/>
                    <a:pt x="1677" y="1126"/>
                  </a:cubicBezTo>
                  <a:cubicBezTo>
                    <a:pt x="1689" y="1129"/>
                    <a:pt x="1696" y="1141"/>
                    <a:pt x="1693" y="1152"/>
                  </a:cubicBezTo>
                  <a:close/>
                  <a:moveTo>
                    <a:pt x="900" y="107"/>
                  </a:moveTo>
                  <a:cubicBezTo>
                    <a:pt x="804" y="8"/>
                    <a:pt x="804" y="8"/>
                    <a:pt x="804" y="8"/>
                  </a:cubicBezTo>
                  <a:cubicBezTo>
                    <a:pt x="795" y="0"/>
                    <a:pt x="782" y="0"/>
                    <a:pt x="773" y="8"/>
                  </a:cubicBezTo>
                  <a:cubicBezTo>
                    <a:pt x="764" y="17"/>
                    <a:pt x="764" y="30"/>
                    <a:pt x="772" y="39"/>
                  </a:cubicBezTo>
                  <a:cubicBezTo>
                    <a:pt x="831" y="99"/>
                    <a:pt x="831" y="99"/>
                    <a:pt x="831" y="99"/>
                  </a:cubicBezTo>
                  <a:cubicBezTo>
                    <a:pt x="639" y="103"/>
                    <a:pt x="451" y="172"/>
                    <a:pt x="302" y="293"/>
                  </a:cubicBezTo>
                  <a:cubicBezTo>
                    <a:pt x="151" y="416"/>
                    <a:pt x="44" y="588"/>
                    <a:pt x="3" y="778"/>
                  </a:cubicBezTo>
                  <a:cubicBezTo>
                    <a:pt x="0" y="789"/>
                    <a:pt x="7" y="801"/>
                    <a:pt x="19" y="804"/>
                  </a:cubicBezTo>
                  <a:cubicBezTo>
                    <a:pt x="21" y="804"/>
                    <a:pt x="23" y="804"/>
                    <a:pt x="24" y="804"/>
                  </a:cubicBezTo>
                  <a:cubicBezTo>
                    <a:pt x="34" y="804"/>
                    <a:pt x="43" y="797"/>
                    <a:pt x="46" y="787"/>
                  </a:cubicBezTo>
                  <a:cubicBezTo>
                    <a:pt x="127" y="419"/>
                    <a:pt x="456" y="151"/>
                    <a:pt x="832" y="143"/>
                  </a:cubicBezTo>
                  <a:cubicBezTo>
                    <a:pt x="770" y="204"/>
                    <a:pt x="770" y="204"/>
                    <a:pt x="770" y="204"/>
                  </a:cubicBezTo>
                  <a:cubicBezTo>
                    <a:pt x="762" y="212"/>
                    <a:pt x="761" y="226"/>
                    <a:pt x="770" y="235"/>
                  </a:cubicBezTo>
                  <a:cubicBezTo>
                    <a:pt x="774" y="239"/>
                    <a:pt x="780" y="241"/>
                    <a:pt x="786" y="241"/>
                  </a:cubicBezTo>
                  <a:cubicBezTo>
                    <a:pt x="791" y="241"/>
                    <a:pt x="797" y="239"/>
                    <a:pt x="801" y="235"/>
                  </a:cubicBezTo>
                  <a:cubicBezTo>
                    <a:pt x="900" y="139"/>
                    <a:pt x="900" y="139"/>
                    <a:pt x="900" y="139"/>
                  </a:cubicBezTo>
                  <a:cubicBezTo>
                    <a:pt x="909" y="130"/>
                    <a:pt x="909" y="116"/>
                    <a:pt x="900" y="107"/>
                  </a:cubicBezTo>
                  <a:close/>
                </a:path>
              </a:pathLst>
            </a:custGeom>
            <a:solidFill>
              <a:srgbClr val="03522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26">
              <a:extLst>
                <a:ext uri="{FF2B5EF4-FFF2-40B4-BE49-F238E27FC236}">
                  <a16:creationId xmlns:a16="http://schemas.microsoft.com/office/drawing/2014/main" id="{6C176381-1432-4B8C-A2F8-2DE04B2F16FA}"/>
                </a:ext>
              </a:extLst>
            </p:cNvPr>
            <p:cNvSpPr>
              <a:spLocks noEditPoints="1"/>
            </p:cNvSpPr>
            <p:nvPr/>
          </p:nvSpPr>
          <p:spPr bwMode="auto">
            <a:xfrm>
              <a:off x="2032" y="570"/>
              <a:ext cx="3616" cy="3176"/>
            </a:xfrm>
            <a:custGeom>
              <a:avLst/>
              <a:gdLst>
                <a:gd name="T0" fmla="*/ 1922 w 1930"/>
                <a:gd name="T1" fmla="*/ 804 h 1694"/>
                <a:gd name="T2" fmla="*/ 1823 w 1930"/>
                <a:gd name="T3" fmla="*/ 900 h 1694"/>
                <a:gd name="T4" fmla="*/ 1807 w 1930"/>
                <a:gd name="T5" fmla="*/ 907 h 1694"/>
                <a:gd name="T6" fmla="*/ 1791 w 1930"/>
                <a:gd name="T7" fmla="*/ 900 h 1694"/>
                <a:gd name="T8" fmla="*/ 1695 w 1930"/>
                <a:gd name="T9" fmla="*/ 801 h 1694"/>
                <a:gd name="T10" fmla="*/ 1695 w 1930"/>
                <a:gd name="T11" fmla="*/ 770 h 1694"/>
                <a:gd name="T12" fmla="*/ 1726 w 1930"/>
                <a:gd name="T13" fmla="*/ 770 h 1694"/>
                <a:gd name="T14" fmla="*/ 1787 w 1930"/>
                <a:gd name="T15" fmla="*/ 832 h 1694"/>
                <a:gd name="T16" fmla="*/ 1143 w 1930"/>
                <a:gd name="T17" fmla="*/ 46 h 1694"/>
                <a:gd name="T18" fmla="*/ 1126 w 1930"/>
                <a:gd name="T19" fmla="*/ 19 h 1694"/>
                <a:gd name="T20" fmla="*/ 1152 w 1930"/>
                <a:gd name="T21" fmla="*/ 3 h 1694"/>
                <a:gd name="T22" fmla="*/ 1637 w 1930"/>
                <a:gd name="T23" fmla="*/ 302 h 1694"/>
                <a:gd name="T24" fmla="*/ 1831 w 1930"/>
                <a:gd name="T25" fmla="*/ 831 h 1694"/>
                <a:gd name="T26" fmla="*/ 1891 w 1930"/>
                <a:gd name="T27" fmla="*/ 772 h 1694"/>
                <a:gd name="T28" fmla="*/ 1922 w 1930"/>
                <a:gd name="T29" fmla="*/ 773 h 1694"/>
                <a:gd name="T30" fmla="*/ 1922 w 1930"/>
                <a:gd name="T31" fmla="*/ 804 h 1694"/>
                <a:gd name="T32" fmla="*/ 787 w 1930"/>
                <a:gd name="T33" fmla="*/ 1651 h 1694"/>
                <a:gd name="T34" fmla="*/ 143 w 1930"/>
                <a:gd name="T35" fmla="*/ 864 h 1694"/>
                <a:gd name="T36" fmla="*/ 204 w 1930"/>
                <a:gd name="T37" fmla="*/ 926 h 1694"/>
                <a:gd name="T38" fmla="*/ 219 w 1930"/>
                <a:gd name="T39" fmla="*/ 932 h 1694"/>
                <a:gd name="T40" fmla="*/ 235 w 1930"/>
                <a:gd name="T41" fmla="*/ 926 h 1694"/>
                <a:gd name="T42" fmla="*/ 235 w 1930"/>
                <a:gd name="T43" fmla="*/ 895 h 1694"/>
                <a:gd name="T44" fmla="*/ 139 w 1930"/>
                <a:gd name="T45" fmla="*/ 796 h 1694"/>
                <a:gd name="T46" fmla="*/ 107 w 1930"/>
                <a:gd name="T47" fmla="*/ 796 h 1694"/>
                <a:gd name="T48" fmla="*/ 8 w 1930"/>
                <a:gd name="T49" fmla="*/ 892 h 1694"/>
                <a:gd name="T50" fmla="*/ 8 w 1930"/>
                <a:gd name="T51" fmla="*/ 923 h 1694"/>
                <a:gd name="T52" fmla="*/ 39 w 1930"/>
                <a:gd name="T53" fmla="*/ 924 h 1694"/>
                <a:gd name="T54" fmla="*/ 99 w 1930"/>
                <a:gd name="T55" fmla="*/ 865 h 1694"/>
                <a:gd name="T56" fmla="*/ 293 w 1930"/>
                <a:gd name="T57" fmla="*/ 1394 h 1694"/>
                <a:gd name="T58" fmla="*/ 778 w 1930"/>
                <a:gd name="T59" fmla="*/ 1693 h 1694"/>
                <a:gd name="T60" fmla="*/ 782 w 1930"/>
                <a:gd name="T61" fmla="*/ 1694 h 1694"/>
                <a:gd name="T62" fmla="*/ 804 w 1930"/>
                <a:gd name="T63" fmla="*/ 1677 h 1694"/>
                <a:gd name="T64" fmla="*/ 787 w 1930"/>
                <a:gd name="T65" fmla="*/ 1651 h 1694"/>
                <a:gd name="T66" fmla="*/ 1473 w 1930"/>
                <a:gd name="T67" fmla="*/ 848 h 1694"/>
                <a:gd name="T68" fmla="*/ 965 w 1930"/>
                <a:gd name="T69" fmla="*/ 1356 h 1694"/>
                <a:gd name="T70" fmla="*/ 457 w 1930"/>
                <a:gd name="T71" fmla="*/ 848 h 1694"/>
                <a:gd name="T72" fmla="*/ 965 w 1930"/>
                <a:gd name="T73" fmla="*/ 340 h 1694"/>
                <a:gd name="T74" fmla="*/ 1473 w 1930"/>
                <a:gd name="T75" fmla="*/ 848 h 1694"/>
                <a:gd name="T76" fmla="*/ 1290 w 1930"/>
                <a:gd name="T77" fmla="*/ 639 h 1694"/>
                <a:gd name="T78" fmla="*/ 1259 w 1930"/>
                <a:gd name="T79" fmla="*/ 640 h 1694"/>
                <a:gd name="T80" fmla="*/ 921 w 1930"/>
                <a:gd name="T81" fmla="*/ 988 h 1694"/>
                <a:gd name="T82" fmla="*/ 735 w 1930"/>
                <a:gd name="T83" fmla="*/ 819 h 1694"/>
                <a:gd name="T84" fmla="*/ 704 w 1930"/>
                <a:gd name="T85" fmla="*/ 820 h 1694"/>
                <a:gd name="T86" fmla="*/ 705 w 1930"/>
                <a:gd name="T87" fmla="*/ 851 h 1694"/>
                <a:gd name="T88" fmla="*/ 907 w 1930"/>
                <a:gd name="T89" fmla="*/ 1035 h 1694"/>
                <a:gd name="T90" fmla="*/ 922 w 1930"/>
                <a:gd name="T91" fmla="*/ 1041 h 1694"/>
                <a:gd name="T92" fmla="*/ 937 w 1930"/>
                <a:gd name="T93" fmla="*/ 1034 h 1694"/>
                <a:gd name="T94" fmla="*/ 1290 w 1930"/>
                <a:gd name="T95" fmla="*/ 671 h 1694"/>
                <a:gd name="T96" fmla="*/ 1290 w 1930"/>
                <a:gd name="T97" fmla="*/ 639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30" h="1694">
                  <a:moveTo>
                    <a:pt x="1922" y="804"/>
                  </a:moveTo>
                  <a:cubicBezTo>
                    <a:pt x="1823" y="900"/>
                    <a:pt x="1823" y="900"/>
                    <a:pt x="1823" y="900"/>
                  </a:cubicBezTo>
                  <a:cubicBezTo>
                    <a:pt x="1818" y="905"/>
                    <a:pt x="1813" y="907"/>
                    <a:pt x="1807" y="907"/>
                  </a:cubicBezTo>
                  <a:cubicBezTo>
                    <a:pt x="1801" y="907"/>
                    <a:pt x="1796" y="904"/>
                    <a:pt x="1791" y="900"/>
                  </a:cubicBezTo>
                  <a:cubicBezTo>
                    <a:pt x="1695" y="801"/>
                    <a:pt x="1695" y="801"/>
                    <a:pt x="1695" y="801"/>
                  </a:cubicBezTo>
                  <a:cubicBezTo>
                    <a:pt x="1686" y="792"/>
                    <a:pt x="1687" y="778"/>
                    <a:pt x="1695" y="770"/>
                  </a:cubicBezTo>
                  <a:cubicBezTo>
                    <a:pt x="1704" y="761"/>
                    <a:pt x="1718" y="762"/>
                    <a:pt x="1726" y="770"/>
                  </a:cubicBezTo>
                  <a:cubicBezTo>
                    <a:pt x="1787" y="832"/>
                    <a:pt x="1787" y="832"/>
                    <a:pt x="1787" y="832"/>
                  </a:cubicBezTo>
                  <a:cubicBezTo>
                    <a:pt x="1779" y="456"/>
                    <a:pt x="1511" y="127"/>
                    <a:pt x="1143" y="46"/>
                  </a:cubicBezTo>
                  <a:cubicBezTo>
                    <a:pt x="1131" y="43"/>
                    <a:pt x="1124" y="31"/>
                    <a:pt x="1126" y="19"/>
                  </a:cubicBezTo>
                  <a:cubicBezTo>
                    <a:pt x="1129" y="8"/>
                    <a:pt x="1141" y="0"/>
                    <a:pt x="1152" y="3"/>
                  </a:cubicBezTo>
                  <a:cubicBezTo>
                    <a:pt x="1342" y="44"/>
                    <a:pt x="1514" y="151"/>
                    <a:pt x="1637" y="302"/>
                  </a:cubicBezTo>
                  <a:cubicBezTo>
                    <a:pt x="1759" y="451"/>
                    <a:pt x="1827" y="639"/>
                    <a:pt x="1831" y="831"/>
                  </a:cubicBezTo>
                  <a:cubicBezTo>
                    <a:pt x="1891" y="772"/>
                    <a:pt x="1891" y="772"/>
                    <a:pt x="1891" y="772"/>
                  </a:cubicBezTo>
                  <a:cubicBezTo>
                    <a:pt x="1900" y="764"/>
                    <a:pt x="1914" y="764"/>
                    <a:pt x="1922" y="773"/>
                  </a:cubicBezTo>
                  <a:cubicBezTo>
                    <a:pt x="1930" y="781"/>
                    <a:pt x="1930" y="795"/>
                    <a:pt x="1922" y="804"/>
                  </a:cubicBezTo>
                  <a:close/>
                  <a:moveTo>
                    <a:pt x="787" y="1651"/>
                  </a:moveTo>
                  <a:cubicBezTo>
                    <a:pt x="419" y="1569"/>
                    <a:pt x="151" y="1240"/>
                    <a:pt x="143" y="864"/>
                  </a:cubicBezTo>
                  <a:cubicBezTo>
                    <a:pt x="204" y="926"/>
                    <a:pt x="204" y="926"/>
                    <a:pt x="204" y="926"/>
                  </a:cubicBezTo>
                  <a:cubicBezTo>
                    <a:pt x="208" y="930"/>
                    <a:pt x="214" y="932"/>
                    <a:pt x="219" y="932"/>
                  </a:cubicBezTo>
                  <a:cubicBezTo>
                    <a:pt x="225" y="932"/>
                    <a:pt x="230" y="930"/>
                    <a:pt x="235" y="926"/>
                  </a:cubicBezTo>
                  <a:cubicBezTo>
                    <a:pt x="243" y="918"/>
                    <a:pt x="244" y="904"/>
                    <a:pt x="235" y="895"/>
                  </a:cubicBezTo>
                  <a:cubicBezTo>
                    <a:pt x="139" y="796"/>
                    <a:pt x="139" y="796"/>
                    <a:pt x="139" y="796"/>
                  </a:cubicBezTo>
                  <a:cubicBezTo>
                    <a:pt x="130" y="787"/>
                    <a:pt x="116" y="787"/>
                    <a:pt x="107" y="796"/>
                  </a:cubicBezTo>
                  <a:cubicBezTo>
                    <a:pt x="8" y="892"/>
                    <a:pt x="8" y="892"/>
                    <a:pt x="8" y="892"/>
                  </a:cubicBezTo>
                  <a:cubicBezTo>
                    <a:pt x="0" y="901"/>
                    <a:pt x="0" y="915"/>
                    <a:pt x="8" y="923"/>
                  </a:cubicBezTo>
                  <a:cubicBezTo>
                    <a:pt x="16" y="932"/>
                    <a:pt x="30" y="932"/>
                    <a:pt x="39" y="924"/>
                  </a:cubicBezTo>
                  <a:cubicBezTo>
                    <a:pt x="99" y="865"/>
                    <a:pt x="99" y="865"/>
                    <a:pt x="99" y="865"/>
                  </a:cubicBezTo>
                  <a:cubicBezTo>
                    <a:pt x="103" y="1057"/>
                    <a:pt x="172" y="1245"/>
                    <a:pt x="293" y="1394"/>
                  </a:cubicBezTo>
                  <a:cubicBezTo>
                    <a:pt x="416" y="1545"/>
                    <a:pt x="588" y="1652"/>
                    <a:pt x="778" y="1693"/>
                  </a:cubicBezTo>
                  <a:cubicBezTo>
                    <a:pt x="779" y="1694"/>
                    <a:pt x="781" y="1694"/>
                    <a:pt x="782" y="1694"/>
                  </a:cubicBezTo>
                  <a:cubicBezTo>
                    <a:pt x="792" y="1694"/>
                    <a:pt x="802" y="1687"/>
                    <a:pt x="804" y="1677"/>
                  </a:cubicBezTo>
                  <a:cubicBezTo>
                    <a:pt x="806" y="1665"/>
                    <a:pt x="799" y="1653"/>
                    <a:pt x="787" y="1651"/>
                  </a:cubicBezTo>
                  <a:close/>
                  <a:moveTo>
                    <a:pt x="1473" y="848"/>
                  </a:moveTo>
                  <a:cubicBezTo>
                    <a:pt x="1473" y="1129"/>
                    <a:pt x="1246" y="1356"/>
                    <a:pt x="965" y="1356"/>
                  </a:cubicBezTo>
                  <a:cubicBezTo>
                    <a:pt x="684" y="1356"/>
                    <a:pt x="457" y="1129"/>
                    <a:pt x="457" y="848"/>
                  </a:cubicBezTo>
                  <a:cubicBezTo>
                    <a:pt x="457" y="567"/>
                    <a:pt x="684" y="340"/>
                    <a:pt x="965" y="340"/>
                  </a:cubicBezTo>
                  <a:cubicBezTo>
                    <a:pt x="1246" y="340"/>
                    <a:pt x="1473" y="567"/>
                    <a:pt x="1473" y="848"/>
                  </a:cubicBezTo>
                  <a:close/>
                  <a:moveTo>
                    <a:pt x="1290" y="639"/>
                  </a:moveTo>
                  <a:cubicBezTo>
                    <a:pt x="1281" y="631"/>
                    <a:pt x="1267" y="631"/>
                    <a:pt x="1259" y="640"/>
                  </a:cubicBezTo>
                  <a:cubicBezTo>
                    <a:pt x="921" y="988"/>
                    <a:pt x="921" y="988"/>
                    <a:pt x="921" y="988"/>
                  </a:cubicBezTo>
                  <a:cubicBezTo>
                    <a:pt x="735" y="819"/>
                    <a:pt x="735" y="819"/>
                    <a:pt x="735" y="819"/>
                  </a:cubicBezTo>
                  <a:cubicBezTo>
                    <a:pt x="726" y="810"/>
                    <a:pt x="712" y="811"/>
                    <a:pt x="704" y="820"/>
                  </a:cubicBezTo>
                  <a:cubicBezTo>
                    <a:pt x="696" y="829"/>
                    <a:pt x="696" y="843"/>
                    <a:pt x="705" y="851"/>
                  </a:cubicBezTo>
                  <a:cubicBezTo>
                    <a:pt x="907" y="1035"/>
                    <a:pt x="907" y="1035"/>
                    <a:pt x="907" y="1035"/>
                  </a:cubicBezTo>
                  <a:cubicBezTo>
                    <a:pt x="911" y="1039"/>
                    <a:pt x="916" y="1041"/>
                    <a:pt x="922" y="1041"/>
                  </a:cubicBezTo>
                  <a:cubicBezTo>
                    <a:pt x="927" y="1041"/>
                    <a:pt x="933" y="1039"/>
                    <a:pt x="937" y="1034"/>
                  </a:cubicBezTo>
                  <a:cubicBezTo>
                    <a:pt x="1290" y="671"/>
                    <a:pt x="1290" y="671"/>
                    <a:pt x="1290" y="671"/>
                  </a:cubicBezTo>
                  <a:cubicBezTo>
                    <a:pt x="1299" y="662"/>
                    <a:pt x="1299" y="648"/>
                    <a:pt x="1290" y="639"/>
                  </a:cubicBezTo>
                  <a:close/>
                </a:path>
              </a:pathLst>
            </a:custGeom>
            <a:solidFill>
              <a:srgbClr val="2AC8AC">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2" name="TextBox 151"/>
          <p:cNvSpPr txBox="1"/>
          <p:nvPr/>
        </p:nvSpPr>
        <p:spPr>
          <a:xfrm>
            <a:off x="7606153" y="2366841"/>
            <a:ext cx="1870187" cy="64633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45720" rIns="0" bIns="45720" numCol="1" spcCol="0" rtlCol="0" fromWordArt="0" anchor="t" anchorCtr="0" forceAA="0" compatLnSpc="1">
            <a:prstTxWarp prst="textNoShape">
              <a:avLst/>
            </a:prstTxWarp>
            <a:spAutoFit/>
          </a:bodyPr>
          <a:lstStyle/>
          <a:p>
            <a:pPr>
              <a:buSzPct val="100000"/>
              <a:buFont typeface="Trebuchet MS" panose="020B0603020202020204" pitchFamily="34" charset="0"/>
              <a:buChar char="​"/>
            </a:pPr>
            <a:r>
              <a:rPr lang="en-US" dirty="0">
                <a:solidFill>
                  <a:schemeClr val="tx1"/>
                </a:solidFill>
                <a:latin typeface="Arial" panose="020B0604020202020204" pitchFamily="34" charset="0"/>
                <a:cs typeface="Arial" panose="020B0604020202020204" pitchFamily="34" charset="0"/>
              </a:rPr>
              <a:t>Enhanced quality </a:t>
            </a:r>
            <a:br>
              <a:rPr lang="en-US" dirty="0">
                <a:solidFill>
                  <a:schemeClr val="tx1"/>
                </a:solidFill>
                <a:latin typeface="Arial" panose="020B0604020202020204" pitchFamily="34" charset="0"/>
                <a:cs typeface="Arial" panose="020B0604020202020204" pitchFamily="34" charset="0"/>
              </a:rPr>
            </a:br>
            <a:r>
              <a:rPr lang="en-US" dirty="0">
                <a:solidFill>
                  <a:schemeClr val="tx1"/>
                </a:solidFill>
                <a:latin typeface="Arial" panose="020B0604020202020204" pitchFamily="34" charset="0"/>
                <a:cs typeface="Arial" panose="020B0604020202020204" pitchFamily="34" charset="0"/>
              </a:rPr>
              <a:t>of interactions</a:t>
            </a:r>
          </a:p>
        </p:txBody>
      </p:sp>
      <p:sp>
        <p:nvSpPr>
          <p:cNvPr id="153" name="TextBox 152"/>
          <p:cNvSpPr txBox="1"/>
          <p:nvPr/>
        </p:nvSpPr>
        <p:spPr>
          <a:xfrm>
            <a:off x="7606153" y="3496655"/>
            <a:ext cx="2254908"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45720" rIns="0" bIns="45720" numCol="1" spcCol="0" rtlCol="0" fromWordArt="0" anchor="t" anchorCtr="0" forceAA="0" compatLnSpc="1">
            <a:prstTxWarp prst="textNoShape">
              <a:avLst/>
            </a:prstTxWarp>
            <a:spAutoFit/>
          </a:bodyPr>
          <a:lstStyle/>
          <a:p>
            <a:pPr>
              <a:buSzPct val="100000"/>
              <a:buFont typeface="Trebuchet MS" panose="020B0603020202020204" pitchFamily="34" charset="0"/>
              <a:buChar char="​"/>
            </a:pPr>
            <a:r>
              <a:rPr lang="en-US" dirty="0">
                <a:solidFill>
                  <a:schemeClr val="tx1"/>
                </a:solidFill>
                <a:latin typeface="Arial"/>
              </a:rPr>
              <a:t>Empowered leaders</a:t>
            </a:r>
          </a:p>
          <a:p>
            <a:pPr>
              <a:buSzPct val="100000"/>
              <a:buFont typeface="Trebuchet MS" panose="020B0603020202020204" pitchFamily="34" charset="0"/>
              <a:buChar char="​"/>
            </a:pPr>
            <a:r>
              <a:rPr lang="en-US" dirty="0">
                <a:solidFill>
                  <a:schemeClr val="tx1"/>
                </a:solidFill>
                <a:latin typeface="Arial"/>
              </a:rPr>
              <a:t>and middle managers</a:t>
            </a:r>
          </a:p>
        </p:txBody>
      </p:sp>
      <p:sp>
        <p:nvSpPr>
          <p:cNvPr id="154" name="TextBox 153"/>
          <p:cNvSpPr txBox="1"/>
          <p:nvPr/>
        </p:nvSpPr>
        <p:spPr>
          <a:xfrm>
            <a:off x="7606153" y="4580302"/>
            <a:ext cx="1677827"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45720" rIns="0" bIns="45720" numCol="1" spcCol="0" rtlCol="0" fromWordArt="0" anchor="t" anchorCtr="0" forceAA="0" compatLnSpc="1">
            <a:prstTxWarp prst="textNoShape">
              <a:avLst/>
            </a:prstTxWarp>
            <a:spAutoFit/>
          </a:bodyPr>
          <a:lstStyle/>
          <a:p>
            <a:pPr>
              <a:buSzPct val="100000"/>
              <a:buFont typeface="Trebuchet MS" panose="020B0603020202020204" pitchFamily="34" charset="0"/>
              <a:buChar char="​"/>
            </a:pPr>
            <a:r>
              <a:rPr lang="en-US" dirty="0">
                <a:solidFill>
                  <a:schemeClr val="tx1"/>
                </a:solidFill>
                <a:latin typeface="Arial"/>
              </a:rPr>
              <a:t>Sharp focus on </a:t>
            </a:r>
            <a:br>
              <a:rPr lang="en-US" dirty="0">
                <a:solidFill>
                  <a:schemeClr val="tx1"/>
                </a:solidFill>
                <a:latin typeface="Arial"/>
              </a:rPr>
            </a:br>
            <a:r>
              <a:rPr lang="en-US" dirty="0">
                <a:solidFill>
                  <a:schemeClr val="tx1"/>
                </a:solidFill>
                <a:latin typeface="Arial"/>
              </a:rPr>
              <a:t>resolving issues</a:t>
            </a:r>
          </a:p>
        </p:txBody>
      </p:sp>
      <p:sp>
        <p:nvSpPr>
          <p:cNvPr id="155" name="TextBox 154"/>
          <p:cNvSpPr txBox="1"/>
          <p:nvPr/>
        </p:nvSpPr>
        <p:spPr>
          <a:xfrm>
            <a:off x="7606153" y="5663949"/>
            <a:ext cx="1600882" cy="6463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45720" rIns="0" bIns="45720" numCol="1" spcCol="0" rtlCol="0" fromWordArt="0" anchor="t" anchorCtr="0" forceAA="0" compatLnSpc="1">
            <a:prstTxWarp prst="textNoShape">
              <a:avLst/>
            </a:prstTxWarp>
            <a:spAutoFit/>
          </a:bodyPr>
          <a:lstStyle/>
          <a:p>
            <a:pPr>
              <a:buSzPct val="100000"/>
              <a:buFont typeface="Trebuchet MS" panose="020B0603020202020204" pitchFamily="34" charset="0"/>
              <a:buChar char="​"/>
            </a:pPr>
            <a:r>
              <a:rPr lang="en-US" dirty="0">
                <a:solidFill>
                  <a:schemeClr val="tx1"/>
                </a:solidFill>
                <a:latin typeface="Arial"/>
              </a:rPr>
              <a:t>Disciplined and</a:t>
            </a:r>
          </a:p>
          <a:p>
            <a:pPr>
              <a:buSzPct val="100000"/>
              <a:buFont typeface="Trebuchet MS" panose="020B0603020202020204" pitchFamily="34" charset="0"/>
              <a:buChar char="​"/>
            </a:pPr>
            <a:r>
              <a:rPr lang="en-US" dirty="0">
                <a:solidFill>
                  <a:schemeClr val="tx1"/>
                </a:solidFill>
                <a:latin typeface="Arial"/>
              </a:rPr>
              <a:t>simple routines</a:t>
            </a:r>
          </a:p>
        </p:txBody>
      </p:sp>
      <p:pic>
        <p:nvPicPr>
          <p:cNvPr id="3" name="Picture 2"/>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2640122" y="2641827"/>
            <a:ext cx="1685423" cy="1685423"/>
          </a:xfrm>
          <a:prstGeom prst="ellipse">
            <a:avLst/>
          </a:prstGeom>
          <a:grpFill/>
          <a:ln w="38100" cap="flat" cmpd="sng" algn="ctr">
            <a:gradFill flip="none" rotWithShape="1">
              <a:gsLst>
                <a:gs pos="100000">
                  <a:srgbClr val="2AC8AC"/>
                </a:gs>
                <a:gs pos="0">
                  <a:srgbClr val="2AC8AC">
                    <a:lumMod val="50000"/>
                  </a:srgbClr>
                </a:gs>
              </a:gsLst>
              <a:lin ang="2700000" scaled="1"/>
              <a:tileRect/>
            </a:gradFill>
            <a:prstDash val="solid"/>
          </a:ln>
          <a:effectLst/>
        </p:spPr>
      </p:pic>
      <p:pic>
        <p:nvPicPr>
          <p:cNvPr id="4" name="Picture 3"/>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4628040" y="4693339"/>
            <a:ext cx="1685423" cy="1685423"/>
          </a:xfrm>
          <a:prstGeom prst="ellipse">
            <a:avLst/>
          </a:prstGeom>
          <a:grpFill/>
          <a:ln w="38100" cap="flat" cmpd="sng" algn="ctr">
            <a:gradFill flip="none" rotWithShape="1">
              <a:gsLst>
                <a:gs pos="100000">
                  <a:srgbClr val="2AC8AC"/>
                </a:gs>
                <a:gs pos="0">
                  <a:srgbClr val="2AC8AC">
                    <a:lumMod val="50000"/>
                  </a:srgbClr>
                </a:gs>
              </a:gsLst>
              <a:lin ang="2700000" scaled="1"/>
              <a:tileRect/>
            </a:gradFill>
            <a:prstDash val="solid"/>
          </a:ln>
          <a:effectLst/>
        </p:spPr>
      </p:pic>
      <p:pic>
        <p:nvPicPr>
          <p:cNvPr id="5" name="Picture 4"/>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2640122" y="4693339"/>
            <a:ext cx="1685423" cy="1685423"/>
          </a:xfrm>
          <a:prstGeom prst="ellipse">
            <a:avLst/>
          </a:prstGeom>
          <a:grpFill/>
          <a:ln w="38100" cap="flat" cmpd="sng" algn="ctr">
            <a:gradFill flip="none" rotWithShape="1">
              <a:gsLst>
                <a:gs pos="100000">
                  <a:srgbClr val="2AC8AC"/>
                </a:gs>
                <a:gs pos="0">
                  <a:srgbClr val="2AC8AC">
                    <a:lumMod val="50000"/>
                  </a:srgbClr>
                </a:gs>
              </a:gsLst>
              <a:lin ang="2700000" scaled="1"/>
              <a:tileRect/>
            </a:gradFill>
            <a:prstDash val="solid"/>
          </a:ln>
          <a:effectLst/>
        </p:spPr>
      </p:pic>
      <p:pic>
        <p:nvPicPr>
          <p:cNvPr id="6" name="Picture 5"/>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4628039" y="2641827"/>
            <a:ext cx="1685423" cy="1685423"/>
          </a:xfrm>
          <a:prstGeom prst="ellipse">
            <a:avLst/>
          </a:prstGeom>
          <a:grpFill/>
          <a:ln w="38100" cap="flat" cmpd="sng" algn="ctr">
            <a:gradFill flip="none" rotWithShape="1">
              <a:gsLst>
                <a:gs pos="100000">
                  <a:srgbClr val="2AC8AC"/>
                </a:gs>
                <a:gs pos="0">
                  <a:srgbClr val="2AC8AC">
                    <a:lumMod val="50000"/>
                  </a:srgbClr>
                </a:gs>
              </a:gsLst>
              <a:lin ang="2700000" scaled="1"/>
              <a:tileRect/>
            </a:gradFill>
            <a:prstDash val="solid"/>
          </a:ln>
          <a:effectLst/>
        </p:spPr>
      </p:pic>
    </p:spTree>
    <p:extLst>
      <p:ext uri="{BB962C8B-B14F-4D97-AF65-F5344CB8AC3E}">
        <p14:creationId xmlns:p14="http://schemas.microsoft.com/office/powerpoint/2010/main" val="1697245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26"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404261" y="622800"/>
            <a:ext cx="11511815" cy="941796"/>
          </a:xfrm>
        </p:spPr>
        <p:txBody>
          <a:bodyPr/>
          <a:lstStyle/>
          <a:p>
            <a:r>
              <a:rPr lang="en-US" dirty="0"/>
              <a:t>The benefits of executing and innovating with agile teams</a:t>
            </a:r>
          </a:p>
        </p:txBody>
      </p:sp>
      <p:cxnSp>
        <p:nvCxnSpPr>
          <p:cNvPr id="31" name="Straight Connector 30"/>
          <p:cNvCxnSpPr/>
          <p:nvPr/>
        </p:nvCxnSpPr>
        <p:spPr>
          <a:xfrm>
            <a:off x="543602" y="2254389"/>
            <a:ext cx="11089074" cy="0"/>
          </a:xfrm>
          <a:prstGeom prst="line">
            <a:avLst/>
          </a:prstGeom>
          <a:ln w="9525" cap="flat"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ee4pHeader2"/>
          <p:cNvSpPr txBox="1"/>
          <p:nvPr/>
        </p:nvSpPr>
        <p:spPr>
          <a:xfrm>
            <a:off x="629400" y="1421788"/>
            <a:ext cx="1947672" cy="759600"/>
          </a:xfrm>
          <a:prstGeom prst="rect">
            <a:avLst/>
          </a:prstGeom>
          <a:noFill/>
          <a:ln cap="rnd">
            <a:noFill/>
          </a:ln>
          <a:extLst>
            <a:ext uri="{909E8E84-426E-40DD-AFC4-6F175D3DCCD1}">
              <a14:hiddenFill xmlns:a14="http://schemas.microsoft.com/office/drawing/2010/main">
                <a:solidFill>
                  <a:srgbClr val="F2F2F2"/>
                </a:solidFill>
              </a14:hiddenFill>
            </a:ext>
          </a:extLst>
        </p:spPr>
        <p:txBody>
          <a:bodyPr wrap="square" lIns="0" tIns="0" rIns="0" bIns="0" rtlCol="0" anchor="b" anchorCtr="0">
            <a:noAutofit/>
          </a:bodyPr>
          <a:lstStyle/>
          <a:p>
            <a:pPr marL="0" lvl="3" algn="ctr"/>
            <a:r>
              <a:rPr lang="en-US" sz="2400" dirty="0">
                <a:solidFill>
                  <a:schemeClr val="tx2"/>
                </a:solidFill>
              </a:rPr>
              <a:t>X-functional teams</a:t>
            </a:r>
          </a:p>
        </p:txBody>
      </p:sp>
      <p:sp>
        <p:nvSpPr>
          <p:cNvPr id="33" name="ee4pHeader1"/>
          <p:cNvSpPr txBox="1"/>
          <p:nvPr/>
        </p:nvSpPr>
        <p:spPr>
          <a:xfrm>
            <a:off x="2875782" y="1421788"/>
            <a:ext cx="1947672" cy="759600"/>
          </a:xfrm>
          <a:prstGeom prst="rect">
            <a:avLst/>
          </a:prstGeom>
          <a:noFill/>
          <a:ln cap="rnd">
            <a:noFill/>
          </a:ln>
          <a:extLst>
            <a:ext uri="{909E8E84-426E-40DD-AFC4-6F175D3DCCD1}">
              <a14:hiddenFill xmlns:a14="http://schemas.microsoft.com/office/drawing/2010/main">
                <a:solidFill>
                  <a:srgbClr val="F2F2F2"/>
                </a:solidFill>
              </a14:hiddenFill>
            </a:ext>
          </a:extLst>
        </p:spPr>
        <p:txBody>
          <a:bodyPr wrap="square" lIns="0" tIns="0" rIns="0" bIns="0" rtlCol="0" anchor="b" anchorCtr="0">
            <a:noAutofit/>
          </a:bodyPr>
          <a:lstStyle/>
          <a:p>
            <a:pPr marL="0" lvl="3" algn="ctr"/>
            <a:r>
              <a:rPr lang="en-US" sz="2400" dirty="0">
                <a:solidFill>
                  <a:schemeClr val="tx2"/>
                </a:solidFill>
              </a:rPr>
              <a:t>Priorities &amp;  value focus</a:t>
            </a:r>
          </a:p>
        </p:txBody>
      </p:sp>
      <p:sp>
        <p:nvSpPr>
          <p:cNvPr id="36" name="ee4pHeader4"/>
          <p:cNvSpPr txBox="1"/>
          <p:nvPr/>
        </p:nvSpPr>
        <p:spPr>
          <a:xfrm>
            <a:off x="5028483" y="1421788"/>
            <a:ext cx="1947672" cy="759600"/>
          </a:xfrm>
          <a:prstGeom prst="rect">
            <a:avLst/>
          </a:prstGeom>
          <a:noFill/>
          <a:ln cap="rnd">
            <a:noFill/>
          </a:ln>
          <a:extLst>
            <a:ext uri="{909E8E84-426E-40DD-AFC4-6F175D3DCCD1}">
              <a14:hiddenFill xmlns:a14="http://schemas.microsoft.com/office/drawing/2010/main">
                <a:solidFill>
                  <a:srgbClr val="F2F2F2"/>
                </a:solidFill>
              </a14:hiddenFill>
            </a:ext>
          </a:extLst>
        </p:spPr>
        <p:txBody>
          <a:bodyPr wrap="square" lIns="0" tIns="0" rIns="0" bIns="0" rtlCol="0" anchor="b" anchorCtr="0">
            <a:noAutofit/>
          </a:bodyPr>
          <a:lstStyle/>
          <a:p>
            <a:pPr marL="0" lvl="3" algn="ctr"/>
            <a:r>
              <a:rPr lang="en-US" sz="2400" dirty="0">
                <a:solidFill>
                  <a:schemeClr val="tx2"/>
                </a:solidFill>
              </a:rPr>
              <a:t>Iterative sprints</a:t>
            </a:r>
          </a:p>
        </p:txBody>
      </p:sp>
      <p:sp>
        <p:nvSpPr>
          <p:cNvPr id="37" name="ee4pHeader5"/>
          <p:cNvSpPr txBox="1"/>
          <p:nvPr/>
        </p:nvSpPr>
        <p:spPr>
          <a:xfrm>
            <a:off x="7368546" y="1421788"/>
            <a:ext cx="1947672" cy="759600"/>
          </a:xfrm>
          <a:prstGeom prst="rect">
            <a:avLst/>
          </a:prstGeom>
          <a:noFill/>
          <a:ln cap="rnd">
            <a:noFill/>
          </a:ln>
          <a:extLst>
            <a:ext uri="{909E8E84-426E-40DD-AFC4-6F175D3DCCD1}">
              <a14:hiddenFill xmlns:a14="http://schemas.microsoft.com/office/drawing/2010/main">
                <a:solidFill>
                  <a:srgbClr val="F2F2F2"/>
                </a:solidFill>
              </a14:hiddenFill>
            </a:ext>
          </a:extLst>
        </p:spPr>
        <p:txBody>
          <a:bodyPr wrap="square" lIns="0" tIns="0" rIns="0" bIns="0" rtlCol="0" anchor="b" anchorCtr="0">
            <a:noAutofit/>
          </a:bodyPr>
          <a:lstStyle/>
          <a:p>
            <a:pPr marL="0" lvl="3" algn="ctr"/>
            <a:r>
              <a:rPr lang="en-US" sz="2400" dirty="0">
                <a:solidFill>
                  <a:schemeClr val="tx2"/>
                </a:solidFill>
              </a:rPr>
              <a:t>Feedback and learning</a:t>
            </a:r>
          </a:p>
        </p:txBody>
      </p:sp>
      <p:sp>
        <p:nvSpPr>
          <p:cNvPr id="35" name="ee4pHeader3"/>
          <p:cNvSpPr txBox="1"/>
          <p:nvPr/>
        </p:nvSpPr>
        <p:spPr>
          <a:xfrm>
            <a:off x="9614927" y="1421788"/>
            <a:ext cx="2070488" cy="759600"/>
          </a:xfrm>
          <a:prstGeom prst="rect">
            <a:avLst/>
          </a:prstGeom>
          <a:noFill/>
          <a:ln cap="rnd">
            <a:noFill/>
          </a:ln>
          <a:extLst>
            <a:ext uri="{909E8E84-426E-40DD-AFC4-6F175D3DCCD1}">
              <a14:hiddenFill xmlns:a14="http://schemas.microsoft.com/office/drawing/2010/main">
                <a:solidFill>
                  <a:srgbClr val="F2F2F2"/>
                </a:solidFill>
              </a14:hiddenFill>
            </a:ext>
          </a:extLst>
        </p:spPr>
        <p:txBody>
          <a:bodyPr wrap="square" lIns="0" tIns="0" rIns="0" bIns="0" rtlCol="0" anchor="b" anchorCtr="0">
            <a:noAutofit/>
          </a:bodyPr>
          <a:lstStyle/>
          <a:p>
            <a:pPr marL="0" lvl="3" algn="ctr"/>
            <a:r>
              <a:rPr lang="en-US" sz="2400" dirty="0">
                <a:solidFill>
                  <a:schemeClr val="tx2"/>
                </a:solidFill>
              </a:rPr>
              <a:t>Empowered to make decisions</a:t>
            </a:r>
          </a:p>
        </p:txBody>
      </p:sp>
      <p:grpSp>
        <p:nvGrpSpPr>
          <p:cNvPr id="50" name="Group 49"/>
          <p:cNvGrpSpPr/>
          <p:nvPr/>
        </p:nvGrpSpPr>
        <p:grpSpPr>
          <a:xfrm>
            <a:off x="5449306" y="2424946"/>
            <a:ext cx="1106026" cy="801365"/>
            <a:chOff x="6425334" y="5151046"/>
            <a:chExt cx="1843974" cy="1336040"/>
          </a:xfrm>
        </p:grpSpPr>
        <p:sp>
          <p:nvSpPr>
            <p:cNvPr id="51" name="Freeform 50"/>
            <p:cNvSpPr/>
            <p:nvPr/>
          </p:nvSpPr>
          <p:spPr>
            <a:xfrm>
              <a:off x="6736259" y="5820633"/>
              <a:ext cx="273216" cy="444604"/>
            </a:xfrm>
            <a:custGeom>
              <a:avLst/>
              <a:gdLst>
                <a:gd name="connsiteX0" fmla="*/ 265471 w 521109"/>
                <a:gd name="connsiteY0" fmla="*/ 717755 h 816078"/>
                <a:gd name="connsiteX1" fmla="*/ 0 w 521109"/>
                <a:gd name="connsiteY1" fmla="*/ 9832 h 816078"/>
                <a:gd name="connsiteX2" fmla="*/ 245806 w 521109"/>
                <a:gd name="connsiteY2" fmla="*/ 0 h 816078"/>
                <a:gd name="connsiteX3" fmla="*/ 452283 w 521109"/>
                <a:gd name="connsiteY3" fmla="*/ 521110 h 816078"/>
                <a:gd name="connsiteX4" fmla="*/ 521109 w 521109"/>
                <a:gd name="connsiteY4" fmla="*/ 462116 h 816078"/>
                <a:gd name="connsiteX5" fmla="*/ 521109 w 521109"/>
                <a:gd name="connsiteY5" fmla="*/ 737420 h 816078"/>
                <a:gd name="connsiteX6" fmla="*/ 206477 w 521109"/>
                <a:gd name="connsiteY6" fmla="*/ 816078 h 816078"/>
                <a:gd name="connsiteX7" fmla="*/ 265471 w 521109"/>
                <a:gd name="connsiteY7" fmla="*/ 717755 h 816078"/>
                <a:gd name="connsiteX0" fmla="*/ 265471 w 521109"/>
                <a:gd name="connsiteY0" fmla="*/ 717755 h 816078"/>
                <a:gd name="connsiteX1" fmla="*/ 0 w 521109"/>
                <a:gd name="connsiteY1" fmla="*/ 9832 h 816078"/>
                <a:gd name="connsiteX2" fmla="*/ 245806 w 521109"/>
                <a:gd name="connsiteY2" fmla="*/ 0 h 816078"/>
                <a:gd name="connsiteX3" fmla="*/ 452283 w 521109"/>
                <a:gd name="connsiteY3" fmla="*/ 521110 h 816078"/>
                <a:gd name="connsiteX4" fmla="*/ 521109 w 521109"/>
                <a:gd name="connsiteY4" fmla="*/ 462116 h 816078"/>
                <a:gd name="connsiteX5" fmla="*/ 521109 w 521109"/>
                <a:gd name="connsiteY5" fmla="*/ 737420 h 816078"/>
                <a:gd name="connsiteX6" fmla="*/ 206477 w 521109"/>
                <a:gd name="connsiteY6" fmla="*/ 816078 h 816078"/>
                <a:gd name="connsiteX7" fmla="*/ 265471 w 521109"/>
                <a:gd name="connsiteY7" fmla="*/ 717755 h 816078"/>
                <a:gd name="connsiteX0" fmla="*/ 265471 w 521109"/>
                <a:gd name="connsiteY0" fmla="*/ 717755 h 816078"/>
                <a:gd name="connsiteX1" fmla="*/ 0 w 521109"/>
                <a:gd name="connsiteY1" fmla="*/ 9832 h 816078"/>
                <a:gd name="connsiteX2" fmla="*/ 245806 w 521109"/>
                <a:gd name="connsiteY2" fmla="*/ 0 h 816078"/>
                <a:gd name="connsiteX3" fmla="*/ 452283 w 521109"/>
                <a:gd name="connsiteY3" fmla="*/ 521110 h 816078"/>
                <a:gd name="connsiteX4" fmla="*/ 521109 w 521109"/>
                <a:gd name="connsiteY4" fmla="*/ 462116 h 816078"/>
                <a:gd name="connsiteX5" fmla="*/ 521109 w 521109"/>
                <a:gd name="connsiteY5" fmla="*/ 737420 h 816078"/>
                <a:gd name="connsiteX6" fmla="*/ 206477 w 521109"/>
                <a:gd name="connsiteY6" fmla="*/ 816078 h 816078"/>
                <a:gd name="connsiteX7" fmla="*/ 265471 w 521109"/>
                <a:gd name="connsiteY7" fmla="*/ 717755 h 816078"/>
                <a:gd name="connsiteX0" fmla="*/ 265471 w 521109"/>
                <a:gd name="connsiteY0" fmla="*/ 717755 h 816078"/>
                <a:gd name="connsiteX1" fmla="*/ 0 w 521109"/>
                <a:gd name="connsiteY1" fmla="*/ 9832 h 816078"/>
                <a:gd name="connsiteX2" fmla="*/ 245806 w 521109"/>
                <a:gd name="connsiteY2" fmla="*/ 0 h 816078"/>
                <a:gd name="connsiteX3" fmla="*/ 452283 w 521109"/>
                <a:gd name="connsiteY3" fmla="*/ 521110 h 816078"/>
                <a:gd name="connsiteX4" fmla="*/ 521109 w 521109"/>
                <a:gd name="connsiteY4" fmla="*/ 462116 h 816078"/>
                <a:gd name="connsiteX5" fmla="*/ 521109 w 521109"/>
                <a:gd name="connsiteY5" fmla="*/ 737420 h 816078"/>
                <a:gd name="connsiteX6" fmla="*/ 206477 w 521109"/>
                <a:gd name="connsiteY6" fmla="*/ 816078 h 816078"/>
                <a:gd name="connsiteX7" fmla="*/ 265471 w 521109"/>
                <a:gd name="connsiteY7" fmla="*/ 717755 h 816078"/>
                <a:gd name="connsiteX0" fmla="*/ 265471 w 521109"/>
                <a:gd name="connsiteY0" fmla="*/ 717755 h 816078"/>
                <a:gd name="connsiteX1" fmla="*/ 0 w 521109"/>
                <a:gd name="connsiteY1" fmla="*/ 9832 h 816078"/>
                <a:gd name="connsiteX2" fmla="*/ 245806 w 521109"/>
                <a:gd name="connsiteY2" fmla="*/ 0 h 816078"/>
                <a:gd name="connsiteX3" fmla="*/ 452283 w 521109"/>
                <a:gd name="connsiteY3" fmla="*/ 521110 h 816078"/>
                <a:gd name="connsiteX4" fmla="*/ 521109 w 521109"/>
                <a:gd name="connsiteY4" fmla="*/ 462116 h 816078"/>
                <a:gd name="connsiteX5" fmla="*/ 521109 w 521109"/>
                <a:gd name="connsiteY5" fmla="*/ 737420 h 816078"/>
                <a:gd name="connsiteX6" fmla="*/ 206477 w 521109"/>
                <a:gd name="connsiteY6" fmla="*/ 816078 h 816078"/>
                <a:gd name="connsiteX7" fmla="*/ 265471 w 521109"/>
                <a:gd name="connsiteY7" fmla="*/ 717755 h 816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1109" h="816078">
                  <a:moveTo>
                    <a:pt x="265471" y="717755"/>
                  </a:moveTo>
                  <a:cubicBezTo>
                    <a:pt x="98323" y="501446"/>
                    <a:pt x="39328" y="272857"/>
                    <a:pt x="0" y="9832"/>
                  </a:cubicBezTo>
                  <a:lnTo>
                    <a:pt x="245806" y="0"/>
                  </a:lnTo>
                  <a:cubicBezTo>
                    <a:pt x="265471" y="122096"/>
                    <a:pt x="334296" y="443282"/>
                    <a:pt x="452283" y="521110"/>
                  </a:cubicBezTo>
                  <a:lnTo>
                    <a:pt x="521109" y="462116"/>
                  </a:lnTo>
                  <a:lnTo>
                    <a:pt x="521109" y="737420"/>
                  </a:lnTo>
                  <a:lnTo>
                    <a:pt x="206477" y="816078"/>
                  </a:lnTo>
                  <a:lnTo>
                    <a:pt x="265471" y="717755"/>
                  </a:lnTo>
                  <a:close/>
                </a:path>
              </a:pathLst>
            </a:custGeom>
            <a:solidFill>
              <a:srgbClr val="29BA74"/>
            </a:solidFill>
            <a:ln w="952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1"/>
            <a:lstStyle/>
            <a:p>
              <a:pPr algn="ctr" defTabSz="1021155"/>
              <a:endParaRPr lang="en-US" sz="800" dirty="0">
                <a:solidFill>
                  <a:srgbClr val="000000"/>
                </a:solidFill>
                <a:cs typeface="Arial" pitchFamily="34" charset="0"/>
              </a:endParaRPr>
            </a:p>
          </p:txBody>
        </p:sp>
        <p:sp>
          <p:nvSpPr>
            <p:cNvPr id="52" name="Freeform 51"/>
            <p:cNvSpPr/>
            <p:nvPr/>
          </p:nvSpPr>
          <p:spPr>
            <a:xfrm>
              <a:off x="6741415" y="5343887"/>
              <a:ext cx="268062" cy="439246"/>
            </a:xfrm>
            <a:custGeom>
              <a:avLst/>
              <a:gdLst>
                <a:gd name="connsiteX0" fmla="*/ 0 w 511277"/>
                <a:gd name="connsiteY0" fmla="*/ 766916 h 806245"/>
                <a:gd name="connsiteX1" fmla="*/ 324464 w 511277"/>
                <a:gd name="connsiteY1" fmla="*/ 0 h 806245"/>
                <a:gd name="connsiteX2" fmla="*/ 511277 w 511277"/>
                <a:gd name="connsiteY2" fmla="*/ 206478 h 806245"/>
                <a:gd name="connsiteX3" fmla="*/ 265471 w 511277"/>
                <a:gd name="connsiteY3" fmla="*/ 806245 h 806245"/>
                <a:gd name="connsiteX4" fmla="*/ 0 w 511277"/>
                <a:gd name="connsiteY4" fmla="*/ 766916 h 806245"/>
                <a:gd name="connsiteX0" fmla="*/ 0 w 511277"/>
                <a:gd name="connsiteY0" fmla="*/ 766916 h 806245"/>
                <a:gd name="connsiteX1" fmla="*/ 324464 w 511277"/>
                <a:gd name="connsiteY1" fmla="*/ 0 h 806245"/>
                <a:gd name="connsiteX2" fmla="*/ 511277 w 511277"/>
                <a:gd name="connsiteY2" fmla="*/ 206478 h 806245"/>
                <a:gd name="connsiteX3" fmla="*/ 265471 w 511277"/>
                <a:gd name="connsiteY3" fmla="*/ 806245 h 806245"/>
                <a:gd name="connsiteX4" fmla="*/ 0 w 511277"/>
                <a:gd name="connsiteY4" fmla="*/ 766916 h 806245"/>
                <a:gd name="connsiteX0" fmla="*/ 0 w 511277"/>
                <a:gd name="connsiteY0" fmla="*/ 766916 h 806245"/>
                <a:gd name="connsiteX1" fmla="*/ 324464 w 511277"/>
                <a:gd name="connsiteY1" fmla="*/ 0 h 806245"/>
                <a:gd name="connsiteX2" fmla="*/ 511277 w 511277"/>
                <a:gd name="connsiteY2" fmla="*/ 206478 h 806245"/>
                <a:gd name="connsiteX3" fmla="*/ 265471 w 511277"/>
                <a:gd name="connsiteY3" fmla="*/ 806245 h 806245"/>
                <a:gd name="connsiteX4" fmla="*/ 0 w 511277"/>
                <a:gd name="connsiteY4" fmla="*/ 766916 h 806245"/>
                <a:gd name="connsiteX0" fmla="*/ 0 w 511277"/>
                <a:gd name="connsiteY0" fmla="*/ 766916 h 806245"/>
                <a:gd name="connsiteX1" fmla="*/ 324464 w 511277"/>
                <a:gd name="connsiteY1" fmla="*/ 0 h 806245"/>
                <a:gd name="connsiteX2" fmla="*/ 511277 w 511277"/>
                <a:gd name="connsiteY2" fmla="*/ 206478 h 806245"/>
                <a:gd name="connsiteX3" fmla="*/ 265471 w 511277"/>
                <a:gd name="connsiteY3" fmla="*/ 806245 h 806245"/>
                <a:gd name="connsiteX4" fmla="*/ 0 w 511277"/>
                <a:gd name="connsiteY4" fmla="*/ 766916 h 806245"/>
                <a:gd name="connsiteX0" fmla="*/ 0 w 511277"/>
                <a:gd name="connsiteY0" fmla="*/ 766916 h 806245"/>
                <a:gd name="connsiteX1" fmla="*/ 324464 w 511277"/>
                <a:gd name="connsiteY1" fmla="*/ 0 h 806245"/>
                <a:gd name="connsiteX2" fmla="*/ 511277 w 511277"/>
                <a:gd name="connsiteY2" fmla="*/ 206478 h 806245"/>
                <a:gd name="connsiteX3" fmla="*/ 265471 w 511277"/>
                <a:gd name="connsiteY3" fmla="*/ 806245 h 806245"/>
                <a:gd name="connsiteX4" fmla="*/ 0 w 511277"/>
                <a:gd name="connsiteY4" fmla="*/ 766916 h 806245"/>
                <a:gd name="connsiteX0" fmla="*/ 0 w 511277"/>
                <a:gd name="connsiteY0" fmla="*/ 766916 h 806245"/>
                <a:gd name="connsiteX1" fmla="*/ 324464 w 511277"/>
                <a:gd name="connsiteY1" fmla="*/ 0 h 806245"/>
                <a:gd name="connsiteX2" fmla="*/ 511277 w 511277"/>
                <a:gd name="connsiteY2" fmla="*/ 206478 h 806245"/>
                <a:gd name="connsiteX3" fmla="*/ 265471 w 511277"/>
                <a:gd name="connsiteY3" fmla="*/ 806245 h 806245"/>
                <a:gd name="connsiteX4" fmla="*/ 0 w 511277"/>
                <a:gd name="connsiteY4" fmla="*/ 766916 h 806245"/>
                <a:gd name="connsiteX0" fmla="*/ 0 w 511277"/>
                <a:gd name="connsiteY0" fmla="*/ 766916 h 806245"/>
                <a:gd name="connsiteX1" fmla="*/ 324464 w 511277"/>
                <a:gd name="connsiteY1" fmla="*/ 0 h 806245"/>
                <a:gd name="connsiteX2" fmla="*/ 511277 w 511277"/>
                <a:gd name="connsiteY2" fmla="*/ 206478 h 806245"/>
                <a:gd name="connsiteX3" fmla="*/ 265471 w 511277"/>
                <a:gd name="connsiteY3" fmla="*/ 806245 h 806245"/>
                <a:gd name="connsiteX4" fmla="*/ 0 w 511277"/>
                <a:gd name="connsiteY4" fmla="*/ 766916 h 806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277" h="806245">
                  <a:moveTo>
                    <a:pt x="0" y="766916"/>
                  </a:moveTo>
                  <a:cubicBezTo>
                    <a:pt x="49161" y="344128"/>
                    <a:pt x="167148" y="196646"/>
                    <a:pt x="324464" y="0"/>
                  </a:cubicBezTo>
                  <a:lnTo>
                    <a:pt x="511277" y="206478"/>
                  </a:lnTo>
                  <a:cubicBezTo>
                    <a:pt x="281859" y="435896"/>
                    <a:pt x="268748" y="596491"/>
                    <a:pt x="265471" y="806245"/>
                  </a:cubicBezTo>
                  <a:lnTo>
                    <a:pt x="0" y="766916"/>
                  </a:lnTo>
                  <a:close/>
                </a:path>
              </a:pathLst>
            </a:custGeom>
            <a:solidFill>
              <a:srgbClr val="29BA74"/>
            </a:solidFill>
            <a:ln w="952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1"/>
            <a:lstStyle/>
            <a:p>
              <a:pPr algn="ctr" defTabSz="1021155"/>
              <a:endParaRPr lang="en-US" sz="800" dirty="0">
                <a:solidFill>
                  <a:srgbClr val="000000"/>
                </a:solidFill>
                <a:cs typeface="Arial" pitchFamily="34" charset="0"/>
              </a:endParaRPr>
            </a:p>
          </p:txBody>
        </p:sp>
        <p:sp>
          <p:nvSpPr>
            <p:cNvPr id="53" name="Freeform 52"/>
            <p:cNvSpPr/>
            <p:nvPr/>
          </p:nvSpPr>
          <p:spPr>
            <a:xfrm>
              <a:off x="6963081" y="5151047"/>
              <a:ext cx="396938" cy="267834"/>
            </a:xfrm>
            <a:custGeom>
              <a:avLst/>
              <a:gdLst>
                <a:gd name="connsiteX0" fmla="*/ 0 w 757084"/>
                <a:gd name="connsiteY0" fmla="*/ 294968 h 491613"/>
                <a:gd name="connsiteX1" fmla="*/ 747252 w 757084"/>
                <a:gd name="connsiteY1" fmla="*/ 0 h 491613"/>
                <a:gd name="connsiteX2" fmla="*/ 757084 w 757084"/>
                <a:gd name="connsiteY2" fmla="*/ 285135 h 491613"/>
                <a:gd name="connsiteX3" fmla="*/ 157316 w 757084"/>
                <a:gd name="connsiteY3" fmla="*/ 491613 h 491613"/>
                <a:gd name="connsiteX4" fmla="*/ 0 w 757084"/>
                <a:gd name="connsiteY4" fmla="*/ 294968 h 491613"/>
                <a:gd name="connsiteX0" fmla="*/ 0 w 757084"/>
                <a:gd name="connsiteY0" fmla="*/ 294968 h 491613"/>
                <a:gd name="connsiteX1" fmla="*/ 747252 w 757084"/>
                <a:gd name="connsiteY1" fmla="*/ 0 h 491613"/>
                <a:gd name="connsiteX2" fmla="*/ 757084 w 757084"/>
                <a:gd name="connsiteY2" fmla="*/ 285135 h 491613"/>
                <a:gd name="connsiteX3" fmla="*/ 157316 w 757084"/>
                <a:gd name="connsiteY3" fmla="*/ 491613 h 491613"/>
                <a:gd name="connsiteX4" fmla="*/ 0 w 757084"/>
                <a:gd name="connsiteY4" fmla="*/ 294968 h 491613"/>
                <a:gd name="connsiteX0" fmla="*/ 0 w 757084"/>
                <a:gd name="connsiteY0" fmla="*/ 294968 h 491613"/>
                <a:gd name="connsiteX1" fmla="*/ 747252 w 757084"/>
                <a:gd name="connsiteY1" fmla="*/ 0 h 491613"/>
                <a:gd name="connsiteX2" fmla="*/ 757084 w 757084"/>
                <a:gd name="connsiteY2" fmla="*/ 285135 h 491613"/>
                <a:gd name="connsiteX3" fmla="*/ 157316 w 757084"/>
                <a:gd name="connsiteY3" fmla="*/ 491613 h 491613"/>
                <a:gd name="connsiteX4" fmla="*/ 0 w 757084"/>
                <a:gd name="connsiteY4" fmla="*/ 294968 h 491613"/>
                <a:gd name="connsiteX0" fmla="*/ 0 w 757084"/>
                <a:gd name="connsiteY0" fmla="*/ 294968 h 491613"/>
                <a:gd name="connsiteX1" fmla="*/ 747252 w 757084"/>
                <a:gd name="connsiteY1" fmla="*/ 0 h 491613"/>
                <a:gd name="connsiteX2" fmla="*/ 757084 w 757084"/>
                <a:gd name="connsiteY2" fmla="*/ 285135 h 491613"/>
                <a:gd name="connsiteX3" fmla="*/ 157316 w 757084"/>
                <a:gd name="connsiteY3" fmla="*/ 491613 h 491613"/>
                <a:gd name="connsiteX4" fmla="*/ 0 w 757084"/>
                <a:gd name="connsiteY4" fmla="*/ 294968 h 491613"/>
                <a:gd name="connsiteX0" fmla="*/ 0 w 757084"/>
                <a:gd name="connsiteY0" fmla="*/ 294968 h 491613"/>
                <a:gd name="connsiteX1" fmla="*/ 747252 w 757084"/>
                <a:gd name="connsiteY1" fmla="*/ 0 h 491613"/>
                <a:gd name="connsiteX2" fmla="*/ 757084 w 757084"/>
                <a:gd name="connsiteY2" fmla="*/ 285135 h 491613"/>
                <a:gd name="connsiteX3" fmla="*/ 157316 w 757084"/>
                <a:gd name="connsiteY3" fmla="*/ 491613 h 491613"/>
                <a:gd name="connsiteX4" fmla="*/ 0 w 757084"/>
                <a:gd name="connsiteY4" fmla="*/ 294968 h 491613"/>
                <a:gd name="connsiteX0" fmla="*/ 0 w 757084"/>
                <a:gd name="connsiteY0" fmla="*/ 294968 h 491613"/>
                <a:gd name="connsiteX1" fmla="*/ 747252 w 757084"/>
                <a:gd name="connsiteY1" fmla="*/ 0 h 491613"/>
                <a:gd name="connsiteX2" fmla="*/ 757084 w 757084"/>
                <a:gd name="connsiteY2" fmla="*/ 285135 h 491613"/>
                <a:gd name="connsiteX3" fmla="*/ 157316 w 757084"/>
                <a:gd name="connsiteY3" fmla="*/ 491613 h 491613"/>
                <a:gd name="connsiteX4" fmla="*/ 0 w 757084"/>
                <a:gd name="connsiteY4" fmla="*/ 294968 h 491613"/>
                <a:gd name="connsiteX0" fmla="*/ 0 w 757084"/>
                <a:gd name="connsiteY0" fmla="*/ 294968 h 491613"/>
                <a:gd name="connsiteX1" fmla="*/ 747252 w 757084"/>
                <a:gd name="connsiteY1" fmla="*/ 0 h 491613"/>
                <a:gd name="connsiteX2" fmla="*/ 757084 w 757084"/>
                <a:gd name="connsiteY2" fmla="*/ 285135 h 491613"/>
                <a:gd name="connsiteX3" fmla="*/ 157316 w 757084"/>
                <a:gd name="connsiteY3" fmla="*/ 491613 h 491613"/>
                <a:gd name="connsiteX4" fmla="*/ 0 w 757084"/>
                <a:gd name="connsiteY4" fmla="*/ 294968 h 491613"/>
                <a:gd name="connsiteX0" fmla="*/ 0 w 757084"/>
                <a:gd name="connsiteY0" fmla="*/ 294968 h 491613"/>
                <a:gd name="connsiteX1" fmla="*/ 747252 w 757084"/>
                <a:gd name="connsiteY1" fmla="*/ 0 h 491613"/>
                <a:gd name="connsiteX2" fmla="*/ 757084 w 757084"/>
                <a:gd name="connsiteY2" fmla="*/ 285135 h 491613"/>
                <a:gd name="connsiteX3" fmla="*/ 157316 w 757084"/>
                <a:gd name="connsiteY3" fmla="*/ 491613 h 491613"/>
                <a:gd name="connsiteX4" fmla="*/ 0 w 757084"/>
                <a:gd name="connsiteY4" fmla="*/ 294968 h 491613"/>
                <a:gd name="connsiteX0" fmla="*/ 0 w 757084"/>
                <a:gd name="connsiteY0" fmla="*/ 294968 h 491613"/>
                <a:gd name="connsiteX1" fmla="*/ 747252 w 757084"/>
                <a:gd name="connsiteY1" fmla="*/ 0 h 491613"/>
                <a:gd name="connsiteX2" fmla="*/ 757084 w 757084"/>
                <a:gd name="connsiteY2" fmla="*/ 285135 h 491613"/>
                <a:gd name="connsiteX3" fmla="*/ 157316 w 757084"/>
                <a:gd name="connsiteY3" fmla="*/ 491613 h 491613"/>
                <a:gd name="connsiteX4" fmla="*/ 0 w 757084"/>
                <a:gd name="connsiteY4" fmla="*/ 294968 h 49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084" h="491613">
                  <a:moveTo>
                    <a:pt x="0" y="294968"/>
                  </a:moveTo>
                  <a:cubicBezTo>
                    <a:pt x="170426" y="108155"/>
                    <a:pt x="478503" y="19665"/>
                    <a:pt x="747252" y="0"/>
                  </a:cubicBezTo>
                  <a:lnTo>
                    <a:pt x="757084" y="285135"/>
                  </a:lnTo>
                  <a:cubicBezTo>
                    <a:pt x="557161" y="265471"/>
                    <a:pt x="347407" y="363793"/>
                    <a:pt x="157316" y="491613"/>
                  </a:cubicBezTo>
                  <a:lnTo>
                    <a:pt x="0" y="294968"/>
                  </a:lnTo>
                  <a:close/>
                </a:path>
              </a:pathLst>
            </a:custGeom>
            <a:solidFill>
              <a:srgbClr val="29BA74"/>
            </a:solidFill>
            <a:ln w="952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1"/>
            <a:lstStyle/>
            <a:p>
              <a:pPr algn="ctr" defTabSz="1021155"/>
              <a:endParaRPr lang="en-US" sz="800" dirty="0">
                <a:solidFill>
                  <a:srgbClr val="000000"/>
                </a:solidFill>
                <a:cs typeface="Arial" pitchFamily="34" charset="0"/>
              </a:endParaRPr>
            </a:p>
          </p:txBody>
        </p:sp>
        <p:sp>
          <p:nvSpPr>
            <p:cNvPr id="54" name="Freeform 53"/>
            <p:cNvSpPr/>
            <p:nvPr/>
          </p:nvSpPr>
          <p:spPr>
            <a:xfrm>
              <a:off x="7401260" y="5151046"/>
              <a:ext cx="386627" cy="289261"/>
            </a:xfrm>
            <a:custGeom>
              <a:avLst/>
              <a:gdLst>
                <a:gd name="connsiteX0" fmla="*/ 0 w 737419"/>
                <a:gd name="connsiteY0" fmla="*/ 0 h 530942"/>
                <a:gd name="connsiteX1" fmla="*/ 737419 w 737419"/>
                <a:gd name="connsiteY1" fmla="*/ 353961 h 530942"/>
                <a:gd name="connsiteX2" fmla="*/ 550606 w 737419"/>
                <a:gd name="connsiteY2" fmla="*/ 530942 h 530942"/>
                <a:gd name="connsiteX3" fmla="*/ 19664 w 737419"/>
                <a:gd name="connsiteY3" fmla="*/ 285135 h 530942"/>
                <a:gd name="connsiteX4" fmla="*/ 0 w 737419"/>
                <a:gd name="connsiteY4" fmla="*/ 0 h 530942"/>
                <a:gd name="connsiteX0" fmla="*/ 0 w 737419"/>
                <a:gd name="connsiteY0" fmla="*/ 0 h 530942"/>
                <a:gd name="connsiteX1" fmla="*/ 737419 w 737419"/>
                <a:gd name="connsiteY1" fmla="*/ 353961 h 530942"/>
                <a:gd name="connsiteX2" fmla="*/ 550606 w 737419"/>
                <a:gd name="connsiteY2" fmla="*/ 530942 h 530942"/>
                <a:gd name="connsiteX3" fmla="*/ 19664 w 737419"/>
                <a:gd name="connsiteY3" fmla="*/ 285135 h 530942"/>
                <a:gd name="connsiteX4" fmla="*/ 0 w 737419"/>
                <a:gd name="connsiteY4" fmla="*/ 0 h 530942"/>
                <a:gd name="connsiteX0" fmla="*/ 0 w 737419"/>
                <a:gd name="connsiteY0" fmla="*/ 0 h 530942"/>
                <a:gd name="connsiteX1" fmla="*/ 737419 w 737419"/>
                <a:gd name="connsiteY1" fmla="*/ 353961 h 530942"/>
                <a:gd name="connsiteX2" fmla="*/ 550606 w 737419"/>
                <a:gd name="connsiteY2" fmla="*/ 530942 h 530942"/>
                <a:gd name="connsiteX3" fmla="*/ 19664 w 737419"/>
                <a:gd name="connsiteY3" fmla="*/ 285135 h 530942"/>
                <a:gd name="connsiteX4" fmla="*/ 0 w 737419"/>
                <a:gd name="connsiteY4" fmla="*/ 0 h 530942"/>
                <a:gd name="connsiteX0" fmla="*/ 0 w 737419"/>
                <a:gd name="connsiteY0" fmla="*/ 0 h 530942"/>
                <a:gd name="connsiteX1" fmla="*/ 737419 w 737419"/>
                <a:gd name="connsiteY1" fmla="*/ 353961 h 530942"/>
                <a:gd name="connsiteX2" fmla="*/ 550606 w 737419"/>
                <a:gd name="connsiteY2" fmla="*/ 530942 h 530942"/>
                <a:gd name="connsiteX3" fmla="*/ 19664 w 737419"/>
                <a:gd name="connsiteY3" fmla="*/ 285135 h 530942"/>
                <a:gd name="connsiteX4" fmla="*/ 0 w 737419"/>
                <a:gd name="connsiteY4" fmla="*/ 0 h 530942"/>
                <a:gd name="connsiteX0" fmla="*/ 0 w 737419"/>
                <a:gd name="connsiteY0" fmla="*/ 0 h 530942"/>
                <a:gd name="connsiteX1" fmla="*/ 737419 w 737419"/>
                <a:gd name="connsiteY1" fmla="*/ 353961 h 530942"/>
                <a:gd name="connsiteX2" fmla="*/ 550606 w 737419"/>
                <a:gd name="connsiteY2" fmla="*/ 530942 h 530942"/>
                <a:gd name="connsiteX3" fmla="*/ 19664 w 737419"/>
                <a:gd name="connsiteY3" fmla="*/ 285135 h 530942"/>
                <a:gd name="connsiteX4" fmla="*/ 0 w 737419"/>
                <a:gd name="connsiteY4" fmla="*/ 0 h 530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419" h="530942">
                  <a:moveTo>
                    <a:pt x="0" y="0"/>
                  </a:moveTo>
                  <a:cubicBezTo>
                    <a:pt x="265471" y="49161"/>
                    <a:pt x="550606" y="137652"/>
                    <a:pt x="737419" y="353961"/>
                  </a:cubicBezTo>
                  <a:lnTo>
                    <a:pt x="550606" y="530942"/>
                  </a:lnTo>
                  <a:cubicBezTo>
                    <a:pt x="393289" y="380180"/>
                    <a:pt x="265471" y="317910"/>
                    <a:pt x="19664" y="285135"/>
                  </a:cubicBezTo>
                  <a:lnTo>
                    <a:pt x="0" y="0"/>
                  </a:lnTo>
                  <a:close/>
                </a:path>
              </a:pathLst>
            </a:custGeom>
            <a:solidFill>
              <a:srgbClr val="29BA74"/>
            </a:solidFill>
            <a:ln w="952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1"/>
            <a:lstStyle/>
            <a:p>
              <a:pPr algn="ctr" defTabSz="1021155"/>
              <a:endParaRPr lang="en-US" sz="800" dirty="0">
                <a:solidFill>
                  <a:srgbClr val="000000"/>
                </a:solidFill>
                <a:cs typeface="Arial" pitchFamily="34" charset="0"/>
              </a:endParaRPr>
            </a:p>
          </p:txBody>
        </p:sp>
        <p:sp>
          <p:nvSpPr>
            <p:cNvPr id="55" name="Freeform 54"/>
            <p:cNvSpPr/>
            <p:nvPr/>
          </p:nvSpPr>
          <p:spPr>
            <a:xfrm>
              <a:off x="7731182" y="5376027"/>
              <a:ext cx="242287" cy="401751"/>
            </a:xfrm>
            <a:custGeom>
              <a:avLst/>
              <a:gdLst>
                <a:gd name="connsiteX0" fmla="*/ 0 w 462116"/>
                <a:gd name="connsiteY0" fmla="*/ 186813 h 737419"/>
                <a:gd name="connsiteX1" fmla="*/ 176981 w 462116"/>
                <a:gd name="connsiteY1" fmla="*/ 0 h 737419"/>
                <a:gd name="connsiteX2" fmla="*/ 462116 w 462116"/>
                <a:gd name="connsiteY2" fmla="*/ 737419 h 737419"/>
                <a:gd name="connsiteX3" fmla="*/ 216310 w 462116"/>
                <a:gd name="connsiteY3" fmla="*/ 737419 h 737419"/>
                <a:gd name="connsiteX4" fmla="*/ 0 w 462116"/>
                <a:gd name="connsiteY4" fmla="*/ 186813 h 737419"/>
                <a:gd name="connsiteX0" fmla="*/ 0 w 462116"/>
                <a:gd name="connsiteY0" fmla="*/ 186813 h 737419"/>
                <a:gd name="connsiteX1" fmla="*/ 176981 w 462116"/>
                <a:gd name="connsiteY1" fmla="*/ 0 h 737419"/>
                <a:gd name="connsiteX2" fmla="*/ 462116 w 462116"/>
                <a:gd name="connsiteY2" fmla="*/ 737419 h 737419"/>
                <a:gd name="connsiteX3" fmla="*/ 216310 w 462116"/>
                <a:gd name="connsiteY3" fmla="*/ 737419 h 737419"/>
                <a:gd name="connsiteX4" fmla="*/ 0 w 462116"/>
                <a:gd name="connsiteY4" fmla="*/ 186813 h 737419"/>
                <a:gd name="connsiteX0" fmla="*/ 0 w 462116"/>
                <a:gd name="connsiteY0" fmla="*/ 186813 h 737419"/>
                <a:gd name="connsiteX1" fmla="*/ 176981 w 462116"/>
                <a:gd name="connsiteY1" fmla="*/ 0 h 737419"/>
                <a:gd name="connsiteX2" fmla="*/ 462116 w 462116"/>
                <a:gd name="connsiteY2" fmla="*/ 737419 h 737419"/>
                <a:gd name="connsiteX3" fmla="*/ 216310 w 462116"/>
                <a:gd name="connsiteY3" fmla="*/ 737419 h 737419"/>
                <a:gd name="connsiteX4" fmla="*/ 0 w 462116"/>
                <a:gd name="connsiteY4" fmla="*/ 186813 h 737419"/>
                <a:gd name="connsiteX0" fmla="*/ 0 w 462116"/>
                <a:gd name="connsiteY0" fmla="*/ 186813 h 737419"/>
                <a:gd name="connsiteX1" fmla="*/ 176981 w 462116"/>
                <a:gd name="connsiteY1" fmla="*/ 0 h 737419"/>
                <a:gd name="connsiteX2" fmla="*/ 462116 w 462116"/>
                <a:gd name="connsiteY2" fmla="*/ 737419 h 737419"/>
                <a:gd name="connsiteX3" fmla="*/ 216310 w 462116"/>
                <a:gd name="connsiteY3" fmla="*/ 737419 h 737419"/>
                <a:gd name="connsiteX4" fmla="*/ 0 w 462116"/>
                <a:gd name="connsiteY4" fmla="*/ 186813 h 737419"/>
                <a:gd name="connsiteX0" fmla="*/ 0 w 462116"/>
                <a:gd name="connsiteY0" fmla="*/ 186813 h 737419"/>
                <a:gd name="connsiteX1" fmla="*/ 176981 w 462116"/>
                <a:gd name="connsiteY1" fmla="*/ 0 h 737419"/>
                <a:gd name="connsiteX2" fmla="*/ 462116 w 462116"/>
                <a:gd name="connsiteY2" fmla="*/ 737419 h 737419"/>
                <a:gd name="connsiteX3" fmla="*/ 216310 w 462116"/>
                <a:gd name="connsiteY3" fmla="*/ 737419 h 737419"/>
                <a:gd name="connsiteX4" fmla="*/ 0 w 462116"/>
                <a:gd name="connsiteY4" fmla="*/ 186813 h 737419"/>
                <a:gd name="connsiteX0" fmla="*/ 0 w 462116"/>
                <a:gd name="connsiteY0" fmla="*/ 186813 h 737419"/>
                <a:gd name="connsiteX1" fmla="*/ 176981 w 462116"/>
                <a:gd name="connsiteY1" fmla="*/ 0 h 737419"/>
                <a:gd name="connsiteX2" fmla="*/ 462116 w 462116"/>
                <a:gd name="connsiteY2" fmla="*/ 737419 h 737419"/>
                <a:gd name="connsiteX3" fmla="*/ 216310 w 462116"/>
                <a:gd name="connsiteY3" fmla="*/ 737419 h 737419"/>
                <a:gd name="connsiteX4" fmla="*/ 0 w 462116"/>
                <a:gd name="connsiteY4" fmla="*/ 186813 h 737419"/>
                <a:gd name="connsiteX0" fmla="*/ 0 w 462116"/>
                <a:gd name="connsiteY0" fmla="*/ 186813 h 737419"/>
                <a:gd name="connsiteX1" fmla="*/ 176981 w 462116"/>
                <a:gd name="connsiteY1" fmla="*/ 0 h 737419"/>
                <a:gd name="connsiteX2" fmla="*/ 462116 w 462116"/>
                <a:gd name="connsiteY2" fmla="*/ 737419 h 737419"/>
                <a:gd name="connsiteX3" fmla="*/ 216310 w 462116"/>
                <a:gd name="connsiteY3" fmla="*/ 737419 h 737419"/>
                <a:gd name="connsiteX4" fmla="*/ 0 w 462116"/>
                <a:gd name="connsiteY4" fmla="*/ 186813 h 737419"/>
                <a:gd name="connsiteX0" fmla="*/ 0 w 462116"/>
                <a:gd name="connsiteY0" fmla="*/ 186813 h 737419"/>
                <a:gd name="connsiteX1" fmla="*/ 176981 w 462116"/>
                <a:gd name="connsiteY1" fmla="*/ 0 h 737419"/>
                <a:gd name="connsiteX2" fmla="*/ 462116 w 462116"/>
                <a:gd name="connsiteY2" fmla="*/ 737419 h 737419"/>
                <a:gd name="connsiteX3" fmla="*/ 216310 w 462116"/>
                <a:gd name="connsiteY3" fmla="*/ 737419 h 737419"/>
                <a:gd name="connsiteX4" fmla="*/ 0 w 462116"/>
                <a:gd name="connsiteY4" fmla="*/ 186813 h 737419"/>
                <a:gd name="connsiteX0" fmla="*/ 0 w 462116"/>
                <a:gd name="connsiteY0" fmla="*/ 186813 h 737419"/>
                <a:gd name="connsiteX1" fmla="*/ 176981 w 462116"/>
                <a:gd name="connsiteY1" fmla="*/ 0 h 737419"/>
                <a:gd name="connsiteX2" fmla="*/ 462116 w 462116"/>
                <a:gd name="connsiteY2" fmla="*/ 737419 h 737419"/>
                <a:gd name="connsiteX3" fmla="*/ 216310 w 462116"/>
                <a:gd name="connsiteY3" fmla="*/ 737419 h 737419"/>
                <a:gd name="connsiteX4" fmla="*/ 0 w 462116"/>
                <a:gd name="connsiteY4" fmla="*/ 186813 h 737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116" h="737419">
                  <a:moveTo>
                    <a:pt x="0" y="186813"/>
                  </a:moveTo>
                  <a:lnTo>
                    <a:pt x="176981" y="0"/>
                  </a:lnTo>
                  <a:cubicBezTo>
                    <a:pt x="340853" y="216309"/>
                    <a:pt x="445730" y="422788"/>
                    <a:pt x="462116" y="737419"/>
                  </a:cubicBezTo>
                  <a:lnTo>
                    <a:pt x="216310" y="737419"/>
                  </a:lnTo>
                  <a:cubicBezTo>
                    <a:pt x="232698" y="553884"/>
                    <a:pt x="121264" y="360515"/>
                    <a:pt x="0" y="186813"/>
                  </a:cubicBezTo>
                  <a:close/>
                </a:path>
              </a:pathLst>
            </a:custGeom>
            <a:solidFill>
              <a:srgbClr val="29BA74"/>
            </a:solidFill>
            <a:ln w="952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1"/>
            <a:lstStyle/>
            <a:p>
              <a:pPr algn="ctr" defTabSz="1021155"/>
              <a:endParaRPr lang="en-US" sz="800" dirty="0">
                <a:solidFill>
                  <a:srgbClr val="000000"/>
                </a:solidFill>
                <a:cs typeface="Arial" pitchFamily="34" charset="0"/>
              </a:endParaRPr>
            </a:p>
          </p:txBody>
        </p:sp>
        <p:sp>
          <p:nvSpPr>
            <p:cNvPr id="56" name="Freeform 55"/>
            <p:cNvSpPr/>
            <p:nvPr/>
          </p:nvSpPr>
          <p:spPr>
            <a:xfrm>
              <a:off x="7720872" y="5815273"/>
              <a:ext cx="262907" cy="412464"/>
            </a:xfrm>
            <a:custGeom>
              <a:avLst/>
              <a:gdLst>
                <a:gd name="connsiteX0" fmla="*/ 0 w 501445"/>
                <a:gd name="connsiteY0" fmla="*/ 560439 h 757084"/>
                <a:gd name="connsiteX1" fmla="*/ 245806 w 501445"/>
                <a:gd name="connsiteY1" fmla="*/ 0 h 757084"/>
                <a:gd name="connsiteX2" fmla="*/ 501445 w 501445"/>
                <a:gd name="connsiteY2" fmla="*/ 29497 h 757084"/>
                <a:gd name="connsiteX3" fmla="*/ 206477 w 501445"/>
                <a:gd name="connsiteY3" fmla="*/ 757084 h 757084"/>
                <a:gd name="connsiteX4" fmla="*/ 0 w 501445"/>
                <a:gd name="connsiteY4" fmla="*/ 560439 h 757084"/>
                <a:gd name="connsiteX0" fmla="*/ 0 w 501445"/>
                <a:gd name="connsiteY0" fmla="*/ 560439 h 757084"/>
                <a:gd name="connsiteX1" fmla="*/ 245806 w 501445"/>
                <a:gd name="connsiteY1" fmla="*/ 0 h 757084"/>
                <a:gd name="connsiteX2" fmla="*/ 501445 w 501445"/>
                <a:gd name="connsiteY2" fmla="*/ 29497 h 757084"/>
                <a:gd name="connsiteX3" fmla="*/ 206477 w 501445"/>
                <a:gd name="connsiteY3" fmla="*/ 757084 h 757084"/>
                <a:gd name="connsiteX4" fmla="*/ 0 w 501445"/>
                <a:gd name="connsiteY4" fmla="*/ 560439 h 757084"/>
                <a:gd name="connsiteX0" fmla="*/ 0 w 501445"/>
                <a:gd name="connsiteY0" fmla="*/ 560439 h 757084"/>
                <a:gd name="connsiteX1" fmla="*/ 245806 w 501445"/>
                <a:gd name="connsiteY1" fmla="*/ 0 h 757084"/>
                <a:gd name="connsiteX2" fmla="*/ 501445 w 501445"/>
                <a:gd name="connsiteY2" fmla="*/ 29497 h 757084"/>
                <a:gd name="connsiteX3" fmla="*/ 206477 w 501445"/>
                <a:gd name="connsiteY3" fmla="*/ 757084 h 757084"/>
                <a:gd name="connsiteX4" fmla="*/ 0 w 501445"/>
                <a:gd name="connsiteY4" fmla="*/ 560439 h 757084"/>
                <a:gd name="connsiteX0" fmla="*/ 0 w 501445"/>
                <a:gd name="connsiteY0" fmla="*/ 560439 h 757084"/>
                <a:gd name="connsiteX1" fmla="*/ 245806 w 501445"/>
                <a:gd name="connsiteY1" fmla="*/ 0 h 757084"/>
                <a:gd name="connsiteX2" fmla="*/ 501445 w 501445"/>
                <a:gd name="connsiteY2" fmla="*/ 29497 h 757084"/>
                <a:gd name="connsiteX3" fmla="*/ 206477 w 501445"/>
                <a:gd name="connsiteY3" fmla="*/ 757084 h 757084"/>
                <a:gd name="connsiteX4" fmla="*/ 0 w 501445"/>
                <a:gd name="connsiteY4" fmla="*/ 560439 h 757084"/>
                <a:gd name="connsiteX0" fmla="*/ 0 w 501445"/>
                <a:gd name="connsiteY0" fmla="*/ 560439 h 757084"/>
                <a:gd name="connsiteX1" fmla="*/ 245806 w 501445"/>
                <a:gd name="connsiteY1" fmla="*/ 0 h 757084"/>
                <a:gd name="connsiteX2" fmla="*/ 501445 w 501445"/>
                <a:gd name="connsiteY2" fmla="*/ 29497 h 757084"/>
                <a:gd name="connsiteX3" fmla="*/ 206477 w 501445"/>
                <a:gd name="connsiteY3" fmla="*/ 757084 h 757084"/>
                <a:gd name="connsiteX4" fmla="*/ 0 w 501445"/>
                <a:gd name="connsiteY4" fmla="*/ 560439 h 757084"/>
                <a:gd name="connsiteX0" fmla="*/ 0 w 501445"/>
                <a:gd name="connsiteY0" fmla="*/ 560439 h 757084"/>
                <a:gd name="connsiteX1" fmla="*/ 245806 w 501445"/>
                <a:gd name="connsiteY1" fmla="*/ 0 h 757084"/>
                <a:gd name="connsiteX2" fmla="*/ 501445 w 501445"/>
                <a:gd name="connsiteY2" fmla="*/ 29497 h 757084"/>
                <a:gd name="connsiteX3" fmla="*/ 206477 w 501445"/>
                <a:gd name="connsiteY3" fmla="*/ 757084 h 757084"/>
                <a:gd name="connsiteX4" fmla="*/ 0 w 501445"/>
                <a:gd name="connsiteY4" fmla="*/ 560439 h 757084"/>
                <a:gd name="connsiteX0" fmla="*/ 0 w 501445"/>
                <a:gd name="connsiteY0" fmla="*/ 560439 h 757084"/>
                <a:gd name="connsiteX1" fmla="*/ 245806 w 501445"/>
                <a:gd name="connsiteY1" fmla="*/ 0 h 757084"/>
                <a:gd name="connsiteX2" fmla="*/ 501445 w 501445"/>
                <a:gd name="connsiteY2" fmla="*/ 29497 h 757084"/>
                <a:gd name="connsiteX3" fmla="*/ 206477 w 501445"/>
                <a:gd name="connsiteY3" fmla="*/ 757084 h 757084"/>
                <a:gd name="connsiteX4" fmla="*/ 0 w 501445"/>
                <a:gd name="connsiteY4" fmla="*/ 560439 h 757084"/>
                <a:gd name="connsiteX0" fmla="*/ 0 w 501445"/>
                <a:gd name="connsiteY0" fmla="*/ 560439 h 757084"/>
                <a:gd name="connsiteX1" fmla="*/ 245806 w 501445"/>
                <a:gd name="connsiteY1" fmla="*/ 0 h 757084"/>
                <a:gd name="connsiteX2" fmla="*/ 501445 w 501445"/>
                <a:gd name="connsiteY2" fmla="*/ 29497 h 757084"/>
                <a:gd name="connsiteX3" fmla="*/ 206477 w 501445"/>
                <a:gd name="connsiteY3" fmla="*/ 757084 h 757084"/>
                <a:gd name="connsiteX4" fmla="*/ 0 w 501445"/>
                <a:gd name="connsiteY4" fmla="*/ 560439 h 757084"/>
                <a:gd name="connsiteX0" fmla="*/ 0 w 501445"/>
                <a:gd name="connsiteY0" fmla="*/ 560439 h 757084"/>
                <a:gd name="connsiteX1" fmla="*/ 245806 w 501445"/>
                <a:gd name="connsiteY1" fmla="*/ 0 h 757084"/>
                <a:gd name="connsiteX2" fmla="*/ 501445 w 501445"/>
                <a:gd name="connsiteY2" fmla="*/ 29497 h 757084"/>
                <a:gd name="connsiteX3" fmla="*/ 206477 w 501445"/>
                <a:gd name="connsiteY3" fmla="*/ 757084 h 757084"/>
                <a:gd name="connsiteX4" fmla="*/ 0 w 501445"/>
                <a:gd name="connsiteY4" fmla="*/ 560439 h 757084"/>
                <a:gd name="connsiteX0" fmla="*/ 0 w 501445"/>
                <a:gd name="connsiteY0" fmla="*/ 560439 h 757084"/>
                <a:gd name="connsiteX1" fmla="*/ 245806 w 501445"/>
                <a:gd name="connsiteY1" fmla="*/ 0 h 757084"/>
                <a:gd name="connsiteX2" fmla="*/ 501445 w 501445"/>
                <a:gd name="connsiteY2" fmla="*/ 29497 h 757084"/>
                <a:gd name="connsiteX3" fmla="*/ 206477 w 501445"/>
                <a:gd name="connsiteY3" fmla="*/ 757084 h 757084"/>
                <a:gd name="connsiteX4" fmla="*/ 0 w 501445"/>
                <a:gd name="connsiteY4" fmla="*/ 560439 h 757084"/>
                <a:gd name="connsiteX0" fmla="*/ 0 w 501445"/>
                <a:gd name="connsiteY0" fmla="*/ 560439 h 757084"/>
                <a:gd name="connsiteX1" fmla="*/ 245806 w 501445"/>
                <a:gd name="connsiteY1" fmla="*/ 0 h 757084"/>
                <a:gd name="connsiteX2" fmla="*/ 501445 w 501445"/>
                <a:gd name="connsiteY2" fmla="*/ 29497 h 757084"/>
                <a:gd name="connsiteX3" fmla="*/ 206477 w 501445"/>
                <a:gd name="connsiteY3" fmla="*/ 757084 h 757084"/>
                <a:gd name="connsiteX4" fmla="*/ 0 w 501445"/>
                <a:gd name="connsiteY4" fmla="*/ 560439 h 757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1445" h="757084">
                  <a:moveTo>
                    <a:pt x="0" y="560439"/>
                  </a:moveTo>
                  <a:cubicBezTo>
                    <a:pt x="131096" y="489166"/>
                    <a:pt x="252362" y="115541"/>
                    <a:pt x="245806" y="0"/>
                  </a:cubicBezTo>
                  <a:lnTo>
                    <a:pt x="501445" y="29497"/>
                  </a:lnTo>
                  <a:cubicBezTo>
                    <a:pt x="481782" y="323680"/>
                    <a:pt x="314632" y="612877"/>
                    <a:pt x="206477" y="757084"/>
                  </a:cubicBezTo>
                  <a:lnTo>
                    <a:pt x="0" y="560439"/>
                  </a:lnTo>
                  <a:close/>
                </a:path>
              </a:pathLst>
            </a:custGeom>
            <a:solidFill>
              <a:srgbClr val="29BA74"/>
            </a:solidFill>
            <a:ln w="952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1"/>
            <a:lstStyle/>
            <a:p>
              <a:pPr algn="ctr" defTabSz="1021155"/>
              <a:endParaRPr lang="en-US" sz="800" dirty="0">
                <a:solidFill>
                  <a:srgbClr val="000000"/>
                </a:solidFill>
                <a:cs typeface="Arial" pitchFamily="34" charset="0"/>
              </a:endParaRPr>
            </a:p>
          </p:txBody>
        </p:sp>
        <p:sp>
          <p:nvSpPr>
            <p:cNvPr id="57" name="Freeform 56"/>
            <p:cNvSpPr/>
            <p:nvPr/>
          </p:nvSpPr>
          <p:spPr>
            <a:xfrm>
              <a:off x="7396104" y="6163455"/>
              <a:ext cx="396937" cy="283904"/>
            </a:xfrm>
            <a:custGeom>
              <a:avLst/>
              <a:gdLst>
                <a:gd name="connsiteX0" fmla="*/ 39329 w 757083"/>
                <a:gd name="connsiteY0" fmla="*/ 226142 h 521109"/>
                <a:gd name="connsiteX1" fmla="*/ 570271 w 757083"/>
                <a:gd name="connsiteY1" fmla="*/ 0 h 521109"/>
                <a:gd name="connsiteX2" fmla="*/ 757083 w 757083"/>
                <a:gd name="connsiteY2" fmla="*/ 196645 h 521109"/>
                <a:gd name="connsiteX3" fmla="*/ 0 w 757083"/>
                <a:gd name="connsiteY3" fmla="*/ 521109 h 521109"/>
                <a:gd name="connsiteX4" fmla="*/ 39329 w 757083"/>
                <a:gd name="connsiteY4" fmla="*/ 226142 h 521109"/>
                <a:gd name="connsiteX0" fmla="*/ 39329 w 757083"/>
                <a:gd name="connsiteY0" fmla="*/ 226142 h 521109"/>
                <a:gd name="connsiteX1" fmla="*/ 570271 w 757083"/>
                <a:gd name="connsiteY1" fmla="*/ 0 h 521109"/>
                <a:gd name="connsiteX2" fmla="*/ 757083 w 757083"/>
                <a:gd name="connsiteY2" fmla="*/ 196645 h 521109"/>
                <a:gd name="connsiteX3" fmla="*/ 0 w 757083"/>
                <a:gd name="connsiteY3" fmla="*/ 521109 h 521109"/>
                <a:gd name="connsiteX4" fmla="*/ 39329 w 757083"/>
                <a:gd name="connsiteY4" fmla="*/ 226142 h 521109"/>
                <a:gd name="connsiteX0" fmla="*/ 39329 w 757083"/>
                <a:gd name="connsiteY0" fmla="*/ 226142 h 521109"/>
                <a:gd name="connsiteX1" fmla="*/ 570271 w 757083"/>
                <a:gd name="connsiteY1" fmla="*/ 0 h 521109"/>
                <a:gd name="connsiteX2" fmla="*/ 757083 w 757083"/>
                <a:gd name="connsiteY2" fmla="*/ 196645 h 521109"/>
                <a:gd name="connsiteX3" fmla="*/ 0 w 757083"/>
                <a:gd name="connsiteY3" fmla="*/ 521109 h 521109"/>
                <a:gd name="connsiteX4" fmla="*/ 39329 w 757083"/>
                <a:gd name="connsiteY4" fmla="*/ 226142 h 521109"/>
                <a:gd name="connsiteX0" fmla="*/ 39329 w 757083"/>
                <a:gd name="connsiteY0" fmla="*/ 226142 h 521109"/>
                <a:gd name="connsiteX1" fmla="*/ 570271 w 757083"/>
                <a:gd name="connsiteY1" fmla="*/ 0 h 521109"/>
                <a:gd name="connsiteX2" fmla="*/ 757083 w 757083"/>
                <a:gd name="connsiteY2" fmla="*/ 196645 h 521109"/>
                <a:gd name="connsiteX3" fmla="*/ 0 w 757083"/>
                <a:gd name="connsiteY3" fmla="*/ 521109 h 521109"/>
                <a:gd name="connsiteX4" fmla="*/ 39329 w 757083"/>
                <a:gd name="connsiteY4" fmla="*/ 226142 h 521109"/>
                <a:gd name="connsiteX0" fmla="*/ 39329 w 757083"/>
                <a:gd name="connsiteY0" fmla="*/ 226142 h 521109"/>
                <a:gd name="connsiteX1" fmla="*/ 570271 w 757083"/>
                <a:gd name="connsiteY1" fmla="*/ 0 h 521109"/>
                <a:gd name="connsiteX2" fmla="*/ 757083 w 757083"/>
                <a:gd name="connsiteY2" fmla="*/ 196645 h 521109"/>
                <a:gd name="connsiteX3" fmla="*/ 0 w 757083"/>
                <a:gd name="connsiteY3" fmla="*/ 521109 h 521109"/>
                <a:gd name="connsiteX4" fmla="*/ 39329 w 757083"/>
                <a:gd name="connsiteY4" fmla="*/ 226142 h 521109"/>
                <a:gd name="connsiteX0" fmla="*/ 39329 w 757083"/>
                <a:gd name="connsiteY0" fmla="*/ 226142 h 521109"/>
                <a:gd name="connsiteX1" fmla="*/ 570271 w 757083"/>
                <a:gd name="connsiteY1" fmla="*/ 0 h 521109"/>
                <a:gd name="connsiteX2" fmla="*/ 757083 w 757083"/>
                <a:gd name="connsiteY2" fmla="*/ 196645 h 521109"/>
                <a:gd name="connsiteX3" fmla="*/ 0 w 757083"/>
                <a:gd name="connsiteY3" fmla="*/ 521109 h 521109"/>
                <a:gd name="connsiteX4" fmla="*/ 39329 w 757083"/>
                <a:gd name="connsiteY4" fmla="*/ 226142 h 5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083" h="521109">
                  <a:moveTo>
                    <a:pt x="39329" y="226142"/>
                  </a:moveTo>
                  <a:cubicBezTo>
                    <a:pt x="245806" y="219587"/>
                    <a:pt x="422786" y="134374"/>
                    <a:pt x="570271" y="0"/>
                  </a:cubicBezTo>
                  <a:lnTo>
                    <a:pt x="757083" y="196645"/>
                  </a:lnTo>
                  <a:cubicBezTo>
                    <a:pt x="553884" y="353962"/>
                    <a:pt x="390013" y="452283"/>
                    <a:pt x="0" y="521109"/>
                  </a:cubicBezTo>
                  <a:lnTo>
                    <a:pt x="39329" y="226142"/>
                  </a:lnTo>
                  <a:close/>
                </a:path>
              </a:pathLst>
            </a:custGeom>
            <a:solidFill>
              <a:srgbClr val="29BA74"/>
            </a:solidFill>
            <a:ln w="952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1"/>
            <a:lstStyle/>
            <a:p>
              <a:pPr algn="ctr" defTabSz="1021155"/>
              <a:endParaRPr lang="en-US" sz="800" dirty="0">
                <a:solidFill>
                  <a:srgbClr val="000000"/>
                </a:solidFill>
                <a:cs typeface="Arial" pitchFamily="34" charset="0"/>
              </a:endParaRPr>
            </a:p>
          </p:txBody>
        </p:sp>
        <p:sp>
          <p:nvSpPr>
            <p:cNvPr id="58" name="Right Arrow 57"/>
            <p:cNvSpPr/>
            <p:nvPr/>
          </p:nvSpPr>
          <p:spPr>
            <a:xfrm>
              <a:off x="7852727" y="6222380"/>
              <a:ext cx="416581" cy="262476"/>
            </a:xfrm>
            <a:prstGeom prst="rightArrow">
              <a:avLst/>
            </a:prstGeom>
            <a:solidFill>
              <a:srgbClr val="29BA74"/>
            </a:solidFill>
            <a:ln w="952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1"/>
            <a:lstStyle/>
            <a:p>
              <a:pPr algn="ctr" defTabSz="1021155"/>
              <a:endParaRPr lang="en-US" sz="800" dirty="0">
                <a:solidFill>
                  <a:srgbClr val="000000"/>
                </a:solidFill>
                <a:cs typeface="Arial" pitchFamily="34" charset="0"/>
              </a:endParaRPr>
            </a:p>
          </p:txBody>
        </p:sp>
        <p:sp>
          <p:nvSpPr>
            <p:cNvPr id="59" name="Right Arrow 58"/>
            <p:cNvSpPr/>
            <p:nvPr/>
          </p:nvSpPr>
          <p:spPr>
            <a:xfrm>
              <a:off x="6425334" y="6222377"/>
              <a:ext cx="444229" cy="264709"/>
            </a:xfrm>
            <a:prstGeom prst="rightArrow">
              <a:avLst/>
            </a:prstGeom>
            <a:solidFill>
              <a:srgbClr val="29BA74"/>
            </a:solidFill>
            <a:ln w="952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1"/>
            <a:lstStyle/>
            <a:p>
              <a:pPr algn="ctr" defTabSz="1021155"/>
              <a:endParaRPr lang="en-US" sz="800" dirty="0">
                <a:solidFill>
                  <a:srgbClr val="000000"/>
                </a:solidFill>
                <a:cs typeface="Arial" pitchFamily="34" charset="0"/>
              </a:endParaRPr>
            </a:p>
          </p:txBody>
        </p:sp>
        <p:sp>
          <p:nvSpPr>
            <p:cNvPr id="60" name="Right Arrow 59"/>
            <p:cNvSpPr/>
            <p:nvPr/>
          </p:nvSpPr>
          <p:spPr>
            <a:xfrm>
              <a:off x="6929249" y="6222377"/>
              <a:ext cx="444229" cy="264709"/>
            </a:xfrm>
            <a:prstGeom prst="rightArrow">
              <a:avLst/>
            </a:prstGeom>
            <a:solidFill>
              <a:srgbClr val="29BA74"/>
            </a:solidFill>
            <a:ln w="9525" cap="flat"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1"/>
            <a:lstStyle/>
            <a:p>
              <a:pPr algn="ctr" defTabSz="1021155"/>
              <a:endParaRPr lang="en-US" sz="800" dirty="0">
                <a:solidFill>
                  <a:srgbClr val="000000"/>
                </a:solidFill>
                <a:cs typeface="Arial" pitchFamily="34" charset="0"/>
              </a:endParaRPr>
            </a:p>
          </p:txBody>
        </p:sp>
      </p:grpSp>
      <p:grpSp>
        <p:nvGrpSpPr>
          <p:cNvPr id="61" name="bcgIcons_Handshake">
            <a:extLst>
              <a:ext uri="{FF2B5EF4-FFF2-40B4-BE49-F238E27FC236}">
                <a16:creationId xmlns:a16="http://schemas.microsoft.com/office/drawing/2014/main" id="{D893BADC-A732-41E8-8249-D660E2FAAB73}"/>
              </a:ext>
            </a:extLst>
          </p:cNvPr>
          <p:cNvGrpSpPr>
            <a:grpSpLocks noChangeAspect="1"/>
          </p:cNvGrpSpPr>
          <p:nvPr/>
        </p:nvGrpSpPr>
        <p:grpSpPr bwMode="auto">
          <a:xfrm>
            <a:off x="9942398" y="2226092"/>
            <a:ext cx="1197962" cy="1199072"/>
            <a:chOff x="1682" y="0"/>
            <a:chExt cx="4316" cy="4320"/>
          </a:xfrm>
        </p:grpSpPr>
        <p:sp>
          <p:nvSpPr>
            <p:cNvPr id="62" name="AutoShape 3">
              <a:extLst>
                <a:ext uri="{FF2B5EF4-FFF2-40B4-BE49-F238E27FC236}">
                  <a16:creationId xmlns:a16="http://schemas.microsoft.com/office/drawing/2014/main" id="{FDA3489F-1C07-4F67-9645-357FDA317B2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5">
              <a:extLst>
                <a:ext uri="{FF2B5EF4-FFF2-40B4-BE49-F238E27FC236}">
                  <a16:creationId xmlns:a16="http://schemas.microsoft.com/office/drawing/2014/main" id="{635C37A3-4872-4D68-B937-AF240485678A}"/>
                </a:ext>
              </a:extLst>
            </p:cNvPr>
            <p:cNvSpPr>
              <a:spLocks noEditPoints="1"/>
            </p:cNvSpPr>
            <p:nvPr/>
          </p:nvSpPr>
          <p:spPr bwMode="auto">
            <a:xfrm>
              <a:off x="2699" y="763"/>
              <a:ext cx="2730" cy="2428"/>
            </a:xfrm>
            <a:custGeom>
              <a:avLst/>
              <a:gdLst>
                <a:gd name="T0" fmla="*/ 182 w 1457"/>
                <a:gd name="T1" fmla="*/ 441 h 1295"/>
                <a:gd name="T2" fmla="*/ 163 w 1457"/>
                <a:gd name="T3" fmla="*/ 326 h 1295"/>
                <a:gd name="T4" fmla="*/ 724 w 1457"/>
                <a:gd name="T5" fmla="*/ 120 h 1295"/>
                <a:gd name="T6" fmla="*/ 1145 w 1457"/>
                <a:gd name="T7" fmla="*/ 295 h 1295"/>
                <a:gd name="T8" fmla="*/ 1419 w 1457"/>
                <a:gd name="T9" fmla="*/ 153 h 1295"/>
                <a:gd name="T10" fmla="*/ 1457 w 1457"/>
                <a:gd name="T11" fmla="*/ 172 h 1295"/>
                <a:gd name="T12" fmla="*/ 1457 w 1457"/>
                <a:gd name="T13" fmla="*/ 660 h 1295"/>
                <a:gd name="T14" fmla="*/ 1449 w 1457"/>
                <a:gd name="T15" fmla="*/ 672 h 1295"/>
                <a:gd name="T16" fmla="*/ 1275 w 1457"/>
                <a:gd name="T17" fmla="*/ 716 h 1295"/>
                <a:gd name="T18" fmla="*/ 1263 w 1457"/>
                <a:gd name="T19" fmla="*/ 715 h 1295"/>
                <a:gd name="T20" fmla="*/ 668 w 1457"/>
                <a:gd name="T21" fmla="*/ 358 h 1295"/>
                <a:gd name="T22" fmla="*/ 462 w 1457"/>
                <a:gd name="T23" fmla="*/ 341 h 1295"/>
                <a:gd name="T24" fmla="*/ 421 w 1457"/>
                <a:gd name="T25" fmla="*/ 361 h 1295"/>
                <a:gd name="T26" fmla="*/ 182 w 1457"/>
                <a:gd name="T27" fmla="*/ 441 h 1295"/>
                <a:gd name="T28" fmla="*/ 592 w 1457"/>
                <a:gd name="T29" fmla="*/ 1039 h 1295"/>
                <a:gd name="T30" fmla="*/ 528 w 1457"/>
                <a:gd name="T31" fmla="*/ 1079 h 1295"/>
                <a:gd name="T32" fmla="*/ 472 w 1457"/>
                <a:gd name="T33" fmla="*/ 1191 h 1295"/>
                <a:gd name="T34" fmla="*/ 505 w 1457"/>
                <a:gd name="T35" fmla="*/ 1287 h 1295"/>
                <a:gd name="T36" fmla="*/ 505 w 1457"/>
                <a:gd name="T37" fmla="*/ 1287 h 1295"/>
                <a:gd name="T38" fmla="*/ 536 w 1457"/>
                <a:gd name="T39" fmla="*/ 1295 h 1295"/>
                <a:gd name="T40" fmla="*/ 601 w 1457"/>
                <a:gd name="T41" fmla="*/ 1255 h 1295"/>
                <a:gd name="T42" fmla="*/ 657 w 1457"/>
                <a:gd name="T43" fmla="*/ 1143 h 1295"/>
                <a:gd name="T44" fmla="*/ 624 w 1457"/>
                <a:gd name="T45" fmla="*/ 1046 h 1295"/>
                <a:gd name="T46" fmla="*/ 592 w 1457"/>
                <a:gd name="T47" fmla="*/ 1039 h 1295"/>
                <a:gd name="T48" fmla="*/ 462 w 1457"/>
                <a:gd name="T49" fmla="*/ 901 h 1295"/>
                <a:gd name="T50" fmla="*/ 397 w 1457"/>
                <a:gd name="T51" fmla="*/ 941 h 1295"/>
                <a:gd name="T52" fmla="*/ 307 w 1457"/>
                <a:gd name="T53" fmla="*/ 1123 h 1295"/>
                <a:gd name="T54" fmla="*/ 339 w 1457"/>
                <a:gd name="T55" fmla="*/ 1219 h 1295"/>
                <a:gd name="T56" fmla="*/ 339 w 1457"/>
                <a:gd name="T57" fmla="*/ 1219 h 1295"/>
                <a:gd name="T58" fmla="*/ 371 w 1457"/>
                <a:gd name="T59" fmla="*/ 1227 h 1295"/>
                <a:gd name="T60" fmla="*/ 435 w 1457"/>
                <a:gd name="T61" fmla="*/ 1187 h 1295"/>
                <a:gd name="T62" fmla="*/ 526 w 1457"/>
                <a:gd name="T63" fmla="*/ 1005 h 1295"/>
                <a:gd name="T64" fmla="*/ 493 w 1457"/>
                <a:gd name="T65" fmla="*/ 909 h 1295"/>
                <a:gd name="T66" fmla="*/ 493 w 1457"/>
                <a:gd name="T67" fmla="*/ 909 h 1295"/>
                <a:gd name="T68" fmla="*/ 462 w 1457"/>
                <a:gd name="T69" fmla="*/ 901 h 1295"/>
                <a:gd name="T70" fmla="*/ 298 w 1457"/>
                <a:gd name="T71" fmla="*/ 829 h 1295"/>
                <a:gd name="T72" fmla="*/ 233 w 1457"/>
                <a:gd name="T73" fmla="*/ 869 h 1295"/>
                <a:gd name="T74" fmla="*/ 150 w 1457"/>
                <a:gd name="T75" fmla="*/ 1036 h 1295"/>
                <a:gd name="T76" fmla="*/ 183 w 1457"/>
                <a:gd name="T77" fmla="*/ 1132 h 1295"/>
                <a:gd name="T78" fmla="*/ 215 w 1457"/>
                <a:gd name="T79" fmla="*/ 1140 h 1295"/>
                <a:gd name="T80" fmla="*/ 279 w 1457"/>
                <a:gd name="T81" fmla="*/ 1100 h 1295"/>
                <a:gd name="T82" fmla="*/ 362 w 1457"/>
                <a:gd name="T83" fmla="*/ 933 h 1295"/>
                <a:gd name="T84" fmla="*/ 330 w 1457"/>
                <a:gd name="T85" fmla="*/ 837 h 1295"/>
                <a:gd name="T86" fmla="*/ 330 w 1457"/>
                <a:gd name="T87" fmla="*/ 837 h 1295"/>
                <a:gd name="T88" fmla="*/ 298 w 1457"/>
                <a:gd name="T89" fmla="*/ 829 h 1295"/>
                <a:gd name="T90" fmla="*/ 131 w 1457"/>
                <a:gd name="T91" fmla="*/ 762 h 1295"/>
                <a:gd name="T92" fmla="*/ 66 w 1457"/>
                <a:gd name="T93" fmla="*/ 802 h 1295"/>
                <a:gd name="T94" fmla="*/ 18 w 1457"/>
                <a:gd name="T95" fmla="*/ 900 h 1295"/>
                <a:gd name="T96" fmla="*/ 50 w 1457"/>
                <a:gd name="T97" fmla="*/ 996 h 1295"/>
                <a:gd name="T98" fmla="*/ 82 w 1457"/>
                <a:gd name="T99" fmla="*/ 1004 h 1295"/>
                <a:gd name="T100" fmla="*/ 146 w 1457"/>
                <a:gd name="T101" fmla="*/ 964 h 1295"/>
                <a:gd name="T102" fmla="*/ 195 w 1457"/>
                <a:gd name="T103" fmla="*/ 866 h 1295"/>
                <a:gd name="T104" fmla="*/ 162 w 1457"/>
                <a:gd name="T105" fmla="*/ 770 h 1295"/>
                <a:gd name="T106" fmla="*/ 131 w 1457"/>
                <a:gd name="T107" fmla="*/ 762 h 1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57" h="1295">
                  <a:moveTo>
                    <a:pt x="182" y="441"/>
                  </a:moveTo>
                  <a:cubicBezTo>
                    <a:pt x="138" y="419"/>
                    <a:pt x="128" y="361"/>
                    <a:pt x="163" y="326"/>
                  </a:cubicBezTo>
                  <a:cubicBezTo>
                    <a:pt x="484" y="0"/>
                    <a:pt x="654" y="98"/>
                    <a:pt x="724" y="120"/>
                  </a:cubicBezTo>
                  <a:cubicBezTo>
                    <a:pt x="823" y="149"/>
                    <a:pt x="1071" y="278"/>
                    <a:pt x="1145" y="295"/>
                  </a:cubicBezTo>
                  <a:cubicBezTo>
                    <a:pt x="1199" y="308"/>
                    <a:pt x="1348" y="206"/>
                    <a:pt x="1419" y="153"/>
                  </a:cubicBezTo>
                  <a:cubicBezTo>
                    <a:pt x="1435" y="142"/>
                    <a:pt x="1457" y="153"/>
                    <a:pt x="1457" y="172"/>
                  </a:cubicBezTo>
                  <a:cubicBezTo>
                    <a:pt x="1457" y="172"/>
                    <a:pt x="1457" y="172"/>
                    <a:pt x="1457" y="660"/>
                  </a:cubicBezTo>
                  <a:cubicBezTo>
                    <a:pt x="1457" y="666"/>
                    <a:pt x="1454" y="670"/>
                    <a:pt x="1449" y="672"/>
                  </a:cubicBezTo>
                  <a:cubicBezTo>
                    <a:pt x="1449" y="672"/>
                    <a:pt x="1449" y="672"/>
                    <a:pt x="1275" y="716"/>
                  </a:cubicBezTo>
                  <a:cubicBezTo>
                    <a:pt x="1271" y="718"/>
                    <a:pt x="1266" y="717"/>
                    <a:pt x="1263" y="715"/>
                  </a:cubicBezTo>
                  <a:cubicBezTo>
                    <a:pt x="1207" y="679"/>
                    <a:pt x="737" y="382"/>
                    <a:pt x="668" y="358"/>
                  </a:cubicBezTo>
                  <a:cubicBezTo>
                    <a:pt x="614" y="338"/>
                    <a:pt x="510" y="340"/>
                    <a:pt x="462" y="341"/>
                  </a:cubicBezTo>
                  <a:cubicBezTo>
                    <a:pt x="446" y="342"/>
                    <a:pt x="431" y="349"/>
                    <a:pt x="421" y="361"/>
                  </a:cubicBezTo>
                  <a:cubicBezTo>
                    <a:pt x="320" y="472"/>
                    <a:pt x="237" y="468"/>
                    <a:pt x="182" y="441"/>
                  </a:cubicBezTo>
                  <a:close/>
                  <a:moveTo>
                    <a:pt x="592" y="1039"/>
                  </a:moveTo>
                  <a:cubicBezTo>
                    <a:pt x="566" y="1039"/>
                    <a:pt x="541" y="1054"/>
                    <a:pt x="528" y="1079"/>
                  </a:cubicBezTo>
                  <a:cubicBezTo>
                    <a:pt x="472" y="1191"/>
                    <a:pt x="472" y="1191"/>
                    <a:pt x="472" y="1191"/>
                  </a:cubicBezTo>
                  <a:cubicBezTo>
                    <a:pt x="455" y="1227"/>
                    <a:pt x="469" y="1270"/>
                    <a:pt x="505" y="1287"/>
                  </a:cubicBezTo>
                  <a:cubicBezTo>
                    <a:pt x="505" y="1287"/>
                    <a:pt x="505" y="1287"/>
                    <a:pt x="505" y="1287"/>
                  </a:cubicBezTo>
                  <a:cubicBezTo>
                    <a:pt x="515" y="1292"/>
                    <a:pt x="526" y="1295"/>
                    <a:pt x="536" y="1295"/>
                  </a:cubicBezTo>
                  <a:cubicBezTo>
                    <a:pt x="563" y="1295"/>
                    <a:pt x="588" y="1280"/>
                    <a:pt x="601" y="1255"/>
                  </a:cubicBezTo>
                  <a:cubicBezTo>
                    <a:pt x="657" y="1143"/>
                    <a:pt x="657" y="1143"/>
                    <a:pt x="657" y="1143"/>
                  </a:cubicBezTo>
                  <a:cubicBezTo>
                    <a:pt x="674" y="1107"/>
                    <a:pt x="660" y="1064"/>
                    <a:pt x="624" y="1046"/>
                  </a:cubicBezTo>
                  <a:cubicBezTo>
                    <a:pt x="614" y="1041"/>
                    <a:pt x="603" y="1039"/>
                    <a:pt x="592" y="1039"/>
                  </a:cubicBezTo>
                  <a:moveTo>
                    <a:pt x="462" y="901"/>
                  </a:moveTo>
                  <a:cubicBezTo>
                    <a:pt x="435" y="901"/>
                    <a:pt x="410" y="916"/>
                    <a:pt x="397" y="941"/>
                  </a:cubicBezTo>
                  <a:cubicBezTo>
                    <a:pt x="307" y="1123"/>
                    <a:pt x="307" y="1123"/>
                    <a:pt x="307" y="1123"/>
                  </a:cubicBezTo>
                  <a:cubicBezTo>
                    <a:pt x="289" y="1159"/>
                    <a:pt x="304" y="1202"/>
                    <a:pt x="339" y="1219"/>
                  </a:cubicBezTo>
                  <a:cubicBezTo>
                    <a:pt x="339" y="1219"/>
                    <a:pt x="339" y="1219"/>
                    <a:pt x="339" y="1219"/>
                  </a:cubicBezTo>
                  <a:cubicBezTo>
                    <a:pt x="350" y="1224"/>
                    <a:pt x="360" y="1227"/>
                    <a:pt x="371" y="1227"/>
                  </a:cubicBezTo>
                  <a:cubicBezTo>
                    <a:pt x="397" y="1227"/>
                    <a:pt x="423" y="1212"/>
                    <a:pt x="435" y="1187"/>
                  </a:cubicBezTo>
                  <a:cubicBezTo>
                    <a:pt x="526" y="1005"/>
                    <a:pt x="526" y="1005"/>
                    <a:pt x="526" y="1005"/>
                  </a:cubicBezTo>
                  <a:cubicBezTo>
                    <a:pt x="543" y="970"/>
                    <a:pt x="529" y="927"/>
                    <a:pt x="493" y="909"/>
                  </a:cubicBezTo>
                  <a:cubicBezTo>
                    <a:pt x="493" y="909"/>
                    <a:pt x="493" y="909"/>
                    <a:pt x="493" y="909"/>
                  </a:cubicBezTo>
                  <a:cubicBezTo>
                    <a:pt x="483" y="904"/>
                    <a:pt x="472" y="901"/>
                    <a:pt x="462" y="901"/>
                  </a:cubicBezTo>
                  <a:moveTo>
                    <a:pt x="298" y="829"/>
                  </a:moveTo>
                  <a:cubicBezTo>
                    <a:pt x="271" y="829"/>
                    <a:pt x="246" y="844"/>
                    <a:pt x="233" y="869"/>
                  </a:cubicBezTo>
                  <a:cubicBezTo>
                    <a:pt x="150" y="1036"/>
                    <a:pt x="150" y="1036"/>
                    <a:pt x="150" y="1036"/>
                  </a:cubicBezTo>
                  <a:cubicBezTo>
                    <a:pt x="133" y="1072"/>
                    <a:pt x="147" y="1115"/>
                    <a:pt x="183" y="1132"/>
                  </a:cubicBezTo>
                  <a:cubicBezTo>
                    <a:pt x="193" y="1138"/>
                    <a:pt x="204" y="1140"/>
                    <a:pt x="215" y="1140"/>
                  </a:cubicBezTo>
                  <a:cubicBezTo>
                    <a:pt x="241" y="1140"/>
                    <a:pt x="266" y="1125"/>
                    <a:pt x="279" y="1100"/>
                  </a:cubicBezTo>
                  <a:cubicBezTo>
                    <a:pt x="362" y="933"/>
                    <a:pt x="362" y="933"/>
                    <a:pt x="362" y="933"/>
                  </a:cubicBezTo>
                  <a:cubicBezTo>
                    <a:pt x="379" y="898"/>
                    <a:pt x="365" y="855"/>
                    <a:pt x="330" y="837"/>
                  </a:cubicBezTo>
                  <a:cubicBezTo>
                    <a:pt x="330" y="837"/>
                    <a:pt x="330" y="837"/>
                    <a:pt x="330" y="837"/>
                  </a:cubicBezTo>
                  <a:cubicBezTo>
                    <a:pt x="319" y="832"/>
                    <a:pt x="308" y="829"/>
                    <a:pt x="298" y="829"/>
                  </a:cubicBezTo>
                  <a:moveTo>
                    <a:pt x="131" y="762"/>
                  </a:moveTo>
                  <a:cubicBezTo>
                    <a:pt x="104" y="762"/>
                    <a:pt x="79" y="777"/>
                    <a:pt x="66" y="802"/>
                  </a:cubicBezTo>
                  <a:cubicBezTo>
                    <a:pt x="18" y="900"/>
                    <a:pt x="18" y="900"/>
                    <a:pt x="18" y="900"/>
                  </a:cubicBezTo>
                  <a:cubicBezTo>
                    <a:pt x="0" y="936"/>
                    <a:pt x="14" y="979"/>
                    <a:pt x="50" y="996"/>
                  </a:cubicBezTo>
                  <a:cubicBezTo>
                    <a:pt x="60" y="1002"/>
                    <a:pt x="71" y="1004"/>
                    <a:pt x="82" y="1004"/>
                  </a:cubicBezTo>
                  <a:cubicBezTo>
                    <a:pt x="108" y="1004"/>
                    <a:pt x="133" y="989"/>
                    <a:pt x="146" y="964"/>
                  </a:cubicBezTo>
                  <a:cubicBezTo>
                    <a:pt x="195" y="866"/>
                    <a:pt x="195" y="866"/>
                    <a:pt x="195" y="866"/>
                  </a:cubicBezTo>
                  <a:cubicBezTo>
                    <a:pt x="212" y="830"/>
                    <a:pt x="198" y="787"/>
                    <a:pt x="162" y="770"/>
                  </a:cubicBezTo>
                  <a:cubicBezTo>
                    <a:pt x="152" y="765"/>
                    <a:pt x="141" y="762"/>
                    <a:pt x="131" y="76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6">
              <a:extLst>
                <a:ext uri="{FF2B5EF4-FFF2-40B4-BE49-F238E27FC236}">
                  <a16:creationId xmlns:a16="http://schemas.microsoft.com/office/drawing/2014/main" id="{23479137-BE96-4407-88BC-DAA4B923DFDD}"/>
                </a:ext>
              </a:extLst>
            </p:cNvPr>
            <p:cNvSpPr>
              <a:spLocks noEditPoints="1"/>
            </p:cNvSpPr>
            <p:nvPr/>
          </p:nvSpPr>
          <p:spPr bwMode="auto">
            <a:xfrm>
              <a:off x="2251" y="921"/>
              <a:ext cx="3007" cy="2422"/>
            </a:xfrm>
            <a:custGeom>
              <a:avLst/>
              <a:gdLst>
                <a:gd name="T0" fmla="*/ 262 w 1605"/>
                <a:gd name="T1" fmla="*/ 725 h 1292"/>
                <a:gd name="T2" fmla="*/ 15 w 1605"/>
                <a:gd name="T3" fmla="*/ 587 h 1292"/>
                <a:gd name="T4" fmla="*/ 0 w 1605"/>
                <a:gd name="T5" fmla="*/ 37 h 1292"/>
                <a:gd name="T6" fmla="*/ 36 w 1605"/>
                <a:gd name="T7" fmla="*/ 0 h 1292"/>
                <a:gd name="T8" fmla="*/ 155 w 1605"/>
                <a:gd name="T9" fmla="*/ 96 h 1292"/>
                <a:gd name="T10" fmla="*/ 324 w 1605"/>
                <a:gd name="T11" fmla="*/ 190 h 1292"/>
                <a:gd name="T12" fmla="*/ 364 w 1605"/>
                <a:gd name="T13" fmla="*/ 178 h 1292"/>
                <a:gd name="T14" fmla="*/ 366 w 1605"/>
                <a:gd name="T15" fmla="*/ 207 h 1292"/>
                <a:gd name="T16" fmla="*/ 324 w 1605"/>
                <a:gd name="T17" fmla="*/ 226 h 1292"/>
                <a:gd name="T18" fmla="*/ 36 w 1605"/>
                <a:gd name="T19" fmla="*/ 36 h 1292"/>
                <a:gd name="T20" fmla="*/ 1538 w 1605"/>
                <a:gd name="T21" fmla="*/ 719 h 1292"/>
                <a:gd name="T22" fmla="*/ 785 w 1605"/>
                <a:gd name="T23" fmla="*/ 307 h 1292"/>
                <a:gd name="T24" fmla="*/ 1544 w 1605"/>
                <a:gd name="T25" fmla="*/ 848 h 1292"/>
                <a:gd name="T26" fmla="*/ 1482 w 1605"/>
                <a:gd name="T27" fmla="*/ 883 h 1292"/>
                <a:gd name="T28" fmla="*/ 1236 w 1605"/>
                <a:gd name="T29" fmla="*/ 747 h 1292"/>
                <a:gd name="T30" fmla="*/ 1210 w 1605"/>
                <a:gd name="T31" fmla="*/ 752 h 1292"/>
                <a:gd name="T32" fmla="*/ 1380 w 1605"/>
                <a:gd name="T33" fmla="*/ 881 h 1292"/>
                <a:gd name="T34" fmla="*/ 1345 w 1605"/>
                <a:gd name="T35" fmla="*/ 1015 h 1292"/>
                <a:gd name="T36" fmla="*/ 1123 w 1605"/>
                <a:gd name="T37" fmla="*/ 893 h 1292"/>
                <a:gd name="T38" fmla="*/ 1098 w 1605"/>
                <a:gd name="T39" fmla="*/ 898 h 1292"/>
                <a:gd name="T40" fmla="*/ 1229 w 1605"/>
                <a:gd name="T41" fmla="*/ 1002 h 1292"/>
                <a:gd name="T42" fmla="*/ 1253 w 1605"/>
                <a:gd name="T43" fmla="*/ 1100 h 1292"/>
                <a:gd name="T44" fmla="*/ 1155 w 1605"/>
                <a:gd name="T45" fmla="*/ 1124 h 1292"/>
                <a:gd name="T46" fmla="*/ 986 w 1605"/>
                <a:gd name="T47" fmla="*/ 1044 h 1292"/>
                <a:gd name="T48" fmla="*/ 992 w 1605"/>
                <a:gd name="T49" fmla="*/ 1075 h 1292"/>
                <a:gd name="T50" fmla="*/ 1097 w 1605"/>
                <a:gd name="T51" fmla="*/ 1222 h 1292"/>
                <a:gd name="T52" fmla="*/ 998 w 1605"/>
                <a:gd name="T53" fmla="*/ 1246 h 1292"/>
                <a:gd name="T54" fmla="*/ 862 w 1605"/>
                <a:gd name="T55" fmla="*/ 1206 h 1292"/>
                <a:gd name="T56" fmla="*/ 1035 w 1605"/>
                <a:gd name="T57" fmla="*/ 1292 h 1292"/>
                <a:gd name="T58" fmla="*/ 1139 w 1605"/>
                <a:gd name="T59" fmla="*/ 1157 h 1292"/>
                <a:gd name="T60" fmla="*/ 1284 w 1605"/>
                <a:gd name="T61" fmla="*/ 1119 h 1292"/>
                <a:gd name="T62" fmla="*/ 1345 w 1605"/>
                <a:gd name="T63" fmla="*/ 1051 h 1292"/>
                <a:gd name="T64" fmla="*/ 1450 w 1605"/>
                <a:gd name="T65" fmla="*/ 917 h 1292"/>
                <a:gd name="T66" fmla="*/ 1482 w 1605"/>
                <a:gd name="T67" fmla="*/ 919 h 1292"/>
                <a:gd name="T68" fmla="*/ 1538 w 1605"/>
                <a:gd name="T69" fmla="*/ 719 h 1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5" h="1292">
                  <a:moveTo>
                    <a:pt x="36" y="558"/>
                  </a:moveTo>
                  <a:cubicBezTo>
                    <a:pt x="262" y="725"/>
                    <a:pt x="262" y="725"/>
                    <a:pt x="262" y="725"/>
                  </a:cubicBezTo>
                  <a:cubicBezTo>
                    <a:pt x="246" y="757"/>
                    <a:pt x="246" y="757"/>
                    <a:pt x="246" y="757"/>
                  </a:cubicBezTo>
                  <a:cubicBezTo>
                    <a:pt x="15" y="587"/>
                    <a:pt x="15" y="587"/>
                    <a:pt x="15" y="587"/>
                  </a:cubicBezTo>
                  <a:cubicBezTo>
                    <a:pt x="6" y="580"/>
                    <a:pt x="0" y="569"/>
                    <a:pt x="0" y="558"/>
                  </a:cubicBezTo>
                  <a:cubicBezTo>
                    <a:pt x="0" y="37"/>
                    <a:pt x="0" y="37"/>
                    <a:pt x="0" y="37"/>
                  </a:cubicBezTo>
                  <a:cubicBezTo>
                    <a:pt x="0" y="24"/>
                    <a:pt x="7" y="11"/>
                    <a:pt x="18" y="5"/>
                  </a:cubicBezTo>
                  <a:cubicBezTo>
                    <a:pt x="24" y="1"/>
                    <a:pt x="30" y="0"/>
                    <a:pt x="36" y="0"/>
                  </a:cubicBezTo>
                  <a:cubicBezTo>
                    <a:pt x="45" y="0"/>
                    <a:pt x="54" y="3"/>
                    <a:pt x="61" y="9"/>
                  </a:cubicBezTo>
                  <a:cubicBezTo>
                    <a:pt x="155" y="96"/>
                    <a:pt x="155" y="96"/>
                    <a:pt x="155" y="96"/>
                  </a:cubicBezTo>
                  <a:cubicBezTo>
                    <a:pt x="156" y="97"/>
                    <a:pt x="156" y="97"/>
                    <a:pt x="156" y="97"/>
                  </a:cubicBezTo>
                  <a:cubicBezTo>
                    <a:pt x="182" y="123"/>
                    <a:pt x="263" y="190"/>
                    <a:pt x="324" y="190"/>
                  </a:cubicBezTo>
                  <a:cubicBezTo>
                    <a:pt x="336" y="190"/>
                    <a:pt x="346" y="187"/>
                    <a:pt x="355" y="182"/>
                  </a:cubicBezTo>
                  <a:cubicBezTo>
                    <a:pt x="358" y="180"/>
                    <a:pt x="361" y="179"/>
                    <a:pt x="364" y="178"/>
                  </a:cubicBezTo>
                  <a:cubicBezTo>
                    <a:pt x="413" y="161"/>
                    <a:pt x="413" y="161"/>
                    <a:pt x="413" y="161"/>
                  </a:cubicBezTo>
                  <a:cubicBezTo>
                    <a:pt x="397" y="176"/>
                    <a:pt x="382" y="191"/>
                    <a:pt x="366" y="207"/>
                  </a:cubicBezTo>
                  <a:cubicBezTo>
                    <a:pt x="361" y="212"/>
                    <a:pt x="357" y="217"/>
                    <a:pt x="353" y="222"/>
                  </a:cubicBezTo>
                  <a:cubicBezTo>
                    <a:pt x="344" y="225"/>
                    <a:pt x="334" y="226"/>
                    <a:pt x="324" y="226"/>
                  </a:cubicBezTo>
                  <a:cubicBezTo>
                    <a:pt x="234" y="226"/>
                    <a:pt x="131" y="123"/>
                    <a:pt x="131" y="123"/>
                  </a:cubicBezTo>
                  <a:cubicBezTo>
                    <a:pt x="36" y="36"/>
                    <a:pt x="36" y="36"/>
                    <a:pt x="36" y="36"/>
                  </a:cubicBezTo>
                  <a:lnTo>
                    <a:pt x="36" y="558"/>
                  </a:lnTo>
                  <a:close/>
                  <a:moveTo>
                    <a:pt x="1538" y="719"/>
                  </a:moveTo>
                  <a:cubicBezTo>
                    <a:pt x="868" y="315"/>
                    <a:pt x="868" y="315"/>
                    <a:pt x="868" y="315"/>
                  </a:cubicBezTo>
                  <a:cubicBezTo>
                    <a:pt x="850" y="312"/>
                    <a:pt x="824" y="309"/>
                    <a:pt x="785" y="307"/>
                  </a:cubicBezTo>
                  <a:cubicBezTo>
                    <a:pt x="1520" y="750"/>
                    <a:pt x="1520" y="750"/>
                    <a:pt x="1520" y="750"/>
                  </a:cubicBezTo>
                  <a:cubicBezTo>
                    <a:pt x="1553" y="770"/>
                    <a:pt x="1564" y="814"/>
                    <a:pt x="1544" y="848"/>
                  </a:cubicBezTo>
                  <a:cubicBezTo>
                    <a:pt x="1544" y="848"/>
                    <a:pt x="1544" y="848"/>
                    <a:pt x="1544" y="848"/>
                  </a:cubicBezTo>
                  <a:cubicBezTo>
                    <a:pt x="1531" y="871"/>
                    <a:pt x="1507" y="883"/>
                    <a:pt x="1482" y="883"/>
                  </a:cubicBezTo>
                  <a:cubicBezTo>
                    <a:pt x="1470" y="883"/>
                    <a:pt x="1457" y="880"/>
                    <a:pt x="1446" y="873"/>
                  </a:cubicBezTo>
                  <a:cubicBezTo>
                    <a:pt x="1236" y="747"/>
                    <a:pt x="1236" y="747"/>
                    <a:pt x="1236" y="747"/>
                  </a:cubicBezTo>
                  <a:cubicBezTo>
                    <a:pt x="1227" y="741"/>
                    <a:pt x="1216" y="743"/>
                    <a:pt x="1210" y="752"/>
                  </a:cubicBezTo>
                  <a:cubicBezTo>
                    <a:pt x="1210" y="752"/>
                    <a:pt x="1210" y="752"/>
                    <a:pt x="1210" y="752"/>
                  </a:cubicBezTo>
                  <a:cubicBezTo>
                    <a:pt x="1202" y="761"/>
                    <a:pt x="1205" y="775"/>
                    <a:pt x="1215" y="781"/>
                  </a:cubicBezTo>
                  <a:cubicBezTo>
                    <a:pt x="1380" y="881"/>
                    <a:pt x="1380" y="881"/>
                    <a:pt x="1380" y="881"/>
                  </a:cubicBezTo>
                  <a:cubicBezTo>
                    <a:pt x="1414" y="901"/>
                    <a:pt x="1427" y="947"/>
                    <a:pt x="1406" y="981"/>
                  </a:cubicBezTo>
                  <a:cubicBezTo>
                    <a:pt x="1393" y="1003"/>
                    <a:pt x="1369" y="1015"/>
                    <a:pt x="1345" y="1015"/>
                  </a:cubicBezTo>
                  <a:cubicBezTo>
                    <a:pt x="1332" y="1015"/>
                    <a:pt x="1320" y="1012"/>
                    <a:pt x="1308" y="1005"/>
                  </a:cubicBezTo>
                  <a:cubicBezTo>
                    <a:pt x="1123" y="893"/>
                    <a:pt x="1123" y="893"/>
                    <a:pt x="1123" y="893"/>
                  </a:cubicBezTo>
                  <a:cubicBezTo>
                    <a:pt x="1115" y="888"/>
                    <a:pt x="1104" y="890"/>
                    <a:pt x="1098" y="898"/>
                  </a:cubicBezTo>
                  <a:cubicBezTo>
                    <a:pt x="1098" y="898"/>
                    <a:pt x="1098" y="898"/>
                    <a:pt x="1098" y="898"/>
                  </a:cubicBezTo>
                  <a:cubicBezTo>
                    <a:pt x="1091" y="907"/>
                    <a:pt x="1093" y="920"/>
                    <a:pt x="1103" y="926"/>
                  </a:cubicBezTo>
                  <a:cubicBezTo>
                    <a:pt x="1229" y="1002"/>
                    <a:pt x="1229" y="1002"/>
                    <a:pt x="1229" y="1002"/>
                  </a:cubicBezTo>
                  <a:cubicBezTo>
                    <a:pt x="1263" y="1022"/>
                    <a:pt x="1274" y="1066"/>
                    <a:pt x="1253" y="1100"/>
                  </a:cubicBezTo>
                  <a:cubicBezTo>
                    <a:pt x="1253" y="1100"/>
                    <a:pt x="1253" y="1100"/>
                    <a:pt x="1253" y="1100"/>
                  </a:cubicBezTo>
                  <a:cubicBezTo>
                    <a:pt x="1240" y="1122"/>
                    <a:pt x="1216" y="1135"/>
                    <a:pt x="1192" y="1135"/>
                  </a:cubicBezTo>
                  <a:cubicBezTo>
                    <a:pt x="1179" y="1135"/>
                    <a:pt x="1167" y="1131"/>
                    <a:pt x="1155" y="1124"/>
                  </a:cubicBezTo>
                  <a:cubicBezTo>
                    <a:pt x="1013" y="1039"/>
                    <a:pt x="1013" y="1039"/>
                    <a:pt x="1013" y="1039"/>
                  </a:cubicBezTo>
                  <a:cubicBezTo>
                    <a:pt x="1004" y="1033"/>
                    <a:pt x="992" y="1036"/>
                    <a:pt x="986" y="1044"/>
                  </a:cubicBezTo>
                  <a:cubicBezTo>
                    <a:pt x="986" y="1044"/>
                    <a:pt x="986" y="1044"/>
                    <a:pt x="986" y="1044"/>
                  </a:cubicBezTo>
                  <a:cubicBezTo>
                    <a:pt x="978" y="1054"/>
                    <a:pt x="981" y="1068"/>
                    <a:pt x="992" y="1075"/>
                  </a:cubicBezTo>
                  <a:cubicBezTo>
                    <a:pt x="1071" y="1122"/>
                    <a:pt x="1071" y="1122"/>
                    <a:pt x="1071" y="1122"/>
                  </a:cubicBezTo>
                  <a:cubicBezTo>
                    <a:pt x="1105" y="1143"/>
                    <a:pt x="1117" y="1188"/>
                    <a:pt x="1097" y="1222"/>
                  </a:cubicBezTo>
                  <a:cubicBezTo>
                    <a:pt x="1083" y="1244"/>
                    <a:pt x="1059" y="1256"/>
                    <a:pt x="1035" y="1256"/>
                  </a:cubicBezTo>
                  <a:cubicBezTo>
                    <a:pt x="1023" y="1256"/>
                    <a:pt x="1010" y="1253"/>
                    <a:pt x="998" y="1246"/>
                  </a:cubicBezTo>
                  <a:cubicBezTo>
                    <a:pt x="884" y="1177"/>
                    <a:pt x="884" y="1177"/>
                    <a:pt x="884" y="1177"/>
                  </a:cubicBezTo>
                  <a:cubicBezTo>
                    <a:pt x="862" y="1206"/>
                    <a:pt x="862" y="1206"/>
                    <a:pt x="862" y="1206"/>
                  </a:cubicBezTo>
                  <a:cubicBezTo>
                    <a:pt x="980" y="1277"/>
                    <a:pt x="980" y="1277"/>
                    <a:pt x="980" y="1277"/>
                  </a:cubicBezTo>
                  <a:cubicBezTo>
                    <a:pt x="997" y="1287"/>
                    <a:pt x="1016" y="1292"/>
                    <a:pt x="1035" y="1292"/>
                  </a:cubicBezTo>
                  <a:cubicBezTo>
                    <a:pt x="1073" y="1292"/>
                    <a:pt x="1108" y="1272"/>
                    <a:pt x="1128" y="1240"/>
                  </a:cubicBezTo>
                  <a:cubicBezTo>
                    <a:pt x="1143" y="1214"/>
                    <a:pt x="1147" y="1184"/>
                    <a:pt x="1139" y="1157"/>
                  </a:cubicBezTo>
                  <a:cubicBezTo>
                    <a:pt x="1155" y="1166"/>
                    <a:pt x="1174" y="1171"/>
                    <a:pt x="1192" y="1171"/>
                  </a:cubicBezTo>
                  <a:cubicBezTo>
                    <a:pt x="1230" y="1171"/>
                    <a:pt x="1265" y="1151"/>
                    <a:pt x="1284" y="1119"/>
                  </a:cubicBezTo>
                  <a:cubicBezTo>
                    <a:pt x="1299" y="1094"/>
                    <a:pt x="1303" y="1066"/>
                    <a:pt x="1297" y="1040"/>
                  </a:cubicBezTo>
                  <a:cubicBezTo>
                    <a:pt x="1312" y="1047"/>
                    <a:pt x="1328" y="1051"/>
                    <a:pt x="1345" y="1051"/>
                  </a:cubicBezTo>
                  <a:cubicBezTo>
                    <a:pt x="1383" y="1051"/>
                    <a:pt x="1418" y="1031"/>
                    <a:pt x="1437" y="999"/>
                  </a:cubicBezTo>
                  <a:cubicBezTo>
                    <a:pt x="1452" y="974"/>
                    <a:pt x="1457" y="945"/>
                    <a:pt x="1450" y="917"/>
                  </a:cubicBezTo>
                  <a:cubicBezTo>
                    <a:pt x="1449" y="916"/>
                    <a:pt x="1449" y="915"/>
                    <a:pt x="1449" y="913"/>
                  </a:cubicBezTo>
                  <a:cubicBezTo>
                    <a:pt x="1459" y="917"/>
                    <a:pt x="1471" y="919"/>
                    <a:pt x="1482" y="919"/>
                  </a:cubicBezTo>
                  <a:cubicBezTo>
                    <a:pt x="1520" y="919"/>
                    <a:pt x="1555" y="899"/>
                    <a:pt x="1575" y="867"/>
                  </a:cubicBezTo>
                  <a:cubicBezTo>
                    <a:pt x="1605" y="816"/>
                    <a:pt x="1589" y="750"/>
                    <a:pt x="1538" y="7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5" name="Group 64"/>
          <p:cNvGrpSpPr/>
          <p:nvPr/>
        </p:nvGrpSpPr>
        <p:grpSpPr>
          <a:xfrm>
            <a:off x="1015169" y="2254389"/>
            <a:ext cx="1141420" cy="1142478"/>
            <a:chOff x="5964388" y="361099"/>
            <a:chExt cx="1141420" cy="1142478"/>
          </a:xfrm>
        </p:grpSpPr>
        <p:grpSp>
          <p:nvGrpSpPr>
            <p:cNvPr id="66" name="Group 65"/>
            <p:cNvGrpSpPr/>
            <p:nvPr/>
          </p:nvGrpSpPr>
          <p:grpSpPr>
            <a:xfrm>
              <a:off x="5964388" y="361099"/>
              <a:ext cx="1141420" cy="1142478"/>
              <a:chOff x="6365484" y="715489"/>
              <a:chExt cx="1644396" cy="1645920"/>
            </a:xfrm>
          </p:grpSpPr>
          <p:sp>
            <p:nvSpPr>
              <p:cNvPr id="68" name="AutoShape 3">
                <a:extLst>
                  <a:ext uri="{FF2B5EF4-FFF2-40B4-BE49-F238E27FC236}">
                    <a16:creationId xmlns:a16="http://schemas.microsoft.com/office/drawing/2014/main" id="{5CBAB585-11B8-4110-BA84-4F4A75260F5F}"/>
                  </a:ext>
                </a:extLst>
              </p:cNvPr>
              <p:cNvSpPr>
                <a:spLocks noChangeAspect="1" noChangeArrowheads="1" noTextEdit="1"/>
              </p:cNvSpPr>
              <p:nvPr/>
            </p:nvSpPr>
            <p:spPr bwMode="auto">
              <a:xfrm>
                <a:off x="6365484" y="715489"/>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9" name="Freeform 68">
                <a:extLst>
                  <a:ext uri="{FF2B5EF4-FFF2-40B4-BE49-F238E27FC236}">
                    <a16:creationId xmlns:a16="http://schemas.microsoft.com/office/drawing/2014/main" id="{343E3512-7A99-4F4C-912D-C129915DB069}"/>
                  </a:ext>
                </a:extLst>
              </p:cNvPr>
              <p:cNvSpPr>
                <a:spLocks noEditPoints="1"/>
              </p:cNvSpPr>
              <p:nvPr/>
            </p:nvSpPr>
            <p:spPr bwMode="auto">
              <a:xfrm>
                <a:off x="6718671" y="1115172"/>
                <a:ext cx="936498" cy="888873"/>
              </a:xfrm>
              <a:custGeom>
                <a:avLst/>
                <a:gdLst>
                  <a:gd name="T0" fmla="*/ 44 w 1312"/>
                  <a:gd name="T1" fmla="*/ 654 h 1244"/>
                  <a:gd name="T2" fmla="*/ 132 w 1312"/>
                  <a:gd name="T3" fmla="*/ 924 h 1244"/>
                  <a:gd name="T4" fmla="*/ 91 w 1312"/>
                  <a:gd name="T5" fmla="*/ 942 h 1244"/>
                  <a:gd name="T6" fmla="*/ 0 w 1312"/>
                  <a:gd name="T7" fmla="*/ 660 h 1244"/>
                  <a:gd name="T8" fmla="*/ 44 w 1312"/>
                  <a:gd name="T9" fmla="*/ 654 h 1244"/>
                  <a:gd name="T10" fmla="*/ 1268 w 1312"/>
                  <a:gd name="T11" fmla="*/ 654 h 1244"/>
                  <a:gd name="T12" fmla="*/ 1180 w 1312"/>
                  <a:gd name="T13" fmla="*/ 924 h 1244"/>
                  <a:gd name="T14" fmla="*/ 1221 w 1312"/>
                  <a:gd name="T15" fmla="*/ 942 h 1244"/>
                  <a:gd name="T16" fmla="*/ 1312 w 1312"/>
                  <a:gd name="T17" fmla="*/ 660 h 1244"/>
                  <a:gd name="T18" fmla="*/ 1268 w 1312"/>
                  <a:gd name="T19" fmla="*/ 654 h 1244"/>
                  <a:gd name="T20" fmla="*/ 902 w 1312"/>
                  <a:gd name="T21" fmla="*/ 39 h 1244"/>
                  <a:gd name="T22" fmla="*/ 1101 w 1312"/>
                  <a:gd name="T23" fmla="*/ 184 h 1244"/>
                  <a:gd name="T24" fmla="*/ 1131 w 1312"/>
                  <a:gd name="T25" fmla="*/ 151 h 1244"/>
                  <a:gd name="T26" fmla="*/ 923 w 1312"/>
                  <a:gd name="T27" fmla="*/ 0 h 1244"/>
                  <a:gd name="T28" fmla="*/ 902 w 1312"/>
                  <a:gd name="T29" fmla="*/ 39 h 1244"/>
                  <a:gd name="T30" fmla="*/ 790 w 1312"/>
                  <a:gd name="T31" fmla="*/ 1244 h 1244"/>
                  <a:gd name="T32" fmla="*/ 787 w 1312"/>
                  <a:gd name="T33" fmla="*/ 1202 h 1244"/>
                  <a:gd name="T34" fmla="*/ 787 w 1312"/>
                  <a:gd name="T35" fmla="*/ 1200 h 1244"/>
                  <a:gd name="T36" fmla="*/ 525 w 1312"/>
                  <a:gd name="T37" fmla="*/ 1200 h 1244"/>
                  <a:gd name="T38" fmla="*/ 525 w 1312"/>
                  <a:gd name="T39" fmla="*/ 1202 h 1244"/>
                  <a:gd name="T40" fmla="*/ 522 w 1312"/>
                  <a:gd name="T41" fmla="*/ 1244 h 1244"/>
                  <a:gd name="T42" fmla="*/ 790 w 1312"/>
                  <a:gd name="T43" fmla="*/ 1244 h 1244"/>
                  <a:gd name="T44" fmla="*/ 211 w 1312"/>
                  <a:gd name="T45" fmla="*/ 184 h 1244"/>
                  <a:gd name="T46" fmla="*/ 410 w 1312"/>
                  <a:gd name="T47" fmla="*/ 39 h 1244"/>
                  <a:gd name="T48" fmla="*/ 389 w 1312"/>
                  <a:gd name="T49" fmla="*/ 0 h 1244"/>
                  <a:gd name="T50" fmla="*/ 181 w 1312"/>
                  <a:gd name="T51" fmla="*/ 151 h 1244"/>
                  <a:gd name="T52" fmla="*/ 211 w 1312"/>
                  <a:gd name="T53" fmla="*/ 184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2" h="1244">
                    <a:moveTo>
                      <a:pt x="44" y="654"/>
                    </a:moveTo>
                    <a:cubicBezTo>
                      <a:pt x="132" y="924"/>
                      <a:pt x="132" y="924"/>
                      <a:pt x="132" y="924"/>
                    </a:cubicBezTo>
                    <a:cubicBezTo>
                      <a:pt x="118" y="929"/>
                      <a:pt x="104" y="935"/>
                      <a:pt x="91" y="942"/>
                    </a:cubicBezTo>
                    <a:cubicBezTo>
                      <a:pt x="0" y="660"/>
                      <a:pt x="0" y="660"/>
                      <a:pt x="0" y="660"/>
                    </a:cubicBezTo>
                    <a:cubicBezTo>
                      <a:pt x="15" y="659"/>
                      <a:pt x="29" y="657"/>
                      <a:pt x="44" y="654"/>
                    </a:cubicBezTo>
                    <a:close/>
                    <a:moveTo>
                      <a:pt x="1268" y="654"/>
                    </a:moveTo>
                    <a:cubicBezTo>
                      <a:pt x="1180" y="924"/>
                      <a:pt x="1180" y="924"/>
                      <a:pt x="1180" y="924"/>
                    </a:cubicBezTo>
                    <a:cubicBezTo>
                      <a:pt x="1194" y="929"/>
                      <a:pt x="1208" y="935"/>
                      <a:pt x="1221" y="942"/>
                    </a:cubicBezTo>
                    <a:cubicBezTo>
                      <a:pt x="1312" y="660"/>
                      <a:pt x="1312" y="660"/>
                      <a:pt x="1312" y="660"/>
                    </a:cubicBezTo>
                    <a:cubicBezTo>
                      <a:pt x="1297" y="659"/>
                      <a:pt x="1283" y="657"/>
                      <a:pt x="1268" y="654"/>
                    </a:cubicBezTo>
                    <a:close/>
                    <a:moveTo>
                      <a:pt x="902" y="39"/>
                    </a:moveTo>
                    <a:cubicBezTo>
                      <a:pt x="1101" y="184"/>
                      <a:pt x="1101" y="184"/>
                      <a:pt x="1101" y="184"/>
                    </a:cubicBezTo>
                    <a:cubicBezTo>
                      <a:pt x="1110" y="172"/>
                      <a:pt x="1120" y="161"/>
                      <a:pt x="1131" y="151"/>
                    </a:cubicBezTo>
                    <a:cubicBezTo>
                      <a:pt x="923" y="0"/>
                      <a:pt x="923" y="0"/>
                      <a:pt x="923" y="0"/>
                    </a:cubicBezTo>
                    <a:cubicBezTo>
                      <a:pt x="917" y="14"/>
                      <a:pt x="910" y="27"/>
                      <a:pt x="902" y="39"/>
                    </a:cubicBezTo>
                    <a:close/>
                    <a:moveTo>
                      <a:pt x="790" y="1244"/>
                    </a:moveTo>
                    <a:cubicBezTo>
                      <a:pt x="788" y="1230"/>
                      <a:pt x="787" y="1216"/>
                      <a:pt x="787" y="1202"/>
                    </a:cubicBezTo>
                    <a:cubicBezTo>
                      <a:pt x="787" y="1201"/>
                      <a:pt x="787" y="1200"/>
                      <a:pt x="787" y="1200"/>
                    </a:cubicBezTo>
                    <a:cubicBezTo>
                      <a:pt x="525" y="1200"/>
                      <a:pt x="525" y="1200"/>
                      <a:pt x="525" y="1200"/>
                    </a:cubicBezTo>
                    <a:cubicBezTo>
                      <a:pt x="525" y="1200"/>
                      <a:pt x="525" y="1201"/>
                      <a:pt x="525" y="1202"/>
                    </a:cubicBezTo>
                    <a:cubicBezTo>
                      <a:pt x="525" y="1216"/>
                      <a:pt x="524" y="1230"/>
                      <a:pt x="522" y="1244"/>
                    </a:cubicBezTo>
                    <a:lnTo>
                      <a:pt x="790" y="1244"/>
                    </a:lnTo>
                    <a:close/>
                    <a:moveTo>
                      <a:pt x="211" y="184"/>
                    </a:moveTo>
                    <a:cubicBezTo>
                      <a:pt x="410" y="39"/>
                      <a:pt x="410" y="39"/>
                      <a:pt x="410" y="39"/>
                    </a:cubicBezTo>
                    <a:cubicBezTo>
                      <a:pt x="402" y="27"/>
                      <a:pt x="395" y="14"/>
                      <a:pt x="389" y="0"/>
                    </a:cubicBezTo>
                    <a:cubicBezTo>
                      <a:pt x="181" y="151"/>
                      <a:pt x="181" y="151"/>
                      <a:pt x="181" y="151"/>
                    </a:cubicBezTo>
                    <a:cubicBezTo>
                      <a:pt x="192" y="161"/>
                      <a:pt x="202" y="172"/>
                      <a:pt x="211" y="1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0" name="Freeform 69">
                <a:extLst>
                  <a:ext uri="{FF2B5EF4-FFF2-40B4-BE49-F238E27FC236}">
                    <a16:creationId xmlns:a16="http://schemas.microsoft.com/office/drawing/2014/main" id="{D31E9B9D-C13F-460E-98C8-5BE093CCD909}"/>
                  </a:ext>
                </a:extLst>
              </p:cNvPr>
              <p:cNvSpPr>
                <a:spLocks noEditPoints="1"/>
              </p:cNvSpPr>
              <p:nvPr/>
            </p:nvSpPr>
            <p:spPr bwMode="auto">
              <a:xfrm>
                <a:off x="6524742" y="883891"/>
                <a:ext cx="1324356" cy="1307592"/>
              </a:xfrm>
              <a:custGeom>
                <a:avLst/>
                <a:gdLst>
                  <a:gd name="T0" fmla="*/ 928 w 1856"/>
                  <a:gd name="T1" fmla="*/ 503 h 1830"/>
                  <a:gd name="T2" fmla="*/ 677 w 1856"/>
                  <a:gd name="T3" fmla="*/ 252 h 1830"/>
                  <a:gd name="T4" fmla="*/ 677 w 1856"/>
                  <a:gd name="T5" fmla="*/ 252 h 1830"/>
                  <a:gd name="T6" fmla="*/ 928 w 1856"/>
                  <a:gd name="T7" fmla="*/ 0 h 1830"/>
                  <a:gd name="T8" fmla="*/ 1179 w 1856"/>
                  <a:gd name="T9" fmla="*/ 252 h 1830"/>
                  <a:gd name="T10" fmla="*/ 1179 w 1856"/>
                  <a:gd name="T11" fmla="*/ 252 h 1830"/>
                  <a:gd name="T12" fmla="*/ 928 w 1856"/>
                  <a:gd name="T13" fmla="*/ 503 h 1830"/>
                  <a:gd name="T14" fmla="*/ 502 w 1856"/>
                  <a:gd name="T15" fmla="*/ 742 h 1830"/>
                  <a:gd name="T16" fmla="*/ 502 w 1856"/>
                  <a:gd name="T17" fmla="*/ 742 h 1830"/>
                  <a:gd name="T18" fmla="*/ 251 w 1856"/>
                  <a:gd name="T19" fmla="*/ 491 h 1830"/>
                  <a:gd name="T20" fmla="*/ 0 w 1856"/>
                  <a:gd name="T21" fmla="*/ 742 h 1830"/>
                  <a:gd name="T22" fmla="*/ 0 w 1856"/>
                  <a:gd name="T23" fmla="*/ 742 h 1830"/>
                  <a:gd name="T24" fmla="*/ 251 w 1856"/>
                  <a:gd name="T25" fmla="*/ 993 h 1830"/>
                  <a:gd name="T26" fmla="*/ 502 w 1856"/>
                  <a:gd name="T27" fmla="*/ 742 h 1830"/>
                  <a:gd name="T28" fmla="*/ 1605 w 1856"/>
                  <a:gd name="T29" fmla="*/ 491 h 1830"/>
                  <a:gd name="T30" fmla="*/ 1354 w 1856"/>
                  <a:gd name="T31" fmla="*/ 742 h 1830"/>
                  <a:gd name="T32" fmla="*/ 1354 w 1856"/>
                  <a:gd name="T33" fmla="*/ 742 h 1830"/>
                  <a:gd name="T34" fmla="*/ 1605 w 1856"/>
                  <a:gd name="T35" fmla="*/ 993 h 1830"/>
                  <a:gd name="T36" fmla="*/ 1856 w 1856"/>
                  <a:gd name="T37" fmla="*/ 742 h 1830"/>
                  <a:gd name="T38" fmla="*/ 1856 w 1856"/>
                  <a:gd name="T39" fmla="*/ 742 h 1830"/>
                  <a:gd name="T40" fmla="*/ 1605 w 1856"/>
                  <a:gd name="T41" fmla="*/ 491 h 1830"/>
                  <a:gd name="T42" fmla="*/ 502 w 1856"/>
                  <a:gd name="T43" fmla="*/ 1327 h 1830"/>
                  <a:gd name="T44" fmla="*/ 251 w 1856"/>
                  <a:gd name="T45" fmla="*/ 1578 h 1830"/>
                  <a:gd name="T46" fmla="*/ 251 w 1856"/>
                  <a:gd name="T47" fmla="*/ 1578 h 1830"/>
                  <a:gd name="T48" fmla="*/ 502 w 1856"/>
                  <a:gd name="T49" fmla="*/ 1830 h 1830"/>
                  <a:gd name="T50" fmla="*/ 753 w 1856"/>
                  <a:gd name="T51" fmla="*/ 1578 h 1830"/>
                  <a:gd name="T52" fmla="*/ 753 w 1856"/>
                  <a:gd name="T53" fmla="*/ 1578 h 1830"/>
                  <a:gd name="T54" fmla="*/ 502 w 1856"/>
                  <a:gd name="T55" fmla="*/ 1327 h 1830"/>
                  <a:gd name="T56" fmla="*/ 1354 w 1856"/>
                  <a:gd name="T57" fmla="*/ 1327 h 1830"/>
                  <a:gd name="T58" fmla="*/ 1103 w 1856"/>
                  <a:gd name="T59" fmla="*/ 1578 h 1830"/>
                  <a:gd name="T60" fmla="*/ 1103 w 1856"/>
                  <a:gd name="T61" fmla="*/ 1578 h 1830"/>
                  <a:gd name="T62" fmla="*/ 1354 w 1856"/>
                  <a:gd name="T63" fmla="*/ 1830 h 1830"/>
                  <a:gd name="T64" fmla="*/ 1605 w 1856"/>
                  <a:gd name="T65" fmla="*/ 1578 h 1830"/>
                  <a:gd name="T66" fmla="*/ 1605 w 1856"/>
                  <a:gd name="T67" fmla="*/ 1578 h 1830"/>
                  <a:gd name="T68" fmla="*/ 1354 w 1856"/>
                  <a:gd name="T69" fmla="*/ 1327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56" h="1830">
                    <a:moveTo>
                      <a:pt x="928" y="503"/>
                    </a:moveTo>
                    <a:cubicBezTo>
                      <a:pt x="789" y="503"/>
                      <a:pt x="677" y="390"/>
                      <a:pt x="677" y="252"/>
                    </a:cubicBezTo>
                    <a:cubicBezTo>
                      <a:pt x="677" y="252"/>
                      <a:pt x="677" y="252"/>
                      <a:pt x="677" y="252"/>
                    </a:cubicBezTo>
                    <a:cubicBezTo>
                      <a:pt x="677" y="113"/>
                      <a:pt x="789" y="0"/>
                      <a:pt x="928" y="0"/>
                    </a:cubicBezTo>
                    <a:cubicBezTo>
                      <a:pt x="1067" y="0"/>
                      <a:pt x="1179" y="113"/>
                      <a:pt x="1179" y="252"/>
                    </a:cubicBezTo>
                    <a:cubicBezTo>
                      <a:pt x="1179" y="252"/>
                      <a:pt x="1179" y="252"/>
                      <a:pt x="1179" y="252"/>
                    </a:cubicBezTo>
                    <a:cubicBezTo>
                      <a:pt x="1179" y="390"/>
                      <a:pt x="1067" y="503"/>
                      <a:pt x="928" y="503"/>
                    </a:cubicBezTo>
                    <a:close/>
                    <a:moveTo>
                      <a:pt x="502" y="742"/>
                    </a:moveTo>
                    <a:cubicBezTo>
                      <a:pt x="502" y="742"/>
                      <a:pt x="502" y="742"/>
                      <a:pt x="502" y="742"/>
                    </a:cubicBezTo>
                    <a:cubicBezTo>
                      <a:pt x="502" y="603"/>
                      <a:pt x="390" y="491"/>
                      <a:pt x="251" y="491"/>
                    </a:cubicBezTo>
                    <a:cubicBezTo>
                      <a:pt x="113" y="491"/>
                      <a:pt x="0" y="603"/>
                      <a:pt x="0" y="742"/>
                    </a:cubicBezTo>
                    <a:cubicBezTo>
                      <a:pt x="0" y="742"/>
                      <a:pt x="0" y="742"/>
                      <a:pt x="0" y="742"/>
                    </a:cubicBezTo>
                    <a:cubicBezTo>
                      <a:pt x="0" y="881"/>
                      <a:pt x="113" y="993"/>
                      <a:pt x="251" y="993"/>
                    </a:cubicBezTo>
                    <a:cubicBezTo>
                      <a:pt x="390" y="993"/>
                      <a:pt x="502" y="881"/>
                      <a:pt x="502" y="742"/>
                    </a:cubicBezTo>
                    <a:close/>
                    <a:moveTo>
                      <a:pt x="1605" y="491"/>
                    </a:moveTo>
                    <a:cubicBezTo>
                      <a:pt x="1466" y="491"/>
                      <a:pt x="1354" y="603"/>
                      <a:pt x="1354" y="742"/>
                    </a:cubicBezTo>
                    <a:cubicBezTo>
                      <a:pt x="1354" y="742"/>
                      <a:pt x="1354" y="742"/>
                      <a:pt x="1354" y="742"/>
                    </a:cubicBezTo>
                    <a:cubicBezTo>
                      <a:pt x="1354" y="881"/>
                      <a:pt x="1466" y="993"/>
                      <a:pt x="1605" y="993"/>
                    </a:cubicBezTo>
                    <a:cubicBezTo>
                      <a:pt x="1743" y="993"/>
                      <a:pt x="1856" y="881"/>
                      <a:pt x="1856" y="742"/>
                    </a:cubicBezTo>
                    <a:cubicBezTo>
                      <a:pt x="1856" y="742"/>
                      <a:pt x="1856" y="742"/>
                      <a:pt x="1856" y="742"/>
                    </a:cubicBezTo>
                    <a:cubicBezTo>
                      <a:pt x="1856" y="603"/>
                      <a:pt x="1743" y="491"/>
                      <a:pt x="1605" y="491"/>
                    </a:cubicBezTo>
                    <a:close/>
                    <a:moveTo>
                      <a:pt x="502" y="1327"/>
                    </a:moveTo>
                    <a:cubicBezTo>
                      <a:pt x="364" y="1327"/>
                      <a:pt x="251" y="1440"/>
                      <a:pt x="251" y="1578"/>
                    </a:cubicBezTo>
                    <a:cubicBezTo>
                      <a:pt x="251" y="1578"/>
                      <a:pt x="251" y="1578"/>
                      <a:pt x="251" y="1578"/>
                    </a:cubicBezTo>
                    <a:cubicBezTo>
                      <a:pt x="251" y="1717"/>
                      <a:pt x="364" y="1830"/>
                      <a:pt x="502" y="1830"/>
                    </a:cubicBezTo>
                    <a:cubicBezTo>
                      <a:pt x="641" y="1830"/>
                      <a:pt x="753" y="1717"/>
                      <a:pt x="753" y="1578"/>
                    </a:cubicBezTo>
                    <a:cubicBezTo>
                      <a:pt x="753" y="1578"/>
                      <a:pt x="753" y="1578"/>
                      <a:pt x="753" y="1578"/>
                    </a:cubicBezTo>
                    <a:cubicBezTo>
                      <a:pt x="753" y="1440"/>
                      <a:pt x="641" y="1327"/>
                      <a:pt x="502" y="1327"/>
                    </a:cubicBezTo>
                    <a:close/>
                    <a:moveTo>
                      <a:pt x="1354" y="1327"/>
                    </a:moveTo>
                    <a:cubicBezTo>
                      <a:pt x="1215" y="1327"/>
                      <a:pt x="1103" y="1440"/>
                      <a:pt x="1103" y="1578"/>
                    </a:cubicBezTo>
                    <a:cubicBezTo>
                      <a:pt x="1103" y="1578"/>
                      <a:pt x="1103" y="1578"/>
                      <a:pt x="1103" y="1578"/>
                    </a:cubicBezTo>
                    <a:cubicBezTo>
                      <a:pt x="1103" y="1717"/>
                      <a:pt x="1215" y="1830"/>
                      <a:pt x="1354" y="1830"/>
                    </a:cubicBezTo>
                    <a:cubicBezTo>
                      <a:pt x="1492" y="1830"/>
                      <a:pt x="1605" y="1717"/>
                      <a:pt x="1605" y="1578"/>
                    </a:cubicBezTo>
                    <a:cubicBezTo>
                      <a:pt x="1605" y="1578"/>
                      <a:pt x="1605" y="1578"/>
                      <a:pt x="1605" y="1578"/>
                    </a:cubicBezTo>
                    <a:cubicBezTo>
                      <a:pt x="1605" y="1440"/>
                      <a:pt x="1492" y="1327"/>
                      <a:pt x="1354" y="132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67" name="Oval 66"/>
            <p:cNvSpPr/>
            <p:nvPr/>
          </p:nvSpPr>
          <p:spPr>
            <a:xfrm>
              <a:off x="6074933" y="718455"/>
              <a:ext cx="247014" cy="247014"/>
            </a:xfrm>
            <a:prstGeom prst="ellipse">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grpSp>
      <p:grpSp>
        <p:nvGrpSpPr>
          <p:cNvPr id="71" name="Group 70"/>
          <p:cNvGrpSpPr>
            <a:grpSpLocks noChangeAspect="1"/>
          </p:cNvGrpSpPr>
          <p:nvPr/>
        </p:nvGrpSpPr>
        <p:grpSpPr>
          <a:xfrm>
            <a:off x="3296309" y="2271806"/>
            <a:ext cx="1106617" cy="1107643"/>
            <a:chOff x="5273801" y="2606040"/>
            <a:chExt cx="1644396" cy="1645920"/>
          </a:xfrm>
        </p:grpSpPr>
        <p:sp>
          <p:nvSpPr>
            <p:cNvPr id="72" name="AutoShape 18">
              <a:extLst>
                <a:ext uri="{FF2B5EF4-FFF2-40B4-BE49-F238E27FC236}">
                  <a16:creationId xmlns:a16="http://schemas.microsoft.com/office/drawing/2014/main" id="{5381C2E6-C0A5-47CA-9FE1-1E79D784DAFB}"/>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3" name="Group 72"/>
            <p:cNvGrpSpPr/>
            <p:nvPr/>
          </p:nvGrpSpPr>
          <p:grpSpPr>
            <a:xfrm>
              <a:off x="5470016" y="2869692"/>
              <a:ext cx="1346835" cy="1297305"/>
              <a:chOff x="5470016" y="2869692"/>
              <a:chExt cx="1346835" cy="1297305"/>
            </a:xfrm>
          </p:grpSpPr>
          <p:sp>
            <p:nvSpPr>
              <p:cNvPr id="74" name="Freeform 20">
                <a:extLst>
                  <a:ext uri="{FF2B5EF4-FFF2-40B4-BE49-F238E27FC236}">
                    <a16:creationId xmlns:a16="http://schemas.microsoft.com/office/drawing/2014/main" id="{BDC0EBF9-E3A7-42FA-B170-D0CF0542BA7A}"/>
                  </a:ext>
                </a:extLst>
              </p:cNvPr>
              <p:cNvSpPr>
                <a:spLocks noEditPoints="1"/>
              </p:cNvSpPr>
              <p:nvPr/>
            </p:nvSpPr>
            <p:spPr bwMode="auto">
              <a:xfrm>
                <a:off x="5532881" y="3050286"/>
                <a:ext cx="1049274" cy="724281"/>
              </a:xfrm>
              <a:custGeom>
                <a:avLst/>
                <a:gdLst>
                  <a:gd name="T0" fmla="*/ 1470 w 1470"/>
                  <a:gd name="T1" fmla="*/ 0 h 1014"/>
                  <a:gd name="T2" fmla="*/ 1470 w 1470"/>
                  <a:gd name="T3" fmla="*/ 867 h 1014"/>
                  <a:gd name="T4" fmla="*/ 1383 w 1470"/>
                  <a:gd name="T5" fmla="*/ 867 h 1014"/>
                  <a:gd name="T6" fmla="*/ 1285 w 1470"/>
                  <a:gd name="T7" fmla="*/ 359 h 1014"/>
                  <a:gd name="T8" fmla="*/ 1147 w 1470"/>
                  <a:gd name="T9" fmla="*/ 260 h 1014"/>
                  <a:gd name="T10" fmla="*/ 1237 w 1470"/>
                  <a:gd name="T11" fmla="*/ 188 h 1014"/>
                  <a:gd name="T12" fmla="*/ 1283 w 1470"/>
                  <a:gd name="T13" fmla="*/ 196 h 1014"/>
                  <a:gd name="T14" fmla="*/ 1412 w 1470"/>
                  <a:gd name="T15" fmla="*/ 67 h 1014"/>
                  <a:gd name="T16" fmla="*/ 1410 w 1470"/>
                  <a:gd name="T17" fmla="*/ 48 h 1014"/>
                  <a:gd name="T18" fmla="*/ 1470 w 1470"/>
                  <a:gd name="T19" fmla="*/ 0 h 1014"/>
                  <a:gd name="T20" fmla="*/ 614 w 1470"/>
                  <a:gd name="T21" fmla="*/ 346 h 1014"/>
                  <a:gd name="T22" fmla="*/ 641 w 1470"/>
                  <a:gd name="T23" fmla="*/ 322 h 1014"/>
                  <a:gd name="T24" fmla="*/ 614 w 1470"/>
                  <a:gd name="T25" fmla="*/ 325 h 1014"/>
                  <a:gd name="T26" fmla="*/ 588 w 1470"/>
                  <a:gd name="T27" fmla="*/ 322 h 1014"/>
                  <a:gd name="T28" fmla="*/ 476 w 1470"/>
                  <a:gd name="T29" fmla="*/ 446 h 1014"/>
                  <a:gd name="T30" fmla="*/ 481 w 1470"/>
                  <a:gd name="T31" fmla="*/ 484 h 1014"/>
                  <a:gd name="T32" fmla="*/ 352 w 1470"/>
                  <a:gd name="T33" fmla="*/ 613 h 1014"/>
                  <a:gd name="T34" fmla="*/ 280 w 1470"/>
                  <a:gd name="T35" fmla="*/ 590 h 1014"/>
                  <a:gd name="T36" fmla="*/ 0 w 1470"/>
                  <a:gd name="T37" fmla="*/ 720 h 1014"/>
                  <a:gd name="T38" fmla="*/ 0 w 1470"/>
                  <a:gd name="T39" fmla="*/ 867 h 1014"/>
                  <a:gd name="T40" fmla="*/ 503 w 1470"/>
                  <a:gd name="T41" fmla="*/ 867 h 1014"/>
                  <a:gd name="T42" fmla="*/ 614 w 1470"/>
                  <a:gd name="T43" fmla="*/ 346 h 1014"/>
                  <a:gd name="T44" fmla="*/ 705 w 1470"/>
                  <a:gd name="T45" fmla="*/ 913 h 1014"/>
                  <a:gd name="T46" fmla="*/ 943 w 1470"/>
                  <a:gd name="T47" fmla="*/ 1014 h 1014"/>
                  <a:gd name="T48" fmla="*/ 1144 w 1470"/>
                  <a:gd name="T49" fmla="*/ 946 h 1014"/>
                  <a:gd name="T50" fmla="*/ 1145 w 1470"/>
                  <a:gd name="T51" fmla="*/ 945 h 1014"/>
                  <a:gd name="T52" fmla="*/ 1171 w 1470"/>
                  <a:gd name="T53" fmla="*/ 922 h 1014"/>
                  <a:gd name="T54" fmla="*/ 1199 w 1470"/>
                  <a:gd name="T55" fmla="*/ 892 h 1014"/>
                  <a:gd name="T56" fmla="*/ 1202 w 1470"/>
                  <a:gd name="T57" fmla="*/ 481 h 1014"/>
                  <a:gd name="T58" fmla="*/ 1103 w 1470"/>
                  <a:gd name="T59" fmla="*/ 560 h 1014"/>
                  <a:gd name="T60" fmla="*/ 1106 w 1470"/>
                  <a:gd name="T61" fmla="*/ 590 h 1014"/>
                  <a:gd name="T62" fmla="*/ 947 w 1470"/>
                  <a:gd name="T63" fmla="*/ 749 h 1014"/>
                  <a:gd name="T64" fmla="*/ 789 w 1470"/>
                  <a:gd name="T65" fmla="*/ 595 h 1014"/>
                  <a:gd name="T66" fmla="*/ 652 w 1470"/>
                  <a:gd name="T67" fmla="*/ 529 h 1014"/>
                  <a:gd name="T68" fmla="*/ 705 w 1470"/>
                  <a:gd name="T69" fmla="*/ 913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0" h="1014">
                    <a:moveTo>
                      <a:pt x="1470" y="0"/>
                    </a:moveTo>
                    <a:cubicBezTo>
                      <a:pt x="1470" y="867"/>
                      <a:pt x="1470" y="867"/>
                      <a:pt x="1470" y="867"/>
                    </a:cubicBezTo>
                    <a:cubicBezTo>
                      <a:pt x="1383" y="867"/>
                      <a:pt x="1383" y="867"/>
                      <a:pt x="1383" y="867"/>
                    </a:cubicBezTo>
                    <a:cubicBezTo>
                      <a:pt x="1452" y="697"/>
                      <a:pt x="1417" y="497"/>
                      <a:pt x="1285" y="359"/>
                    </a:cubicBezTo>
                    <a:cubicBezTo>
                      <a:pt x="1245" y="317"/>
                      <a:pt x="1198" y="284"/>
                      <a:pt x="1147" y="260"/>
                    </a:cubicBezTo>
                    <a:cubicBezTo>
                      <a:pt x="1237" y="188"/>
                      <a:pt x="1237" y="188"/>
                      <a:pt x="1237" y="188"/>
                    </a:cubicBezTo>
                    <a:cubicBezTo>
                      <a:pt x="1252" y="193"/>
                      <a:pt x="1267" y="196"/>
                      <a:pt x="1283" y="196"/>
                    </a:cubicBezTo>
                    <a:cubicBezTo>
                      <a:pt x="1354" y="196"/>
                      <a:pt x="1412" y="138"/>
                      <a:pt x="1412" y="67"/>
                    </a:cubicBezTo>
                    <a:cubicBezTo>
                      <a:pt x="1412" y="61"/>
                      <a:pt x="1411" y="54"/>
                      <a:pt x="1410" y="48"/>
                    </a:cubicBezTo>
                    <a:lnTo>
                      <a:pt x="1470" y="0"/>
                    </a:lnTo>
                    <a:close/>
                    <a:moveTo>
                      <a:pt x="614" y="346"/>
                    </a:moveTo>
                    <a:cubicBezTo>
                      <a:pt x="623" y="338"/>
                      <a:pt x="632" y="329"/>
                      <a:pt x="641" y="322"/>
                    </a:cubicBezTo>
                    <a:cubicBezTo>
                      <a:pt x="632" y="324"/>
                      <a:pt x="623" y="325"/>
                      <a:pt x="614" y="325"/>
                    </a:cubicBezTo>
                    <a:cubicBezTo>
                      <a:pt x="605" y="325"/>
                      <a:pt x="597" y="324"/>
                      <a:pt x="588" y="322"/>
                    </a:cubicBezTo>
                    <a:cubicBezTo>
                      <a:pt x="476" y="446"/>
                      <a:pt x="476" y="446"/>
                      <a:pt x="476" y="446"/>
                    </a:cubicBezTo>
                    <a:cubicBezTo>
                      <a:pt x="479" y="458"/>
                      <a:pt x="481" y="471"/>
                      <a:pt x="481" y="484"/>
                    </a:cubicBezTo>
                    <a:cubicBezTo>
                      <a:pt x="481" y="555"/>
                      <a:pt x="423" y="613"/>
                      <a:pt x="352" y="613"/>
                    </a:cubicBezTo>
                    <a:cubicBezTo>
                      <a:pt x="326" y="613"/>
                      <a:pt x="301" y="605"/>
                      <a:pt x="280" y="590"/>
                    </a:cubicBezTo>
                    <a:cubicBezTo>
                      <a:pt x="0" y="720"/>
                      <a:pt x="0" y="720"/>
                      <a:pt x="0" y="720"/>
                    </a:cubicBezTo>
                    <a:cubicBezTo>
                      <a:pt x="0" y="867"/>
                      <a:pt x="0" y="867"/>
                      <a:pt x="0" y="867"/>
                    </a:cubicBezTo>
                    <a:cubicBezTo>
                      <a:pt x="503" y="867"/>
                      <a:pt x="503" y="867"/>
                      <a:pt x="503" y="867"/>
                    </a:cubicBezTo>
                    <a:cubicBezTo>
                      <a:pt x="433" y="692"/>
                      <a:pt x="471" y="484"/>
                      <a:pt x="614" y="346"/>
                    </a:cubicBezTo>
                    <a:close/>
                    <a:moveTo>
                      <a:pt x="705" y="913"/>
                    </a:moveTo>
                    <a:cubicBezTo>
                      <a:pt x="768" y="978"/>
                      <a:pt x="852" y="1014"/>
                      <a:pt x="943" y="1014"/>
                    </a:cubicBezTo>
                    <a:cubicBezTo>
                      <a:pt x="1015" y="1014"/>
                      <a:pt x="1087" y="990"/>
                      <a:pt x="1144" y="946"/>
                    </a:cubicBezTo>
                    <a:cubicBezTo>
                      <a:pt x="1145" y="945"/>
                      <a:pt x="1145" y="945"/>
                      <a:pt x="1145" y="945"/>
                    </a:cubicBezTo>
                    <a:cubicBezTo>
                      <a:pt x="1153" y="940"/>
                      <a:pt x="1161" y="932"/>
                      <a:pt x="1171" y="922"/>
                    </a:cubicBezTo>
                    <a:cubicBezTo>
                      <a:pt x="1181" y="913"/>
                      <a:pt x="1191" y="903"/>
                      <a:pt x="1199" y="892"/>
                    </a:cubicBezTo>
                    <a:cubicBezTo>
                      <a:pt x="1297" y="772"/>
                      <a:pt x="1296" y="601"/>
                      <a:pt x="1202" y="481"/>
                    </a:cubicBezTo>
                    <a:cubicBezTo>
                      <a:pt x="1103" y="560"/>
                      <a:pt x="1103" y="560"/>
                      <a:pt x="1103" y="560"/>
                    </a:cubicBezTo>
                    <a:cubicBezTo>
                      <a:pt x="1105" y="570"/>
                      <a:pt x="1106" y="580"/>
                      <a:pt x="1106" y="590"/>
                    </a:cubicBezTo>
                    <a:cubicBezTo>
                      <a:pt x="1106" y="677"/>
                      <a:pt x="1035" y="749"/>
                      <a:pt x="947" y="749"/>
                    </a:cubicBezTo>
                    <a:cubicBezTo>
                      <a:pt x="862" y="749"/>
                      <a:pt x="792" y="680"/>
                      <a:pt x="789" y="595"/>
                    </a:cubicBezTo>
                    <a:cubicBezTo>
                      <a:pt x="652" y="529"/>
                      <a:pt x="652" y="529"/>
                      <a:pt x="652" y="529"/>
                    </a:cubicBezTo>
                    <a:cubicBezTo>
                      <a:pt x="587" y="652"/>
                      <a:pt x="604" y="808"/>
                      <a:pt x="705" y="91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21">
                <a:extLst>
                  <a:ext uri="{FF2B5EF4-FFF2-40B4-BE49-F238E27FC236}">
                    <a16:creationId xmlns:a16="http://schemas.microsoft.com/office/drawing/2014/main" id="{F9EEAED7-4FFF-4707-B9E4-EC0C5FA18C53}"/>
                  </a:ext>
                </a:extLst>
              </p:cNvPr>
              <p:cNvSpPr>
                <a:spLocks noEditPoints="1"/>
              </p:cNvSpPr>
              <p:nvPr/>
            </p:nvSpPr>
            <p:spPr bwMode="auto">
              <a:xfrm>
                <a:off x="5470016" y="2869692"/>
                <a:ext cx="1346835" cy="1297305"/>
              </a:xfrm>
              <a:custGeom>
                <a:avLst/>
                <a:gdLst>
                  <a:gd name="T0" fmla="*/ 1272 w 1887"/>
                  <a:gd name="T1" fmla="*/ 1297 h 1816"/>
                  <a:gd name="T2" fmla="*/ 1389 w 1887"/>
                  <a:gd name="T3" fmla="*/ 1401 h 1816"/>
                  <a:gd name="T4" fmla="*/ 1481 w 1887"/>
                  <a:gd name="T5" fmla="*/ 1296 h 1816"/>
                  <a:gd name="T6" fmla="*/ 1340 w 1887"/>
                  <a:gd name="T7" fmla="*/ 644 h 1816"/>
                  <a:gd name="T8" fmla="*/ 722 w 1887"/>
                  <a:gd name="T9" fmla="*/ 1239 h 1816"/>
                  <a:gd name="T10" fmla="*/ 760 w 1887"/>
                  <a:gd name="T11" fmla="*/ 1202 h 1816"/>
                  <a:gd name="T12" fmla="*/ 1302 w 1887"/>
                  <a:gd name="T13" fmla="*/ 681 h 1816"/>
                  <a:gd name="T14" fmla="*/ 1291 w 1887"/>
                  <a:gd name="T15" fmla="*/ 1212 h 1816"/>
                  <a:gd name="T16" fmla="*/ 1752 w 1887"/>
                  <a:gd name="T17" fmla="*/ 1816 h 1816"/>
                  <a:gd name="T18" fmla="*/ 1405 w 1887"/>
                  <a:gd name="T19" fmla="*/ 1477 h 1816"/>
                  <a:gd name="T20" fmla="*/ 1528 w 1887"/>
                  <a:gd name="T21" fmla="*/ 1327 h 1816"/>
                  <a:gd name="T22" fmla="*/ 1559 w 1887"/>
                  <a:gd name="T23" fmla="*/ 1327 h 1816"/>
                  <a:gd name="T24" fmla="*/ 1878 w 1887"/>
                  <a:gd name="T25" fmla="*/ 1714 h 1816"/>
                  <a:gd name="T26" fmla="*/ 1752 w 1887"/>
                  <a:gd name="T27" fmla="*/ 1816 h 1816"/>
                  <a:gd name="T28" fmla="*/ 1746 w 1887"/>
                  <a:gd name="T29" fmla="*/ 1770 h 1816"/>
                  <a:gd name="T30" fmla="*/ 1837 w 1887"/>
                  <a:gd name="T31" fmla="*/ 1700 h 1816"/>
                  <a:gd name="T32" fmla="*/ 1543 w 1887"/>
                  <a:gd name="T33" fmla="*/ 1374 h 1816"/>
                  <a:gd name="T34" fmla="*/ 1624 w 1887"/>
                  <a:gd name="T35" fmla="*/ 0 h 1816"/>
                  <a:gd name="T36" fmla="*/ 0 w 1887"/>
                  <a:gd name="T37" fmla="*/ 22 h 1816"/>
                  <a:gd name="T38" fmla="*/ 22 w 1887"/>
                  <a:gd name="T39" fmla="*/ 1208 h 1816"/>
                  <a:gd name="T40" fmla="*/ 611 w 1887"/>
                  <a:gd name="T41" fmla="*/ 1164 h 1816"/>
                  <a:gd name="T42" fmla="*/ 44 w 1887"/>
                  <a:gd name="T43" fmla="*/ 945 h 1816"/>
                  <a:gd name="T44" fmla="*/ 440 w 1887"/>
                  <a:gd name="T45" fmla="*/ 830 h 1816"/>
                  <a:gd name="T46" fmla="*/ 517 w 1887"/>
                  <a:gd name="T47" fmla="*/ 685 h 1816"/>
                  <a:gd name="T48" fmla="*/ 702 w 1887"/>
                  <a:gd name="T49" fmla="*/ 542 h 1816"/>
                  <a:gd name="T50" fmla="*/ 806 w 1887"/>
                  <a:gd name="T51" fmla="*/ 523 h 1816"/>
                  <a:gd name="T52" fmla="*/ 793 w 1887"/>
                  <a:gd name="T53" fmla="*/ 468 h 1816"/>
                  <a:gd name="T54" fmla="*/ 702 w 1887"/>
                  <a:gd name="T55" fmla="*/ 356 h 1816"/>
                  <a:gd name="T56" fmla="*/ 625 w 1887"/>
                  <a:gd name="T57" fmla="*/ 501 h 1816"/>
                  <a:gd name="T58" fmla="*/ 440 w 1887"/>
                  <a:gd name="T59" fmla="*/ 644 h 1816"/>
                  <a:gd name="T60" fmla="*/ 349 w 1887"/>
                  <a:gd name="T61" fmla="*/ 755 h 1816"/>
                  <a:gd name="T62" fmla="*/ 44 w 1887"/>
                  <a:gd name="T63" fmla="*/ 44 h 1816"/>
                  <a:gd name="T64" fmla="*/ 1602 w 1887"/>
                  <a:gd name="T65" fmla="*/ 104 h 1816"/>
                  <a:gd name="T66" fmla="*/ 1371 w 1887"/>
                  <a:gd name="T67" fmla="*/ 227 h 1816"/>
                  <a:gd name="T68" fmla="*/ 1286 w 1887"/>
                  <a:gd name="T69" fmla="*/ 359 h 1816"/>
                  <a:gd name="T70" fmla="*/ 1189 w 1887"/>
                  <a:gd name="T71" fmla="*/ 494 h 1816"/>
                  <a:gd name="T72" fmla="*/ 1371 w 1887"/>
                  <a:gd name="T73" fmla="*/ 413 h 1816"/>
                  <a:gd name="T74" fmla="*/ 1455 w 1887"/>
                  <a:gd name="T75" fmla="*/ 280 h 1816"/>
                  <a:gd name="T76" fmla="*/ 1602 w 1887"/>
                  <a:gd name="T77" fmla="*/ 1164 h 1816"/>
                  <a:gd name="T78" fmla="*/ 1438 w 1887"/>
                  <a:gd name="T79" fmla="*/ 1185 h 1816"/>
                  <a:gd name="T80" fmla="*/ 1624 w 1887"/>
                  <a:gd name="T81" fmla="*/ 1208 h 1816"/>
                  <a:gd name="T82" fmla="*/ 1646 w 1887"/>
                  <a:gd name="T83" fmla="*/ 22 h 1816"/>
                  <a:gd name="T84" fmla="*/ 702 w 1887"/>
                  <a:gd name="T85" fmla="*/ 400 h 1816"/>
                  <a:gd name="T86" fmla="*/ 702 w 1887"/>
                  <a:gd name="T87" fmla="*/ 498 h 1816"/>
                  <a:gd name="T88" fmla="*/ 702 w 1887"/>
                  <a:gd name="T89" fmla="*/ 400 h 1816"/>
                  <a:gd name="T90" fmla="*/ 489 w 1887"/>
                  <a:gd name="T91" fmla="*/ 737 h 1816"/>
                  <a:gd name="T92" fmla="*/ 391 w 1887"/>
                  <a:gd name="T93" fmla="*/ 737 h 1816"/>
                  <a:gd name="T94" fmla="*/ 1371 w 1887"/>
                  <a:gd name="T95" fmla="*/ 369 h 1816"/>
                  <a:gd name="T96" fmla="*/ 1371 w 1887"/>
                  <a:gd name="T97" fmla="*/ 271 h 1816"/>
                  <a:gd name="T98" fmla="*/ 1371 w 1887"/>
                  <a:gd name="T99" fmla="*/ 369 h 1816"/>
                  <a:gd name="T100" fmla="*/ 1111 w 1887"/>
                  <a:gd name="T101" fmla="*/ 750 h 1816"/>
                  <a:gd name="T102" fmla="*/ 942 w 1887"/>
                  <a:gd name="T103" fmla="*/ 769 h 1816"/>
                  <a:gd name="T104" fmla="*/ 766 w 1887"/>
                  <a:gd name="T105" fmla="*/ 742 h 1816"/>
                  <a:gd name="T106" fmla="*/ 916 w 1887"/>
                  <a:gd name="T107" fmla="*/ 843 h 1816"/>
                  <a:gd name="T108" fmla="*/ 1155 w 1887"/>
                  <a:gd name="T109" fmla="*/ 843 h 1816"/>
                  <a:gd name="T110" fmla="*/ 1258 w 1887"/>
                  <a:gd name="T111" fmla="*/ 698 h 1816"/>
                  <a:gd name="T112" fmla="*/ 1035 w 1887"/>
                  <a:gd name="T113" fmla="*/ 915 h 1816"/>
                  <a:gd name="T114" fmla="*/ 1035 w 1887"/>
                  <a:gd name="T115" fmla="*/ 771 h 1816"/>
                  <a:gd name="T116" fmla="*/ 1035 w 1887"/>
                  <a:gd name="T117" fmla="*/ 915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87" h="1816">
                    <a:moveTo>
                      <a:pt x="722" y="1239"/>
                    </a:moveTo>
                    <a:cubicBezTo>
                      <a:pt x="869" y="1392"/>
                      <a:pt x="1103" y="1412"/>
                      <a:pt x="1272" y="1297"/>
                    </a:cubicBezTo>
                    <a:cubicBezTo>
                      <a:pt x="1272" y="1297"/>
                      <a:pt x="1272" y="1297"/>
                      <a:pt x="1372" y="1400"/>
                    </a:cubicBezTo>
                    <a:cubicBezTo>
                      <a:pt x="1377" y="1405"/>
                      <a:pt x="1384" y="1405"/>
                      <a:pt x="1389" y="1401"/>
                    </a:cubicBezTo>
                    <a:cubicBezTo>
                      <a:pt x="1389" y="1401"/>
                      <a:pt x="1389" y="1401"/>
                      <a:pt x="1480" y="1313"/>
                    </a:cubicBezTo>
                    <a:cubicBezTo>
                      <a:pt x="1485" y="1308"/>
                      <a:pt x="1485" y="1301"/>
                      <a:pt x="1481" y="1296"/>
                    </a:cubicBezTo>
                    <a:cubicBezTo>
                      <a:pt x="1481" y="1296"/>
                      <a:pt x="1481" y="1296"/>
                      <a:pt x="1380" y="1191"/>
                    </a:cubicBezTo>
                    <a:cubicBezTo>
                      <a:pt x="1498" y="1026"/>
                      <a:pt x="1485" y="795"/>
                      <a:pt x="1340" y="644"/>
                    </a:cubicBezTo>
                    <a:cubicBezTo>
                      <a:pt x="1176" y="474"/>
                      <a:pt x="904" y="468"/>
                      <a:pt x="734" y="632"/>
                    </a:cubicBezTo>
                    <a:cubicBezTo>
                      <a:pt x="563" y="797"/>
                      <a:pt x="558" y="1068"/>
                      <a:pt x="722" y="1239"/>
                    </a:cubicBezTo>
                    <a:close/>
                    <a:moveTo>
                      <a:pt x="1260" y="1239"/>
                    </a:moveTo>
                    <a:cubicBezTo>
                      <a:pt x="1110" y="1355"/>
                      <a:pt x="894" y="1342"/>
                      <a:pt x="760" y="1202"/>
                    </a:cubicBezTo>
                    <a:cubicBezTo>
                      <a:pt x="617" y="1053"/>
                      <a:pt x="621" y="814"/>
                      <a:pt x="771" y="671"/>
                    </a:cubicBezTo>
                    <a:cubicBezTo>
                      <a:pt x="920" y="527"/>
                      <a:pt x="1158" y="532"/>
                      <a:pt x="1302" y="681"/>
                    </a:cubicBezTo>
                    <a:cubicBezTo>
                      <a:pt x="1434" y="819"/>
                      <a:pt x="1440" y="1033"/>
                      <a:pt x="1323" y="1178"/>
                    </a:cubicBezTo>
                    <a:cubicBezTo>
                      <a:pt x="1313" y="1190"/>
                      <a:pt x="1302" y="1202"/>
                      <a:pt x="1291" y="1212"/>
                    </a:cubicBezTo>
                    <a:cubicBezTo>
                      <a:pt x="1281" y="1222"/>
                      <a:pt x="1271" y="1231"/>
                      <a:pt x="1260" y="1239"/>
                    </a:cubicBezTo>
                    <a:close/>
                    <a:moveTo>
                      <a:pt x="1752" y="1816"/>
                    </a:moveTo>
                    <a:cubicBezTo>
                      <a:pt x="1737" y="1816"/>
                      <a:pt x="1724" y="1811"/>
                      <a:pt x="1714" y="1801"/>
                    </a:cubicBezTo>
                    <a:cubicBezTo>
                      <a:pt x="1405" y="1477"/>
                      <a:pt x="1405" y="1477"/>
                      <a:pt x="1405" y="1477"/>
                    </a:cubicBezTo>
                    <a:cubicBezTo>
                      <a:pt x="1396" y="1468"/>
                      <a:pt x="1396" y="1454"/>
                      <a:pt x="1405" y="1446"/>
                    </a:cubicBezTo>
                    <a:cubicBezTo>
                      <a:pt x="1528" y="1327"/>
                      <a:pt x="1528" y="1327"/>
                      <a:pt x="1528" y="1327"/>
                    </a:cubicBezTo>
                    <a:cubicBezTo>
                      <a:pt x="1533" y="1323"/>
                      <a:pt x="1538" y="1321"/>
                      <a:pt x="1544" y="1321"/>
                    </a:cubicBezTo>
                    <a:cubicBezTo>
                      <a:pt x="1550" y="1321"/>
                      <a:pt x="1555" y="1323"/>
                      <a:pt x="1559" y="1327"/>
                    </a:cubicBezTo>
                    <a:cubicBezTo>
                      <a:pt x="1870" y="1652"/>
                      <a:pt x="1870" y="1652"/>
                      <a:pt x="1870" y="1652"/>
                    </a:cubicBezTo>
                    <a:cubicBezTo>
                      <a:pt x="1884" y="1667"/>
                      <a:pt x="1887" y="1689"/>
                      <a:pt x="1878" y="1714"/>
                    </a:cubicBezTo>
                    <a:cubicBezTo>
                      <a:pt x="1871" y="1735"/>
                      <a:pt x="1857" y="1756"/>
                      <a:pt x="1838" y="1774"/>
                    </a:cubicBezTo>
                    <a:cubicBezTo>
                      <a:pt x="1810" y="1801"/>
                      <a:pt x="1778" y="1816"/>
                      <a:pt x="1752" y="1816"/>
                    </a:cubicBezTo>
                    <a:close/>
                    <a:moveTo>
                      <a:pt x="1451" y="1462"/>
                    </a:moveTo>
                    <a:cubicBezTo>
                      <a:pt x="1746" y="1770"/>
                      <a:pt x="1746" y="1770"/>
                      <a:pt x="1746" y="1770"/>
                    </a:cubicBezTo>
                    <a:cubicBezTo>
                      <a:pt x="1750" y="1774"/>
                      <a:pt x="1777" y="1772"/>
                      <a:pt x="1808" y="1743"/>
                    </a:cubicBezTo>
                    <a:cubicBezTo>
                      <a:pt x="1821" y="1729"/>
                      <a:pt x="1832" y="1714"/>
                      <a:pt x="1837" y="1700"/>
                    </a:cubicBezTo>
                    <a:cubicBezTo>
                      <a:pt x="1840" y="1690"/>
                      <a:pt x="1839" y="1684"/>
                      <a:pt x="1838" y="1682"/>
                    </a:cubicBezTo>
                    <a:cubicBezTo>
                      <a:pt x="1543" y="1374"/>
                      <a:pt x="1543" y="1374"/>
                      <a:pt x="1543" y="1374"/>
                    </a:cubicBezTo>
                    <a:lnTo>
                      <a:pt x="1451" y="1462"/>
                    </a:lnTo>
                    <a:close/>
                    <a:moveTo>
                      <a:pt x="1624" y="0"/>
                    </a:moveTo>
                    <a:cubicBezTo>
                      <a:pt x="22" y="0"/>
                      <a:pt x="22" y="0"/>
                      <a:pt x="22" y="0"/>
                    </a:cubicBezTo>
                    <a:cubicBezTo>
                      <a:pt x="10" y="0"/>
                      <a:pt x="0" y="10"/>
                      <a:pt x="0" y="22"/>
                    </a:cubicBezTo>
                    <a:cubicBezTo>
                      <a:pt x="0" y="1186"/>
                      <a:pt x="0" y="1186"/>
                      <a:pt x="0" y="1186"/>
                    </a:cubicBezTo>
                    <a:cubicBezTo>
                      <a:pt x="0" y="1198"/>
                      <a:pt x="10" y="1208"/>
                      <a:pt x="22" y="1208"/>
                    </a:cubicBezTo>
                    <a:cubicBezTo>
                      <a:pt x="638" y="1208"/>
                      <a:pt x="638" y="1208"/>
                      <a:pt x="638" y="1208"/>
                    </a:cubicBezTo>
                    <a:cubicBezTo>
                      <a:pt x="628" y="1193"/>
                      <a:pt x="619" y="1179"/>
                      <a:pt x="611" y="1164"/>
                    </a:cubicBezTo>
                    <a:cubicBezTo>
                      <a:pt x="44" y="1164"/>
                      <a:pt x="44" y="1164"/>
                      <a:pt x="44" y="1164"/>
                    </a:cubicBezTo>
                    <a:cubicBezTo>
                      <a:pt x="44" y="945"/>
                      <a:pt x="44" y="945"/>
                      <a:pt x="44" y="945"/>
                    </a:cubicBezTo>
                    <a:cubicBezTo>
                      <a:pt x="368" y="795"/>
                      <a:pt x="368" y="795"/>
                      <a:pt x="368" y="795"/>
                    </a:cubicBezTo>
                    <a:cubicBezTo>
                      <a:pt x="385" y="816"/>
                      <a:pt x="411" y="830"/>
                      <a:pt x="440" y="830"/>
                    </a:cubicBezTo>
                    <a:cubicBezTo>
                      <a:pt x="492" y="830"/>
                      <a:pt x="533" y="788"/>
                      <a:pt x="533" y="737"/>
                    </a:cubicBezTo>
                    <a:cubicBezTo>
                      <a:pt x="533" y="718"/>
                      <a:pt x="527" y="700"/>
                      <a:pt x="517" y="685"/>
                    </a:cubicBezTo>
                    <a:cubicBezTo>
                      <a:pt x="658" y="530"/>
                      <a:pt x="658" y="530"/>
                      <a:pt x="658" y="530"/>
                    </a:cubicBezTo>
                    <a:cubicBezTo>
                      <a:pt x="671" y="538"/>
                      <a:pt x="686" y="542"/>
                      <a:pt x="702" y="542"/>
                    </a:cubicBezTo>
                    <a:cubicBezTo>
                      <a:pt x="731" y="542"/>
                      <a:pt x="757" y="528"/>
                      <a:pt x="774" y="508"/>
                    </a:cubicBezTo>
                    <a:cubicBezTo>
                      <a:pt x="806" y="523"/>
                      <a:pt x="806" y="523"/>
                      <a:pt x="806" y="523"/>
                    </a:cubicBezTo>
                    <a:cubicBezTo>
                      <a:pt x="823" y="514"/>
                      <a:pt x="840" y="506"/>
                      <a:pt x="858" y="499"/>
                    </a:cubicBezTo>
                    <a:cubicBezTo>
                      <a:pt x="793" y="468"/>
                      <a:pt x="793" y="468"/>
                      <a:pt x="793" y="468"/>
                    </a:cubicBezTo>
                    <a:cubicBezTo>
                      <a:pt x="794" y="462"/>
                      <a:pt x="795" y="455"/>
                      <a:pt x="795" y="449"/>
                    </a:cubicBezTo>
                    <a:cubicBezTo>
                      <a:pt x="795" y="397"/>
                      <a:pt x="753" y="356"/>
                      <a:pt x="702" y="356"/>
                    </a:cubicBezTo>
                    <a:cubicBezTo>
                      <a:pt x="651" y="356"/>
                      <a:pt x="609" y="397"/>
                      <a:pt x="609" y="449"/>
                    </a:cubicBezTo>
                    <a:cubicBezTo>
                      <a:pt x="609" y="468"/>
                      <a:pt x="615" y="486"/>
                      <a:pt x="625" y="501"/>
                    </a:cubicBezTo>
                    <a:cubicBezTo>
                      <a:pt x="485" y="655"/>
                      <a:pt x="485" y="655"/>
                      <a:pt x="485" y="655"/>
                    </a:cubicBezTo>
                    <a:cubicBezTo>
                      <a:pt x="471" y="648"/>
                      <a:pt x="456" y="644"/>
                      <a:pt x="440" y="644"/>
                    </a:cubicBezTo>
                    <a:cubicBezTo>
                      <a:pt x="389" y="644"/>
                      <a:pt x="347" y="686"/>
                      <a:pt x="347" y="737"/>
                    </a:cubicBezTo>
                    <a:cubicBezTo>
                      <a:pt x="347" y="743"/>
                      <a:pt x="348" y="749"/>
                      <a:pt x="349" y="755"/>
                    </a:cubicBezTo>
                    <a:cubicBezTo>
                      <a:pt x="44" y="896"/>
                      <a:pt x="44" y="896"/>
                      <a:pt x="44" y="896"/>
                    </a:cubicBezTo>
                    <a:cubicBezTo>
                      <a:pt x="44" y="44"/>
                      <a:pt x="44" y="44"/>
                      <a:pt x="44" y="44"/>
                    </a:cubicBezTo>
                    <a:cubicBezTo>
                      <a:pt x="1602" y="44"/>
                      <a:pt x="1602" y="44"/>
                      <a:pt x="1602" y="44"/>
                    </a:cubicBezTo>
                    <a:cubicBezTo>
                      <a:pt x="1602" y="104"/>
                      <a:pt x="1602" y="104"/>
                      <a:pt x="1602" y="104"/>
                    </a:cubicBezTo>
                    <a:cubicBezTo>
                      <a:pt x="1427" y="246"/>
                      <a:pt x="1427" y="246"/>
                      <a:pt x="1427" y="246"/>
                    </a:cubicBezTo>
                    <a:cubicBezTo>
                      <a:pt x="1411" y="234"/>
                      <a:pt x="1392" y="227"/>
                      <a:pt x="1371" y="227"/>
                    </a:cubicBezTo>
                    <a:cubicBezTo>
                      <a:pt x="1319" y="227"/>
                      <a:pt x="1278" y="269"/>
                      <a:pt x="1278" y="320"/>
                    </a:cubicBezTo>
                    <a:cubicBezTo>
                      <a:pt x="1278" y="334"/>
                      <a:pt x="1281" y="347"/>
                      <a:pt x="1286" y="359"/>
                    </a:cubicBezTo>
                    <a:cubicBezTo>
                      <a:pt x="1137" y="479"/>
                      <a:pt x="1137" y="479"/>
                      <a:pt x="1137" y="479"/>
                    </a:cubicBezTo>
                    <a:cubicBezTo>
                      <a:pt x="1155" y="483"/>
                      <a:pt x="1172" y="488"/>
                      <a:pt x="1189" y="494"/>
                    </a:cubicBezTo>
                    <a:cubicBezTo>
                      <a:pt x="1314" y="394"/>
                      <a:pt x="1314" y="394"/>
                      <a:pt x="1314" y="394"/>
                    </a:cubicBezTo>
                    <a:cubicBezTo>
                      <a:pt x="1330" y="406"/>
                      <a:pt x="1349" y="413"/>
                      <a:pt x="1371" y="413"/>
                    </a:cubicBezTo>
                    <a:cubicBezTo>
                      <a:pt x="1422" y="413"/>
                      <a:pt x="1464" y="371"/>
                      <a:pt x="1464" y="320"/>
                    </a:cubicBezTo>
                    <a:cubicBezTo>
                      <a:pt x="1464" y="306"/>
                      <a:pt x="1460" y="292"/>
                      <a:pt x="1455" y="280"/>
                    </a:cubicBezTo>
                    <a:cubicBezTo>
                      <a:pt x="1602" y="160"/>
                      <a:pt x="1602" y="160"/>
                      <a:pt x="1602" y="160"/>
                    </a:cubicBezTo>
                    <a:cubicBezTo>
                      <a:pt x="1602" y="1164"/>
                      <a:pt x="1602" y="1164"/>
                      <a:pt x="1602" y="1164"/>
                    </a:cubicBezTo>
                    <a:cubicBezTo>
                      <a:pt x="1450" y="1164"/>
                      <a:pt x="1450" y="1164"/>
                      <a:pt x="1450" y="1164"/>
                    </a:cubicBezTo>
                    <a:cubicBezTo>
                      <a:pt x="1446" y="1171"/>
                      <a:pt x="1442" y="1178"/>
                      <a:pt x="1438" y="1185"/>
                    </a:cubicBezTo>
                    <a:cubicBezTo>
                      <a:pt x="1460" y="1208"/>
                      <a:pt x="1460" y="1208"/>
                      <a:pt x="1460" y="1208"/>
                    </a:cubicBezTo>
                    <a:cubicBezTo>
                      <a:pt x="1624" y="1208"/>
                      <a:pt x="1624" y="1208"/>
                      <a:pt x="1624" y="1208"/>
                    </a:cubicBezTo>
                    <a:cubicBezTo>
                      <a:pt x="1636" y="1208"/>
                      <a:pt x="1646" y="1198"/>
                      <a:pt x="1646" y="1186"/>
                    </a:cubicBezTo>
                    <a:cubicBezTo>
                      <a:pt x="1646" y="22"/>
                      <a:pt x="1646" y="22"/>
                      <a:pt x="1646" y="22"/>
                    </a:cubicBezTo>
                    <a:cubicBezTo>
                      <a:pt x="1646" y="10"/>
                      <a:pt x="1636" y="0"/>
                      <a:pt x="1624" y="0"/>
                    </a:cubicBezTo>
                    <a:close/>
                    <a:moveTo>
                      <a:pt x="702" y="400"/>
                    </a:moveTo>
                    <a:cubicBezTo>
                      <a:pt x="729" y="400"/>
                      <a:pt x="751" y="422"/>
                      <a:pt x="751" y="449"/>
                    </a:cubicBezTo>
                    <a:cubicBezTo>
                      <a:pt x="751" y="476"/>
                      <a:pt x="729" y="498"/>
                      <a:pt x="702" y="498"/>
                    </a:cubicBezTo>
                    <a:cubicBezTo>
                      <a:pt x="675" y="498"/>
                      <a:pt x="653" y="476"/>
                      <a:pt x="653" y="449"/>
                    </a:cubicBezTo>
                    <a:cubicBezTo>
                      <a:pt x="653" y="422"/>
                      <a:pt x="675" y="400"/>
                      <a:pt x="702" y="400"/>
                    </a:cubicBezTo>
                    <a:close/>
                    <a:moveTo>
                      <a:pt x="440" y="688"/>
                    </a:moveTo>
                    <a:cubicBezTo>
                      <a:pt x="467" y="688"/>
                      <a:pt x="489" y="710"/>
                      <a:pt x="489" y="737"/>
                    </a:cubicBezTo>
                    <a:cubicBezTo>
                      <a:pt x="489" y="764"/>
                      <a:pt x="467" y="786"/>
                      <a:pt x="440" y="786"/>
                    </a:cubicBezTo>
                    <a:cubicBezTo>
                      <a:pt x="413" y="786"/>
                      <a:pt x="391" y="764"/>
                      <a:pt x="391" y="737"/>
                    </a:cubicBezTo>
                    <a:cubicBezTo>
                      <a:pt x="391" y="710"/>
                      <a:pt x="413" y="688"/>
                      <a:pt x="440" y="688"/>
                    </a:cubicBezTo>
                    <a:close/>
                    <a:moveTo>
                      <a:pt x="1371" y="369"/>
                    </a:moveTo>
                    <a:cubicBezTo>
                      <a:pt x="1344" y="369"/>
                      <a:pt x="1322" y="347"/>
                      <a:pt x="1322" y="320"/>
                    </a:cubicBezTo>
                    <a:cubicBezTo>
                      <a:pt x="1322" y="293"/>
                      <a:pt x="1344" y="271"/>
                      <a:pt x="1371" y="271"/>
                    </a:cubicBezTo>
                    <a:cubicBezTo>
                      <a:pt x="1398" y="271"/>
                      <a:pt x="1420" y="293"/>
                      <a:pt x="1420" y="320"/>
                    </a:cubicBezTo>
                    <a:cubicBezTo>
                      <a:pt x="1420" y="347"/>
                      <a:pt x="1398" y="369"/>
                      <a:pt x="1371" y="369"/>
                    </a:cubicBezTo>
                    <a:close/>
                    <a:moveTo>
                      <a:pt x="1217" y="665"/>
                    </a:moveTo>
                    <a:cubicBezTo>
                      <a:pt x="1111" y="750"/>
                      <a:pt x="1111" y="750"/>
                      <a:pt x="1111" y="750"/>
                    </a:cubicBezTo>
                    <a:cubicBezTo>
                      <a:pt x="1090" y="733"/>
                      <a:pt x="1064" y="723"/>
                      <a:pt x="1035" y="723"/>
                    </a:cubicBezTo>
                    <a:cubicBezTo>
                      <a:pt x="997" y="723"/>
                      <a:pt x="963" y="741"/>
                      <a:pt x="942" y="769"/>
                    </a:cubicBezTo>
                    <a:cubicBezTo>
                      <a:pt x="801" y="701"/>
                      <a:pt x="801" y="701"/>
                      <a:pt x="801" y="701"/>
                    </a:cubicBezTo>
                    <a:cubicBezTo>
                      <a:pt x="788" y="714"/>
                      <a:pt x="776" y="727"/>
                      <a:pt x="766" y="742"/>
                    </a:cubicBezTo>
                    <a:cubicBezTo>
                      <a:pt x="919" y="816"/>
                      <a:pt x="919" y="816"/>
                      <a:pt x="919" y="816"/>
                    </a:cubicBezTo>
                    <a:cubicBezTo>
                      <a:pt x="917" y="824"/>
                      <a:pt x="916" y="834"/>
                      <a:pt x="916" y="843"/>
                    </a:cubicBezTo>
                    <a:cubicBezTo>
                      <a:pt x="916" y="909"/>
                      <a:pt x="969" y="963"/>
                      <a:pt x="1035" y="963"/>
                    </a:cubicBezTo>
                    <a:cubicBezTo>
                      <a:pt x="1102" y="963"/>
                      <a:pt x="1155" y="909"/>
                      <a:pt x="1155" y="843"/>
                    </a:cubicBezTo>
                    <a:cubicBezTo>
                      <a:pt x="1155" y="824"/>
                      <a:pt x="1151" y="806"/>
                      <a:pt x="1143" y="790"/>
                    </a:cubicBezTo>
                    <a:cubicBezTo>
                      <a:pt x="1258" y="698"/>
                      <a:pt x="1258" y="698"/>
                      <a:pt x="1258" y="698"/>
                    </a:cubicBezTo>
                    <a:cubicBezTo>
                      <a:pt x="1245" y="686"/>
                      <a:pt x="1231" y="675"/>
                      <a:pt x="1217" y="665"/>
                    </a:cubicBezTo>
                    <a:close/>
                    <a:moveTo>
                      <a:pt x="1035" y="915"/>
                    </a:moveTo>
                    <a:cubicBezTo>
                      <a:pt x="996" y="915"/>
                      <a:pt x="964" y="883"/>
                      <a:pt x="964" y="843"/>
                    </a:cubicBezTo>
                    <a:cubicBezTo>
                      <a:pt x="964" y="803"/>
                      <a:pt x="996" y="771"/>
                      <a:pt x="1035" y="771"/>
                    </a:cubicBezTo>
                    <a:cubicBezTo>
                      <a:pt x="1075" y="771"/>
                      <a:pt x="1107" y="803"/>
                      <a:pt x="1107" y="843"/>
                    </a:cubicBezTo>
                    <a:cubicBezTo>
                      <a:pt x="1107" y="883"/>
                      <a:pt x="1075" y="915"/>
                      <a:pt x="1035" y="91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76" name="Group 75"/>
          <p:cNvGrpSpPr>
            <a:grpSpLocks noChangeAspect="1"/>
          </p:cNvGrpSpPr>
          <p:nvPr/>
        </p:nvGrpSpPr>
        <p:grpSpPr>
          <a:xfrm>
            <a:off x="7797571" y="2280312"/>
            <a:ext cx="1089622" cy="1090632"/>
            <a:chOff x="5273801" y="2606040"/>
            <a:chExt cx="1644396" cy="1645920"/>
          </a:xfrm>
        </p:grpSpPr>
        <p:sp>
          <p:nvSpPr>
            <p:cNvPr id="77" name="AutoShape 18">
              <a:extLst>
                <a:ext uri="{FF2B5EF4-FFF2-40B4-BE49-F238E27FC236}">
                  <a16:creationId xmlns:a16="http://schemas.microsoft.com/office/drawing/2014/main" id="{100AC5BD-F30F-4F9C-94F8-3ECEAAF56365}"/>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78" name="Group 77"/>
            <p:cNvGrpSpPr/>
            <p:nvPr/>
          </p:nvGrpSpPr>
          <p:grpSpPr>
            <a:xfrm>
              <a:off x="5388863" y="2953131"/>
              <a:ext cx="1409319" cy="967359"/>
              <a:chOff x="5388863" y="2953131"/>
              <a:chExt cx="1409319" cy="967359"/>
            </a:xfrm>
          </p:grpSpPr>
          <p:sp>
            <p:nvSpPr>
              <p:cNvPr id="79" name="Freeform 20">
                <a:extLst>
                  <a:ext uri="{FF2B5EF4-FFF2-40B4-BE49-F238E27FC236}">
                    <a16:creationId xmlns:a16="http://schemas.microsoft.com/office/drawing/2014/main" id="{D44F01FC-0979-4CF2-A046-0010F3FF82EE}"/>
                  </a:ext>
                </a:extLst>
              </p:cNvPr>
              <p:cNvSpPr>
                <a:spLocks noEditPoints="1"/>
              </p:cNvSpPr>
              <p:nvPr/>
            </p:nvSpPr>
            <p:spPr bwMode="auto">
              <a:xfrm>
                <a:off x="5388863" y="3167634"/>
                <a:ext cx="737235" cy="752856"/>
              </a:xfrm>
              <a:custGeom>
                <a:avLst/>
                <a:gdLst>
                  <a:gd name="T0" fmla="*/ 989 w 1033"/>
                  <a:gd name="T1" fmla="*/ 0 h 1054"/>
                  <a:gd name="T2" fmla="*/ 44 w 1033"/>
                  <a:gd name="T3" fmla="*/ 0 h 1054"/>
                  <a:gd name="T4" fmla="*/ 0 w 1033"/>
                  <a:gd name="T5" fmla="*/ 44 h 1054"/>
                  <a:gd name="T6" fmla="*/ 0 w 1033"/>
                  <a:gd name="T7" fmla="*/ 725 h 1054"/>
                  <a:gd name="T8" fmla="*/ 44 w 1033"/>
                  <a:gd name="T9" fmla="*/ 769 h 1054"/>
                  <a:gd name="T10" fmla="*/ 299 w 1033"/>
                  <a:gd name="T11" fmla="*/ 769 h 1054"/>
                  <a:gd name="T12" fmla="*/ 299 w 1033"/>
                  <a:gd name="T13" fmla="*/ 1010 h 1054"/>
                  <a:gd name="T14" fmla="*/ 300 w 1033"/>
                  <a:gd name="T15" fmla="*/ 1017 h 1054"/>
                  <a:gd name="T16" fmla="*/ 337 w 1033"/>
                  <a:gd name="T17" fmla="*/ 1053 h 1054"/>
                  <a:gd name="T18" fmla="*/ 347 w 1033"/>
                  <a:gd name="T19" fmla="*/ 1054 h 1054"/>
                  <a:gd name="T20" fmla="*/ 401 w 1033"/>
                  <a:gd name="T21" fmla="*/ 1026 h 1054"/>
                  <a:gd name="T22" fmla="*/ 469 w 1033"/>
                  <a:gd name="T23" fmla="*/ 951 h 1054"/>
                  <a:gd name="T24" fmla="*/ 637 w 1033"/>
                  <a:gd name="T25" fmla="*/ 769 h 1054"/>
                  <a:gd name="T26" fmla="*/ 989 w 1033"/>
                  <a:gd name="T27" fmla="*/ 769 h 1054"/>
                  <a:gd name="T28" fmla="*/ 1033 w 1033"/>
                  <a:gd name="T29" fmla="*/ 725 h 1054"/>
                  <a:gd name="T30" fmla="*/ 1033 w 1033"/>
                  <a:gd name="T31" fmla="*/ 44 h 1054"/>
                  <a:gd name="T32" fmla="*/ 989 w 1033"/>
                  <a:gd name="T33" fmla="*/ 0 h 1054"/>
                  <a:gd name="T34" fmla="*/ 832 w 1033"/>
                  <a:gd name="T35" fmla="*/ 552 h 1054"/>
                  <a:gd name="T36" fmla="*/ 201 w 1033"/>
                  <a:gd name="T37" fmla="*/ 552 h 1054"/>
                  <a:gd name="T38" fmla="*/ 179 w 1033"/>
                  <a:gd name="T39" fmla="*/ 530 h 1054"/>
                  <a:gd name="T40" fmla="*/ 201 w 1033"/>
                  <a:gd name="T41" fmla="*/ 508 h 1054"/>
                  <a:gd name="T42" fmla="*/ 832 w 1033"/>
                  <a:gd name="T43" fmla="*/ 508 h 1054"/>
                  <a:gd name="T44" fmla="*/ 854 w 1033"/>
                  <a:gd name="T45" fmla="*/ 530 h 1054"/>
                  <a:gd name="T46" fmla="*/ 832 w 1033"/>
                  <a:gd name="T47" fmla="*/ 552 h 1054"/>
                  <a:gd name="T48" fmla="*/ 832 w 1033"/>
                  <a:gd name="T49" fmla="*/ 415 h 1054"/>
                  <a:gd name="T50" fmla="*/ 201 w 1033"/>
                  <a:gd name="T51" fmla="*/ 415 h 1054"/>
                  <a:gd name="T52" fmla="*/ 179 w 1033"/>
                  <a:gd name="T53" fmla="*/ 393 h 1054"/>
                  <a:gd name="T54" fmla="*/ 201 w 1033"/>
                  <a:gd name="T55" fmla="*/ 371 h 1054"/>
                  <a:gd name="T56" fmla="*/ 832 w 1033"/>
                  <a:gd name="T57" fmla="*/ 371 h 1054"/>
                  <a:gd name="T58" fmla="*/ 854 w 1033"/>
                  <a:gd name="T59" fmla="*/ 393 h 1054"/>
                  <a:gd name="T60" fmla="*/ 832 w 1033"/>
                  <a:gd name="T61" fmla="*/ 415 h 1054"/>
                  <a:gd name="T62" fmla="*/ 832 w 1033"/>
                  <a:gd name="T63" fmla="*/ 279 h 1054"/>
                  <a:gd name="T64" fmla="*/ 201 w 1033"/>
                  <a:gd name="T65" fmla="*/ 279 h 1054"/>
                  <a:gd name="T66" fmla="*/ 179 w 1033"/>
                  <a:gd name="T67" fmla="*/ 257 h 1054"/>
                  <a:gd name="T68" fmla="*/ 201 w 1033"/>
                  <a:gd name="T69" fmla="*/ 235 h 1054"/>
                  <a:gd name="T70" fmla="*/ 832 w 1033"/>
                  <a:gd name="T71" fmla="*/ 235 h 1054"/>
                  <a:gd name="T72" fmla="*/ 854 w 1033"/>
                  <a:gd name="T73" fmla="*/ 257 h 1054"/>
                  <a:gd name="T74" fmla="*/ 832 w 1033"/>
                  <a:gd name="T75" fmla="*/ 279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3" h="1054">
                    <a:moveTo>
                      <a:pt x="989" y="0"/>
                    </a:moveTo>
                    <a:cubicBezTo>
                      <a:pt x="44" y="0"/>
                      <a:pt x="44" y="0"/>
                      <a:pt x="44" y="0"/>
                    </a:cubicBezTo>
                    <a:cubicBezTo>
                      <a:pt x="20" y="0"/>
                      <a:pt x="0" y="20"/>
                      <a:pt x="0" y="44"/>
                    </a:cubicBezTo>
                    <a:cubicBezTo>
                      <a:pt x="0" y="725"/>
                      <a:pt x="0" y="725"/>
                      <a:pt x="0" y="725"/>
                    </a:cubicBezTo>
                    <a:cubicBezTo>
                      <a:pt x="0" y="750"/>
                      <a:pt x="20" y="769"/>
                      <a:pt x="44" y="769"/>
                    </a:cubicBezTo>
                    <a:cubicBezTo>
                      <a:pt x="299" y="769"/>
                      <a:pt x="299" y="769"/>
                      <a:pt x="299" y="769"/>
                    </a:cubicBezTo>
                    <a:cubicBezTo>
                      <a:pt x="299" y="1010"/>
                      <a:pt x="299" y="1010"/>
                      <a:pt x="299" y="1010"/>
                    </a:cubicBezTo>
                    <a:cubicBezTo>
                      <a:pt x="299" y="1012"/>
                      <a:pt x="299" y="1015"/>
                      <a:pt x="300" y="1017"/>
                    </a:cubicBezTo>
                    <a:cubicBezTo>
                      <a:pt x="301" y="1020"/>
                      <a:pt x="311" y="1047"/>
                      <a:pt x="337" y="1053"/>
                    </a:cubicBezTo>
                    <a:cubicBezTo>
                      <a:pt x="341" y="1054"/>
                      <a:pt x="344" y="1054"/>
                      <a:pt x="347" y="1054"/>
                    </a:cubicBezTo>
                    <a:cubicBezTo>
                      <a:pt x="365" y="1054"/>
                      <a:pt x="383" y="1045"/>
                      <a:pt x="401" y="1026"/>
                    </a:cubicBezTo>
                    <a:cubicBezTo>
                      <a:pt x="414" y="1013"/>
                      <a:pt x="438" y="986"/>
                      <a:pt x="469" y="951"/>
                    </a:cubicBezTo>
                    <a:cubicBezTo>
                      <a:pt x="516" y="899"/>
                      <a:pt x="579" y="829"/>
                      <a:pt x="637" y="769"/>
                    </a:cubicBezTo>
                    <a:cubicBezTo>
                      <a:pt x="989" y="769"/>
                      <a:pt x="989" y="769"/>
                      <a:pt x="989" y="769"/>
                    </a:cubicBezTo>
                    <a:cubicBezTo>
                      <a:pt x="1013" y="769"/>
                      <a:pt x="1033" y="750"/>
                      <a:pt x="1033" y="725"/>
                    </a:cubicBezTo>
                    <a:cubicBezTo>
                      <a:pt x="1033" y="44"/>
                      <a:pt x="1033" y="44"/>
                      <a:pt x="1033" y="44"/>
                    </a:cubicBezTo>
                    <a:cubicBezTo>
                      <a:pt x="1033" y="20"/>
                      <a:pt x="1013" y="0"/>
                      <a:pt x="989" y="0"/>
                    </a:cubicBezTo>
                    <a:close/>
                    <a:moveTo>
                      <a:pt x="832" y="552"/>
                    </a:moveTo>
                    <a:cubicBezTo>
                      <a:pt x="201" y="552"/>
                      <a:pt x="201" y="552"/>
                      <a:pt x="201" y="552"/>
                    </a:cubicBezTo>
                    <a:cubicBezTo>
                      <a:pt x="189" y="552"/>
                      <a:pt x="179" y="543"/>
                      <a:pt x="179" y="530"/>
                    </a:cubicBezTo>
                    <a:cubicBezTo>
                      <a:pt x="179" y="518"/>
                      <a:pt x="189" y="508"/>
                      <a:pt x="201" y="508"/>
                    </a:cubicBezTo>
                    <a:cubicBezTo>
                      <a:pt x="832" y="508"/>
                      <a:pt x="832" y="508"/>
                      <a:pt x="832" y="508"/>
                    </a:cubicBezTo>
                    <a:cubicBezTo>
                      <a:pt x="844" y="508"/>
                      <a:pt x="854" y="518"/>
                      <a:pt x="854" y="530"/>
                    </a:cubicBezTo>
                    <a:cubicBezTo>
                      <a:pt x="854" y="543"/>
                      <a:pt x="844" y="552"/>
                      <a:pt x="832" y="552"/>
                    </a:cubicBezTo>
                    <a:close/>
                    <a:moveTo>
                      <a:pt x="832" y="415"/>
                    </a:moveTo>
                    <a:cubicBezTo>
                      <a:pt x="201" y="415"/>
                      <a:pt x="201" y="415"/>
                      <a:pt x="201" y="415"/>
                    </a:cubicBezTo>
                    <a:cubicBezTo>
                      <a:pt x="189" y="415"/>
                      <a:pt x="179" y="405"/>
                      <a:pt x="179" y="393"/>
                    </a:cubicBezTo>
                    <a:cubicBezTo>
                      <a:pt x="179" y="380"/>
                      <a:pt x="189" y="371"/>
                      <a:pt x="201" y="371"/>
                    </a:cubicBezTo>
                    <a:cubicBezTo>
                      <a:pt x="832" y="371"/>
                      <a:pt x="832" y="371"/>
                      <a:pt x="832" y="371"/>
                    </a:cubicBezTo>
                    <a:cubicBezTo>
                      <a:pt x="844" y="371"/>
                      <a:pt x="854" y="380"/>
                      <a:pt x="854" y="393"/>
                    </a:cubicBezTo>
                    <a:cubicBezTo>
                      <a:pt x="854" y="405"/>
                      <a:pt x="844" y="415"/>
                      <a:pt x="832" y="415"/>
                    </a:cubicBezTo>
                    <a:close/>
                    <a:moveTo>
                      <a:pt x="832" y="279"/>
                    </a:moveTo>
                    <a:cubicBezTo>
                      <a:pt x="201" y="279"/>
                      <a:pt x="201" y="279"/>
                      <a:pt x="201" y="279"/>
                    </a:cubicBezTo>
                    <a:cubicBezTo>
                      <a:pt x="189" y="279"/>
                      <a:pt x="179" y="269"/>
                      <a:pt x="179" y="257"/>
                    </a:cubicBezTo>
                    <a:cubicBezTo>
                      <a:pt x="179" y="245"/>
                      <a:pt x="189" y="235"/>
                      <a:pt x="201" y="235"/>
                    </a:cubicBezTo>
                    <a:cubicBezTo>
                      <a:pt x="832" y="235"/>
                      <a:pt x="832" y="235"/>
                      <a:pt x="832" y="235"/>
                    </a:cubicBezTo>
                    <a:cubicBezTo>
                      <a:pt x="844" y="235"/>
                      <a:pt x="854" y="245"/>
                      <a:pt x="854" y="257"/>
                    </a:cubicBezTo>
                    <a:cubicBezTo>
                      <a:pt x="854" y="269"/>
                      <a:pt x="844" y="279"/>
                      <a:pt x="832" y="27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21">
                <a:extLst>
                  <a:ext uri="{FF2B5EF4-FFF2-40B4-BE49-F238E27FC236}">
                    <a16:creationId xmlns:a16="http://schemas.microsoft.com/office/drawing/2014/main" id="{9FEAEA2A-1D9C-469F-A298-EC5C9220C30F}"/>
                  </a:ext>
                </a:extLst>
              </p:cNvPr>
              <p:cNvSpPr>
                <a:spLocks noEditPoints="1"/>
              </p:cNvSpPr>
              <p:nvPr/>
            </p:nvSpPr>
            <p:spPr bwMode="auto">
              <a:xfrm>
                <a:off x="6060947" y="2953131"/>
                <a:ext cx="737235" cy="752856"/>
              </a:xfrm>
              <a:custGeom>
                <a:avLst/>
                <a:gdLst>
                  <a:gd name="T0" fmla="*/ 1033 w 1033"/>
                  <a:gd name="T1" fmla="*/ 44 h 1054"/>
                  <a:gd name="T2" fmla="*/ 1033 w 1033"/>
                  <a:gd name="T3" fmla="*/ 725 h 1054"/>
                  <a:gd name="T4" fmla="*/ 989 w 1033"/>
                  <a:gd name="T5" fmla="*/ 769 h 1054"/>
                  <a:gd name="T6" fmla="*/ 734 w 1033"/>
                  <a:gd name="T7" fmla="*/ 769 h 1054"/>
                  <a:gd name="T8" fmla="*/ 734 w 1033"/>
                  <a:gd name="T9" fmla="*/ 1010 h 1054"/>
                  <a:gd name="T10" fmla="*/ 733 w 1033"/>
                  <a:gd name="T11" fmla="*/ 1017 h 1054"/>
                  <a:gd name="T12" fmla="*/ 696 w 1033"/>
                  <a:gd name="T13" fmla="*/ 1053 h 1054"/>
                  <a:gd name="T14" fmla="*/ 686 w 1033"/>
                  <a:gd name="T15" fmla="*/ 1054 h 1054"/>
                  <a:gd name="T16" fmla="*/ 632 w 1033"/>
                  <a:gd name="T17" fmla="*/ 1025 h 1054"/>
                  <a:gd name="T18" fmla="*/ 564 w 1033"/>
                  <a:gd name="T19" fmla="*/ 951 h 1054"/>
                  <a:gd name="T20" fmla="*/ 396 w 1033"/>
                  <a:gd name="T21" fmla="*/ 769 h 1054"/>
                  <a:gd name="T22" fmla="*/ 135 w 1033"/>
                  <a:gd name="T23" fmla="*/ 769 h 1054"/>
                  <a:gd name="T24" fmla="*/ 135 w 1033"/>
                  <a:gd name="T25" fmla="*/ 725 h 1054"/>
                  <a:gd name="T26" fmla="*/ 405 w 1033"/>
                  <a:gd name="T27" fmla="*/ 725 h 1054"/>
                  <a:gd name="T28" fmla="*/ 421 w 1033"/>
                  <a:gd name="T29" fmla="*/ 732 h 1054"/>
                  <a:gd name="T30" fmla="*/ 597 w 1033"/>
                  <a:gd name="T31" fmla="*/ 922 h 1054"/>
                  <a:gd name="T32" fmla="*/ 663 w 1033"/>
                  <a:gd name="T33" fmla="*/ 994 h 1054"/>
                  <a:gd name="T34" fmla="*/ 686 w 1033"/>
                  <a:gd name="T35" fmla="*/ 1010 h 1054"/>
                  <a:gd name="T36" fmla="*/ 690 w 1033"/>
                  <a:gd name="T37" fmla="*/ 1005 h 1054"/>
                  <a:gd name="T38" fmla="*/ 690 w 1033"/>
                  <a:gd name="T39" fmla="*/ 747 h 1054"/>
                  <a:gd name="T40" fmla="*/ 712 w 1033"/>
                  <a:gd name="T41" fmla="*/ 725 h 1054"/>
                  <a:gd name="T42" fmla="*/ 989 w 1033"/>
                  <a:gd name="T43" fmla="*/ 725 h 1054"/>
                  <a:gd name="T44" fmla="*/ 989 w 1033"/>
                  <a:gd name="T45" fmla="*/ 44 h 1054"/>
                  <a:gd name="T46" fmla="*/ 44 w 1033"/>
                  <a:gd name="T47" fmla="*/ 44 h 1054"/>
                  <a:gd name="T48" fmla="*/ 44 w 1033"/>
                  <a:gd name="T49" fmla="*/ 256 h 1054"/>
                  <a:gd name="T50" fmla="*/ 0 w 1033"/>
                  <a:gd name="T51" fmla="*/ 256 h 1054"/>
                  <a:gd name="T52" fmla="*/ 0 w 1033"/>
                  <a:gd name="T53" fmla="*/ 44 h 1054"/>
                  <a:gd name="T54" fmla="*/ 44 w 1033"/>
                  <a:gd name="T55" fmla="*/ 0 h 1054"/>
                  <a:gd name="T56" fmla="*/ 989 w 1033"/>
                  <a:gd name="T57" fmla="*/ 0 h 1054"/>
                  <a:gd name="T58" fmla="*/ 1033 w 1033"/>
                  <a:gd name="T59" fmla="*/ 44 h 1054"/>
                  <a:gd name="T60" fmla="*/ 835 w 1033"/>
                  <a:gd name="T61" fmla="*/ 247 h 1054"/>
                  <a:gd name="T62" fmla="*/ 813 w 1033"/>
                  <a:gd name="T63" fmla="*/ 225 h 1054"/>
                  <a:gd name="T64" fmla="*/ 220 w 1033"/>
                  <a:gd name="T65" fmla="*/ 225 h 1054"/>
                  <a:gd name="T66" fmla="*/ 198 w 1033"/>
                  <a:gd name="T67" fmla="*/ 247 h 1054"/>
                  <a:gd name="T68" fmla="*/ 220 w 1033"/>
                  <a:gd name="T69" fmla="*/ 269 h 1054"/>
                  <a:gd name="T70" fmla="*/ 813 w 1033"/>
                  <a:gd name="T71" fmla="*/ 269 h 1054"/>
                  <a:gd name="T72" fmla="*/ 835 w 1033"/>
                  <a:gd name="T73" fmla="*/ 247 h 1054"/>
                  <a:gd name="T74" fmla="*/ 835 w 1033"/>
                  <a:gd name="T75" fmla="*/ 383 h 1054"/>
                  <a:gd name="T76" fmla="*/ 813 w 1033"/>
                  <a:gd name="T77" fmla="*/ 361 h 1054"/>
                  <a:gd name="T78" fmla="*/ 220 w 1033"/>
                  <a:gd name="T79" fmla="*/ 361 h 1054"/>
                  <a:gd name="T80" fmla="*/ 198 w 1033"/>
                  <a:gd name="T81" fmla="*/ 383 h 1054"/>
                  <a:gd name="T82" fmla="*/ 220 w 1033"/>
                  <a:gd name="T83" fmla="*/ 405 h 1054"/>
                  <a:gd name="T84" fmla="*/ 813 w 1033"/>
                  <a:gd name="T85" fmla="*/ 405 h 1054"/>
                  <a:gd name="T86" fmla="*/ 835 w 1033"/>
                  <a:gd name="T87" fmla="*/ 383 h 1054"/>
                  <a:gd name="T88" fmla="*/ 835 w 1033"/>
                  <a:gd name="T89" fmla="*/ 521 h 1054"/>
                  <a:gd name="T90" fmla="*/ 813 w 1033"/>
                  <a:gd name="T91" fmla="*/ 499 h 1054"/>
                  <a:gd name="T92" fmla="*/ 220 w 1033"/>
                  <a:gd name="T93" fmla="*/ 499 h 1054"/>
                  <a:gd name="T94" fmla="*/ 198 w 1033"/>
                  <a:gd name="T95" fmla="*/ 521 h 1054"/>
                  <a:gd name="T96" fmla="*/ 220 w 1033"/>
                  <a:gd name="T97" fmla="*/ 543 h 1054"/>
                  <a:gd name="T98" fmla="*/ 813 w 1033"/>
                  <a:gd name="T99" fmla="*/ 543 h 1054"/>
                  <a:gd name="T100" fmla="*/ 835 w 1033"/>
                  <a:gd name="T101" fmla="*/ 521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3" h="1054">
                    <a:moveTo>
                      <a:pt x="1033" y="44"/>
                    </a:moveTo>
                    <a:cubicBezTo>
                      <a:pt x="1033" y="725"/>
                      <a:pt x="1033" y="725"/>
                      <a:pt x="1033" y="725"/>
                    </a:cubicBezTo>
                    <a:cubicBezTo>
                      <a:pt x="1033" y="750"/>
                      <a:pt x="1013" y="769"/>
                      <a:pt x="989" y="769"/>
                    </a:cubicBezTo>
                    <a:cubicBezTo>
                      <a:pt x="734" y="769"/>
                      <a:pt x="734" y="769"/>
                      <a:pt x="734" y="769"/>
                    </a:cubicBezTo>
                    <a:cubicBezTo>
                      <a:pt x="734" y="1010"/>
                      <a:pt x="734" y="1010"/>
                      <a:pt x="734" y="1010"/>
                    </a:cubicBezTo>
                    <a:cubicBezTo>
                      <a:pt x="734" y="1012"/>
                      <a:pt x="734" y="1015"/>
                      <a:pt x="733" y="1017"/>
                    </a:cubicBezTo>
                    <a:cubicBezTo>
                      <a:pt x="732" y="1020"/>
                      <a:pt x="722" y="1047"/>
                      <a:pt x="696" y="1053"/>
                    </a:cubicBezTo>
                    <a:cubicBezTo>
                      <a:pt x="693" y="1054"/>
                      <a:pt x="689" y="1054"/>
                      <a:pt x="686" y="1054"/>
                    </a:cubicBezTo>
                    <a:cubicBezTo>
                      <a:pt x="668" y="1054"/>
                      <a:pt x="650" y="1044"/>
                      <a:pt x="632" y="1025"/>
                    </a:cubicBezTo>
                    <a:cubicBezTo>
                      <a:pt x="619" y="1013"/>
                      <a:pt x="595" y="985"/>
                      <a:pt x="564" y="951"/>
                    </a:cubicBezTo>
                    <a:cubicBezTo>
                      <a:pt x="517" y="899"/>
                      <a:pt x="454" y="829"/>
                      <a:pt x="396" y="769"/>
                    </a:cubicBezTo>
                    <a:cubicBezTo>
                      <a:pt x="135" y="769"/>
                      <a:pt x="135" y="769"/>
                      <a:pt x="135" y="769"/>
                    </a:cubicBezTo>
                    <a:cubicBezTo>
                      <a:pt x="135" y="725"/>
                      <a:pt x="135" y="725"/>
                      <a:pt x="135" y="725"/>
                    </a:cubicBezTo>
                    <a:cubicBezTo>
                      <a:pt x="405" y="725"/>
                      <a:pt x="405" y="725"/>
                      <a:pt x="405" y="725"/>
                    </a:cubicBezTo>
                    <a:cubicBezTo>
                      <a:pt x="411" y="725"/>
                      <a:pt x="417" y="728"/>
                      <a:pt x="421" y="732"/>
                    </a:cubicBezTo>
                    <a:cubicBezTo>
                      <a:pt x="481" y="793"/>
                      <a:pt x="548" y="867"/>
                      <a:pt x="597" y="922"/>
                    </a:cubicBezTo>
                    <a:cubicBezTo>
                      <a:pt x="627" y="956"/>
                      <a:pt x="651" y="982"/>
                      <a:pt x="663" y="994"/>
                    </a:cubicBezTo>
                    <a:cubicBezTo>
                      <a:pt x="677" y="1008"/>
                      <a:pt x="684" y="1010"/>
                      <a:pt x="686" y="1010"/>
                    </a:cubicBezTo>
                    <a:cubicBezTo>
                      <a:pt x="687" y="1010"/>
                      <a:pt x="689" y="1008"/>
                      <a:pt x="690" y="1005"/>
                    </a:cubicBezTo>
                    <a:cubicBezTo>
                      <a:pt x="690" y="747"/>
                      <a:pt x="690" y="747"/>
                      <a:pt x="690" y="747"/>
                    </a:cubicBezTo>
                    <a:cubicBezTo>
                      <a:pt x="690" y="735"/>
                      <a:pt x="700" y="725"/>
                      <a:pt x="712" y="725"/>
                    </a:cubicBezTo>
                    <a:cubicBezTo>
                      <a:pt x="989" y="725"/>
                      <a:pt x="989" y="725"/>
                      <a:pt x="989" y="725"/>
                    </a:cubicBezTo>
                    <a:cubicBezTo>
                      <a:pt x="989" y="44"/>
                      <a:pt x="989" y="44"/>
                      <a:pt x="989" y="44"/>
                    </a:cubicBezTo>
                    <a:cubicBezTo>
                      <a:pt x="44" y="44"/>
                      <a:pt x="44" y="44"/>
                      <a:pt x="44" y="44"/>
                    </a:cubicBezTo>
                    <a:cubicBezTo>
                      <a:pt x="44" y="256"/>
                      <a:pt x="44" y="256"/>
                      <a:pt x="44" y="256"/>
                    </a:cubicBezTo>
                    <a:cubicBezTo>
                      <a:pt x="0" y="256"/>
                      <a:pt x="0" y="256"/>
                      <a:pt x="0" y="256"/>
                    </a:cubicBezTo>
                    <a:cubicBezTo>
                      <a:pt x="0" y="44"/>
                      <a:pt x="0" y="44"/>
                      <a:pt x="0" y="44"/>
                    </a:cubicBezTo>
                    <a:cubicBezTo>
                      <a:pt x="0" y="20"/>
                      <a:pt x="20" y="0"/>
                      <a:pt x="44" y="0"/>
                    </a:cubicBezTo>
                    <a:cubicBezTo>
                      <a:pt x="989" y="0"/>
                      <a:pt x="989" y="0"/>
                      <a:pt x="989" y="0"/>
                    </a:cubicBezTo>
                    <a:cubicBezTo>
                      <a:pt x="1013" y="0"/>
                      <a:pt x="1033" y="20"/>
                      <a:pt x="1033" y="44"/>
                    </a:cubicBezTo>
                    <a:close/>
                    <a:moveTo>
                      <a:pt x="835" y="247"/>
                    </a:moveTo>
                    <a:cubicBezTo>
                      <a:pt x="835" y="235"/>
                      <a:pt x="826" y="225"/>
                      <a:pt x="813" y="225"/>
                    </a:cubicBezTo>
                    <a:cubicBezTo>
                      <a:pt x="220" y="225"/>
                      <a:pt x="220" y="225"/>
                      <a:pt x="220" y="225"/>
                    </a:cubicBezTo>
                    <a:cubicBezTo>
                      <a:pt x="208" y="225"/>
                      <a:pt x="198" y="235"/>
                      <a:pt x="198" y="247"/>
                    </a:cubicBezTo>
                    <a:cubicBezTo>
                      <a:pt x="198" y="259"/>
                      <a:pt x="208" y="269"/>
                      <a:pt x="220" y="269"/>
                    </a:cubicBezTo>
                    <a:cubicBezTo>
                      <a:pt x="813" y="269"/>
                      <a:pt x="813" y="269"/>
                      <a:pt x="813" y="269"/>
                    </a:cubicBezTo>
                    <a:cubicBezTo>
                      <a:pt x="826" y="269"/>
                      <a:pt x="835" y="259"/>
                      <a:pt x="835" y="247"/>
                    </a:cubicBezTo>
                    <a:close/>
                    <a:moveTo>
                      <a:pt x="835" y="383"/>
                    </a:moveTo>
                    <a:cubicBezTo>
                      <a:pt x="835" y="371"/>
                      <a:pt x="826" y="361"/>
                      <a:pt x="813" y="361"/>
                    </a:cubicBezTo>
                    <a:cubicBezTo>
                      <a:pt x="220" y="361"/>
                      <a:pt x="220" y="361"/>
                      <a:pt x="220" y="361"/>
                    </a:cubicBezTo>
                    <a:cubicBezTo>
                      <a:pt x="208" y="361"/>
                      <a:pt x="198" y="371"/>
                      <a:pt x="198" y="383"/>
                    </a:cubicBezTo>
                    <a:cubicBezTo>
                      <a:pt x="198" y="395"/>
                      <a:pt x="208" y="405"/>
                      <a:pt x="220" y="405"/>
                    </a:cubicBezTo>
                    <a:cubicBezTo>
                      <a:pt x="813" y="405"/>
                      <a:pt x="813" y="405"/>
                      <a:pt x="813" y="405"/>
                    </a:cubicBezTo>
                    <a:cubicBezTo>
                      <a:pt x="826" y="405"/>
                      <a:pt x="835" y="395"/>
                      <a:pt x="835" y="383"/>
                    </a:cubicBezTo>
                    <a:close/>
                    <a:moveTo>
                      <a:pt x="835" y="521"/>
                    </a:moveTo>
                    <a:cubicBezTo>
                      <a:pt x="835" y="508"/>
                      <a:pt x="826" y="499"/>
                      <a:pt x="813" y="499"/>
                    </a:cubicBezTo>
                    <a:cubicBezTo>
                      <a:pt x="220" y="499"/>
                      <a:pt x="220" y="499"/>
                      <a:pt x="220" y="499"/>
                    </a:cubicBezTo>
                    <a:cubicBezTo>
                      <a:pt x="208" y="499"/>
                      <a:pt x="198" y="508"/>
                      <a:pt x="198" y="521"/>
                    </a:cubicBezTo>
                    <a:cubicBezTo>
                      <a:pt x="198" y="533"/>
                      <a:pt x="208" y="543"/>
                      <a:pt x="220" y="543"/>
                    </a:cubicBezTo>
                    <a:cubicBezTo>
                      <a:pt x="813" y="543"/>
                      <a:pt x="813" y="543"/>
                      <a:pt x="813" y="543"/>
                    </a:cubicBezTo>
                    <a:cubicBezTo>
                      <a:pt x="826" y="543"/>
                      <a:pt x="835" y="533"/>
                      <a:pt x="835" y="52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48" name="ee4pContent2"/>
          <p:cNvSpPr txBox="1"/>
          <p:nvPr/>
        </p:nvSpPr>
        <p:spPr>
          <a:xfrm>
            <a:off x="629399" y="3506747"/>
            <a:ext cx="2041353" cy="2618845"/>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800" dirty="0">
                <a:latin typeface="+mn-lt"/>
              </a:rPr>
              <a:t>Reducing 'context switching'</a:t>
            </a:r>
          </a:p>
          <a:p>
            <a:pPr lvl="1">
              <a:buClr>
                <a:schemeClr val="tx2">
                  <a:lumMod val="100000"/>
                </a:schemeClr>
              </a:buClr>
              <a:buSzPct val="100000"/>
            </a:pPr>
            <a:endParaRPr lang="en-US" sz="1800" dirty="0">
              <a:latin typeface="+mn-lt"/>
            </a:endParaRPr>
          </a:p>
          <a:p>
            <a:r>
              <a:rPr lang="en-US" sz="1800" dirty="0">
                <a:latin typeface="+mn-lt"/>
              </a:rPr>
              <a:t>Reducing hand-offs, misunderstandings, rework</a:t>
            </a:r>
          </a:p>
          <a:p>
            <a:pPr lvl="1">
              <a:buClr>
                <a:schemeClr val="tx2">
                  <a:lumMod val="100000"/>
                </a:schemeClr>
              </a:buClr>
              <a:buSzPct val="100000"/>
            </a:pPr>
            <a:endParaRPr lang="en-US" sz="1800" dirty="0">
              <a:solidFill>
                <a:schemeClr val="tx1">
                  <a:lumMod val="100000"/>
                </a:schemeClr>
              </a:solidFill>
            </a:endParaRPr>
          </a:p>
          <a:p>
            <a:pPr>
              <a:buSzPct val="100000"/>
              <a:buFont typeface="Trebuchet MS" panose="020B0603020202020204" pitchFamily="34" charset="0"/>
              <a:buChar char="​"/>
            </a:pPr>
            <a:r>
              <a:rPr lang="en-US" sz="1800" dirty="0">
                <a:solidFill>
                  <a:schemeClr val="tx1">
                    <a:lumMod val="100000"/>
                  </a:schemeClr>
                </a:solidFill>
              </a:rPr>
              <a:t>Faster decision making</a:t>
            </a:r>
          </a:p>
          <a:p>
            <a:endParaRPr lang="en-US" sz="1800" dirty="0">
              <a:latin typeface="+mn-lt"/>
            </a:endParaRPr>
          </a:p>
          <a:p>
            <a:r>
              <a:rPr lang="en-US" sz="1800" dirty="0">
                <a:latin typeface="+mn-lt"/>
              </a:rPr>
              <a:t>Better solutions</a:t>
            </a:r>
          </a:p>
          <a:p>
            <a:endParaRPr lang="en-US" sz="1800" dirty="0">
              <a:latin typeface="+mn-lt"/>
            </a:endParaRPr>
          </a:p>
          <a:p>
            <a:endParaRPr lang="en-US" sz="1800" dirty="0">
              <a:latin typeface="+mn-lt"/>
            </a:endParaRPr>
          </a:p>
        </p:txBody>
      </p:sp>
      <p:sp>
        <p:nvSpPr>
          <p:cNvPr id="49" name="ee4pContent1"/>
          <p:cNvSpPr txBox="1"/>
          <p:nvPr/>
        </p:nvSpPr>
        <p:spPr>
          <a:xfrm>
            <a:off x="2875782" y="3506747"/>
            <a:ext cx="1947672" cy="2618845"/>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800" dirty="0">
                <a:latin typeface="+mn-lt"/>
              </a:rPr>
              <a:t>Better alignment, reduced mis-understandings</a:t>
            </a:r>
          </a:p>
          <a:p>
            <a:pPr>
              <a:buSzPct val="100000"/>
              <a:buNone/>
            </a:pPr>
            <a:endParaRPr lang="en-US" sz="1800" dirty="0">
              <a:solidFill>
                <a:schemeClr val="tx1">
                  <a:lumMod val="100000"/>
                </a:schemeClr>
              </a:solidFill>
            </a:endParaRPr>
          </a:p>
          <a:p>
            <a:pPr>
              <a:buSzPct val="100000"/>
            </a:pPr>
            <a:r>
              <a:rPr lang="en-US" sz="1800" dirty="0"/>
              <a:t>Similar/consistent  incentives </a:t>
            </a:r>
          </a:p>
          <a:p>
            <a:pPr>
              <a:buSzPct val="100000"/>
            </a:pPr>
            <a:endParaRPr lang="en-US" sz="1800" dirty="0"/>
          </a:p>
          <a:p>
            <a:pPr>
              <a:buSzPct val="100000"/>
            </a:pPr>
            <a:r>
              <a:rPr lang="en-US" sz="1800" dirty="0">
                <a:solidFill>
                  <a:schemeClr val="tx1">
                    <a:lumMod val="100000"/>
                  </a:schemeClr>
                </a:solidFill>
              </a:rPr>
              <a:t>Higher motivation</a:t>
            </a:r>
          </a:p>
          <a:p>
            <a:pPr>
              <a:buSzPct val="100000"/>
            </a:pPr>
            <a:endParaRPr lang="en-US" sz="1800" dirty="0"/>
          </a:p>
          <a:p>
            <a:pPr>
              <a:buSzPct val="100000"/>
              <a:buFont typeface="Trebuchet MS" panose="020B0603020202020204" pitchFamily="34" charset="0"/>
              <a:buChar char="​"/>
            </a:pPr>
            <a:endParaRPr lang="en-US" sz="1800" dirty="0">
              <a:solidFill>
                <a:schemeClr val="tx1">
                  <a:lumMod val="100000"/>
                </a:schemeClr>
              </a:solidFill>
            </a:endParaRPr>
          </a:p>
        </p:txBody>
      </p:sp>
      <p:sp>
        <p:nvSpPr>
          <p:cNvPr id="81" name="ee4pContent4"/>
          <p:cNvSpPr txBox="1"/>
          <p:nvPr/>
        </p:nvSpPr>
        <p:spPr>
          <a:xfrm>
            <a:off x="5028483" y="3506747"/>
            <a:ext cx="1947672" cy="2618845"/>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800" dirty="0">
                <a:latin typeface="+mn-lt"/>
              </a:rPr>
              <a:t>Reduce late-stage surprises, reduce re-work</a:t>
            </a:r>
          </a:p>
          <a:p>
            <a:endParaRPr lang="en-US" sz="1800" dirty="0">
              <a:latin typeface="+mn-lt"/>
            </a:endParaRPr>
          </a:p>
          <a:p>
            <a:r>
              <a:rPr lang="en-US" sz="1800" dirty="0">
                <a:latin typeface="+mn-lt"/>
              </a:rPr>
              <a:t>Flush out defects sooner</a:t>
            </a:r>
          </a:p>
          <a:p>
            <a:endParaRPr lang="en-US" sz="1800" dirty="0">
              <a:latin typeface="+mn-lt"/>
            </a:endParaRPr>
          </a:p>
          <a:p>
            <a:r>
              <a:rPr lang="en-US" sz="1800" dirty="0"/>
              <a:t>Higher predictability</a:t>
            </a:r>
          </a:p>
          <a:p>
            <a:endParaRPr lang="en-US" sz="1800" dirty="0">
              <a:latin typeface="+mn-lt"/>
            </a:endParaRPr>
          </a:p>
          <a:p>
            <a:endParaRPr lang="en-US" sz="1800" dirty="0">
              <a:latin typeface="+mn-lt"/>
            </a:endParaRPr>
          </a:p>
        </p:txBody>
      </p:sp>
      <p:sp>
        <p:nvSpPr>
          <p:cNvPr id="82" name="ee4pContent5"/>
          <p:cNvSpPr txBox="1"/>
          <p:nvPr/>
        </p:nvSpPr>
        <p:spPr>
          <a:xfrm>
            <a:off x="7368546" y="3506747"/>
            <a:ext cx="1947672" cy="2618845"/>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800" dirty="0">
                <a:latin typeface="+mn-lt"/>
              </a:rPr>
              <a:t>Better stakeholder engagement</a:t>
            </a:r>
          </a:p>
          <a:p>
            <a:endParaRPr lang="en-US" sz="1800" dirty="0">
              <a:latin typeface="+mn-lt"/>
            </a:endParaRPr>
          </a:p>
          <a:p>
            <a:r>
              <a:rPr lang="en-US" sz="1800" dirty="0">
                <a:latin typeface="+mn-lt"/>
              </a:rPr>
              <a:t>Data-driven decision making, objectivity</a:t>
            </a:r>
          </a:p>
          <a:p>
            <a:endParaRPr lang="en-US" sz="1800" dirty="0">
              <a:latin typeface="+mn-lt"/>
            </a:endParaRPr>
          </a:p>
          <a:p>
            <a:r>
              <a:rPr lang="en-US" sz="1800" dirty="0">
                <a:latin typeface="+mn-lt"/>
              </a:rPr>
              <a:t>Avoid surprises and re-work</a:t>
            </a:r>
          </a:p>
        </p:txBody>
      </p:sp>
      <p:sp>
        <p:nvSpPr>
          <p:cNvPr id="83" name="ee4pContent3"/>
          <p:cNvSpPr txBox="1"/>
          <p:nvPr/>
        </p:nvSpPr>
        <p:spPr>
          <a:xfrm>
            <a:off x="9708608" y="3506747"/>
            <a:ext cx="1947672" cy="2618845"/>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800" dirty="0">
                <a:latin typeface="+mn-lt"/>
              </a:rPr>
              <a:t>Higher transparency</a:t>
            </a:r>
          </a:p>
          <a:p>
            <a:endParaRPr lang="en-US" sz="1800" dirty="0">
              <a:latin typeface="+mn-lt"/>
            </a:endParaRPr>
          </a:p>
          <a:p>
            <a:r>
              <a:rPr lang="en-US" sz="1800" dirty="0">
                <a:latin typeface="+mn-lt"/>
              </a:rPr>
              <a:t>Better responsiveness</a:t>
            </a:r>
          </a:p>
          <a:p>
            <a:endParaRPr lang="en-US" sz="1800" dirty="0">
              <a:latin typeface="+mn-lt"/>
            </a:endParaRPr>
          </a:p>
          <a:p>
            <a:r>
              <a:rPr lang="en-US" sz="1800" dirty="0">
                <a:latin typeface="+mn-lt"/>
              </a:rPr>
              <a:t>Continuous productivity / efficiency gains </a:t>
            </a:r>
          </a:p>
          <a:p>
            <a:endParaRPr lang="en-US" sz="1800" dirty="0">
              <a:latin typeface="+mn-lt"/>
            </a:endParaRPr>
          </a:p>
          <a:p>
            <a:endParaRPr lang="en-US" sz="1800" dirty="0">
              <a:latin typeface="+mn-lt"/>
            </a:endParaRPr>
          </a:p>
        </p:txBody>
      </p:sp>
    </p:spTree>
    <p:extLst>
      <p:ext uri="{BB962C8B-B14F-4D97-AF65-F5344CB8AC3E}">
        <p14:creationId xmlns:p14="http://schemas.microsoft.com/office/powerpoint/2010/main" val="4235639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524" name="Picture 4"/>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092021" y="0"/>
            <a:ext cx="6099977" cy="3049989"/>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630000" y="1785600"/>
            <a:ext cx="4591995" cy="3286800"/>
          </a:xfrm>
        </p:spPr>
        <p:txBody>
          <a:bodyPr/>
          <a:lstStyle/>
          <a:p>
            <a:r>
              <a:rPr lang="en-US" dirty="0"/>
              <a:t>In February 2014, Microsoft announced Satya Nadella as CEO</a:t>
            </a:r>
          </a:p>
        </p:txBody>
      </p:sp>
      <p:pic>
        <p:nvPicPr>
          <p:cNvPr id="6" name="Picture 4"/>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672009" y="4546291"/>
            <a:ext cx="4940000" cy="1052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6221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2271673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44" name="think-cell Slide" r:id="rId7" imgW="180" imgH="180" progId="TCLayout.ActiveDocument.1">
                  <p:embed/>
                </p:oleObj>
              </mc:Choice>
              <mc:Fallback>
                <p:oleObj name="think-cell Slide" r:id="rId7" imgW="180" imgH="18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5" name="TextBox 24"/>
          <p:cNvSpPr txBox="1"/>
          <p:nvPr/>
        </p:nvSpPr>
        <p:spPr>
          <a:xfrm>
            <a:off x="5134783" y="2984093"/>
            <a:ext cx="1929600" cy="2769989"/>
          </a:xfrm>
          <a:prstGeom prst="rect">
            <a:avLst/>
          </a:prstGeom>
          <a:noFill/>
        </p:spPr>
        <p:txBody>
          <a:bodyPr wrap="square" lIns="0" tIns="0" rIns="0" bIns="0" rtlCol="0" anchor="t">
            <a:spAutoFit/>
          </a:bodyPr>
          <a:lstStyle/>
          <a:p>
            <a:pPr algn="ctr">
              <a:buSzPct val="100000"/>
              <a:buFont typeface="Trebuchet MS" panose="020B0603020202020204" pitchFamily="34" charset="0"/>
              <a:buChar char="​"/>
            </a:pPr>
            <a:r>
              <a:rPr lang="en-US" b="1" dirty="0">
                <a:solidFill>
                  <a:schemeClr val="tx2"/>
                </a:solidFill>
                <a:latin typeface="Corpid C1 Regular" panose="020B0603040502060204" pitchFamily="34" charset="0"/>
              </a:rPr>
              <a:t>Coaching and mentoring</a:t>
            </a:r>
          </a:p>
          <a:p>
            <a:pPr algn="ctr">
              <a:buSzPct val="100000"/>
              <a:buFont typeface="Trebuchet MS" panose="020B0603020202020204" pitchFamily="34" charset="0"/>
              <a:buChar char="​"/>
            </a:pPr>
            <a:endParaRPr lang="en-US" dirty="0">
              <a:solidFill>
                <a:schemeClr val="tx2"/>
              </a:solidFill>
              <a:latin typeface="Corpid C1 Regular" panose="020B0603040502060204" pitchFamily="34" charset="0"/>
            </a:endParaRP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Peer groups</a:t>
            </a: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Individual workgroups</a:t>
            </a: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Mentors </a:t>
            </a: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Subject matter experts</a:t>
            </a:r>
          </a:p>
        </p:txBody>
      </p:sp>
      <p:sp>
        <p:nvSpPr>
          <p:cNvPr id="28" name="TextBox 27"/>
          <p:cNvSpPr txBox="1"/>
          <p:nvPr/>
        </p:nvSpPr>
        <p:spPr>
          <a:xfrm>
            <a:off x="7377836" y="2984092"/>
            <a:ext cx="1973197" cy="3046988"/>
          </a:xfrm>
          <a:prstGeom prst="rect">
            <a:avLst/>
          </a:prstGeom>
          <a:noFill/>
        </p:spPr>
        <p:txBody>
          <a:bodyPr wrap="square" lIns="0" tIns="0" rIns="0" bIns="0" rtlCol="0" anchor="t">
            <a:spAutoFit/>
          </a:bodyPr>
          <a:lstStyle/>
          <a:p>
            <a:pPr algn="ctr"/>
            <a:r>
              <a:rPr lang="en-US" b="1" dirty="0">
                <a:solidFill>
                  <a:schemeClr val="tx2"/>
                </a:solidFill>
                <a:latin typeface="Corpid C1 Regular" panose="020B0603040502060204" pitchFamily="34" charset="0"/>
              </a:rPr>
              <a:t>Feedback and assessment</a:t>
            </a:r>
          </a:p>
          <a:p>
            <a:pPr algn="ctr"/>
            <a:endParaRPr lang="en-US" dirty="0">
              <a:solidFill>
                <a:schemeClr val="tx2"/>
              </a:solidFill>
              <a:latin typeface="Corpid C1 Regular" panose="020B0603040502060204" pitchFamily="34" charset="0"/>
            </a:endParaRP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Informal feedback</a:t>
            </a: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Awards, rewards</a:t>
            </a: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Formal reviews</a:t>
            </a: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Performance consequences</a:t>
            </a:r>
          </a:p>
        </p:txBody>
      </p:sp>
      <p:sp>
        <p:nvSpPr>
          <p:cNvPr id="31" name="TextBox 30"/>
          <p:cNvSpPr txBox="1"/>
          <p:nvPr/>
        </p:nvSpPr>
        <p:spPr>
          <a:xfrm>
            <a:off x="2885613" y="2984092"/>
            <a:ext cx="1929600" cy="2492990"/>
          </a:xfrm>
          <a:prstGeom prst="rect">
            <a:avLst/>
          </a:prstGeom>
          <a:noFill/>
        </p:spPr>
        <p:txBody>
          <a:bodyPr wrap="square" lIns="0" tIns="0" rIns="0" bIns="0" rtlCol="0" anchor="t">
            <a:spAutoFit/>
          </a:bodyPr>
          <a:lstStyle/>
          <a:p>
            <a:pPr algn="ctr"/>
            <a:r>
              <a:rPr lang="en-US" b="1" dirty="0">
                <a:solidFill>
                  <a:schemeClr val="tx2"/>
                </a:solidFill>
                <a:latin typeface="Corpid C1 Regular" panose="020B0603040502060204" pitchFamily="34" charset="0"/>
              </a:rPr>
              <a:t>Incorporating into </a:t>
            </a:r>
            <a:br>
              <a:rPr lang="en-US" b="1" dirty="0">
                <a:solidFill>
                  <a:schemeClr val="tx2"/>
                </a:solidFill>
                <a:latin typeface="Corpid C1 Regular" panose="020B0603040502060204" pitchFamily="34" charset="0"/>
              </a:rPr>
            </a:br>
            <a:r>
              <a:rPr lang="en-US" b="1" dirty="0">
                <a:solidFill>
                  <a:schemeClr val="tx2"/>
                </a:solidFill>
                <a:latin typeface="Corpid C1 Regular" panose="020B0603040502060204" pitchFamily="34" charset="0"/>
              </a:rPr>
              <a:t>daily work</a:t>
            </a:r>
          </a:p>
          <a:p>
            <a:pPr algn="ctr"/>
            <a:endParaRPr lang="en-US" dirty="0">
              <a:solidFill>
                <a:schemeClr val="tx2"/>
              </a:solidFill>
              <a:latin typeface="Corpid C1 Regular" panose="020B0603040502060204" pitchFamily="34" charset="0"/>
            </a:endParaRP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Manager routines</a:t>
            </a: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Daily huddles</a:t>
            </a: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Checklists</a:t>
            </a: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Tip sheets</a:t>
            </a: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Pulse checks</a:t>
            </a:r>
          </a:p>
        </p:txBody>
      </p:sp>
      <p:sp>
        <p:nvSpPr>
          <p:cNvPr id="34" name="TextBox 33"/>
          <p:cNvSpPr txBox="1"/>
          <p:nvPr/>
        </p:nvSpPr>
        <p:spPr>
          <a:xfrm>
            <a:off x="637972" y="2984093"/>
            <a:ext cx="1929600" cy="2769989"/>
          </a:xfrm>
          <a:prstGeom prst="rect">
            <a:avLst/>
          </a:prstGeom>
          <a:noFill/>
          <a:ln>
            <a:noFill/>
          </a:ln>
        </p:spPr>
        <p:txBody>
          <a:bodyPr wrap="square" lIns="0" tIns="0" rIns="0" bIns="0" rtlCol="0" anchor="t">
            <a:spAutoFit/>
          </a:bodyPr>
          <a:lstStyle/>
          <a:p>
            <a:r>
              <a:rPr lang="en-US" b="1" dirty="0">
                <a:solidFill>
                  <a:schemeClr val="tx2"/>
                </a:solidFill>
                <a:latin typeface="Corpid C1 Regular" panose="020B0603040502060204" pitchFamily="34" charset="0"/>
              </a:rPr>
              <a:t>Experiential programs</a:t>
            </a:r>
          </a:p>
          <a:p>
            <a:pPr marL="431989" lvl="1" indent="-287993">
              <a:buClr>
                <a:schemeClr val="tx2">
                  <a:lumMod val="100000"/>
                </a:schemeClr>
              </a:buClr>
              <a:buSzPct val="100000"/>
              <a:buFont typeface="Trebuchet MS" panose="020B0603020202020204" pitchFamily="34" charset="0"/>
              <a:buChar char="•"/>
            </a:pPr>
            <a:endParaRPr lang="en-US" dirty="0">
              <a:solidFill>
                <a:schemeClr val="tx2"/>
              </a:solidFill>
              <a:latin typeface="Corpid C1 Regular" panose="020B0603040502060204" pitchFamily="34" charset="0"/>
            </a:endParaRP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Job rotations</a:t>
            </a: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Stretch roles</a:t>
            </a: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Career paths </a:t>
            </a: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Action learning</a:t>
            </a: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Task forces</a:t>
            </a: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Time in field</a:t>
            </a:r>
          </a:p>
        </p:txBody>
      </p:sp>
      <p:sp>
        <p:nvSpPr>
          <p:cNvPr id="37" name="TextBox 36"/>
          <p:cNvSpPr txBox="1"/>
          <p:nvPr/>
        </p:nvSpPr>
        <p:spPr>
          <a:xfrm>
            <a:off x="9630062" y="2984092"/>
            <a:ext cx="2058833" cy="3046988"/>
          </a:xfrm>
          <a:prstGeom prst="rect">
            <a:avLst/>
          </a:prstGeom>
          <a:noFill/>
        </p:spPr>
        <p:txBody>
          <a:bodyPr wrap="square" lIns="0" tIns="0" rIns="0" bIns="0" rtlCol="0" anchor="t">
            <a:spAutoFit/>
          </a:bodyPr>
          <a:lstStyle/>
          <a:p>
            <a:pPr algn="ctr"/>
            <a:r>
              <a:rPr lang="en-US" b="1" dirty="0">
                <a:solidFill>
                  <a:schemeClr val="tx2"/>
                </a:solidFill>
                <a:latin typeface="Corpid C1 Regular" panose="020B0603040502060204" pitchFamily="34" charset="0"/>
              </a:rPr>
              <a:t>Formal learning</a:t>
            </a:r>
          </a:p>
          <a:p>
            <a:pPr marL="431989" lvl="1" indent="-287993">
              <a:buClr>
                <a:schemeClr val="tx2">
                  <a:lumMod val="100000"/>
                </a:schemeClr>
              </a:buClr>
              <a:buSzPct val="100000"/>
              <a:buFont typeface="Trebuchet MS" panose="020B0603020202020204" pitchFamily="34" charset="0"/>
              <a:buChar char="•"/>
            </a:pPr>
            <a:endParaRPr lang="en-US" dirty="0">
              <a:solidFill>
                <a:schemeClr val="tx2"/>
              </a:solidFill>
              <a:latin typeface="Corpid C1 Regular" panose="020B0603040502060204" pitchFamily="34" charset="0"/>
            </a:endParaRPr>
          </a:p>
          <a:p>
            <a:pPr marL="431989" lvl="1" indent="-287993">
              <a:buClr>
                <a:schemeClr val="tx2">
                  <a:lumMod val="100000"/>
                </a:schemeClr>
              </a:buClr>
              <a:buSzPct val="100000"/>
              <a:buFont typeface="Trebuchet MS" panose="020B0603020202020204" pitchFamily="34" charset="0"/>
              <a:buChar char="•"/>
            </a:pPr>
            <a:endParaRPr lang="en-US" dirty="0">
              <a:solidFill>
                <a:schemeClr val="tx2"/>
              </a:solidFill>
              <a:latin typeface="Corpid C1 Regular" panose="020B0603040502060204" pitchFamily="34" charset="0"/>
            </a:endParaRP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On-demand e-learning</a:t>
            </a: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Workshops</a:t>
            </a: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Defined role-based learning paths</a:t>
            </a: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Conferences</a:t>
            </a:r>
          </a:p>
          <a:p>
            <a:pPr marL="406790" lvl="1" indent="-287993">
              <a:buClr>
                <a:schemeClr val="tx2">
                  <a:lumMod val="100000"/>
                </a:schemeClr>
              </a:buClr>
              <a:buSzPct val="100000"/>
              <a:buFont typeface="Arial" panose="020B0604020202020204" pitchFamily="34" charset="0"/>
              <a:buChar char="•"/>
            </a:pPr>
            <a:r>
              <a:rPr lang="en-US" dirty="0">
                <a:solidFill>
                  <a:schemeClr val="tx2"/>
                </a:solidFill>
                <a:latin typeface="Corpid C1 Regular" panose="020B0603040502060204" pitchFamily="34" charset="0"/>
              </a:rPr>
              <a:t>External visits</a:t>
            </a:r>
          </a:p>
        </p:txBody>
      </p:sp>
      <p:sp>
        <p:nvSpPr>
          <p:cNvPr id="6" name="Title 5"/>
          <p:cNvSpPr>
            <a:spLocks noGrp="1"/>
          </p:cNvSpPr>
          <p:nvPr>
            <p:ph type="title"/>
          </p:nvPr>
        </p:nvSpPr>
        <p:spPr>
          <a:xfrm>
            <a:off x="755545" y="603750"/>
            <a:ext cx="10933350" cy="443198"/>
          </a:xfrm>
        </p:spPr>
        <p:txBody>
          <a:bodyPr/>
          <a:lstStyle/>
          <a:p>
            <a:r>
              <a:rPr lang="en-US" sz="3200" dirty="0"/>
              <a:t>Building critical capabilities while executing </a:t>
            </a:r>
          </a:p>
        </p:txBody>
      </p:sp>
      <p:sp>
        <p:nvSpPr>
          <p:cNvPr id="14" name="Oval 13"/>
          <p:cNvSpPr/>
          <p:nvPr userDrawn="1"/>
        </p:nvSpPr>
        <p:spPr>
          <a:xfrm>
            <a:off x="5427018" y="1448202"/>
            <a:ext cx="1345133" cy="1345133"/>
          </a:xfrm>
          <a:prstGeom prst="ellipse">
            <a:avLst/>
          </a:prstGeom>
          <a:grp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351" kern="0" dirty="0">
              <a:solidFill>
                <a:schemeClr val="bg1">
                  <a:lumMod val="50000"/>
                </a:schemeClr>
              </a:solidFill>
              <a:latin typeface="Corpid C1 Regular" panose="020B0603040502060204" pitchFamily="34" charset="0"/>
            </a:endParaRPr>
          </a:p>
        </p:txBody>
      </p:sp>
      <p:sp>
        <p:nvSpPr>
          <p:cNvPr id="27" name="Oval 26"/>
          <p:cNvSpPr/>
          <p:nvPr userDrawn="1"/>
        </p:nvSpPr>
        <p:spPr>
          <a:xfrm>
            <a:off x="7670070" y="1448202"/>
            <a:ext cx="1345133" cy="1345133"/>
          </a:xfrm>
          <a:prstGeom prst="ellipse">
            <a:avLst/>
          </a:prstGeom>
          <a:grp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351" kern="0" dirty="0">
              <a:solidFill>
                <a:schemeClr val="bg1">
                  <a:lumMod val="50000"/>
                </a:schemeClr>
              </a:solidFill>
              <a:latin typeface="Corpid C1 Regular" panose="020B0603040502060204" pitchFamily="34" charset="0"/>
            </a:endParaRPr>
          </a:p>
        </p:txBody>
      </p:sp>
      <p:sp>
        <p:nvSpPr>
          <p:cNvPr id="30" name="Oval 29"/>
          <p:cNvSpPr/>
          <p:nvPr userDrawn="1"/>
        </p:nvSpPr>
        <p:spPr>
          <a:xfrm>
            <a:off x="3177848" y="1448202"/>
            <a:ext cx="1345133" cy="1345133"/>
          </a:xfrm>
          <a:prstGeom prst="ellipse">
            <a:avLst/>
          </a:prstGeom>
          <a:grp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351" kern="0" dirty="0">
              <a:solidFill>
                <a:schemeClr val="bg1">
                  <a:lumMod val="50000"/>
                </a:schemeClr>
              </a:solidFill>
              <a:latin typeface="Corpid C1 Regular" panose="020B0603040502060204" pitchFamily="34" charset="0"/>
            </a:endParaRPr>
          </a:p>
        </p:txBody>
      </p:sp>
      <p:sp>
        <p:nvSpPr>
          <p:cNvPr id="33" name="Oval 32"/>
          <p:cNvSpPr/>
          <p:nvPr userDrawn="1"/>
        </p:nvSpPr>
        <p:spPr>
          <a:xfrm>
            <a:off x="930207" y="1448202"/>
            <a:ext cx="1345133" cy="1345133"/>
          </a:xfrm>
          <a:prstGeom prst="ellipse">
            <a:avLst/>
          </a:prstGeom>
          <a:grp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351" kern="0" dirty="0">
              <a:solidFill>
                <a:schemeClr val="bg1">
                  <a:lumMod val="50000"/>
                </a:schemeClr>
              </a:solidFill>
              <a:latin typeface="Corpid C1 Regular" panose="020B0603040502060204" pitchFamily="34" charset="0"/>
            </a:endParaRPr>
          </a:p>
        </p:txBody>
      </p:sp>
      <p:sp>
        <p:nvSpPr>
          <p:cNvPr id="36" name="Oval 35"/>
          <p:cNvSpPr/>
          <p:nvPr userDrawn="1"/>
        </p:nvSpPr>
        <p:spPr>
          <a:xfrm>
            <a:off x="9922298" y="1448202"/>
            <a:ext cx="1345133" cy="1345133"/>
          </a:xfrm>
          <a:prstGeom prst="ellipse">
            <a:avLst/>
          </a:prstGeom>
          <a:grp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1351" kern="0" dirty="0">
              <a:solidFill>
                <a:schemeClr val="bg1">
                  <a:lumMod val="50000"/>
                </a:schemeClr>
              </a:solidFill>
              <a:latin typeface="Corpid C1 Regular" panose="020B0603040502060204" pitchFamily="34" charset="0"/>
            </a:endParaRPr>
          </a:p>
        </p:txBody>
      </p:sp>
      <p:grpSp>
        <p:nvGrpSpPr>
          <p:cNvPr id="20" name="Group 19"/>
          <p:cNvGrpSpPr/>
          <p:nvPr/>
        </p:nvGrpSpPr>
        <p:grpSpPr>
          <a:xfrm>
            <a:off x="1115093" y="1633088"/>
            <a:ext cx="975360" cy="975360"/>
            <a:chOff x="5273803" y="2606040"/>
            <a:chExt cx="1644396" cy="1645920"/>
          </a:xfrm>
        </p:grpSpPr>
        <p:sp>
          <p:nvSpPr>
            <p:cNvPr id="21" name="AutoShape 18">
              <a:extLst>
                <a:ext uri="{FF2B5EF4-FFF2-40B4-BE49-F238E27FC236}">
                  <a16:creationId xmlns:a16="http://schemas.microsoft.com/office/drawing/2014/main" id="{575286B9-FCC8-4EFB-9834-BD5493C559C3}"/>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Corpid C1 Regular" panose="020B0603040502060204" pitchFamily="34" charset="0"/>
              </a:endParaRPr>
            </a:p>
          </p:txBody>
        </p:sp>
        <p:grpSp>
          <p:nvGrpSpPr>
            <p:cNvPr id="22" name="Group 21"/>
            <p:cNvGrpSpPr/>
            <p:nvPr/>
          </p:nvGrpSpPr>
          <p:grpSpPr>
            <a:xfrm>
              <a:off x="5336668" y="2770251"/>
              <a:ext cx="1515999" cy="1311783"/>
              <a:chOff x="5336668" y="2770251"/>
              <a:chExt cx="1515999" cy="1311783"/>
            </a:xfrm>
          </p:grpSpPr>
          <p:sp>
            <p:nvSpPr>
              <p:cNvPr id="23" name="Freeform 20">
                <a:extLst>
                  <a:ext uri="{FF2B5EF4-FFF2-40B4-BE49-F238E27FC236}">
                    <a16:creationId xmlns:a16="http://schemas.microsoft.com/office/drawing/2014/main" id="{CEF9E0BC-00B7-4B29-B377-3473BD5B2EB2}"/>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Corpid C1 Regular" panose="020B0603040502060204" pitchFamily="34" charset="0"/>
                </a:endParaRPr>
              </a:p>
            </p:txBody>
          </p:sp>
          <p:sp>
            <p:nvSpPr>
              <p:cNvPr id="24" name="Freeform 21">
                <a:extLst>
                  <a:ext uri="{FF2B5EF4-FFF2-40B4-BE49-F238E27FC236}">
                    <a16:creationId xmlns:a16="http://schemas.microsoft.com/office/drawing/2014/main" id="{9A32768F-1F7B-41E4-AD1E-05F5E20985B3}"/>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US" sz="2400" dirty="0">
                  <a:latin typeface="Corpid C1 Regular" panose="020B0603040502060204" pitchFamily="34" charset="0"/>
                </a:endParaRPr>
              </a:p>
            </p:txBody>
          </p:sp>
        </p:grpSp>
      </p:grpSp>
      <p:grpSp>
        <p:nvGrpSpPr>
          <p:cNvPr id="26" name="Group 25"/>
          <p:cNvGrpSpPr/>
          <p:nvPr/>
        </p:nvGrpSpPr>
        <p:grpSpPr>
          <a:xfrm>
            <a:off x="3362735" y="1633088"/>
            <a:ext cx="975360" cy="975360"/>
            <a:chOff x="5273040" y="2606040"/>
            <a:chExt cx="1645920" cy="1645920"/>
          </a:xfrm>
        </p:grpSpPr>
        <p:sp>
          <p:nvSpPr>
            <p:cNvPr id="29" name="AutoShape 3"/>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Corpid C1 Regular" panose="020B0603040502060204" pitchFamily="34" charset="0"/>
              </a:endParaRPr>
            </a:p>
          </p:txBody>
        </p:sp>
        <p:grpSp>
          <p:nvGrpSpPr>
            <p:cNvPr id="32" name="Group 31"/>
            <p:cNvGrpSpPr/>
            <p:nvPr/>
          </p:nvGrpSpPr>
          <p:grpSpPr>
            <a:xfrm>
              <a:off x="5546027" y="2892361"/>
              <a:ext cx="1099947" cy="1073277"/>
              <a:chOff x="5546027" y="2892361"/>
              <a:chExt cx="1099947" cy="1073277"/>
            </a:xfrm>
          </p:grpSpPr>
          <p:sp>
            <p:nvSpPr>
              <p:cNvPr id="35" name="Freeform 34"/>
              <p:cNvSpPr>
                <a:spLocks/>
              </p:cNvSpPr>
              <p:nvPr/>
            </p:nvSpPr>
            <p:spPr bwMode="auto">
              <a:xfrm>
                <a:off x="5546027" y="2892361"/>
                <a:ext cx="1099947" cy="1073277"/>
              </a:xfrm>
              <a:custGeom>
                <a:avLst/>
                <a:gdLst>
                  <a:gd name="connsiteX0" fmla="*/ 548831 w 1099947"/>
                  <a:gd name="connsiteY0" fmla="*/ 587502 h 1073277"/>
                  <a:gd name="connsiteX1" fmla="*/ 321945 w 1099947"/>
                  <a:gd name="connsiteY1" fmla="*/ 814578 h 1073277"/>
                  <a:gd name="connsiteX2" fmla="*/ 548831 w 1099947"/>
                  <a:gd name="connsiteY2" fmla="*/ 1041654 h 1073277"/>
                  <a:gd name="connsiteX3" fmla="*/ 775716 w 1099947"/>
                  <a:gd name="connsiteY3" fmla="*/ 814578 h 1073277"/>
                  <a:gd name="connsiteX4" fmla="*/ 548831 w 1099947"/>
                  <a:gd name="connsiteY4" fmla="*/ 587502 h 1073277"/>
                  <a:gd name="connsiteX5" fmla="*/ 173614 w 1099947"/>
                  <a:gd name="connsiteY5" fmla="*/ 184404 h 1073277"/>
                  <a:gd name="connsiteX6" fmla="*/ 183616 w 1099947"/>
                  <a:gd name="connsiteY6" fmla="*/ 187977 h 1073277"/>
                  <a:gd name="connsiteX7" fmla="*/ 254348 w 1099947"/>
                  <a:gd name="connsiteY7" fmla="*/ 246568 h 1073277"/>
                  <a:gd name="connsiteX8" fmla="*/ 255062 w 1099947"/>
                  <a:gd name="connsiteY8" fmla="*/ 247283 h 1073277"/>
                  <a:gd name="connsiteX9" fmla="*/ 255777 w 1099947"/>
                  <a:gd name="connsiteY9" fmla="*/ 247283 h 1073277"/>
                  <a:gd name="connsiteX10" fmla="*/ 256491 w 1099947"/>
                  <a:gd name="connsiteY10" fmla="*/ 248712 h 1073277"/>
                  <a:gd name="connsiteX11" fmla="*/ 258635 w 1099947"/>
                  <a:gd name="connsiteY11" fmla="*/ 251570 h 1073277"/>
                  <a:gd name="connsiteX12" fmla="*/ 259349 w 1099947"/>
                  <a:gd name="connsiteY12" fmla="*/ 253713 h 1073277"/>
                  <a:gd name="connsiteX13" fmla="*/ 259349 w 1099947"/>
                  <a:gd name="connsiteY13" fmla="*/ 255142 h 1073277"/>
                  <a:gd name="connsiteX14" fmla="*/ 259349 w 1099947"/>
                  <a:gd name="connsiteY14" fmla="*/ 260859 h 1073277"/>
                  <a:gd name="connsiteX15" fmla="*/ 259349 w 1099947"/>
                  <a:gd name="connsiteY15" fmla="*/ 261573 h 1073277"/>
                  <a:gd name="connsiteX16" fmla="*/ 259349 w 1099947"/>
                  <a:gd name="connsiteY16" fmla="*/ 262288 h 1073277"/>
                  <a:gd name="connsiteX17" fmla="*/ 259349 w 1099947"/>
                  <a:gd name="connsiteY17" fmla="*/ 263717 h 1073277"/>
                  <a:gd name="connsiteX18" fmla="*/ 258635 w 1099947"/>
                  <a:gd name="connsiteY18" fmla="*/ 265146 h 1073277"/>
                  <a:gd name="connsiteX19" fmla="*/ 257920 w 1099947"/>
                  <a:gd name="connsiteY19" fmla="*/ 265860 h 1073277"/>
                  <a:gd name="connsiteX20" fmla="*/ 256491 w 1099947"/>
                  <a:gd name="connsiteY20" fmla="*/ 268004 h 1073277"/>
                  <a:gd name="connsiteX21" fmla="*/ 256491 w 1099947"/>
                  <a:gd name="connsiteY21" fmla="*/ 268719 h 1073277"/>
                  <a:gd name="connsiteX22" fmla="*/ 255777 w 1099947"/>
                  <a:gd name="connsiteY22" fmla="*/ 268719 h 1073277"/>
                  <a:gd name="connsiteX23" fmla="*/ 194333 w 1099947"/>
                  <a:gd name="connsiteY23" fmla="*/ 341600 h 1073277"/>
                  <a:gd name="connsiteX24" fmla="*/ 172185 w 1099947"/>
                  <a:gd name="connsiteY24" fmla="*/ 343744 h 1073277"/>
                  <a:gd name="connsiteX25" fmla="*/ 170042 w 1099947"/>
                  <a:gd name="connsiteY25" fmla="*/ 321594 h 1073277"/>
                  <a:gd name="connsiteX26" fmla="*/ 207193 w 1099947"/>
                  <a:gd name="connsiteY26" fmla="*/ 278007 h 1073277"/>
                  <a:gd name="connsiteX27" fmla="*/ 115743 w 1099947"/>
                  <a:gd name="connsiteY27" fmla="*/ 329453 h 1073277"/>
                  <a:gd name="connsiteX28" fmla="*/ 31436 w 1099947"/>
                  <a:gd name="connsiteY28" fmla="*/ 536666 h 1073277"/>
                  <a:gd name="connsiteX29" fmla="*/ 291500 w 1099947"/>
                  <a:gd name="connsiteY29" fmla="*/ 798184 h 1073277"/>
                  <a:gd name="connsiteX30" fmla="*/ 549419 w 1099947"/>
                  <a:gd name="connsiteY30" fmla="*/ 555959 h 1073277"/>
                  <a:gd name="connsiteX31" fmla="*/ 807339 w 1099947"/>
                  <a:gd name="connsiteY31" fmla="*/ 813903 h 1073277"/>
                  <a:gd name="connsiteX32" fmla="*/ 549419 w 1099947"/>
                  <a:gd name="connsiteY32" fmla="*/ 1073277 h 1073277"/>
                  <a:gd name="connsiteX33" fmla="*/ 291500 w 1099947"/>
                  <a:gd name="connsiteY33" fmla="*/ 829623 h 1073277"/>
                  <a:gd name="connsiteX34" fmla="*/ 0 w 1099947"/>
                  <a:gd name="connsiteY34" fmla="*/ 536666 h 1073277"/>
                  <a:gd name="connsiteX35" fmla="*/ 93594 w 1099947"/>
                  <a:gd name="connsiteY35" fmla="*/ 307303 h 1073277"/>
                  <a:gd name="connsiteX36" fmla="*/ 205764 w 1099947"/>
                  <a:gd name="connsiteY36" fmla="*/ 246568 h 1073277"/>
                  <a:gd name="connsiteX37" fmla="*/ 163612 w 1099947"/>
                  <a:gd name="connsiteY37" fmla="*/ 212271 h 1073277"/>
                  <a:gd name="connsiteX38" fmla="*/ 161468 w 1099947"/>
                  <a:gd name="connsiteY38" fmla="*/ 190120 h 1073277"/>
                  <a:gd name="connsiteX39" fmla="*/ 173614 w 1099947"/>
                  <a:gd name="connsiteY39" fmla="*/ 184404 h 1073277"/>
                  <a:gd name="connsiteX40" fmla="*/ 549212 w 1099947"/>
                  <a:gd name="connsiteY40" fmla="*/ 31623 h 1073277"/>
                  <a:gd name="connsiteX41" fmla="*/ 321945 w 1099947"/>
                  <a:gd name="connsiteY41" fmla="*/ 258699 h 1073277"/>
                  <a:gd name="connsiteX42" fmla="*/ 549212 w 1099947"/>
                  <a:gd name="connsiteY42" fmla="*/ 485775 h 1073277"/>
                  <a:gd name="connsiteX43" fmla="*/ 776478 w 1099947"/>
                  <a:gd name="connsiteY43" fmla="*/ 258699 h 1073277"/>
                  <a:gd name="connsiteX44" fmla="*/ 549212 w 1099947"/>
                  <a:gd name="connsiteY44" fmla="*/ 31623 h 1073277"/>
                  <a:gd name="connsiteX45" fmla="*/ 549261 w 1099947"/>
                  <a:gd name="connsiteY45" fmla="*/ 0 h 1073277"/>
                  <a:gd name="connsiteX46" fmla="*/ 807819 w 1099947"/>
                  <a:gd name="connsiteY46" fmla="*/ 242940 h 1073277"/>
                  <a:gd name="connsiteX47" fmla="*/ 1099947 w 1099947"/>
                  <a:gd name="connsiteY47" fmla="*/ 536611 h 1073277"/>
                  <a:gd name="connsiteX48" fmla="*/ 1005666 w 1099947"/>
                  <a:gd name="connsiteY48" fmla="*/ 765260 h 1073277"/>
                  <a:gd name="connsiteX49" fmla="*/ 893529 w 1099947"/>
                  <a:gd name="connsiteY49" fmla="*/ 825995 h 1073277"/>
                  <a:gd name="connsiteX50" fmla="*/ 935670 w 1099947"/>
                  <a:gd name="connsiteY50" fmla="*/ 860292 h 1073277"/>
                  <a:gd name="connsiteX51" fmla="*/ 937813 w 1099947"/>
                  <a:gd name="connsiteY51" fmla="*/ 883157 h 1073277"/>
                  <a:gd name="connsiteX52" fmla="*/ 925670 w 1099947"/>
                  <a:gd name="connsiteY52" fmla="*/ 888873 h 1073277"/>
                  <a:gd name="connsiteX53" fmla="*/ 915671 w 1099947"/>
                  <a:gd name="connsiteY53" fmla="*/ 885301 h 1073277"/>
                  <a:gd name="connsiteX54" fmla="*/ 844960 w 1099947"/>
                  <a:gd name="connsiteY54" fmla="*/ 825995 h 1073277"/>
                  <a:gd name="connsiteX55" fmla="*/ 843532 w 1099947"/>
                  <a:gd name="connsiteY55" fmla="*/ 825280 h 1073277"/>
                  <a:gd name="connsiteX56" fmla="*/ 842103 w 1099947"/>
                  <a:gd name="connsiteY56" fmla="*/ 823851 h 1073277"/>
                  <a:gd name="connsiteX57" fmla="*/ 840675 w 1099947"/>
                  <a:gd name="connsiteY57" fmla="*/ 820993 h 1073277"/>
                  <a:gd name="connsiteX58" fmla="*/ 839961 w 1099947"/>
                  <a:gd name="connsiteY58" fmla="*/ 818849 h 1073277"/>
                  <a:gd name="connsiteX59" fmla="*/ 839246 w 1099947"/>
                  <a:gd name="connsiteY59" fmla="*/ 817420 h 1073277"/>
                  <a:gd name="connsiteX60" fmla="*/ 839246 w 1099947"/>
                  <a:gd name="connsiteY60" fmla="*/ 811704 h 1073277"/>
                  <a:gd name="connsiteX61" fmla="*/ 839246 w 1099947"/>
                  <a:gd name="connsiteY61" fmla="*/ 810990 h 1073277"/>
                  <a:gd name="connsiteX62" fmla="*/ 839246 w 1099947"/>
                  <a:gd name="connsiteY62" fmla="*/ 810275 h 1073277"/>
                  <a:gd name="connsiteX63" fmla="*/ 839961 w 1099947"/>
                  <a:gd name="connsiteY63" fmla="*/ 808846 h 1073277"/>
                  <a:gd name="connsiteX64" fmla="*/ 840675 w 1099947"/>
                  <a:gd name="connsiteY64" fmla="*/ 807417 h 1073277"/>
                  <a:gd name="connsiteX65" fmla="*/ 840675 w 1099947"/>
                  <a:gd name="connsiteY65" fmla="*/ 806702 h 1073277"/>
                  <a:gd name="connsiteX66" fmla="*/ 842818 w 1099947"/>
                  <a:gd name="connsiteY66" fmla="*/ 804559 h 1073277"/>
                  <a:gd name="connsiteX67" fmla="*/ 842818 w 1099947"/>
                  <a:gd name="connsiteY67" fmla="*/ 803844 h 1073277"/>
                  <a:gd name="connsiteX68" fmla="*/ 905672 w 1099947"/>
                  <a:gd name="connsiteY68" fmla="*/ 730963 h 1073277"/>
                  <a:gd name="connsiteX69" fmla="*/ 927813 w 1099947"/>
                  <a:gd name="connsiteY69" fmla="*/ 728819 h 1073277"/>
                  <a:gd name="connsiteX70" fmla="*/ 929242 w 1099947"/>
                  <a:gd name="connsiteY70" fmla="*/ 750969 h 1073277"/>
                  <a:gd name="connsiteX71" fmla="*/ 892101 w 1099947"/>
                  <a:gd name="connsiteY71" fmla="*/ 794556 h 1073277"/>
                  <a:gd name="connsiteX72" fmla="*/ 983525 w 1099947"/>
                  <a:gd name="connsiteY72" fmla="*/ 743109 h 1073277"/>
                  <a:gd name="connsiteX73" fmla="*/ 1068520 w 1099947"/>
                  <a:gd name="connsiteY73" fmla="*/ 536611 h 1073277"/>
                  <a:gd name="connsiteX74" fmla="*/ 807819 w 1099947"/>
                  <a:gd name="connsiteY74" fmla="*/ 274379 h 1073277"/>
                  <a:gd name="connsiteX75" fmla="*/ 549261 w 1099947"/>
                  <a:gd name="connsiteY75" fmla="*/ 517319 h 1073277"/>
                  <a:gd name="connsiteX76" fmla="*/ 290703 w 1099947"/>
                  <a:gd name="connsiteY76" fmla="*/ 258659 h 1073277"/>
                  <a:gd name="connsiteX77" fmla="*/ 549261 w 1099947"/>
                  <a:gd name="connsiteY77" fmla="*/ 0 h 1073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099947" h="1073277">
                    <a:moveTo>
                      <a:pt x="548831" y="587502"/>
                    </a:moveTo>
                    <a:cubicBezTo>
                      <a:pt x="423525" y="587502"/>
                      <a:pt x="321945" y="689168"/>
                      <a:pt x="321945" y="814578"/>
                    </a:cubicBezTo>
                    <a:cubicBezTo>
                      <a:pt x="321945" y="939989"/>
                      <a:pt x="423525" y="1041654"/>
                      <a:pt x="548831" y="1041654"/>
                    </a:cubicBezTo>
                    <a:cubicBezTo>
                      <a:pt x="674136" y="1041654"/>
                      <a:pt x="775716" y="939989"/>
                      <a:pt x="775716" y="814578"/>
                    </a:cubicBezTo>
                    <a:cubicBezTo>
                      <a:pt x="775716" y="689168"/>
                      <a:pt x="674136" y="587502"/>
                      <a:pt x="548831" y="587502"/>
                    </a:cubicBezTo>
                    <a:close/>
                    <a:moveTo>
                      <a:pt x="173614" y="184404"/>
                    </a:moveTo>
                    <a:cubicBezTo>
                      <a:pt x="177186" y="184404"/>
                      <a:pt x="180759" y="185833"/>
                      <a:pt x="183616" y="187977"/>
                    </a:cubicBezTo>
                    <a:cubicBezTo>
                      <a:pt x="183616" y="187977"/>
                      <a:pt x="183616" y="187977"/>
                      <a:pt x="254348" y="246568"/>
                    </a:cubicBezTo>
                    <a:cubicBezTo>
                      <a:pt x="254348" y="246568"/>
                      <a:pt x="255062" y="246568"/>
                      <a:pt x="255062" y="247283"/>
                    </a:cubicBezTo>
                    <a:cubicBezTo>
                      <a:pt x="255062" y="247283"/>
                      <a:pt x="255062" y="247283"/>
                      <a:pt x="255777" y="247283"/>
                    </a:cubicBezTo>
                    <a:cubicBezTo>
                      <a:pt x="255777" y="247997"/>
                      <a:pt x="256491" y="248712"/>
                      <a:pt x="256491" y="248712"/>
                    </a:cubicBezTo>
                    <a:cubicBezTo>
                      <a:pt x="257206" y="249426"/>
                      <a:pt x="257920" y="250855"/>
                      <a:pt x="258635" y="251570"/>
                    </a:cubicBezTo>
                    <a:cubicBezTo>
                      <a:pt x="258635" y="252284"/>
                      <a:pt x="258635" y="252999"/>
                      <a:pt x="259349" y="253713"/>
                    </a:cubicBezTo>
                    <a:cubicBezTo>
                      <a:pt x="259349" y="253713"/>
                      <a:pt x="259349" y="254428"/>
                      <a:pt x="259349" y="255142"/>
                    </a:cubicBezTo>
                    <a:cubicBezTo>
                      <a:pt x="260063" y="257286"/>
                      <a:pt x="260063" y="258715"/>
                      <a:pt x="259349" y="260859"/>
                    </a:cubicBezTo>
                    <a:cubicBezTo>
                      <a:pt x="259349" y="261573"/>
                      <a:pt x="259349" y="261573"/>
                      <a:pt x="259349" y="261573"/>
                    </a:cubicBezTo>
                    <a:cubicBezTo>
                      <a:pt x="259349" y="262288"/>
                      <a:pt x="259349" y="262288"/>
                      <a:pt x="259349" y="262288"/>
                    </a:cubicBezTo>
                    <a:cubicBezTo>
                      <a:pt x="259349" y="263002"/>
                      <a:pt x="259349" y="263002"/>
                      <a:pt x="259349" y="263717"/>
                    </a:cubicBezTo>
                    <a:cubicBezTo>
                      <a:pt x="258635" y="263717"/>
                      <a:pt x="258635" y="264431"/>
                      <a:pt x="258635" y="265146"/>
                    </a:cubicBezTo>
                    <a:cubicBezTo>
                      <a:pt x="258635" y="265146"/>
                      <a:pt x="257920" y="265146"/>
                      <a:pt x="257920" y="265860"/>
                    </a:cubicBezTo>
                    <a:cubicBezTo>
                      <a:pt x="257920" y="266575"/>
                      <a:pt x="257206" y="267289"/>
                      <a:pt x="256491" y="268004"/>
                    </a:cubicBezTo>
                    <a:cubicBezTo>
                      <a:pt x="256491" y="268719"/>
                      <a:pt x="256491" y="268719"/>
                      <a:pt x="256491" y="268719"/>
                    </a:cubicBezTo>
                    <a:cubicBezTo>
                      <a:pt x="256491" y="268719"/>
                      <a:pt x="256491" y="268719"/>
                      <a:pt x="255777" y="268719"/>
                    </a:cubicBezTo>
                    <a:cubicBezTo>
                      <a:pt x="255777" y="268719"/>
                      <a:pt x="255777" y="268719"/>
                      <a:pt x="194333" y="341600"/>
                    </a:cubicBezTo>
                    <a:cubicBezTo>
                      <a:pt x="188618" y="348031"/>
                      <a:pt x="178615" y="348746"/>
                      <a:pt x="172185" y="343744"/>
                    </a:cubicBezTo>
                    <a:cubicBezTo>
                      <a:pt x="165040" y="338028"/>
                      <a:pt x="164326" y="328024"/>
                      <a:pt x="170042" y="321594"/>
                    </a:cubicBezTo>
                    <a:cubicBezTo>
                      <a:pt x="170042" y="321594"/>
                      <a:pt x="170042" y="321594"/>
                      <a:pt x="207193" y="278007"/>
                    </a:cubicBezTo>
                    <a:cubicBezTo>
                      <a:pt x="173614" y="285153"/>
                      <a:pt x="142892" y="302301"/>
                      <a:pt x="115743" y="329453"/>
                    </a:cubicBezTo>
                    <a:cubicBezTo>
                      <a:pt x="57157" y="388045"/>
                      <a:pt x="31436" y="475932"/>
                      <a:pt x="31436" y="536666"/>
                    </a:cubicBezTo>
                    <a:cubicBezTo>
                      <a:pt x="31436" y="681001"/>
                      <a:pt x="147893" y="798184"/>
                      <a:pt x="291500" y="798184"/>
                    </a:cubicBezTo>
                    <a:cubicBezTo>
                      <a:pt x="299359" y="663138"/>
                      <a:pt x="412243" y="555959"/>
                      <a:pt x="549419" y="555959"/>
                    </a:cubicBezTo>
                    <a:cubicBezTo>
                      <a:pt x="691597" y="555959"/>
                      <a:pt x="807339" y="671712"/>
                      <a:pt x="807339" y="813903"/>
                    </a:cubicBezTo>
                    <a:cubicBezTo>
                      <a:pt x="807339" y="956809"/>
                      <a:pt x="691597" y="1073277"/>
                      <a:pt x="549419" y="1073277"/>
                    </a:cubicBezTo>
                    <a:cubicBezTo>
                      <a:pt x="412243" y="1073277"/>
                      <a:pt x="299359" y="965383"/>
                      <a:pt x="291500" y="829623"/>
                    </a:cubicBezTo>
                    <a:cubicBezTo>
                      <a:pt x="130746" y="829623"/>
                      <a:pt x="0" y="698150"/>
                      <a:pt x="0" y="536666"/>
                    </a:cubicBezTo>
                    <a:cubicBezTo>
                      <a:pt x="0" y="455210"/>
                      <a:pt x="37152" y="363751"/>
                      <a:pt x="93594" y="307303"/>
                    </a:cubicBezTo>
                    <a:cubicBezTo>
                      <a:pt x="126460" y="275149"/>
                      <a:pt x="164326" y="254428"/>
                      <a:pt x="205764" y="246568"/>
                    </a:cubicBezTo>
                    <a:cubicBezTo>
                      <a:pt x="205764" y="246568"/>
                      <a:pt x="205764" y="246568"/>
                      <a:pt x="163612" y="212271"/>
                    </a:cubicBezTo>
                    <a:cubicBezTo>
                      <a:pt x="157181" y="206554"/>
                      <a:pt x="155753" y="196551"/>
                      <a:pt x="161468" y="190120"/>
                    </a:cubicBezTo>
                    <a:cubicBezTo>
                      <a:pt x="164326" y="186548"/>
                      <a:pt x="169327" y="184404"/>
                      <a:pt x="173614" y="184404"/>
                    </a:cubicBezTo>
                    <a:close/>
                    <a:moveTo>
                      <a:pt x="549212" y="31623"/>
                    </a:moveTo>
                    <a:cubicBezTo>
                      <a:pt x="423696" y="31623"/>
                      <a:pt x="321945" y="133288"/>
                      <a:pt x="321945" y="258699"/>
                    </a:cubicBezTo>
                    <a:cubicBezTo>
                      <a:pt x="321945" y="384110"/>
                      <a:pt x="423696" y="485775"/>
                      <a:pt x="549212" y="485775"/>
                    </a:cubicBezTo>
                    <a:cubicBezTo>
                      <a:pt x="674728" y="485775"/>
                      <a:pt x="776478" y="384110"/>
                      <a:pt x="776478" y="258699"/>
                    </a:cubicBezTo>
                    <a:cubicBezTo>
                      <a:pt x="776478" y="133288"/>
                      <a:pt x="674728" y="31623"/>
                      <a:pt x="549212" y="31623"/>
                    </a:cubicBezTo>
                    <a:close/>
                    <a:moveTo>
                      <a:pt x="549261" y="0"/>
                    </a:moveTo>
                    <a:cubicBezTo>
                      <a:pt x="686397" y="0"/>
                      <a:pt x="799249" y="107179"/>
                      <a:pt x="807819" y="242940"/>
                    </a:cubicBezTo>
                    <a:cubicBezTo>
                      <a:pt x="968525" y="242940"/>
                      <a:pt x="1099947" y="375128"/>
                      <a:pt x="1099947" y="536611"/>
                    </a:cubicBezTo>
                    <a:cubicBezTo>
                      <a:pt x="1099947" y="617353"/>
                      <a:pt x="1062092" y="708812"/>
                      <a:pt x="1005666" y="765260"/>
                    </a:cubicBezTo>
                    <a:cubicBezTo>
                      <a:pt x="973525" y="797413"/>
                      <a:pt x="934956" y="818135"/>
                      <a:pt x="893529" y="825995"/>
                    </a:cubicBezTo>
                    <a:cubicBezTo>
                      <a:pt x="893529" y="825995"/>
                      <a:pt x="893529" y="825995"/>
                      <a:pt x="935670" y="860292"/>
                    </a:cubicBezTo>
                    <a:cubicBezTo>
                      <a:pt x="942812" y="866008"/>
                      <a:pt x="943527" y="876726"/>
                      <a:pt x="937813" y="883157"/>
                    </a:cubicBezTo>
                    <a:cubicBezTo>
                      <a:pt x="934956" y="886730"/>
                      <a:pt x="930670" y="888873"/>
                      <a:pt x="925670" y="888873"/>
                    </a:cubicBezTo>
                    <a:cubicBezTo>
                      <a:pt x="922099" y="888873"/>
                      <a:pt x="918528" y="887444"/>
                      <a:pt x="915671" y="885301"/>
                    </a:cubicBezTo>
                    <a:cubicBezTo>
                      <a:pt x="915671" y="885301"/>
                      <a:pt x="915671" y="885301"/>
                      <a:pt x="844960" y="825995"/>
                    </a:cubicBezTo>
                    <a:cubicBezTo>
                      <a:pt x="844246" y="825995"/>
                      <a:pt x="844246" y="825995"/>
                      <a:pt x="843532" y="825280"/>
                    </a:cubicBezTo>
                    <a:cubicBezTo>
                      <a:pt x="842818" y="824566"/>
                      <a:pt x="842818" y="823851"/>
                      <a:pt x="842103" y="823851"/>
                    </a:cubicBezTo>
                    <a:cubicBezTo>
                      <a:pt x="841389" y="823137"/>
                      <a:pt x="840675" y="821707"/>
                      <a:pt x="840675" y="820993"/>
                    </a:cubicBezTo>
                    <a:cubicBezTo>
                      <a:pt x="839961" y="820279"/>
                      <a:pt x="839961" y="819564"/>
                      <a:pt x="839961" y="818849"/>
                    </a:cubicBezTo>
                    <a:cubicBezTo>
                      <a:pt x="839246" y="818849"/>
                      <a:pt x="839246" y="818135"/>
                      <a:pt x="839246" y="817420"/>
                    </a:cubicBezTo>
                    <a:cubicBezTo>
                      <a:pt x="839246" y="815277"/>
                      <a:pt x="838532" y="813848"/>
                      <a:pt x="839246" y="811704"/>
                    </a:cubicBezTo>
                    <a:cubicBezTo>
                      <a:pt x="839246" y="810990"/>
                      <a:pt x="839246" y="810990"/>
                      <a:pt x="839246" y="810990"/>
                    </a:cubicBezTo>
                    <a:cubicBezTo>
                      <a:pt x="839246" y="810275"/>
                      <a:pt x="839246" y="810275"/>
                      <a:pt x="839246" y="810275"/>
                    </a:cubicBezTo>
                    <a:cubicBezTo>
                      <a:pt x="839961" y="809561"/>
                      <a:pt x="839961" y="809561"/>
                      <a:pt x="839961" y="808846"/>
                    </a:cubicBezTo>
                    <a:cubicBezTo>
                      <a:pt x="839961" y="808846"/>
                      <a:pt x="839961" y="808131"/>
                      <a:pt x="840675" y="807417"/>
                    </a:cubicBezTo>
                    <a:cubicBezTo>
                      <a:pt x="840675" y="807417"/>
                      <a:pt x="840675" y="807417"/>
                      <a:pt x="840675" y="806702"/>
                    </a:cubicBezTo>
                    <a:cubicBezTo>
                      <a:pt x="841389" y="805988"/>
                      <a:pt x="842103" y="805273"/>
                      <a:pt x="842818" y="804559"/>
                    </a:cubicBezTo>
                    <a:cubicBezTo>
                      <a:pt x="842818" y="803844"/>
                      <a:pt x="842818" y="803844"/>
                      <a:pt x="842818" y="803844"/>
                    </a:cubicBezTo>
                    <a:cubicBezTo>
                      <a:pt x="842818" y="803844"/>
                      <a:pt x="842818" y="803844"/>
                      <a:pt x="905672" y="730963"/>
                    </a:cubicBezTo>
                    <a:cubicBezTo>
                      <a:pt x="911385" y="724532"/>
                      <a:pt x="921385" y="723817"/>
                      <a:pt x="927813" y="728819"/>
                    </a:cubicBezTo>
                    <a:cubicBezTo>
                      <a:pt x="934242" y="734535"/>
                      <a:pt x="934956" y="744539"/>
                      <a:pt x="929242" y="750969"/>
                    </a:cubicBezTo>
                    <a:cubicBezTo>
                      <a:pt x="929242" y="750969"/>
                      <a:pt x="929242" y="750969"/>
                      <a:pt x="892101" y="794556"/>
                    </a:cubicBezTo>
                    <a:cubicBezTo>
                      <a:pt x="925670" y="787410"/>
                      <a:pt x="956383" y="770262"/>
                      <a:pt x="983525" y="743109"/>
                    </a:cubicBezTo>
                    <a:cubicBezTo>
                      <a:pt x="1042093" y="684518"/>
                      <a:pt x="1068520" y="597346"/>
                      <a:pt x="1068520" y="536611"/>
                    </a:cubicBezTo>
                    <a:cubicBezTo>
                      <a:pt x="1068520" y="392276"/>
                      <a:pt x="951383" y="274379"/>
                      <a:pt x="807819" y="274379"/>
                    </a:cubicBezTo>
                    <a:cubicBezTo>
                      <a:pt x="799249" y="410139"/>
                      <a:pt x="686397" y="517319"/>
                      <a:pt x="549261" y="517319"/>
                    </a:cubicBezTo>
                    <a:cubicBezTo>
                      <a:pt x="406412" y="517319"/>
                      <a:pt x="290703" y="401565"/>
                      <a:pt x="290703" y="258659"/>
                    </a:cubicBezTo>
                    <a:cubicBezTo>
                      <a:pt x="290703" y="115754"/>
                      <a:pt x="406412" y="0"/>
                      <a:pt x="549261" y="0"/>
                    </a:cubicBezTo>
                    <a:close/>
                  </a:path>
                </a:pathLst>
              </a:custGeom>
              <a:solidFill>
                <a:schemeClr val="accent1"/>
              </a:solidFill>
              <a:ln>
                <a:noFill/>
              </a:ln>
            </p:spPr>
            <p:txBody>
              <a:bodyPr vert="horz" wrap="square" lIns="121920" tIns="60960" rIns="121920" bIns="60960" numCol="1" anchor="t" anchorCtr="0" compatLnSpc="1">
                <a:prstTxWarp prst="textNoShape">
                  <a:avLst/>
                </a:prstTxWarp>
                <a:noAutofit/>
              </a:bodyPr>
              <a:lstStyle/>
              <a:p>
                <a:endParaRPr lang="en-US" sz="2400" dirty="0">
                  <a:latin typeface="Corpid C1 Regular" panose="020B0603040502060204" pitchFamily="34" charset="0"/>
                </a:endParaRPr>
              </a:p>
            </p:txBody>
          </p:sp>
          <p:sp>
            <p:nvSpPr>
              <p:cNvPr id="38" name="Freeform 9"/>
              <p:cNvSpPr>
                <a:spLocks noEditPoints="1"/>
              </p:cNvSpPr>
              <p:nvPr/>
            </p:nvSpPr>
            <p:spPr bwMode="auto">
              <a:xfrm>
                <a:off x="5891594" y="2947606"/>
                <a:ext cx="408813" cy="962787"/>
              </a:xfrm>
              <a:custGeom>
                <a:avLst/>
                <a:gdLst>
                  <a:gd name="T0" fmla="*/ 286 w 572"/>
                  <a:gd name="T1" fmla="*/ 777 h 1348"/>
                  <a:gd name="T2" fmla="*/ 572 w 572"/>
                  <a:gd name="T3" fmla="*/ 1062 h 1348"/>
                  <a:gd name="T4" fmla="*/ 286 w 572"/>
                  <a:gd name="T5" fmla="*/ 1348 h 1348"/>
                  <a:gd name="T6" fmla="*/ 0 w 572"/>
                  <a:gd name="T7" fmla="*/ 1062 h 1348"/>
                  <a:gd name="T8" fmla="*/ 286 w 572"/>
                  <a:gd name="T9" fmla="*/ 777 h 1348"/>
                  <a:gd name="T10" fmla="*/ 286 w 572"/>
                  <a:gd name="T11" fmla="*/ 0 h 1348"/>
                  <a:gd name="T12" fmla="*/ 572 w 572"/>
                  <a:gd name="T13" fmla="*/ 286 h 1348"/>
                  <a:gd name="T14" fmla="*/ 286 w 572"/>
                  <a:gd name="T15" fmla="*/ 573 h 1348"/>
                  <a:gd name="T16" fmla="*/ 0 w 572"/>
                  <a:gd name="T17" fmla="*/ 286 h 1348"/>
                  <a:gd name="T18" fmla="*/ 286 w 572"/>
                  <a:gd name="T19" fmla="*/ 0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2" h="1348">
                    <a:moveTo>
                      <a:pt x="286" y="777"/>
                    </a:moveTo>
                    <a:cubicBezTo>
                      <a:pt x="444" y="777"/>
                      <a:pt x="572" y="905"/>
                      <a:pt x="572" y="1062"/>
                    </a:cubicBezTo>
                    <a:cubicBezTo>
                      <a:pt x="572" y="1220"/>
                      <a:pt x="444" y="1348"/>
                      <a:pt x="286" y="1348"/>
                    </a:cubicBezTo>
                    <a:cubicBezTo>
                      <a:pt x="128" y="1348"/>
                      <a:pt x="0" y="1220"/>
                      <a:pt x="0" y="1062"/>
                    </a:cubicBezTo>
                    <a:cubicBezTo>
                      <a:pt x="0" y="905"/>
                      <a:pt x="128" y="777"/>
                      <a:pt x="286" y="777"/>
                    </a:cubicBezTo>
                    <a:close/>
                    <a:moveTo>
                      <a:pt x="286" y="0"/>
                    </a:moveTo>
                    <a:cubicBezTo>
                      <a:pt x="444" y="0"/>
                      <a:pt x="572" y="128"/>
                      <a:pt x="572" y="286"/>
                    </a:cubicBezTo>
                    <a:cubicBezTo>
                      <a:pt x="572" y="444"/>
                      <a:pt x="444" y="573"/>
                      <a:pt x="286" y="573"/>
                    </a:cubicBezTo>
                    <a:cubicBezTo>
                      <a:pt x="128" y="573"/>
                      <a:pt x="0" y="444"/>
                      <a:pt x="0" y="286"/>
                    </a:cubicBezTo>
                    <a:cubicBezTo>
                      <a:pt x="0" y="128"/>
                      <a:pt x="128" y="0"/>
                      <a:pt x="286" y="0"/>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US" sz="2400" dirty="0">
                  <a:latin typeface="Corpid C1 Regular" panose="020B0603040502060204" pitchFamily="34" charset="0"/>
                </a:endParaRPr>
              </a:p>
            </p:txBody>
          </p:sp>
        </p:grpSp>
      </p:grpSp>
      <p:grpSp>
        <p:nvGrpSpPr>
          <p:cNvPr id="39" name="Group 38"/>
          <p:cNvGrpSpPr/>
          <p:nvPr/>
        </p:nvGrpSpPr>
        <p:grpSpPr>
          <a:xfrm>
            <a:off x="5611904" y="1633088"/>
            <a:ext cx="975360" cy="975360"/>
            <a:chOff x="5273802" y="2606040"/>
            <a:chExt cx="1644396" cy="1645920"/>
          </a:xfrm>
        </p:grpSpPr>
        <p:sp>
          <p:nvSpPr>
            <p:cNvPr id="40" name="AutoShape 28">
              <a:extLst>
                <a:ext uri="{FF2B5EF4-FFF2-40B4-BE49-F238E27FC236}">
                  <a16:creationId xmlns:a16="http://schemas.microsoft.com/office/drawing/2014/main" id="{EAADB740-B9ED-4519-AB3A-981741EB6C83}"/>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Corpid C1 Regular" panose="020B0603040502060204" pitchFamily="34" charset="0"/>
              </a:endParaRPr>
            </a:p>
          </p:txBody>
        </p:sp>
        <p:grpSp>
          <p:nvGrpSpPr>
            <p:cNvPr id="41" name="Group 40"/>
            <p:cNvGrpSpPr/>
            <p:nvPr/>
          </p:nvGrpSpPr>
          <p:grpSpPr>
            <a:xfrm>
              <a:off x="5642229" y="2723007"/>
              <a:ext cx="909066" cy="1323213"/>
              <a:chOff x="5642229" y="2723007"/>
              <a:chExt cx="909066" cy="1323213"/>
            </a:xfrm>
          </p:grpSpPr>
          <p:sp>
            <p:nvSpPr>
              <p:cNvPr id="42" name="Freeform 30">
                <a:extLst>
                  <a:ext uri="{FF2B5EF4-FFF2-40B4-BE49-F238E27FC236}">
                    <a16:creationId xmlns:a16="http://schemas.microsoft.com/office/drawing/2014/main" id="{4295DCD2-9EB6-4D65-9871-5F61A3C9E29A}"/>
                  </a:ext>
                </a:extLst>
              </p:cNvPr>
              <p:cNvSpPr>
                <a:spLocks/>
              </p:cNvSpPr>
              <p:nvPr/>
            </p:nvSpPr>
            <p:spPr bwMode="auto">
              <a:xfrm>
                <a:off x="5642229" y="2838831"/>
                <a:ext cx="909066" cy="1207389"/>
              </a:xfrm>
              <a:custGeom>
                <a:avLst/>
                <a:gdLst>
                  <a:gd name="T0" fmla="*/ 1252 w 1274"/>
                  <a:gd name="T1" fmla="*/ 0 h 1690"/>
                  <a:gd name="T2" fmla="*/ 887 w 1274"/>
                  <a:gd name="T3" fmla="*/ 0 h 1690"/>
                  <a:gd name="T4" fmla="*/ 887 w 1274"/>
                  <a:gd name="T5" fmla="*/ 44 h 1690"/>
                  <a:gd name="T6" fmla="*/ 1230 w 1274"/>
                  <a:gd name="T7" fmla="*/ 44 h 1690"/>
                  <a:gd name="T8" fmla="*/ 1230 w 1274"/>
                  <a:gd name="T9" fmla="*/ 1646 h 1690"/>
                  <a:gd name="T10" fmla="*/ 44 w 1274"/>
                  <a:gd name="T11" fmla="*/ 1646 h 1690"/>
                  <a:gd name="T12" fmla="*/ 44 w 1274"/>
                  <a:gd name="T13" fmla="*/ 44 h 1690"/>
                  <a:gd name="T14" fmla="*/ 387 w 1274"/>
                  <a:gd name="T15" fmla="*/ 44 h 1690"/>
                  <a:gd name="T16" fmla="*/ 387 w 1274"/>
                  <a:gd name="T17" fmla="*/ 0 h 1690"/>
                  <a:gd name="T18" fmla="*/ 22 w 1274"/>
                  <a:gd name="T19" fmla="*/ 0 h 1690"/>
                  <a:gd name="T20" fmla="*/ 0 w 1274"/>
                  <a:gd name="T21" fmla="*/ 22 h 1690"/>
                  <a:gd name="T22" fmla="*/ 0 w 1274"/>
                  <a:gd name="T23" fmla="*/ 1668 h 1690"/>
                  <a:gd name="T24" fmla="*/ 22 w 1274"/>
                  <a:gd name="T25" fmla="*/ 1690 h 1690"/>
                  <a:gd name="T26" fmla="*/ 1252 w 1274"/>
                  <a:gd name="T27" fmla="*/ 1690 h 1690"/>
                  <a:gd name="T28" fmla="*/ 1274 w 1274"/>
                  <a:gd name="T29" fmla="*/ 1668 h 1690"/>
                  <a:gd name="T30" fmla="*/ 1274 w 1274"/>
                  <a:gd name="T31" fmla="*/ 22 h 1690"/>
                  <a:gd name="T32" fmla="*/ 1252 w 1274"/>
                  <a:gd name="T33" fmla="*/ 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4" h="1690">
                    <a:moveTo>
                      <a:pt x="1252" y="0"/>
                    </a:moveTo>
                    <a:cubicBezTo>
                      <a:pt x="887" y="0"/>
                      <a:pt x="887" y="0"/>
                      <a:pt x="887" y="0"/>
                    </a:cubicBezTo>
                    <a:cubicBezTo>
                      <a:pt x="887" y="44"/>
                      <a:pt x="887" y="44"/>
                      <a:pt x="887" y="44"/>
                    </a:cubicBezTo>
                    <a:cubicBezTo>
                      <a:pt x="1230" y="44"/>
                      <a:pt x="1230" y="44"/>
                      <a:pt x="1230" y="44"/>
                    </a:cubicBezTo>
                    <a:cubicBezTo>
                      <a:pt x="1230" y="1646"/>
                      <a:pt x="1230" y="1646"/>
                      <a:pt x="1230" y="1646"/>
                    </a:cubicBezTo>
                    <a:cubicBezTo>
                      <a:pt x="44" y="1646"/>
                      <a:pt x="44" y="1646"/>
                      <a:pt x="44" y="1646"/>
                    </a:cubicBezTo>
                    <a:cubicBezTo>
                      <a:pt x="44" y="44"/>
                      <a:pt x="44" y="44"/>
                      <a:pt x="44" y="44"/>
                    </a:cubicBezTo>
                    <a:cubicBezTo>
                      <a:pt x="387" y="44"/>
                      <a:pt x="387" y="44"/>
                      <a:pt x="387" y="44"/>
                    </a:cubicBezTo>
                    <a:cubicBezTo>
                      <a:pt x="387" y="0"/>
                      <a:pt x="387" y="0"/>
                      <a:pt x="387" y="0"/>
                    </a:cubicBezTo>
                    <a:cubicBezTo>
                      <a:pt x="22" y="0"/>
                      <a:pt x="22" y="0"/>
                      <a:pt x="22" y="0"/>
                    </a:cubicBezTo>
                    <a:cubicBezTo>
                      <a:pt x="10" y="0"/>
                      <a:pt x="0" y="10"/>
                      <a:pt x="0" y="22"/>
                    </a:cubicBezTo>
                    <a:cubicBezTo>
                      <a:pt x="0" y="1668"/>
                      <a:pt x="0" y="1668"/>
                      <a:pt x="0" y="1668"/>
                    </a:cubicBezTo>
                    <a:cubicBezTo>
                      <a:pt x="0" y="1680"/>
                      <a:pt x="10" y="1690"/>
                      <a:pt x="22" y="1690"/>
                    </a:cubicBezTo>
                    <a:cubicBezTo>
                      <a:pt x="1252" y="1690"/>
                      <a:pt x="1252" y="1690"/>
                      <a:pt x="1252" y="1690"/>
                    </a:cubicBezTo>
                    <a:cubicBezTo>
                      <a:pt x="1264" y="1690"/>
                      <a:pt x="1274" y="1680"/>
                      <a:pt x="1274" y="1668"/>
                    </a:cubicBezTo>
                    <a:cubicBezTo>
                      <a:pt x="1274" y="22"/>
                      <a:pt x="1274" y="22"/>
                      <a:pt x="1274" y="22"/>
                    </a:cubicBezTo>
                    <a:cubicBezTo>
                      <a:pt x="1274" y="10"/>
                      <a:pt x="1264" y="0"/>
                      <a:pt x="125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Corpid C1 Regular" panose="020B0603040502060204" pitchFamily="34" charset="0"/>
                </a:endParaRPr>
              </a:p>
            </p:txBody>
          </p:sp>
          <p:sp>
            <p:nvSpPr>
              <p:cNvPr id="43" name="Freeform 31">
                <a:extLst>
                  <a:ext uri="{FF2B5EF4-FFF2-40B4-BE49-F238E27FC236}">
                    <a16:creationId xmlns:a16="http://schemas.microsoft.com/office/drawing/2014/main" id="{42483609-5B1E-4649-B00F-B6329BEA88BD}"/>
                  </a:ext>
                </a:extLst>
              </p:cNvPr>
              <p:cNvSpPr>
                <a:spLocks noEditPoints="1"/>
              </p:cNvSpPr>
              <p:nvPr/>
            </p:nvSpPr>
            <p:spPr bwMode="auto">
              <a:xfrm>
                <a:off x="5834634" y="2723007"/>
                <a:ext cx="523494" cy="1103757"/>
              </a:xfrm>
              <a:custGeom>
                <a:avLst/>
                <a:gdLst>
                  <a:gd name="T0" fmla="*/ 44 w 733"/>
                  <a:gd name="T1" fmla="*/ 751 h 1545"/>
                  <a:gd name="T2" fmla="*/ 0 w 733"/>
                  <a:gd name="T3" fmla="*/ 591 h 1545"/>
                  <a:gd name="T4" fmla="*/ 161 w 733"/>
                  <a:gd name="T5" fmla="*/ 547 h 1545"/>
                  <a:gd name="T6" fmla="*/ 205 w 733"/>
                  <a:gd name="T7" fmla="*/ 707 h 1545"/>
                  <a:gd name="T8" fmla="*/ 44 w 733"/>
                  <a:gd name="T9" fmla="*/ 591 h 1545"/>
                  <a:gd name="T10" fmla="*/ 161 w 733"/>
                  <a:gd name="T11" fmla="*/ 707 h 1545"/>
                  <a:gd name="T12" fmla="*/ 44 w 733"/>
                  <a:gd name="T13" fmla="*/ 591 h 1545"/>
                  <a:gd name="T14" fmla="*/ 711 w 733"/>
                  <a:gd name="T15" fmla="*/ 556 h 1545"/>
                  <a:gd name="T16" fmla="*/ 286 w 733"/>
                  <a:gd name="T17" fmla="*/ 578 h 1545"/>
                  <a:gd name="T18" fmla="*/ 711 w 733"/>
                  <a:gd name="T19" fmla="*/ 600 h 1545"/>
                  <a:gd name="T20" fmla="*/ 733 w 733"/>
                  <a:gd name="T21" fmla="*/ 720 h 1545"/>
                  <a:gd name="T22" fmla="*/ 308 w 733"/>
                  <a:gd name="T23" fmla="*/ 698 h 1545"/>
                  <a:gd name="T24" fmla="*/ 308 w 733"/>
                  <a:gd name="T25" fmla="*/ 742 h 1545"/>
                  <a:gd name="T26" fmla="*/ 733 w 733"/>
                  <a:gd name="T27" fmla="*/ 720 h 1545"/>
                  <a:gd name="T28" fmla="*/ 44 w 733"/>
                  <a:gd name="T29" fmla="*/ 1545 h 1545"/>
                  <a:gd name="T30" fmla="*/ 0 w 733"/>
                  <a:gd name="T31" fmla="*/ 1384 h 1545"/>
                  <a:gd name="T32" fmla="*/ 161 w 733"/>
                  <a:gd name="T33" fmla="*/ 1340 h 1545"/>
                  <a:gd name="T34" fmla="*/ 205 w 733"/>
                  <a:gd name="T35" fmla="*/ 1501 h 1545"/>
                  <a:gd name="T36" fmla="*/ 44 w 733"/>
                  <a:gd name="T37" fmla="*/ 1384 h 1545"/>
                  <a:gd name="T38" fmla="*/ 161 w 733"/>
                  <a:gd name="T39" fmla="*/ 1501 h 1545"/>
                  <a:gd name="T40" fmla="*/ 44 w 733"/>
                  <a:gd name="T41" fmla="*/ 1384 h 1545"/>
                  <a:gd name="T42" fmla="*/ 711 w 733"/>
                  <a:gd name="T43" fmla="*/ 1350 h 1545"/>
                  <a:gd name="T44" fmla="*/ 286 w 733"/>
                  <a:gd name="T45" fmla="*/ 1372 h 1545"/>
                  <a:gd name="T46" fmla="*/ 711 w 733"/>
                  <a:gd name="T47" fmla="*/ 1394 h 1545"/>
                  <a:gd name="T48" fmla="*/ 733 w 733"/>
                  <a:gd name="T49" fmla="*/ 1513 h 1545"/>
                  <a:gd name="T50" fmla="*/ 308 w 733"/>
                  <a:gd name="T51" fmla="*/ 1491 h 1545"/>
                  <a:gd name="T52" fmla="*/ 308 w 733"/>
                  <a:gd name="T53" fmla="*/ 1535 h 1545"/>
                  <a:gd name="T54" fmla="*/ 733 w 733"/>
                  <a:gd name="T55" fmla="*/ 1513 h 1545"/>
                  <a:gd name="T56" fmla="*/ 44 w 733"/>
                  <a:gd name="T57" fmla="*/ 1148 h 1545"/>
                  <a:gd name="T58" fmla="*/ 0 w 733"/>
                  <a:gd name="T59" fmla="*/ 987 h 1545"/>
                  <a:gd name="T60" fmla="*/ 161 w 733"/>
                  <a:gd name="T61" fmla="*/ 943 h 1545"/>
                  <a:gd name="T62" fmla="*/ 205 w 733"/>
                  <a:gd name="T63" fmla="*/ 1104 h 1545"/>
                  <a:gd name="T64" fmla="*/ 44 w 733"/>
                  <a:gd name="T65" fmla="*/ 987 h 1545"/>
                  <a:gd name="T66" fmla="*/ 161 w 733"/>
                  <a:gd name="T67" fmla="*/ 1104 h 1545"/>
                  <a:gd name="T68" fmla="*/ 44 w 733"/>
                  <a:gd name="T69" fmla="*/ 987 h 1545"/>
                  <a:gd name="T70" fmla="*/ 711 w 733"/>
                  <a:gd name="T71" fmla="*/ 953 h 1545"/>
                  <a:gd name="T72" fmla="*/ 286 w 733"/>
                  <a:gd name="T73" fmla="*/ 975 h 1545"/>
                  <a:gd name="T74" fmla="*/ 711 w 733"/>
                  <a:gd name="T75" fmla="*/ 997 h 1545"/>
                  <a:gd name="T76" fmla="*/ 733 w 733"/>
                  <a:gd name="T77" fmla="*/ 1117 h 1545"/>
                  <a:gd name="T78" fmla="*/ 308 w 733"/>
                  <a:gd name="T79" fmla="*/ 1095 h 1545"/>
                  <a:gd name="T80" fmla="*/ 308 w 733"/>
                  <a:gd name="T81" fmla="*/ 1139 h 1545"/>
                  <a:gd name="T82" fmla="*/ 733 w 733"/>
                  <a:gd name="T83" fmla="*/ 1117 h 1545"/>
                  <a:gd name="T84" fmla="*/ 493 w 733"/>
                  <a:gd name="T85" fmla="*/ 94 h 1545"/>
                  <a:gd name="T86" fmla="*/ 241 w 733"/>
                  <a:gd name="T87" fmla="*/ 94 h 1545"/>
                  <a:gd name="T88" fmla="*/ 161 w 733"/>
                  <a:gd name="T89" fmla="*/ 104 h 1545"/>
                  <a:gd name="T90" fmla="*/ 183 w 733"/>
                  <a:gd name="T91" fmla="*/ 275 h 1545"/>
                  <a:gd name="T92" fmla="*/ 573 w 733"/>
                  <a:gd name="T93" fmla="*/ 253 h 1545"/>
                  <a:gd name="T94" fmla="*/ 563 w 733"/>
                  <a:gd name="T95" fmla="*/ 94 h 1545"/>
                  <a:gd name="T96" fmla="*/ 446 w 733"/>
                  <a:gd name="T97" fmla="*/ 94 h 1545"/>
                  <a:gd name="T98" fmla="*/ 367 w 733"/>
                  <a:gd name="T99" fmla="*/ 44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33" h="1545">
                    <a:moveTo>
                      <a:pt x="161" y="751"/>
                    </a:moveTo>
                    <a:cubicBezTo>
                      <a:pt x="44" y="751"/>
                      <a:pt x="44" y="751"/>
                      <a:pt x="44" y="751"/>
                    </a:cubicBezTo>
                    <a:cubicBezTo>
                      <a:pt x="20" y="751"/>
                      <a:pt x="0" y="732"/>
                      <a:pt x="0" y="707"/>
                    </a:cubicBezTo>
                    <a:cubicBezTo>
                      <a:pt x="0" y="591"/>
                      <a:pt x="0" y="591"/>
                      <a:pt x="0" y="591"/>
                    </a:cubicBezTo>
                    <a:cubicBezTo>
                      <a:pt x="0" y="567"/>
                      <a:pt x="20" y="547"/>
                      <a:pt x="44" y="547"/>
                    </a:cubicBezTo>
                    <a:cubicBezTo>
                      <a:pt x="161" y="547"/>
                      <a:pt x="161" y="547"/>
                      <a:pt x="161" y="547"/>
                    </a:cubicBezTo>
                    <a:cubicBezTo>
                      <a:pt x="185" y="547"/>
                      <a:pt x="205" y="567"/>
                      <a:pt x="205" y="591"/>
                    </a:cubicBezTo>
                    <a:cubicBezTo>
                      <a:pt x="205" y="707"/>
                      <a:pt x="205" y="707"/>
                      <a:pt x="205" y="707"/>
                    </a:cubicBezTo>
                    <a:cubicBezTo>
                      <a:pt x="205" y="732"/>
                      <a:pt x="185" y="751"/>
                      <a:pt x="161" y="751"/>
                    </a:cubicBezTo>
                    <a:close/>
                    <a:moveTo>
                      <a:pt x="44" y="591"/>
                    </a:moveTo>
                    <a:cubicBezTo>
                      <a:pt x="44" y="707"/>
                      <a:pt x="44" y="707"/>
                      <a:pt x="44" y="707"/>
                    </a:cubicBezTo>
                    <a:cubicBezTo>
                      <a:pt x="161" y="707"/>
                      <a:pt x="161" y="707"/>
                      <a:pt x="161" y="707"/>
                    </a:cubicBezTo>
                    <a:cubicBezTo>
                      <a:pt x="161" y="591"/>
                      <a:pt x="161" y="591"/>
                      <a:pt x="161" y="591"/>
                    </a:cubicBezTo>
                    <a:lnTo>
                      <a:pt x="44" y="591"/>
                    </a:lnTo>
                    <a:close/>
                    <a:moveTo>
                      <a:pt x="733" y="578"/>
                    </a:moveTo>
                    <a:cubicBezTo>
                      <a:pt x="733" y="566"/>
                      <a:pt x="723" y="556"/>
                      <a:pt x="711" y="556"/>
                    </a:cubicBezTo>
                    <a:cubicBezTo>
                      <a:pt x="308" y="556"/>
                      <a:pt x="308" y="556"/>
                      <a:pt x="308" y="556"/>
                    </a:cubicBezTo>
                    <a:cubicBezTo>
                      <a:pt x="296" y="556"/>
                      <a:pt x="286" y="566"/>
                      <a:pt x="286" y="578"/>
                    </a:cubicBezTo>
                    <a:cubicBezTo>
                      <a:pt x="286" y="590"/>
                      <a:pt x="296" y="600"/>
                      <a:pt x="308" y="600"/>
                    </a:cubicBezTo>
                    <a:cubicBezTo>
                      <a:pt x="711" y="600"/>
                      <a:pt x="711" y="600"/>
                      <a:pt x="711" y="600"/>
                    </a:cubicBezTo>
                    <a:cubicBezTo>
                      <a:pt x="723" y="600"/>
                      <a:pt x="733" y="590"/>
                      <a:pt x="733" y="578"/>
                    </a:cubicBezTo>
                    <a:close/>
                    <a:moveTo>
                      <a:pt x="733" y="720"/>
                    </a:moveTo>
                    <a:cubicBezTo>
                      <a:pt x="733" y="708"/>
                      <a:pt x="723" y="698"/>
                      <a:pt x="711" y="698"/>
                    </a:cubicBezTo>
                    <a:cubicBezTo>
                      <a:pt x="308" y="698"/>
                      <a:pt x="308" y="698"/>
                      <a:pt x="308" y="698"/>
                    </a:cubicBezTo>
                    <a:cubicBezTo>
                      <a:pt x="296" y="698"/>
                      <a:pt x="286" y="708"/>
                      <a:pt x="286" y="720"/>
                    </a:cubicBezTo>
                    <a:cubicBezTo>
                      <a:pt x="286" y="732"/>
                      <a:pt x="296" y="742"/>
                      <a:pt x="308" y="742"/>
                    </a:cubicBezTo>
                    <a:cubicBezTo>
                      <a:pt x="711" y="742"/>
                      <a:pt x="711" y="742"/>
                      <a:pt x="711" y="742"/>
                    </a:cubicBezTo>
                    <a:cubicBezTo>
                      <a:pt x="723" y="742"/>
                      <a:pt x="733" y="732"/>
                      <a:pt x="733" y="720"/>
                    </a:cubicBezTo>
                    <a:close/>
                    <a:moveTo>
                      <a:pt x="161" y="1545"/>
                    </a:moveTo>
                    <a:cubicBezTo>
                      <a:pt x="44" y="1545"/>
                      <a:pt x="44" y="1545"/>
                      <a:pt x="44" y="1545"/>
                    </a:cubicBezTo>
                    <a:cubicBezTo>
                      <a:pt x="20" y="1545"/>
                      <a:pt x="0" y="1525"/>
                      <a:pt x="0" y="1501"/>
                    </a:cubicBezTo>
                    <a:cubicBezTo>
                      <a:pt x="0" y="1384"/>
                      <a:pt x="0" y="1384"/>
                      <a:pt x="0" y="1384"/>
                    </a:cubicBezTo>
                    <a:cubicBezTo>
                      <a:pt x="0" y="1360"/>
                      <a:pt x="20" y="1340"/>
                      <a:pt x="44" y="1340"/>
                    </a:cubicBezTo>
                    <a:cubicBezTo>
                      <a:pt x="161" y="1340"/>
                      <a:pt x="161" y="1340"/>
                      <a:pt x="161" y="1340"/>
                    </a:cubicBezTo>
                    <a:cubicBezTo>
                      <a:pt x="185" y="1340"/>
                      <a:pt x="205" y="1360"/>
                      <a:pt x="205" y="1384"/>
                    </a:cubicBezTo>
                    <a:cubicBezTo>
                      <a:pt x="205" y="1501"/>
                      <a:pt x="205" y="1501"/>
                      <a:pt x="205" y="1501"/>
                    </a:cubicBezTo>
                    <a:cubicBezTo>
                      <a:pt x="205" y="1525"/>
                      <a:pt x="185" y="1545"/>
                      <a:pt x="161" y="1545"/>
                    </a:cubicBezTo>
                    <a:close/>
                    <a:moveTo>
                      <a:pt x="44" y="1384"/>
                    </a:moveTo>
                    <a:cubicBezTo>
                      <a:pt x="44" y="1501"/>
                      <a:pt x="44" y="1501"/>
                      <a:pt x="44" y="1501"/>
                    </a:cubicBezTo>
                    <a:cubicBezTo>
                      <a:pt x="161" y="1501"/>
                      <a:pt x="161" y="1501"/>
                      <a:pt x="161" y="1501"/>
                    </a:cubicBezTo>
                    <a:cubicBezTo>
                      <a:pt x="161" y="1384"/>
                      <a:pt x="161" y="1384"/>
                      <a:pt x="161" y="1384"/>
                    </a:cubicBezTo>
                    <a:lnTo>
                      <a:pt x="44" y="1384"/>
                    </a:lnTo>
                    <a:close/>
                    <a:moveTo>
                      <a:pt x="733" y="1372"/>
                    </a:moveTo>
                    <a:cubicBezTo>
                      <a:pt x="733" y="1359"/>
                      <a:pt x="723" y="1350"/>
                      <a:pt x="711" y="1350"/>
                    </a:cubicBezTo>
                    <a:cubicBezTo>
                      <a:pt x="308" y="1350"/>
                      <a:pt x="308" y="1350"/>
                      <a:pt x="308" y="1350"/>
                    </a:cubicBezTo>
                    <a:cubicBezTo>
                      <a:pt x="296" y="1350"/>
                      <a:pt x="286" y="1359"/>
                      <a:pt x="286" y="1372"/>
                    </a:cubicBezTo>
                    <a:cubicBezTo>
                      <a:pt x="286" y="1384"/>
                      <a:pt x="296" y="1394"/>
                      <a:pt x="308" y="1394"/>
                    </a:cubicBezTo>
                    <a:cubicBezTo>
                      <a:pt x="711" y="1394"/>
                      <a:pt x="711" y="1394"/>
                      <a:pt x="711" y="1394"/>
                    </a:cubicBezTo>
                    <a:cubicBezTo>
                      <a:pt x="723" y="1394"/>
                      <a:pt x="733" y="1384"/>
                      <a:pt x="733" y="1372"/>
                    </a:cubicBezTo>
                    <a:close/>
                    <a:moveTo>
                      <a:pt x="733" y="1513"/>
                    </a:moveTo>
                    <a:cubicBezTo>
                      <a:pt x="733" y="1501"/>
                      <a:pt x="723" y="1491"/>
                      <a:pt x="711" y="1491"/>
                    </a:cubicBezTo>
                    <a:cubicBezTo>
                      <a:pt x="308" y="1491"/>
                      <a:pt x="308" y="1491"/>
                      <a:pt x="308" y="1491"/>
                    </a:cubicBezTo>
                    <a:cubicBezTo>
                      <a:pt x="296" y="1491"/>
                      <a:pt x="286" y="1501"/>
                      <a:pt x="286" y="1513"/>
                    </a:cubicBezTo>
                    <a:cubicBezTo>
                      <a:pt x="286" y="1525"/>
                      <a:pt x="296" y="1535"/>
                      <a:pt x="308" y="1535"/>
                    </a:cubicBezTo>
                    <a:cubicBezTo>
                      <a:pt x="711" y="1535"/>
                      <a:pt x="711" y="1535"/>
                      <a:pt x="711" y="1535"/>
                    </a:cubicBezTo>
                    <a:cubicBezTo>
                      <a:pt x="723" y="1535"/>
                      <a:pt x="733" y="1525"/>
                      <a:pt x="733" y="1513"/>
                    </a:cubicBezTo>
                    <a:close/>
                    <a:moveTo>
                      <a:pt x="161" y="1148"/>
                    </a:moveTo>
                    <a:cubicBezTo>
                      <a:pt x="44" y="1148"/>
                      <a:pt x="44" y="1148"/>
                      <a:pt x="44" y="1148"/>
                    </a:cubicBezTo>
                    <a:cubicBezTo>
                      <a:pt x="20" y="1148"/>
                      <a:pt x="0" y="1128"/>
                      <a:pt x="0" y="1104"/>
                    </a:cubicBezTo>
                    <a:cubicBezTo>
                      <a:pt x="0" y="987"/>
                      <a:pt x="0" y="987"/>
                      <a:pt x="0" y="987"/>
                    </a:cubicBezTo>
                    <a:cubicBezTo>
                      <a:pt x="0" y="963"/>
                      <a:pt x="20" y="943"/>
                      <a:pt x="44" y="943"/>
                    </a:cubicBezTo>
                    <a:cubicBezTo>
                      <a:pt x="161" y="943"/>
                      <a:pt x="161" y="943"/>
                      <a:pt x="161" y="943"/>
                    </a:cubicBezTo>
                    <a:cubicBezTo>
                      <a:pt x="185" y="943"/>
                      <a:pt x="205" y="963"/>
                      <a:pt x="205" y="987"/>
                    </a:cubicBezTo>
                    <a:cubicBezTo>
                      <a:pt x="205" y="1104"/>
                      <a:pt x="205" y="1104"/>
                      <a:pt x="205" y="1104"/>
                    </a:cubicBezTo>
                    <a:cubicBezTo>
                      <a:pt x="205" y="1128"/>
                      <a:pt x="185" y="1148"/>
                      <a:pt x="161" y="1148"/>
                    </a:cubicBezTo>
                    <a:close/>
                    <a:moveTo>
                      <a:pt x="44" y="987"/>
                    </a:moveTo>
                    <a:cubicBezTo>
                      <a:pt x="44" y="1104"/>
                      <a:pt x="44" y="1104"/>
                      <a:pt x="44" y="1104"/>
                    </a:cubicBezTo>
                    <a:cubicBezTo>
                      <a:pt x="161" y="1104"/>
                      <a:pt x="161" y="1104"/>
                      <a:pt x="161" y="1104"/>
                    </a:cubicBezTo>
                    <a:cubicBezTo>
                      <a:pt x="161" y="987"/>
                      <a:pt x="161" y="987"/>
                      <a:pt x="161" y="987"/>
                    </a:cubicBezTo>
                    <a:lnTo>
                      <a:pt x="44" y="987"/>
                    </a:lnTo>
                    <a:close/>
                    <a:moveTo>
                      <a:pt x="733" y="975"/>
                    </a:moveTo>
                    <a:cubicBezTo>
                      <a:pt x="733" y="963"/>
                      <a:pt x="723" y="953"/>
                      <a:pt x="711" y="953"/>
                    </a:cubicBezTo>
                    <a:cubicBezTo>
                      <a:pt x="308" y="953"/>
                      <a:pt x="308" y="953"/>
                      <a:pt x="308" y="953"/>
                    </a:cubicBezTo>
                    <a:cubicBezTo>
                      <a:pt x="296" y="953"/>
                      <a:pt x="286" y="963"/>
                      <a:pt x="286" y="975"/>
                    </a:cubicBezTo>
                    <a:cubicBezTo>
                      <a:pt x="286" y="987"/>
                      <a:pt x="296" y="997"/>
                      <a:pt x="308" y="997"/>
                    </a:cubicBezTo>
                    <a:cubicBezTo>
                      <a:pt x="711" y="997"/>
                      <a:pt x="711" y="997"/>
                      <a:pt x="711" y="997"/>
                    </a:cubicBezTo>
                    <a:cubicBezTo>
                      <a:pt x="723" y="997"/>
                      <a:pt x="733" y="987"/>
                      <a:pt x="733" y="975"/>
                    </a:cubicBezTo>
                    <a:close/>
                    <a:moveTo>
                      <a:pt x="733" y="1117"/>
                    </a:moveTo>
                    <a:cubicBezTo>
                      <a:pt x="733" y="1104"/>
                      <a:pt x="723" y="1095"/>
                      <a:pt x="711" y="1095"/>
                    </a:cubicBezTo>
                    <a:cubicBezTo>
                      <a:pt x="308" y="1095"/>
                      <a:pt x="308" y="1095"/>
                      <a:pt x="308" y="1095"/>
                    </a:cubicBezTo>
                    <a:cubicBezTo>
                      <a:pt x="296" y="1095"/>
                      <a:pt x="286" y="1104"/>
                      <a:pt x="286" y="1117"/>
                    </a:cubicBezTo>
                    <a:cubicBezTo>
                      <a:pt x="286" y="1129"/>
                      <a:pt x="296" y="1139"/>
                      <a:pt x="308" y="1139"/>
                    </a:cubicBezTo>
                    <a:cubicBezTo>
                      <a:pt x="711" y="1139"/>
                      <a:pt x="711" y="1139"/>
                      <a:pt x="711" y="1139"/>
                    </a:cubicBezTo>
                    <a:cubicBezTo>
                      <a:pt x="723" y="1139"/>
                      <a:pt x="733" y="1129"/>
                      <a:pt x="733" y="1117"/>
                    </a:cubicBezTo>
                    <a:close/>
                    <a:moveTo>
                      <a:pt x="563" y="94"/>
                    </a:moveTo>
                    <a:cubicBezTo>
                      <a:pt x="493" y="94"/>
                      <a:pt x="493" y="94"/>
                      <a:pt x="493" y="94"/>
                    </a:cubicBezTo>
                    <a:cubicBezTo>
                      <a:pt x="477" y="39"/>
                      <a:pt x="426" y="0"/>
                      <a:pt x="367" y="0"/>
                    </a:cubicBezTo>
                    <a:cubicBezTo>
                      <a:pt x="308" y="0"/>
                      <a:pt x="257" y="39"/>
                      <a:pt x="241" y="94"/>
                    </a:cubicBezTo>
                    <a:cubicBezTo>
                      <a:pt x="171" y="94"/>
                      <a:pt x="171" y="94"/>
                      <a:pt x="171" y="94"/>
                    </a:cubicBezTo>
                    <a:cubicBezTo>
                      <a:pt x="165" y="94"/>
                      <a:pt x="161" y="98"/>
                      <a:pt x="161" y="104"/>
                    </a:cubicBezTo>
                    <a:cubicBezTo>
                      <a:pt x="161" y="253"/>
                      <a:pt x="161" y="253"/>
                      <a:pt x="161" y="253"/>
                    </a:cubicBezTo>
                    <a:cubicBezTo>
                      <a:pt x="161" y="265"/>
                      <a:pt x="171" y="275"/>
                      <a:pt x="183" y="275"/>
                    </a:cubicBezTo>
                    <a:cubicBezTo>
                      <a:pt x="551" y="275"/>
                      <a:pt x="551" y="275"/>
                      <a:pt x="551" y="275"/>
                    </a:cubicBezTo>
                    <a:cubicBezTo>
                      <a:pt x="563" y="275"/>
                      <a:pt x="573" y="265"/>
                      <a:pt x="573" y="253"/>
                    </a:cubicBezTo>
                    <a:cubicBezTo>
                      <a:pt x="573" y="104"/>
                      <a:pt x="573" y="104"/>
                      <a:pt x="573" y="104"/>
                    </a:cubicBezTo>
                    <a:cubicBezTo>
                      <a:pt x="573" y="98"/>
                      <a:pt x="569" y="94"/>
                      <a:pt x="563" y="94"/>
                    </a:cubicBezTo>
                    <a:close/>
                    <a:moveTo>
                      <a:pt x="367" y="44"/>
                    </a:moveTo>
                    <a:cubicBezTo>
                      <a:pt x="402" y="44"/>
                      <a:pt x="432" y="64"/>
                      <a:pt x="446" y="94"/>
                    </a:cubicBezTo>
                    <a:cubicBezTo>
                      <a:pt x="288" y="94"/>
                      <a:pt x="288" y="94"/>
                      <a:pt x="288" y="94"/>
                    </a:cubicBezTo>
                    <a:cubicBezTo>
                      <a:pt x="302" y="64"/>
                      <a:pt x="332" y="44"/>
                      <a:pt x="367"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Corpid C1 Regular" panose="020B0603040502060204" pitchFamily="34" charset="0"/>
                </a:endParaRPr>
              </a:p>
            </p:txBody>
          </p:sp>
        </p:grpSp>
      </p:grpSp>
      <p:grpSp>
        <p:nvGrpSpPr>
          <p:cNvPr id="44" name="Group 43"/>
          <p:cNvGrpSpPr/>
          <p:nvPr/>
        </p:nvGrpSpPr>
        <p:grpSpPr>
          <a:xfrm>
            <a:off x="7854956" y="1633088"/>
            <a:ext cx="975360" cy="975360"/>
            <a:chOff x="5273801" y="2606040"/>
            <a:chExt cx="1644396" cy="1645920"/>
          </a:xfrm>
        </p:grpSpPr>
        <p:sp>
          <p:nvSpPr>
            <p:cNvPr id="45" name="AutoShape 18">
              <a:extLst>
                <a:ext uri="{FF2B5EF4-FFF2-40B4-BE49-F238E27FC236}">
                  <a16:creationId xmlns:a16="http://schemas.microsoft.com/office/drawing/2014/main" id="{100AC5BD-F30F-4F9C-94F8-3ECEAAF56365}"/>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Corpid C1 Regular" panose="020B0603040502060204" pitchFamily="34" charset="0"/>
              </a:endParaRPr>
            </a:p>
          </p:txBody>
        </p:sp>
        <p:grpSp>
          <p:nvGrpSpPr>
            <p:cNvPr id="46" name="Group 45"/>
            <p:cNvGrpSpPr/>
            <p:nvPr/>
          </p:nvGrpSpPr>
          <p:grpSpPr>
            <a:xfrm>
              <a:off x="5388863" y="2953131"/>
              <a:ext cx="1409319" cy="967359"/>
              <a:chOff x="5388863" y="2953131"/>
              <a:chExt cx="1409319" cy="967359"/>
            </a:xfrm>
          </p:grpSpPr>
          <p:sp>
            <p:nvSpPr>
              <p:cNvPr id="47" name="Freeform 20">
                <a:extLst>
                  <a:ext uri="{FF2B5EF4-FFF2-40B4-BE49-F238E27FC236}">
                    <a16:creationId xmlns:a16="http://schemas.microsoft.com/office/drawing/2014/main" id="{D44F01FC-0979-4CF2-A046-0010F3FF82EE}"/>
                  </a:ext>
                </a:extLst>
              </p:cNvPr>
              <p:cNvSpPr>
                <a:spLocks noEditPoints="1"/>
              </p:cNvSpPr>
              <p:nvPr/>
            </p:nvSpPr>
            <p:spPr bwMode="auto">
              <a:xfrm>
                <a:off x="5388863" y="3167634"/>
                <a:ext cx="737235" cy="752856"/>
              </a:xfrm>
              <a:custGeom>
                <a:avLst/>
                <a:gdLst>
                  <a:gd name="T0" fmla="*/ 989 w 1033"/>
                  <a:gd name="T1" fmla="*/ 0 h 1054"/>
                  <a:gd name="T2" fmla="*/ 44 w 1033"/>
                  <a:gd name="T3" fmla="*/ 0 h 1054"/>
                  <a:gd name="T4" fmla="*/ 0 w 1033"/>
                  <a:gd name="T5" fmla="*/ 44 h 1054"/>
                  <a:gd name="T6" fmla="*/ 0 w 1033"/>
                  <a:gd name="T7" fmla="*/ 725 h 1054"/>
                  <a:gd name="T8" fmla="*/ 44 w 1033"/>
                  <a:gd name="T9" fmla="*/ 769 h 1054"/>
                  <a:gd name="T10" fmla="*/ 299 w 1033"/>
                  <a:gd name="T11" fmla="*/ 769 h 1054"/>
                  <a:gd name="T12" fmla="*/ 299 w 1033"/>
                  <a:gd name="T13" fmla="*/ 1010 h 1054"/>
                  <a:gd name="T14" fmla="*/ 300 w 1033"/>
                  <a:gd name="T15" fmla="*/ 1017 h 1054"/>
                  <a:gd name="T16" fmla="*/ 337 w 1033"/>
                  <a:gd name="T17" fmla="*/ 1053 h 1054"/>
                  <a:gd name="T18" fmla="*/ 347 w 1033"/>
                  <a:gd name="T19" fmla="*/ 1054 h 1054"/>
                  <a:gd name="T20" fmla="*/ 401 w 1033"/>
                  <a:gd name="T21" fmla="*/ 1026 h 1054"/>
                  <a:gd name="T22" fmla="*/ 469 w 1033"/>
                  <a:gd name="T23" fmla="*/ 951 h 1054"/>
                  <a:gd name="T24" fmla="*/ 637 w 1033"/>
                  <a:gd name="T25" fmla="*/ 769 h 1054"/>
                  <a:gd name="T26" fmla="*/ 989 w 1033"/>
                  <a:gd name="T27" fmla="*/ 769 h 1054"/>
                  <a:gd name="T28" fmla="*/ 1033 w 1033"/>
                  <a:gd name="T29" fmla="*/ 725 h 1054"/>
                  <a:gd name="T30" fmla="*/ 1033 w 1033"/>
                  <a:gd name="T31" fmla="*/ 44 h 1054"/>
                  <a:gd name="T32" fmla="*/ 989 w 1033"/>
                  <a:gd name="T33" fmla="*/ 0 h 1054"/>
                  <a:gd name="T34" fmla="*/ 832 w 1033"/>
                  <a:gd name="T35" fmla="*/ 552 h 1054"/>
                  <a:gd name="T36" fmla="*/ 201 w 1033"/>
                  <a:gd name="T37" fmla="*/ 552 h 1054"/>
                  <a:gd name="T38" fmla="*/ 179 w 1033"/>
                  <a:gd name="T39" fmla="*/ 530 h 1054"/>
                  <a:gd name="T40" fmla="*/ 201 w 1033"/>
                  <a:gd name="T41" fmla="*/ 508 h 1054"/>
                  <a:gd name="T42" fmla="*/ 832 w 1033"/>
                  <a:gd name="T43" fmla="*/ 508 h 1054"/>
                  <a:gd name="T44" fmla="*/ 854 w 1033"/>
                  <a:gd name="T45" fmla="*/ 530 h 1054"/>
                  <a:gd name="T46" fmla="*/ 832 w 1033"/>
                  <a:gd name="T47" fmla="*/ 552 h 1054"/>
                  <a:gd name="T48" fmla="*/ 832 w 1033"/>
                  <a:gd name="T49" fmla="*/ 415 h 1054"/>
                  <a:gd name="T50" fmla="*/ 201 w 1033"/>
                  <a:gd name="T51" fmla="*/ 415 h 1054"/>
                  <a:gd name="T52" fmla="*/ 179 w 1033"/>
                  <a:gd name="T53" fmla="*/ 393 h 1054"/>
                  <a:gd name="T54" fmla="*/ 201 w 1033"/>
                  <a:gd name="T55" fmla="*/ 371 h 1054"/>
                  <a:gd name="T56" fmla="*/ 832 w 1033"/>
                  <a:gd name="T57" fmla="*/ 371 h 1054"/>
                  <a:gd name="T58" fmla="*/ 854 w 1033"/>
                  <a:gd name="T59" fmla="*/ 393 h 1054"/>
                  <a:gd name="T60" fmla="*/ 832 w 1033"/>
                  <a:gd name="T61" fmla="*/ 415 h 1054"/>
                  <a:gd name="T62" fmla="*/ 832 w 1033"/>
                  <a:gd name="T63" fmla="*/ 279 h 1054"/>
                  <a:gd name="T64" fmla="*/ 201 w 1033"/>
                  <a:gd name="T65" fmla="*/ 279 h 1054"/>
                  <a:gd name="T66" fmla="*/ 179 w 1033"/>
                  <a:gd name="T67" fmla="*/ 257 h 1054"/>
                  <a:gd name="T68" fmla="*/ 201 w 1033"/>
                  <a:gd name="T69" fmla="*/ 235 h 1054"/>
                  <a:gd name="T70" fmla="*/ 832 w 1033"/>
                  <a:gd name="T71" fmla="*/ 235 h 1054"/>
                  <a:gd name="T72" fmla="*/ 854 w 1033"/>
                  <a:gd name="T73" fmla="*/ 257 h 1054"/>
                  <a:gd name="T74" fmla="*/ 832 w 1033"/>
                  <a:gd name="T75" fmla="*/ 279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3" h="1054">
                    <a:moveTo>
                      <a:pt x="989" y="0"/>
                    </a:moveTo>
                    <a:cubicBezTo>
                      <a:pt x="44" y="0"/>
                      <a:pt x="44" y="0"/>
                      <a:pt x="44" y="0"/>
                    </a:cubicBezTo>
                    <a:cubicBezTo>
                      <a:pt x="20" y="0"/>
                      <a:pt x="0" y="20"/>
                      <a:pt x="0" y="44"/>
                    </a:cubicBezTo>
                    <a:cubicBezTo>
                      <a:pt x="0" y="725"/>
                      <a:pt x="0" y="725"/>
                      <a:pt x="0" y="725"/>
                    </a:cubicBezTo>
                    <a:cubicBezTo>
                      <a:pt x="0" y="750"/>
                      <a:pt x="20" y="769"/>
                      <a:pt x="44" y="769"/>
                    </a:cubicBezTo>
                    <a:cubicBezTo>
                      <a:pt x="299" y="769"/>
                      <a:pt x="299" y="769"/>
                      <a:pt x="299" y="769"/>
                    </a:cubicBezTo>
                    <a:cubicBezTo>
                      <a:pt x="299" y="1010"/>
                      <a:pt x="299" y="1010"/>
                      <a:pt x="299" y="1010"/>
                    </a:cubicBezTo>
                    <a:cubicBezTo>
                      <a:pt x="299" y="1012"/>
                      <a:pt x="299" y="1015"/>
                      <a:pt x="300" y="1017"/>
                    </a:cubicBezTo>
                    <a:cubicBezTo>
                      <a:pt x="301" y="1020"/>
                      <a:pt x="311" y="1047"/>
                      <a:pt x="337" y="1053"/>
                    </a:cubicBezTo>
                    <a:cubicBezTo>
                      <a:pt x="341" y="1054"/>
                      <a:pt x="344" y="1054"/>
                      <a:pt x="347" y="1054"/>
                    </a:cubicBezTo>
                    <a:cubicBezTo>
                      <a:pt x="365" y="1054"/>
                      <a:pt x="383" y="1045"/>
                      <a:pt x="401" y="1026"/>
                    </a:cubicBezTo>
                    <a:cubicBezTo>
                      <a:pt x="414" y="1013"/>
                      <a:pt x="438" y="986"/>
                      <a:pt x="469" y="951"/>
                    </a:cubicBezTo>
                    <a:cubicBezTo>
                      <a:pt x="516" y="899"/>
                      <a:pt x="579" y="829"/>
                      <a:pt x="637" y="769"/>
                    </a:cubicBezTo>
                    <a:cubicBezTo>
                      <a:pt x="989" y="769"/>
                      <a:pt x="989" y="769"/>
                      <a:pt x="989" y="769"/>
                    </a:cubicBezTo>
                    <a:cubicBezTo>
                      <a:pt x="1013" y="769"/>
                      <a:pt x="1033" y="750"/>
                      <a:pt x="1033" y="725"/>
                    </a:cubicBezTo>
                    <a:cubicBezTo>
                      <a:pt x="1033" y="44"/>
                      <a:pt x="1033" y="44"/>
                      <a:pt x="1033" y="44"/>
                    </a:cubicBezTo>
                    <a:cubicBezTo>
                      <a:pt x="1033" y="20"/>
                      <a:pt x="1013" y="0"/>
                      <a:pt x="989" y="0"/>
                    </a:cubicBezTo>
                    <a:close/>
                    <a:moveTo>
                      <a:pt x="832" y="552"/>
                    </a:moveTo>
                    <a:cubicBezTo>
                      <a:pt x="201" y="552"/>
                      <a:pt x="201" y="552"/>
                      <a:pt x="201" y="552"/>
                    </a:cubicBezTo>
                    <a:cubicBezTo>
                      <a:pt x="189" y="552"/>
                      <a:pt x="179" y="543"/>
                      <a:pt x="179" y="530"/>
                    </a:cubicBezTo>
                    <a:cubicBezTo>
                      <a:pt x="179" y="518"/>
                      <a:pt x="189" y="508"/>
                      <a:pt x="201" y="508"/>
                    </a:cubicBezTo>
                    <a:cubicBezTo>
                      <a:pt x="832" y="508"/>
                      <a:pt x="832" y="508"/>
                      <a:pt x="832" y="508"/>
                    </a:cubicBezTo>
                    <a:cubicBezTo>
                      <a:pt x="844" y="508"/>
                      <a:pt x="854" y="518"/>
                      <a:pt x="854" y="530"/>
                    </a:cubicBezTo>
                    <a:cubicBezTo>
                      <a:pt x="854" y="543"/>
                      <a:pt x="844" y="552"/>
                      <a:pt x="832" y="552"/>
                    </a:cubicBezTo>
                    <a:close/>
                    <a:moveTo>
                      <a:pt x="832" y="415"/>
                    </a:moveTo>
                    <a:cubicBezTo>
                      <a:pt x="201" y="415"/>
                      <a:pt x="201" y="415"/>
                      <a:pt x="201" y="415"/>
                    </a:cubicBezTo>
                    <a:cubicBezTo>
                      <a:pt x="189" y="415"/>
                      <a:pt x="179" y="405"/>
                      <a:pt x="179" y="393"/>
                    </a:cubicBezTo>
                    <a:cubicBezTo>
                      <a:pt x="179" y="380"/>
                      <a:pt x="189" y="371"/>
                      <a:pt x="201" y="371"/>
                    </a:cubicBezTo>
                    <a:cubicBezTo>
                      <a:pt x="832" y="371"/>
                      <a:pt x="832" y="371"/>
                      <a:pt x="832" y="371"/>
                    </a:cubicBezTo>
                    <a:cubicBezTo>
                      <a:pt x="844" y="371"/>
                      <a:pt x="854" y="380"/>
                      <a:pt x="854" y="393"/>
                    </a:cubicBezTo>
                    <a:cubicBezTo>
                      <a:pt x="854" y="405"/>
                      <a:pt x="844" y="415"/>
                      <a:pt x="832" y="415"/>
                    </a:cubicBezTo>
                    <a:close/>
                    <a:moveTo>
                      <a:pt x="832" y="279"/>
                    </a:moveTo>
                    <a:cubicBezTo>
                      <a:pt x="201" y="279"/>
                      <a:pt x="201" y="279"/>
                      <a:pt x="201" y="279"/>
                    </a:cubicBezTo>
                    <a:cubicBezTo>
                      <a:pt x="189" y="279"/>
                      <a:pt x="179" y="269"/>
                      <a:pt x="179" y="257"/>
                    </a:cubicBezTo>
                    <a:cubicBezTo>
                      <a:pt x="179" y="245"/>
                      <a:pt x="189" y="235"/>
                      <a:pt x="201" y="235"/>
                    </a:cubicBezTo>
                    <a:cubicBezTo>
                      <a:pt x="832" y="235"/>
                      <a:pt x="832" y="235"/>
                      <a:pt x="832" y="235"/>
                    </a:cubicBezTo>
                    <a:cubicBezTo>
                      <a:pt x="844" y="235"/>
                      <a:pt x="854" y="245"/>
                      <a:pt x="854" y="257"/>
                    </a:cubicBezTo>
                    <a:cubicBezTo>
                      <a:pt x="854" y="269"/>
                      <a:pt x="844" y="279"/>
                      <a:pt x="832" y="27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Corpid C1 Regular" panose="020B0603040502060204" pitchFamily="34" charset="0"/>
                </a:endParaRPr>
              </a:p>
            </p:txBody>
          </p:sp>
          <p:sp>
            <p:nvSpPr>
              <p:cNvPr id="48" name="Freeform 21">
                <a:extLst>
                  <a:ext uri="{FF2B5EF4-FFF2-40B4-BE49-F238E27FC236}">
                    <a16:creationId xmlns:a16="http://schemas.microsoft.com/office/drawing/2014/main" id="{9FEAEA2A-1D9C-469F-A298-EC5C9220C30F}"/>
                  </a:ext>
                </a:extLst>
              </p:cNvPr>
              <p:cNvSpPr>
                <a:spLocks noEditPoints="1"/>
              </p:cNvSpPr>
              <p:nvPr/>
            </p:nvSpPr>
            <p:spPr bwMode="auto">
              <a:xfrm>
                <a:off x="6060947" y="2953131"/>
                <a:ext cx="737235" cy="752856"/>
              </a:xfrm>
              <a:custGeom>
                <a:avLst/>
                <a:gdLst>
                  <a:gd name="T0" fmla="*/ 1033 w 1033"/>
                  <a:gd name="T1" fmla="*/ 44 h 1054"/>
                  <a:gd name="T2" fmla="*/ 1033 w 1033"/>
                  <a:gd name="T3" fmla="*/ 725 h 1054"/>
                  <a:gd name="T4" fmla="*/ 989 w 1033"/>
                  <a:gd name="T5" fmla="*/ 769 h 1054"/>
                  <a:gd name="T6" fmla="*/ 734 w 1033"/>
                  <a:gd name="T7" fmla="*/ 769 h 1054"/>
                  <a:gd name="T8" fmla="*/ 734 w 1033"/>
                  <a:gd name="T9" fmla="*/ 1010 h 1054"/>
                  <a:gd name="T10" fmla="*/ 733 w 1033"/>
                  <a:gd name="T11" fmla="*/ 1017 h 1054"/>
                  <a:gd name="T12" fmla="*/ 696 w 1033"/>
                  <a:gd name="T13" fmla="*/ 1053 h 1054"/>
                  <a:gd name="T14" fmla="*/ 686 w 1033"/>
                  <a:gd name="T15" fmla="*/ 1054 h 1054"/>
                  <a:gd name="T16" fmla="*/ 632 w 1033"/>
                  <a:gd name="T17" fmla="*/ 1025 h 1054"/>
                  <a:gd name="T18" fmla="*/ 564 w 1033"/>
                  <a:gd name="T19" fmla="*/ 951 h 1054"/>
                  <a:gd name="T20" fmla="*/ 396 w 1033"/>
                  <a:gd name="T21" fmla="*/ 769 h 1054"/>
                  <a:gd name="T22" fmla="*/ 135 w 1033"/>
                  <a:gd name="T23" fmla="*/ 769 h 1054"/>
                  <a:gd name="T24" fmla="*/ 135 w 1033"/>
                  <a:gd name="T25" fmla="*/ 725 h 1054"/>
                  <a:gd name="T26" fmla="*/ 405 w 1033"/>
                  <a:gd name="T27" fmla="*/ 725 h 1054"/>
                  <a:gd name="T28" fmla="*/ 421 w 1033"/>
                  <a:gd name="T29" fmla="*/ 732 h 1054"/>
                  <a:gd name="T30" fmla="*/ 597 w 1033"/>
                  <a:gd name="T31" fmla="*/ 922 h 1054"/>
                  <a:gd name="T32" fmla="*/ 663 w 1033"/>
                  <a:gd name="T33" fmla="*/ 994 h 1054"/>
                  <a:gd name="T34" fmla="*/ 686 w 1033"/>
                  <a:gd name="T35" fmla="*/ 1010 h 1054"/>
                  <a:gd name="T36" fmla="*/ 690 w 1033"/>
                  <a:gd name="T37" fmla="*/ 1005 h 1054"/>
                  <a:gd name="T38" fmla="*/ 690 w 1033"/>
                  <a:gd name="T39" fmla="*/ 747 h 1054"/>
                  <a:gd name="T40" fmla="*/ 712 w 1033"/>
                  <a:gd name="T41" fmla="*/ 725 h 1054"/>
                  <a:gd name="T42" fmla="*/ 989 w 1033"/>
                  <a:gd name="T43" fmla="*/ 725 h 1054"/>
                  <a:gd name="T44" fmla="*/ 989 w 1033"/>
                  <a:gd name="T45" fmla="*/ 44 h 1054"/>
                  <a:gd name="T46" fmla="*/ 44 w 1033"/>
                  <a:gd name="T47" fmla="*/ 44 h 1054"/>
                  <a:gd name="T48" fmla="*/ 44 w 1033"/>
                  <a:gd name="T49" fmla="*/ 256 h 1054"/>
                  <a:gd name="T50" fmla="*/ 0 w 1033"/>
                  <a:gd name="T51" fmla="*/ 256 h 1054"/>
                  <a:gd name="T52" fmla="*/ 0 w 1033"/>
                  <a:gd name="T53" fmla="*/ 44 h 1054"/>
                  <a:gd name="T54" fmla="*/ 44 w 1033"/>
                  <a:gd name="T55" fmla="*/ 0 h 1054"/>
                  <a:gd name="T56" fmla="*/ 989 w 1033"/>
                  <a:gd name="T57" fmla="*/ 0 h 1054"/>
                  <a:gd name="T58" fmla="*/ 1033 w 1033"/>
                  <a:gd name="T59" fmla="*/ 44 h 1054"/>
                  <a:gd name="T60" fmla="*/ 835 w 1033"/>
                  <a:gd name="T61" fmla="*/ 247 h 1054"/>
                  <a:gd name="T62" fmla="*/ 813 w 1033"/>
                  <a:gd name="T63" fmla="*/ 225 h 1054"/>
                  <a:gd name="T64" fmla="*/ 220 w 1033"/>
                  <a:gd name="T65" fmla="*/ 225 h 1054"/>
                  <a:gd name="T66" fmla="*/ 198 w 1033"/>
                  <a:gd name="T67" fmla="*/ 247 h 1054"/>
                  <a:gd name="T68" fmla="*/ 220 w 1033"/>
                  <a:gd name="T69" fmla="*/ 269 h 1054"/>
                  <a:gd name="T70" fmla="*/ 813 w 1033"/>
                  <a:gd name="T71" fmla="*/ 269 h 1054"/>
                  <a:gd name="T72" fmla="*/ 835 w 1033"/>
                  <a:gd name="T73" fmla="*/ 247 h 1054"/>
                  <a:gd name="T74" fmla="*/ 835 w 1033"/>
                  <a:gd name="T75" fmla="*/ 383 h 1054"/>
                  <a:gd name="T76" fmla="*/ 813 w 1033"/>
                  <a:gd name="T77" fmla="*/ 361 h 1054"/>
                  <a:gd name="T78" fmla="*/ 220 w 1033"/>
                  <a:gd name="T79" fmla="*/ 361 h 1054"/>
                  <a:gd name="T80" fmla="*/ 198 w 1033"/>
                  <a:gd name="T81" fmla="*/ 383 h 1054"/>
                  <a:gd name="T82" fmla="*/ 220 w 1033"/>
                  <a:gd name="T83" fmla="*/ 405 h 1054"/>
                  <a:gd name="T84" fmla="*/ 813 w 1033"/>
                  <a:gd name="T85" fmla="*/ 405 h 1054"/>
                  <a:gd name="T86" fmla="*/ 835 w 1033"/>
                  <a:gd name="T87" fmla="*/ 383 h 1054"/>
                  <a:gd name="T88" fmla="*/ 835 w 1033"/>
                  <a:gd name="T89" fmla="*/ 521 h 1054"/>
                  <a:gd name="T90" fmla="*/ 813 w 1033"/>
                  <a:gd name="T91" fmla="*/ 499 h 1054"/>
                  <a:gd name="T92" fmla="*/ 220 w 1033"/>
                  <a:gd name="T93" fmla="*/ 499 h 1054"/>
                  <a:gd name="T94" fmla="*/ 198 w 1033"/>
                  <a:gd name="T95" fmla="*/ 521 h 1054"/>
                  <a:gd name="T96" fmla="*/ 220 w 1033"/>
                  <a:gd name="T97" fmla="*/ 543 h 1054"/>
                  <a:gd name="T98" fmla="*/ 813 w 1033"/>
                  <a:gd name="T99" fmla="*/ 543 h 1054"/>
                  <a:gd name="T100" fmla="*/ 835 w 1033"/>
                  <a:gd name="T101" fmla="*/ 521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3" h="1054">
                    <a:moveTo>
                      <a:pt x="1033" y="44"/>
                    </a:moveTo>
                    <a:cubicBezTo>
                      <a:pt x="1033" y="725"/>
                      <a:pt x="1033" y="725"/>
                      <a:pt x="1033" y="725"/>
                    </a:cubicBezTo>
                    <a:cubicBezTo>
                      <a:pt x="1033" y="750"/>
                      <a:pt x="1013" y="769"/>
                      <a:pt x="989" y="769"/>
                    </a:cubicBezTo>
                    <a:cubicBezTo>
                      <a:pt x="734" y="769"/>
                      <a:pt x="734" y="769"/>
                      <a:pt x="734" y="769"/>
                    </a:cubicBezTo>
                    <a:cubicBezTo>
                      <a:pt x="734" y="1010"/>
                      <a:pt x="734" y="1010"/>
                      <a:pt x="734" y="1010"/>
                    </a:cubicBezTo>
                    <a:cubicBezTo>
                      <a:pt x="734" y="1012"/>
                      <a:pt x="734" y="1015"/>
                      <a:pt x="733" y="1017"/>
                    </a:cubicBezTo>
                    <a:cubicBezTo>
                      <a:pt x="732" y="1020"/>
                      <a:pt x="722" y="1047"/>
                      <a:pt x="696" y="1053"/>
                    </a:cubicBezTo>
                    <a:cubicBezTo>
                      <a:pt x="693" y="1054"/>
                      <a:pt x="689" y="1054"/>
                      <a:pt x="686" y="1054"/>
                    </a:cubicBezTo>
                    <a:cubicBezTo>
                      <a:pt x="668" y="1054"/>
                      <a:pt x="650" y="1044"/>
                      <a:pt x="632" y="1025"/>
                    </a:cubicBezTo>
                    <a:cubicBezTo>
                      <a:pt x="619" y="1013"/>
                      <a:pt x="595" y="985"/>
                      <a:pt x="564" y="951"/>
                    </a:cubicBezTo>
                    <a:cubicBezTo>
                      <a:pt x="517" y="899"/>
                      <a:pt x="454" y="829"/>
                      <a:pt x="396" y="769"/>
                    </a:cubicBezTo>
                    <a:cubicBezTo>
                      <a:pt x="135" y="769"/>
                      <a:pt x="135" y="769"/>
                      <a:pt x="135" y="769"/>
                    </a:cubicBezTo>
                    <a:cubicBezTo>
                      <a:pt x="135" y="725"/>
                      <a:pt x="135" y="725"/>
                      <a:pt x="135" y="725"/>
                    </a:cubicBezTo>
                    <a:cubicBezTo>
                      <a:pt x="405" y="725"/>
                      <a:pt x="405" y="725"/>
                      <a:pt x="405" y="725"/>
                    </a:cubicBezTo>
                    <a:cubicBezTo>
                      <a:pt x="411" y="725"/>
                      <a:pt x="417" y="728"/>
                      <a:pt x="421" y="732"/>
                    </a:cubicBezTo>
                    <a:cubicBezTo>
                      <a:pt x="481" y="793"/>
                      <a:pt x="548" y="867"/>
                      <a:pt x="597" y="922"/>
                    </a:cubicBezTo>
                    <a:cubicBezTo>
                      <a:pt x="627" y="956"/>
                      <a:pt x="651" y="982"/>
                      <a:pt x="663" y="994"/>
                    </a:cubicBezTo>
                    <a:cubicBezTo>
                      <a:pt x="677" y="1008"/>
                      <a:pt x="684" y="1010"/>
                      <a:pt x="686" y="1010"/>
                    </a:cubicBezTo>
                    <a:cubicBezTo>
                      <a:pt x="687" y="1010"/>
                      <a:pt x="689" y="1008"/>
                      <a:pt x="690" y="1005"/>
                    </a:cubicBezTo>
                    <a:cubicBezTo>
                      <a:pt x="690" y="747"/>
                      <a:pt x="690" y="747"/>
                      <a:pt x="690" y="747"/>
                    </a:cubicBezTo>
                    <a:cubicBezTo>
                      <a:pt x="690" y="735"/>
                      <a:pt x="700" y="725"/>
                      <a:pt x="712" y="725"/>
                    </a:cubicBezTo>
                    <a:cubicBezTo>
                      <a:pt x="989" y="725"/>
                      <a:pt x="989" y="725"/>
                      <a:pt x="989" y="725"/>
                    </a:cubicBezTo>
                    <a:cubicBezTo>
                      <a:pt x="989" y="44"/>
                      <a:pt x="989" y="44"/>
                      <a:pt x="989" y="44"/>
                    </a:cubicBezTo>
                    <a:cubicBezTo>
                      <a:pt x="44" y="44"/>
                      <a:pt x="44" y="44"/>
                      <a:pt x="44" y="44"/>
                    </a:cubicBezTo>
                    <a:cubicBezTo>
                      <a:pt x="44" y="256"/>
                      <a:pt x="44" y="256"/>
                      <a:pt x="44" y="256"/>
                    </a:cubicBezTo>
                    <a:cubicBezTo>
                      <a:pt x="0" y="256"/>
                      <a:pt x="0" y="256"/>
                      <a:pt x="0" y="256"/>
                    </a:cubicBezTo>
                    <a:cubicBezTo>
                      <a:pt x="0" y="44"/>
                      <a:pt x="0" y="44"/>
                      <a:pt x="0" y="44"/>
                    </a:cubicBezTo>
                    <a:cubicBezTo>
                      <a:pt x="0" y="20"/>
                      <a:pt x="20" y="0"/>
                      <a:pt x="44" y="0"/>
                    </a:cubicBezTo>
                    <a:cubicBezTo>
                      <a:pt x="989" y="0"/>
                      <a:pt x="989" y="0"/>
                      <a:pt x="989" y="0"/>
                    </a:cubicBezTo>
                    <a:cubicBezTo>
                      <a:pt x="1013" y="0"/>
                      <a:pt x="1033" y="20"/>
                      <a:pt x="1033" y="44"/>
                    </a:cubicBezTo>
                    <a:close/>
                    <a:moveTo>
                      <a:pt x="835" y="247"/>
                    </a:moveTo>
                    <a:cubicBezTo>
                      <a:pt x="835" y="235"/>
                      <a:pt x="826" y="225"/>
                      <a:pt x="813" y="225"/>
                    </a:cubicBezTo>
                    <a:cubicBezTo>
                      <a:pt x="220" y="225"/>
                      <a:pt x="220" y="225"/>
                      <a:pt x="220" y="225"/>
                    </a:cubicBezTo>
                    <a:cubicBezTo>
                      <a:pt x="208" y="225"/>
                      <a:pt x="198" y="235"/>
                      <a:pt x="198" y="247"/>
                    </a:cubicBezTo>
                    <a:cubicBezTo>
                      <a:pt x="198" y="259"/>
                      <a:pt x="208" y="269"/>
                      <a:pt x="220" y="269"/>
                    </a:cubicBezTo>
                    <a:cubicBezTo>
                      <a:pt x="813" y="269"/>
                      <a:pt x="813" y="269"/>
                      <a:pt x="813" y="269"/>
                    </a:cubicBezTo>
                    <a:cubicBezTo>
                      <a:pt x="826" y="269"/>
                      <a:pt x="835" y="259"/>
                      <a:pt x="835" y="247"/>
                    </a:cubicBezTo>
                    <a:close/>
                    <a:moveTo>
                      <a:pt x="835" y="383"/>
                    </a:moveTo>
                    <a:cubicBezTo>
                      <a:pt x="835" y="371"/>
                      <a:pt x="826" y="361"/>
                      <a:pt x="813" y="361"/>
                    </a:cubicBezTo>
                    <a:cubicBezTo>
                      <a:pt x="220" y="361"/>
                      <a:pt x="220" y="361"/>
                      <a:pt x="220" y="361"/>
                    </a:cubicBezTo>
                    <a:cubicBezTo>
                      <a:pt x="208" y="361"/>
                      <a:pt x="198" y="371"/>
                      <a:pt x="198" y="383"/>
                    </a:cubicBezTo>
                    <a:cubicBezTo>
                      <a:pt x="198" y="395"/>
                      <a:pt x="208" y="405"/>
                      <a:pt x="220" y="405"/>
                    </a:cubicBezTo>
                    <a:cubicBezTo>
                      <a:pt x="813" y="405"/>
                      <a:pt x="813" y="405"/>
                      <a:pt x="813" y="405"/>
                    </a:cubicBezTo>
                    <a:cubicBezTo>
                      <a:pt x="826" y="405"/>
                      <a:pt x="835" y="395"/>
                      <a:pt x="835" y="383"/>
                    </a:cubicBezTo>
                    <a:close/>
                    <a:moveTo>
                      <a:pt x="835" y="521"/>
                    </a:moveTo>
                    <a:cubicBezTo>
                      <a:pt x="835" y="508"/>
                      <a:pt x="826" y="499"/>
                      <a:pt x="813" y="499"/>
                    </a:cubicBezTo>
                    <a:cubicBezTo>
                      <a:pt x="220" y="499"/>
                      <a:pt x="220" y="499"/>
                      <a:pt x="220" y="499"/>
                    </a:cubicBezTo>
                    <a:cubicBezTo>
                      <a:pt x="208" y="499"/>
                      <a:pt x="198" y="508"/>
                      <a:pt x="198" y="521"/>
                    </a:cubicBezTo>
                    <a:cubicBezTo>
                      <a:pt x="198" y="533"/>
                      <a:pt x="208" y="543"/>
                      <a:pt x="220" y="543"/>
                    </a:cubicBezTo>
                    <a:cubicBezTo>
                      <a:pt x="813" y="543"/>
                      <a:pt x="813" y="543"/>
                      <a:pt x="813" y="543"/>
                    </a:cubicBezTo>
                    <a:cubicBezTo>
                      <a:pt x="826" y="543"/>
                      <a:pt x="835" y="533"/>
                      <a:pt x="835" y="52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Corpid C1 Regular" panose="020B0603040502060204" pitchFamily="34" charset="0"/>
                </a:endParaRPr>
              </a:p>
            </p:txBody>
          </p:sp>
        </p:grpSp>
      </p:grpSp>
      <p:grpSp>
        <p:nvGrpSpPr>
          <p:cNvPr id="49" name="bcgIcons_GraduationCap">
            <a:extLst>
              <a:ext uri="{FF2B5EF4-FFF2-40B4-BE49-F238E27FC236}">
                <a16:creationId xmlns:a16="http://schemas.microsoft.com/office/drawing/2014/main" id="{C95CFB9C-6959-4D63-AC60-3AED352AABDC}"/>
              </a:ext>
            </a:extLst>
          </p:cNvPr>
          <p:cNvGrpSpPr>
            <a:grpSpLocks noChangeAspect="1"/>
          </p:cNvGrpSpPr>
          <p:nvPr/>
        </p:nvGrpSpPr>
        <p:grpSpPr bwMode="auto">
          <a:xfrm>
            <a:off x="10107636" y="1633088"/>
            <a:ext cx="974457" cy="975360"/>
            <a:chOff x="1682" y="0"/>
            <a:chExt cx="4316" cy="4320"/>
          </a:xfrm>
        </p:grpSpPr>
        <p:sp>
          <p:nvSpPr>
            <p:cNvPr id="50" name="AutoShape 38">
              <a:extLst>
                <a:ext uri="{FF2B5EF4-FFF2-40B4-BE49-F238E27FC236}">
                  <a16:creationId xmlns:a16="http://schemas.microsoft.com/office/drawing/2014/main" id="{2BA0A193-DDDB-4D31-9094-CFF9E161A43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Corpid C1 Regular" panose="020B0603040502060204" pitchFamily="34" charset="0"/>
              </a:endParaRPr>
            </a:p>
          </p:txBody>
        </p:sp>
        <p:sp>
          <p:nvSpPr>
            <p:cNvPr id="51" name="Freeform 40">
              <a:extLst>
                <a:ext uri="{FF2B5EF4-FFF2-40B4-BE49-F238E27FC236}">
                  <a16:creationId xmlns:a16="http://schemas.microsoft.com/office/drawing/2014/main" id="{138955AD-6FD9-403C-B9F4-043F0D40EF82}"/>
                </a:ext>
              </a:extLst>
            </p:cNvPr>
            <p:cNvSpPr>
              <a:spLocks/>
            </p:cNvSpPr>
            <p:nvPr/>
          </p:nvSpPr>
          <p:spPr bwMode="auto">
            <a:xfrm>
              <a:off x="2860" y="1978"/>
              <a:ext cx="1947" cy="754"/>
            </a:xfrm>
            <a:custGeom>
              <a:avLst/>
              <a:gdLst>
                <a:gd name="T0" fmla="*/ 1039 w 1039"/>
                <a:gd name="T1" fmla="*/ 383 h 402"/>
                <a:gd name="T2" fmla="*/ 1018 w 1039"/>
                <a:gd name="T3" fmla="*/ 399 h 402"/>
                <a:gd name="T4" fmla="*/ 21 w 1039"/>
                <a:gd name="T5" fmla="*/ 399 h 402"/>
                <a:gd name="T6" fmla="*/ 0 w 1039"/>
                <a:gd name="T7" fmla="*/ 383 h 402"/>
                <a:gd name="T8" fmla="*/ 0 w 1039"/>
                <a:gd name="T9" fmla="*/ 109 h 402"/>
                <a:gd name="T10" fmla="*/ 21 w 1039"/>
                <a:gd name="T11" fmla="*/ 82 h 402"/>
                <a:gd name="T12" fmla="*/ 1018 w 1039"/>
                <a:gd name="T13" fmla="*/ 82 h 402"/>
                <a:gd name="T14" fmla="*/ 1039 w 1039"/>
                <a:gd name="T15" fmla="*/ 109 h 402"/>
                <a:gd name="T16" fmla="*/ 1039 w 1039"/>
                <a:gd name="T17" fmla="*/ 383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9" h="402">
                  <a:moveTo>
                    <a:pt x="1039" y="383"/>
                  </a:moveTo>
                  <a:cubicBezTo>
                    <a:pt x="1039" y="395"/>
                    <a:pt x="1030" y="402"/>
                    <a:pt x="1018" y="399"/>
                  </a:cubicBezTo>
                  <a:cubicBezTo>
                    <a:pt x="686" y="317"/>
                    <a:pt x="353" y="317"/>
                    <a:pt x="21" y="399"/>
                  </a:cubicBezTo>
                  <a:cubicBezTo>
                    <a:pt x="9" y="402"/>
                    <a:pt x="0" y="395"/>
                    <a:pt x="0" y="383"/>
                  </a:cubicBezTo>
                  <a:cubicBezTo>
                    <a:pt x="0" y="292"/>
                    <a:pt x="0" y="201"/>
                    <a:pt x="0" y="109"/>
                  </a:cubicBezTo>
                  <a:cubicBezTo>
                    <a:pt x="0" y="97"/>
                    <a:pt x="9" y="85"/>
                    <a:pt x="21" y="82"/>
                  </a:cubicBezTo>
                  <a:cubicBezTo>
                    <a:pt x="353" y="0"/>
                    <a:pt x="686" y="0"/>
                    <a:pt x="1018" y="82"/>
                  </a:cubicBezTo>
                  <a:cubicBezTo>
                    <a:pt x="1030" y="85"/>
                    <a:pt x="1039" y="97"/>
                    <a:pt x="1039" y="109"/>
                  </a:cubicBezTo>
                  <a:cubicBezTo>
                    <a:pt x="1039" y="201"/>
                    <a:pt x="1039" y="292"/>
                    <a:pt x="1039" y="38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Corpid C1 Regular" panose="020B0603040502060204" pitchFamily="34" charset="0"/>
              </a:endParaRPr>
            </a:p>
          </p:txBody>
        </p:sp>
        <p:sp>
          <p:nvSpPr>
            <p:cNvPr id="52" name="Freeform 41">
              <a:extLst>
                <a:ext uri="{FF2B5EF4-FFF2-40B4-BE49-F238E27FC236}">
                  <a16:creationId xmlns:a16="http://schemas.microsoft.com/office/drawing/2014/main" id="{CA190C89-DB84-455D-9478-2BA14B030348}"/>
                </a:ext>
              </a:extLst>
            </p:cNvPr>
            <p:cNvSpPr>
              <a:spLocks/>
            </p:cNvSpPr>
            <p:nvPr/>
          </p:nvSpPr>
          <p:spPr bwMode="auto">
            <a:xfrm>
              <a:off x="1854" y="1232"/>
              <a:ext cx="3959" cy="1881"/>
            </a:xfrm>
            <a:custGeom>
              <a:avLst/>
              <a:gdLst>
                <a:gd name="T0" fmla="*/ 2099 w 2113"/>
                <a:gd name="T1" fmla="*/ 402 h 1003"/>
                <a:gd name="T2" fmla="*/ 1068 w 2113"/>
                <a:gd name="T3" fmla="*/ 2 h 1003"/>
                <a:gd name="T4" fmla="*/ 1052 w 2113"/>
                <a:gd name="T5" fmla="*/ 2 h 1003"/>
                <a:gd name="T6" fmla="*/ 14 w 2113"/>
                <a:gd name="T7" fmla="*/ 402 h 1003"/>
                <a:gd name="T8" fmla="*/ 0 w 2113"/>
                <a:gd name="T9" fmla="*/ 422 h 1003"/>
                <a:gd name="T10" fmla="*/ 13 w 2113"/>
                <a:gd name="T11" fmla="*/ 442 h 1003"/>
                <a:gd name="T12" fmla="*/ 271 w 2113"/>
                <a:gd name="T13" fmla="*/ 551 h 1003"/>
                <a:gd name="T14" fmla="*/ 271 w 2113"/>
                <a:gd name="T15" fmla="*/ 761 h 1003"/>
                <a:gd name="T16" fmla="*/ 243 w 2113"/>
                <a:gd name="T17" fmla="*/ 806 h 1003"/>
                <a:gd name="T18" fmla="*/ 262 w 2113"/>
                <a:gd name="T19" fmla="*/ 845 h 1003"/>
                <a:gd name="T20" fmla="*/ 218 w 2113"/>
                <a:gd name="T21" fmla="*/ 1003 h 1003"/>
                <a:gd name="T22" fmla="*/ 253 w 2113"/>
                <a:gd name="T23" fmla="*/ 1003 h 1003"/>
                <a:gd name="T24" fmla="*/ 332 w 2113"/>
                <a:gd name="T25" fmla="*/ 1003 h 1003"/>
                <a:gd name="T26" fmla="*/ 367 w 2113"/>
                <a:gd name="T27" fmla="*/ 1003 h 1003"/>
                <a:gd name="T28" fmla="*/ 323 w 2113"/>
                <a:gd name="T29" fmla="*/ 845 h 1003"/>
                <a:gd name="T30" fmla="*/ 342 w 2113"/>
                <a:gd name="T31" fmla="*/ 806 h 1003"/>
                <a:gd name="T32" fmla="*/ 315 w 2113"/>
                <a:gd name="T33" fmla="*/ 761 h 1003"/>
                <a:gd name="T34" fmla="*/ 315 w 2113"/>
                <a:gd name="T35" fmla="*/ 569 h 1003"/>
                <a:gd name="T36" fmla="*/ 493 w 2113"/>
                <a:gd name="T37" fmla="*/ 644 h 1003"/>
                <a:gd name="T38" fmla="*/ 493 w 2113"/>
                <a:gd name="T39" fmla="*/ 596 h 1003"/>
                <a:gd name="T40" fmla="*/ 81 w 2113"/>
                <a:gd name="T41" fmla="*/ 423 h 1003"/>
                <a:gd name="T42" fmla="*/ 1060 w 2113"/>
                <a:gd name="T43" fmla="*/ 46 h 1003"/>
                <a:gd name="T44" fmla="*/ 2033 w 2113"/>
                <a:gd name="T45" fmla="*/ 423 h 1003"/>
                <a:gd name="T46" fmla="*/ 1620 w 2113"/>
                <a:gd name="T47" fmla="*/ 596 h 1003"/>
                <a:gd name="T48" fmla="*/ 1620 w 2113"/>
                <a:gd name="T49" fmla="*/ 644 h 1003"/>
                <a:gd name="T50" fmla="*/ 2100 w 2113"/>
                <a:gd name="T51" fmla="*/ 442 h 1003"/>
                <a:gd name="T52" fmla="*/ 2113 w 2113"/>
                <a:gd name="T53" fmla="*/ 422 h 1003"/>
                <a:gd name="T54" fmla="*/ 2099 w 2113"/>
                <a:gd name="T55" fmla="*/ 402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13" h="1003">
                  <a:moveTo>
                    <a:pt x="2099" y="402"/>
                  </a:moveTo>
                  <a:cubicBezTo>
                    <a:pt x="1068" y="2"/>
                    <a:pt x="1068" y="2"/>
                    <a:pt x="1068" y="2"/>
                  </a:cubicBezTo>
                  <a:cubicBezTo>
                    <a:pt x="1063" y="0"/>
                    <a:pt x="1057" y="0"/>
                    <a:pt x="1052" y="2"/>
                  </a:cubicBezTo>
                  <a:cubicBezTo>
                    <a:pt x="14" y="402"/>
                    <a:pt x="14" y="402"/>
                    <a:pt x="14" y="402"/>
                  </a:cubicBezTo>
                  <a:cubicBezTo>
                    <a:pt x="5" y="405"/>
                    <a:pt x="0" y="413"/>
                    <a:pt x="0" y="422"/>
                  </a:cubicBezTo>
                  <a:cubicBezTo>
                    <a:pt x="0" y="431"/>
                    <a:pt x="5" y="439"/>
                    <a:pt x="13" y="442"/>
                  </a:cubicBezTo>
                  <a:cubicBezTo>
                    <a:pt x="271" y="551"/>
                    <a:pt x="271" y="551"/>
                    <a:pt x="271" y="551"/>
                  </a:cubicBezTo>
                  <a:cubicBezTo>
                    <a:pt x="271" y="761"/>
                    <a:pt x="271" y="761"/>
                    <a:pt x="271" y="761"/>
                  </a:cubicBezTo>
                  <a:cubicBezTo>
                    <a:pt x="254" y="769"/>
                    <a:pt x="243" y="786"/>
                    <a:pt x="243" y="806"/>
                  </a:cubicBezTo>
                  <a:cubicBezTo>
                    <a:pt x="243" y="822"/>
                    <a:pt x="250" y="836"/>
                    <a:pt x="262" y="845"/>
                  </a:cubicBezTo>
                  <a:cubicBezTo>
                    <a:pt x="218" y="1003"/>
                    <a:pt x="218" y="1003"/>
                    <a:pt x="218" y="1003"/>
                  </a:cubicBezTo>
                  <a:cubicBezTo>
                    <a:pt x="253" y="1003"/>
                    <a:pt x="253" y="1003"/>
                    <a:pt x="253" y="1003"/>
                  </a:cubicBezTo>
                  <a:cubicBezTo>
                    <a:pt x="332" y="1003"/>
                    <a:pt x="332" y="1003"/>
                    <a:pt x="332" y="1003"/>
                  </a:cubicBezTo>
                  <a:cubicBezTo>
                    <a:pt x="367" y="1003"/>
                    <a:pt x="367" y="1003"/>
                    <a:pt x="367" y="1003"/>
                  </a:cubicBezTo>
                  <a:cubicBezTo>
                    <a:pt x="323" y="845"/>
                    <a:pt x="323" y="845"/>
                    <a:pt x="323" y="845"/>
                  </a:cubicBezTo>
                  <a:cubicBezTo>
                    <a:pt x="335" y="836"/>
                    <a:pt x="342" y="822"/>
                    <a:pt x="342" y="806"/>
                  </a:cubicBezTo>
                  <a:cubicBezTo>
                    <a:pt x="342" y="786"/>
                    <a:pt x="331" y="769"/>
                    <a:pt x="315" y="761"/>
                  </a:cubicBezTo>
                  <a:cubicBezTo>
                    <a:pt x="315" y="569"/>
                    <a:pt x="315" y="569"/>
                    <a:pt x="315" y="569"/>
                  </a:cubicBezTo>
                  <a:cubicBezTo>
                    <a:pt x="493" y="644"/>
                    <a:pt x="493" y="644"/>
                    <a:pt x="493" y="644"/>
                  </a:cubicBezTo>
                  <a:cubicBezTo>
                    <a:pt x="493" y="596"/>
                    <a:pt x="493" y="596"/>
                    <a:pt x="493" y="596"/>
                  </a:cubicBezTo>
                  <a:cubicBezTo>
                    <a:pt x="81" y="423"/>
                    <a:pt x="81" y="423"/>
                    <a:pt x="81" y="423"/>
                  </a:cubicBezTo>
                  <a:cubicBezTo>
                    <a:pt x="1060" y="46"/>
                    <a:pt x="1060" y="46"/>
                    <a:pt x="1060" y="46"/>
                  </a:cubicBezTo>
                  <a:cubicBezTo>
                    <a:pt x="2033" y="423"/>
                    <a:pt x="2033" y="423"/>
                    <a:pt x="2033" y="423"/>
                  </a:cubicBezTo>
                  <a:cubicBezTo>
                    <a:pt x="1620" y="596"/>
                    <a:pt x="1620" y="596"/>
                    <a:pt x="1620" y="596"/>
                  </a:cubicBezTo>
                  <a:cubicBezTo>
                    <a:pt x="1620" y="644"/>
                    <a:pt x="1620" y="644"/>
                    <a:pt x="1620" y="644"/>
                  </a:cubicBezTo>
                  <a:cubicBezTo>
                    <a:pt x="2100" y="442"/>
                    <a:pt x="2100" y="442"/>
                    <a:pt x="2100" y="442"/>
                  </a:cubicBezTo>
                  <a:cubicBezTo>
                    <a:pt x="2108" y="439"/>
                    <a:pt x="2113" y="431"/>
                    <a:pt x="2113" y="422"/>
                  </a:cubicBezTo>
                  <a:cubicBezTo>
                    <a:pt x="2113" y="413"/>
                    <a:pt x="2108" y="405"/>
                    <a:pt x="2099" y="40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Corpid C1 Regular" panose="020B0603040502060204" pitchFamily="34" charset="0"/>
              </a:endParaRPr>
            </a:p>
          </p:txBody>
        </p:sp>
      </p:grpSp>
    </p:spTree>
    <p:custDataLst>
      <p:tags r:id="rId2"/>
    </p:custDataLst>
    <p:extLst>
      <p:ext uri="{BB962C8B-B14F-4D97-AF65-F5344CB8AC3E}">
        <p14:creationId xmlns:p14="http://schemas.microsoft.com/office/powerpoint/2010/main" val="3866463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ln cap="rnd">
            <a:noFill/>
          </a:ln>
        </p:spPr>
        <p:txBody>
          <a:bodyPr/>
          <a:lstStyle/>
          <a:p>
            <a:pPr>
              <a:lnSpc>
                <a:spcPct val="150000"/>
              </a:lnSpc>
            </a:pPr>
            <a:r>
              <a:rPr lang="en-AU" dirty="0"/>
              <a:t>For reflection…</a:t>
            </a:r>
            <a:endParaRPr lang="en-US" sz="4800" dirty="0">
              <a:latin typeface="+mj-lt"/>
            </a:endParaRPr>
          </a:p>
        </p:txBody>
      </p:sp>
      <p:sp>
        <p:nvSpPr>
          <p:cNvPr id="5" name="Rectangle 4"/>
          <p:cNvSpPr/>
          <p:nvPr/>
        </p:nvSpPr>
        <p:spPr>
          <a:xfrm>
            <a:off x="5996473" y="612844"/>
            <a:ext cx="5523735" cy="6186309"/>
          </a:xfrm>
          <a:prstGeom prst="rect">
            <a:avLst/>
          </a:prstGeom>
        </p:spPr>
        <p:txBody>
          <a:bodyPr wrap="square">
            <a:spAutoFit/>
          </a:bodyPr>
          <a:lstStyle/>
          <a:p>
            <a:r>
              <a:rPr lang="en-US" sz="2200" dirty="0">
                <a:solidFill>
                  <a:srgbClr val="29BA74"/>
                </a:solidFill>
              </a:rPr>
              <a:t>Reflecting on the Hands of your change efforts…</a:t>
            </a:r>
          </a:p>
          <a:p>
            <a:endParaRPr lang="en-US" sz="2200" dirty="0">
              <a:solidFill>
                <a:srgbClr val="29BA74"/>
              </a:solidFill>
            </a:endParaRPr>
          </a:p>
          <a:p>
            <a:pPr marL="285750" indent="-285750">
              <a:buFont typeface="Arial" panose="020B0604020202020204" pitchFamily="34" charset="0"/>
              <a:buChar char="•"/>
            </a:pPr>
            <a:r>
              <a:rPr lang="en-US" sz="2200" dirty="0">
                <a:solidFill>
                  <a:srgbClr val="29BA74"/>
                </a:solidFill>
              </a:rPr>
              <a:t>Are you ensuring executional discipline?</a:t>
            </a:r>
          </a:p>
          <a:p>
            <a:pPr marL="285750" indent="-285750">
              <a:buFont typeface="Arial" panose="020B0604020202020204" pitchFamily="34" charset="0"/>
              <a:buChar char="•"/>
            </a:pPr>
            <a:endParaRPr lang="en-US" sz="2200" dirty="0">
              <a:solidFill>
                <a:srgbClr val="29BA74"/>
              </a:solidFill>
            </a:endParaRPr>
          </a:p>
          <a:p>
            <a:pPr marL="285750" indent="-285750">
              <a:buFont typeface="Arial" panose="020B0604020202020204" pitchFamily="34" charset="0"/>
              <a:buChar char="•"/>
            </a:pPr>
            <a:r>
              <a:rPr lang="en-US" sz="2200" dirty="0">
                <a:solidFill>
                  <a:srgbClr val="29BA74"/>
                </a:solidFill>
              </a:rPr>
              <a:t>Are you putting your best people against the big rocks?</a:t>
            </a:r>
          </a:p>
          <a:p>
            <a:pPr marL="285750" indent="-285750">
              <a:buFont typeface="Arial" panose="020B0604020202020204" pitchFamily="34" charset="0"/>
              <a:buChar char="•"/>
            </a:pPr>
            <a:endParaRPr lang="en-US" sz="2200" dirty="0">
              <a:solidFill>
                <a:srgbClr val="29BA74"/>
              </a:solidFill>
            </a:endParaRPr>
          </a:p>
          <a:p>
            <a:pPr marL="285750" indent="-285750">
              <a:buFont typeface="Arial" panose="020B0604020202020204" pitchFamily="34" charset="0"/>
              <a:buChar char="•"/>
            </a:pPr>
            <a:r>
              <a:rPr lang="en-US" sz="2200" dirty="0">
                <a:solidFill>
                  <a:srgbClr val="29BA74"/>
                </a:solidFill>
              </a:rPr>
              <a:t>Are you deploying agile ways of working?</a:t>
            </a:r>
          </a:p>
          <a:p>
            <a:pPr marL="285750" indent="-285750">
              <a:buFont typeface="Arial" panose="020B0604020202020204" pitchFamily="34" charset="0"/>
              <a:buChar char="•"/>
            </a:pPr>
            <a:endParaRPr lang="en-US" sz="2200" dirty="0">
              <a:solidFill>
                <a:srgbClr val="29BA74"/>
              </a:solidFill>
            </a:endParaRPr>
          </a:p>
          <a:p>
            <a:pPr marL="285750" indent="-285750">
              <a:buFont typeface="Arial" panose="020B0604020202020204" pitchFamily="34" charset="0"/>
              <a:buChar char="•"/>
            </a:pPr>
            <a:r>
              <a:rPr lang="en-US" sz="2200" dirty="0">
                <a:solidFill>
                  <a:srgbClr val="29BA74"/>
                </a:solidFill>
              </a:rPr>
              <a:t>Are you building capabilities as you execute?</a:t>
            </a:r>
          </a:p>
          <a:p>
            <a:pPr marL="285750" indent="-285750">
              <a:buFont typeface="Arial" panose="020B0604020202020204" pitchFamily="34" charset="0"/>
              <a:buChar char="•"/>
            </a:pPr>
            <a:endParaRPr lang="en-US" sz="2200" dirty="0">
              <a:solidFill>
                <a:srgbClr val="29BA74"/>
              </a:solidFill>
            </a:endParaRPr>
          </a:p>
          <a:p>
            <a:pPr marL="285750" indent="-285750">
              <a:buFont typeface="Arial" panose="020B0604020202020204" pitchFamily="34" charset="0"/>
              <a:buChar char="•"/>
            </a:pPr>
            <a:r>
              <a:rPr lang="en-US" sz="2200" dirty="0">
                <a:solidFill>
                  <a:srgbClr val="29BA74"/>
                </a:solidFill>
              </a:rPr>
              <a:t>Are you being directive, inclusive, and delegating?</a:t>
            </a:r>
          </a:p>
          <a:p>
            <a:pPr marL="285750" indent="-285750">
              <a:buFont typeface="Arial" panose="020B0604020202020204" pitchFamily="34" charset="0"/>
              <a:buChar char="•"/>
            </a:pPr>
            <a:endParaRPr lang="en-US" sz="2200" dirty="0">
              <a:solidFill>
                <a:srgbClr val="29BA74"/>
              </a:solidFill>
            </a:endParaRPr>
          </a:p>
          <a:p>
            <a:pPr marL="285750" indent="-285750">
              <a:buFont typeface="Arial" panose="020B0604020202020204" pitchFamily="34" charset="0"/>
              <a:buChar char="•"/>
            </a:pPr>
            <a:endParaRPr lang="en-US" sz="2200" dirty="0">
              <a:solidFill>
                <a:srgbClr val="29BA74"/>
              </a:solidFill>
            </a:endParaRPr>
          </a:p>
        </p:txBody>
      </p:sp>
    </p:spTree>
    <p:extLst>
      <p:ext uri="{BB962C8B-B14F-4D97-AF65-F5344CB8AC3E}">
        <p14:creationId xmlns:p14="http://schemas.microsoft.com/office/powerpoint/2010/main" val="2419660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400" dirty="0"/>
              <a:t>Heart </a:t>
            </a:r>
            <a:br>
              <a:rPr lang="en-US" dirty="0"/>
            </a:br>
            <a:br>
              <a:rPr lang="en-US" dirty="0"/>
            </a:br>
            <a:endParaRPr lang="en-US" i="1" dirty="0"/>
          </a:p>
        </p:txBody>
      </p:sp>
      <p:sp>
        <p:nvSpPr>
          <p:cNvPr id="3" name="Title 2"/>
          <p:cNvSpPr txBox="1">
            <a:spLocks/>
          </p:cNvSpPr>
          <p:nvPr/>
        </p:nvSpPr>
        <p:spPr>
          <a:xfrm>
            <a:off x="4869454" y="2983046"/>
            <a:ext cx="6693745" cy="3119341"/>
          </a:xfrm>
          <a:prstGeom prst="rect">
            <a:avLst/>
          </a:prstGeom>
          <a:ln cap="rnd">
            <a:noFill/>
          </a:ln>
        </p:spPr>
        <p:txBody>
          <a:bodyPr vert="horz" wrap="square" lIns="0" tIns="0" rIns="0" bIns="0" rtlCol="0" anchor="ctr">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pPr>
              <a:lnSpc>
                <a:spcPts val="4500"/>
              </a:lnSpc>
              <a:spcAft>
                <a:spcPts val="5400"/>
              </a:spcAft>
            </a:pPr>
            <a:r>
              <a:rPr lang="en-US" sz="2800" dirty="0">
                <a:solidFill>
                  <a:schemeClr val="tx2"/>
                </a:solidFill>
                <a:ea typeface="Times New Roman" panose="02020603050405020304" pitchFamily="18" charset="0"/>
              </a:rPr>
              <a:t>"Pour your Heart into it"</a:t>
            </a:r>
          </a:p>
          <a:p>
            <a:pPr>
              <a:lnSpc>
                <a:spcPts val="4500"/>
              </a:lnSpc>
              <a:spcAft>
                <a:spcPts val="5400"/>
              </a:spcAft>
            </a:pPr>
            <a:r>
              <a:rPr lang="en-US" sz="2800" dirty="0">
                <a:solidFill>
                  <a:schemeClr val="tx2"/>
                </a:solidFill>
                <a:ea typeface="Times New Roman" panose="02020603050405020304" pitchFamily="18" charset="0"/>
              </a:rPr>
              <a:t>"Set your Heart on it"</a:t>
            </a:r>
          </a:p>
          <a:p>
            <a:pPr>
              <a:lnSpc>
                <a:spcPts val="4500"/>
              </a:lnSpc>
              <a:spcAft>
                <a:spcPts val="5400"/>
              </a:spcAft>
            </a:pPr>
            <a:r>
              <a:rPr lang="en-US" sz="2800" dirty="0">
                <a:solidFill>
                  <a:schemeClr val="tx2"/>
                </a:solidFill>
                <a:ea typeface="Times New Roman" panose="02020603050405020304" pitchFamily="18" charset="0"/>
              </a:rPr>
              <a:t>"From the bottom of my heart"</a:t>
            </a:r>
          </a:p>
          <a:p>
            <a:pPr>
              <a:lnSpc>
                <a:spcPct val="100000"/>
              </a:lnSpc>
              <a:spcAft>
                <a:spcPts val="5400"/>
              </a:spcAft>
            </a:pPr>
            <a:r>
              <a:rPr lang="en-US" sz="2800" dirty="0">
                <a:solidFill>
                  <a:schemeClr val="tx2"/>
                </a:solidFill>
                <a:ea typeface="Times New Roman" panose="02020603050405020304" pitchFamily="18" charset="0"/>
              </a:rPr>
              <a:t>"Not for the faint of Heart"</a:t>
            </a:r>
          </a:p>
          <a:p>
            <a:pPr>
              <a:lnSpc>
                <a:spcPct val="100000"/>
              </a:lnSpc>
              <a:spcAft>
                <a:spcPts val="5400"/>
              </a:spcAft>
            </a:pPr>
            <a:r>
              <a:rPr lang="en-US" sz="2800" dirty="0">
                <a:solidFill>
                  <a:schemeClr val="tx2"/>
                </a:solidFill>
                <a:ea typeface="Times New Roman" panose="02020603050405020304" pitchFamily="18" charset="0"/>
              </a:rPr>
              <a:t>"The Heart of the matter"</a:t>
            </a:r>
          </a:p>
          <a:p>
            <a:pPr>
              <a:lnSpc>
                <a:spcPct val="100000"/>
              </a:lnSpc>
              <a:spcAft>
                <a:spcPts val="5400"/>
              </a:spcAft>
            </a:pPr>
            <a:endParaRPr lang="en-US" sz="2800" dirty="0">
              <a:solidFill>
                <a:schemeClr val="tx2"/>
              </a:solidFill>
              <a:ea typeface="Times New Roman" panose="02020603050405020304" pitchFamily="18" charset="0"/>
            </a:endParaRPr>
          </a:p>
          <a:p>
            <a:pPr>
              <a:lnSpc>
                <a:spcPts val="4500"/>
              </a:lnSpc>
              <a:spcAft>
                <a:spcPts val="5400"/>
              </a:spcAft>
            </a:pPr>
            <a:r>
              <a:rPr lang="en-US" sz="2800" dirty="0">
                <a:solidFill>
                  <a:schemeClr val="tx2"/>
                </a:solidFill>
                <a:ea typeface="Times New Roman" panose="02020603050405020304" pitchFamily="18" charset="0"/>
              </a:rPr>
              <a:t> </a:t>
            </a:r>
          </a:p>
        </p:txBody>
      </p:sp>
    </p:spTree>
    <p:extLst>
      <p:ext uri="{BB962C8B-B14F-4D97-AF65-F5344CB8AC3E}">
        <p14:creationId xmlns:p14="http://schemas.microsoft.com/office/powerpoint/2010/main" val="47363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45" name="think-cell Slide" r:id="rId6" imgW="411" imgH="409" progId="TCLayout.ActiveDocument.1">
                  <p:embed/>
                </p:oleObj>
              </mc:Choice>
              <mc:Fallback>
                <p:oleObj name="think-cell Slide" r:id="rId6" imgW="411" imgH="409"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8" name="Oval 57"/>
          <p:cNvSpPr/>
          <p:nvPr/>
        </p:nvSpPr>
        <p:spPr>
          <a:xfrm>
            <a:off x="7254151" y="1828723"/>
            <a:ext cx="4037398" cy="4037398"/>
          </a:xfrm>
          <a:prstGeom prst="ellipse">
            <a:avLst/>
          </a:prstGeom>
          <a:solidFill>
            <a:srgbClr val="F2F2F2"/>
          </a:solidFill>
          <a:ln w="9525" cap="rnd" cmpd="sng" algn="ctr">
            <a:solidFill>
              <a:srgbClr val="7F7F7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pic>
        <p:nvPicPr>
          <p:cNvPr id="23" name="Picture 22"/>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940392" y="616934"/>
            <a:ext cx="1937438" cy="5493850"/>
          </a:xfrm>
          <a:prstGeom prst="rect">
            <a:avLst/>
          </a:prstGeom>
        </p:spPr>
      </p:pic>
      <p:sp>
        <p:nvSpPr>
          <p:cNvPr id="2" name="TextBox 1"/>
          <p:cNvSpPr txBox="1"/>
          <p:nvPr/>
        </p:nvSpPr>
        <p:spPr>
          <a:xfrm>
            <a:off x="4329113" y="223284"/>
            <a:ext cx="7426112" cy="7977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800" dirty="0">
                <a:solidFill>
                  <a:schemeClr val="accent1">
                    <a:lumMod val="75000"/>
                    <a:lumOff val="25000"/>
                  </a:schemeClr>
                </a:solidFill>
              </a:rPr>
              <a:t>The Heart of Transformation     </a:t>
            </a:r>
            <a:endParaRPr lang="en-US" sz="1400" dirty="0">
              <a:solidFill>
                <a:srgbClr val="FF0000"/>
              </a:solidFill>
            </a:endParaRPr>
          </a:p>
        </p:txBody>
      </p:sp>
      <p:sp>
        <p:nvSpPr>
          <p:cNvPr id="16" name="Freeform 15"/>
          <p:cNvSpPr/>
          <p:nvPr/>
        </p:nvSpPr>
        <p:spPr>
          <a:xfrm>
            <a:off x="1319402" y="2662097"/>
            <a:ext cx="186617" cy="2127724"/>
          </a:xfrm>
          <a:custGeom>
            <a:avLst/>
            <a:gdLst>
              <a:gd name="connsiteX0" fmla="*/ 532109 w 532109"/>
              <a:gd name="connsiteY0" fmla="*/ 335797 h 4990454"/>
              <a:gd name="connsiteX1" fmla="*/ 433953 w 532109"/>
              <a:gd name="connsiteY1" fmla="*/ 346129 h 4990454"/>
              <a:gd name="connsiteX2" fmla="*/ 315132 w 532109"/>
              <a:gd name="connsiteY2" fmla="*/ 351295 h 4990454"/>
              <a:gd name="connsiteX3" fmla="*/ 216976 w 532109"/>
              <a:gd name="connsiteY3" fmla="*/ 351295 h 4990454"/>
              <a:gd name="connsiteX4" fmla="*/ 175648 w 532109"/>
              <a:gd name="connsiteY4" fmla="*/ 340963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5132 w 532109"/>
              <a:gd name="connsiteY2" fmla="*/ 351295 h 4990454"/>
              <a:gd name="connsiteX3" fmla="*/ 216976 w 532109"/>
              <a:gd name="connsiteY3" fmla="*/ 351295 h 4990454"/>
              <a:gd name="connsiteX4" fmla="*/ 175648 w 532109"/>
              <a:gd name="connsiteY4" fmla="*/ 340963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16976 w 532109"/>
              <a:gd name="connsiteY3" fmla="*/ 351295 h 4990454"/>
              <a:gd name="connsiteX4" fmla="*/ 175648 w 532109"/>
              <a:gd name="connsiteY4" fmla="*/ 340963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09832 w 532109"/>
              <a:gd name="connsiteY3" fmla="*/ 363201 h 4990454"/>
              <a:gd name="connsiteX4" fmla="*/ 175648 w 532109"/>
              <a:gd name="connsiteY4" fmla="*/ 340963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09832 w 532109"/>
              <a:gd name="connsiteY3" fmla="*/ 363201 h 4990454"/>
              <a:gd name="connsiteX4" fmla="*/ 163742 w 532109"/>
              <a:gd name="connsiteY4" fmla="*/ 343345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09832 w 532109"/>
              <a:gd name="connsiteY3" fmla="*/ 363201 h 4990454"/>
              <a:gd name="connsiteX4" fmla="*/ 163742 w 532109"/>
              <a:gd name="connsiteY4" fmla="*/ 343345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3742 w 532109"/>
              <a:gd name="connsiteY4" fmla="*/ 343345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3742 w 532109"/>
              <a:gd name="connsiteY4" fmla="*/ 343345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3742 w 532109"/>
              <a:gd name="connsiteY4" fmla="*/ 343345 h 4990454"/>
              <a:gd name="connsiteX5" fmla="*/ 108891 w 532109"/>
              <a:gd name="connsiteY5" fmla="*/ 324657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3742 w 532109"/>
              <a:gd name="connsiteY4" fmla="*/ 343345 h 4990454"/>
              <a:gd name="connsiteX5" fmla="*/ 108891 w 532109"/>
              <a:gd name="connsiteY5" fmla="*/ 324657 h 4990454"/>
              <a:gd name="connsiteX6" fmla="*/ 36970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3742 w 532109"/>
              <a:gd name="connsiteY4" fmla="*/ 343345 h 4990454"/>
              <a:gd name="connsiteX5" fmla="*/ 108891 w 532109"/>
              <a:gd name="connsiteY5" fmla="*/ 324657 h 4990454"/>
              <a:gd name="connsiteX6" fmla="*/ 36970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3742 w 532109"/>
              <a:gd name="connsiteY4" fmla="*/ 343345 h 4990454"/>
              <a:gd name="connsiteX5" fmla="*/ 108891 w 532109"/>
              <a:gd name="connsiteY5" fmla="*/ 324657 h 4990454"/>
              <a:gd name="connsiteX6" fmla="*/ 36970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6123 w 532109"/>
              <a:gd name="connsiteY4" fmla="*/ 350488 h 4990454"/>
              <a:gd name="connsiteX5" fmla="*/ 108891 w 532109"/>
              <a:gd name="connsiteY5" fmla="*/ 324657 h 4990454"/>
              <a:gd name="connsiteX6" fmla="*/ 36970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6123 w 532109"/>
              <a:gd name="connsiteY4" fmla="*/ 350488 h 4990454"/>
              <a:gd name="connsiteX5" fmla="*/ 108891 w 532109"/>
              <a:gd name="connsiteY5" fmla="*/ 324657 h 4990454"/>
              <a:gd name="connsiteX6" fmla="*/ 36970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6123 w 532109"/>
              <a:gd name="connsiteY4" fmla="*/ 350488 h 4990454"/>
              <a:gd name="connsiteX5" fmla="*/ 108891 w 532109"/>
              <a:gd name="connsiteY5" fmla="*/ 324657 h 4990454"/>
              <a:gd name="connsiteX6" fmla="*/ 36970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84636 w 532109"/>
              <a:gd name="connsiteY12" fmla="*/ 9969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40451 h 4995108"/>
              <a:gd name="connsiteX1" fmla="*/ 433953 w 532109"/>
              <a:gd name="connsiteY1" fmla="*/ 350783 h 4995108"/>
              <a:gd name="connsiteX2" fmla="*/ 310370 w 532109"/>
              <a:gd name="connsiteY2" fmla="*/ 370237 h 4995108"/>
              <a:gd name="connsiteX3" fmla="*/ 231264 w 532109"/>
              <a:gd name="connsiteY3" fmla="*/ 370236 h 4995108"/>
              <a:gd name="connsiteX4" fmla="*/ 166123 w 532109"/>
              <a:gd name="connsiteY4" fmla="*/ 355142 h 4995108"/>
              <a:gd name="connsiteX5" fmla="*/ 108891 w 532109"/>
              <a:gd name="connsiteY5" fmla="*/ 329311 h 4995108"/>
              <a:gd name="connsiteX6" fmla="*/ 36970 w 532109"/>
              <a:gd name="connsiteY6" fmla="*/ 257793 h 4995108"/>
              <a:gd name="connsiteX7" fmla="*/ 20665 w 532109"/>
              <a:gd name="connsiteY7" fmla="*/ 221630 h 4995108"/>
              <a:gd name="connsiteX8" fmla="*/ 0 w 532109"/>
              <a:gd name="connsiteY8" fmla="*/ 164803 h 4995108"/>
              <a:gd name="connsiteX9" fmla="*/ 0 w 532109"/>
              <a:gd name="connsiteY9" fmla="*/ 128641 h 4995108"/>
              <a:gd name="connsiteX10" fmla="*/ 15498 w 532109"/>
              <a:gd name="connsiteY10" fmla="*/ 82146 h 4995108"/>
              <a:gd name="connsiteX11" fmla="*/ 36163 w 532109"/>
              <a:gd name="connsiteY11" fmla="*/ 51149 h 4995108"/>
              <a:gd name="connsiteX12" fmla="*/ 84636 w 532109"/>
              <a:gd name="connsiteY12" fmla="*/ 14623 h 4995108"/>
              <a:gd name="connsiteX13" fmla="*/ 201478 w 532109"/>
              <a:gd name="connsiteY13" fmla="*/ 4654 h 4995108"/>
              <a:gd name="connsiteX14" fmla="*/ 294468 w 532109"/>
              <a:gd name="connsiteY14" fmla="*/ 40817 h 4995108"/>
              <a:gd name="connsiteX15" fmla="*/ 361627 w 532109"/>
              <a:gd name="connsiteY15" fmla="*/ 92478 h 4995108"/>
              <a:gd name="connsiteX16" fmla="*/ 382292 w 532109"/>
              <a:gd name="connsiteY16" fmla="*/ 149305 h 4995108"/>
              <a:gd name="connsiteX17" fmla="*/ 402956 w 532109"/>
              <a:gd name="connsiteY17" fmla="*/ 226796 h 4995108"/>
              <a:gd name="connsiteX18" fmla="*/ 423621 w 532109"/>
              <a:gd name="connsiteY18" fmla="*/ 304288 h 4995108"/>
              <a:gd name="connsiteX19" fmla="*/ 423621 w 532109"/>
              <a:gd name="connsiteY19" fmla="*/ 407610 h 4995108"/>
              <a:gd name="connsiteX20" fmla="*/ 87824 w 532109"/>
              <a:gd name="connsiteY20" fmla="*/ 4995108 h 4995108"/>
              <a:gd name="connsiteX0" fmla="*/ 532109 w 532109"/>
              <a:gd name="connsiteY0" fmla="*/ 350997 h 5005654"/>
              <a:gd name="connsiteX1" fmla="*/ 433953 w 532109"/>
              <a:gd name="connsiteY1" fmla="*/ 361329 h 5005654"/>
              <a:gd name="connsiteX2" fmla="*/ 310370 w 532109"/>
              <a:gd name="connsiteY2" fmla="*/ 380783 h 5005654"/>
              <a:gd name="connsiteX3" fmla="*/ 231264 w 532109"/>
              <a:gd name="connsiteY3" fmla="*/ 380782 h 5005654"/>
              <a:gd name="connsiteX4" fmla="*/ 166123 w 532109"/>
              <a:gd name="connsiteY4" fmla="*/ 365688 h 5005654"/>
              <a:gd name="connsiteX5" fmla="*/ 108891 w 532109"/>
              <a:gd name="connsiteY5" fmla="*/ 339857 h 5005654"/>
              <a:gd name="connsiteX6" fmla="*/ 36970 w 532109"/>
              <a:gd name="connsiteY6" fmla="*/ 268339 h 5005654"/>
              <a:gd name="connsiteX7" fmla="*/ 20665 w 532109"/>
              <a:gd name="connsiteY7" fmla="*/ 232176 h 5005654"/>
              <a:gd name="connsiteX8" fmla="*/ 0 w 532109"/>
              <a:gd name="connsiteY8" fmla="*/ 175349 h 5005654"/>
              <a:gd name="connsiteX9" fmla="*/ 0 w 532109"/>
              <a:gd name="connsiteY9" fmla="*/ 139187 h 5005654"/>
              <a:gd name="connsiteX10" fmla="*/ 15498 w 532109"/>
              <a:gd name="connsiteY10" fmla="*/ 92692 h 5005654"/>
              <a:gd name="connsiteX11" fmla="*/ 36163 w 532109"/>
              <a:gd name="connsiteY11" fmla="*/ 61695 h 5005654"/>
              <a:gd name="connsiteX12" fmla="*/ 84636 w 532109"/>
              <a:gd name="connsiteY12" fmla="*/ 25169 h 5005654"/>
              <a:gd name="connsiteX13" fmla="*/ 211003 w 532109"/>
              <a:gd name="connsiteY13" fmla="*/ 3293 h 5005654"/>
              <a:gd name="connsiteX14" fmla="*/ 294468 w 532109"/>
              <a:gd name="connsiteY14" fmla="*/ 51363 h 5005654"/>
              <a:gd name="connsiteX15" fmla="*/ 361627 w 532109"/>
              <a:gd name="connsiteY15" fmla="*/ 103024 h 5005654"/>
              <a:gd name="connsiteX16" fmla="*/ 382292 w 532109"/>
              <a:gd name="connsiteY16" fmla="*/ 159851 h 5005654"/>
              <a:gd name="connsiteX17" fmla="*/ 402956 w 532109"/>
              <a:gd name="connsiteY17" fmla="*/ 237342 h 5005654"/>
              <a:gd name="connsiteX18" fmla="*/ 423621 w 532109"/>
              <a:gd name="connsiteY18" fmla="*/ 314834 h 5005654"/>
              <a:gd name="connsiteX19" fmla="*/ 423621 w 532109"/>
              <a:gd name="connsiteY19" fmla="*/ 418156 h 5005654"/>
              <a:gd name="connsiteX20" fmla="*/ 87824 w 532109"/>
              <a:gd name="connsiteY20" fmla="*/ 5005654 h 5005654"/>
              <a:gd name="connsiteX0" fmla="*/ 532109 w 532109"/>
              <a:gd name="connsiteY0" fmla="*/ 350997 h 5005654"/>
              <a:gd name="connsiteX1" fmla="*/ 433953 w 532109"/>
              <a:gd name="connsiteY1" fmla="*/ 361329 h 5005654"/>
              <a:gd name="connsiteX2" fmla="*/ 310370 w 532109"/>
              <a:gd name="connsiteY2" fmla="*/ 380783 h 5005654"/>
              <a:gd name="connsiteX3" fmla="*/ 231264 w 532109"/>
              <a:gd name="connsiteY3" fmla="*/ 380782 h 5005654"/>
              <a:gd name="connsiteX4" fmla="*/ 166123 w 532109"/>
              <a:gd name="connsiteY4" fmla="*/ 365688 h 5005654"/>
              <a:gd name="connsiteX5" fmla="*/ 108891 w 532109"/>
              <a:gd name="connsiteY5" fmla="*/ 339857 h 5005654"/>
              <a:gd name="connsiteX6" fmla="*/ 36970 w 532109"/>
              <a:gd name="connsiteY6" fmla="*/ 268339 h 5005654"/>
              <a:gd name="connsiteX7" fmla="*/ 20665 w 532109"/>
              <a:gd name="connsiteY7" fmla="*/ 232176 h 5005654"/>
              <a:gd name="connsiteX8" fmla="*/ 0 w 532109"/>
              <a:gd name="connsiteY8" fmla="*/ 175349 h 5005654"/>
              <a:gd name="connsiteX9" fmla="*/ 0 w 532109"/>
              <a:gd name="connsiteY9" fmla="*/ 139187 h 5005654"/>
              <a:gd name="connsiteX10" fmla="*/ 15498 w 532109"/>
              <a:gd name="connsiteY10" fmla="*/ 92692 h 5005654"/>
              <a:gd name="connsiteX11" fmla="*/ 36163 w 532109"/>
              <a:gd name="connsiteY11" fmla="*/ 61695 h 5005654"/>
              <a:gd name="connsiteX12" fmla="*/ 84636 w 532109"/>
              <a:gd name="connsiteY12" fmla="*/ 25169 h 5005654"/>
              <a:gd name="connsiteX13" fmla="*/ 211003 w 532109"/>
              <a:gd name="connsiteY13" fmla="*/ 3293 h 5005654"/>
              <a:gd name="connsiteX14" fmla="*/ 294468 w 532109"/>
              <a:gd name="connsiteY14" fmla="*/ 51363 h 5005654"/>
              <a:gd name="connsiteX15" fmla="*/ 361627 w 532109"/>
              <a:gd name="connsiteY15" fmla="*/ 103024 h 5005654"/>
              <a:gd name="connsiteX16" fmla="*/ 382292 w 532109"/>
              <a:gd name="connsiteY16" fmla="*/ 159851 h 5005654"/>
              <a:gd name="connsiteX17" fmla="*/ 402956 w 532109"/>
              <a:gd name="connsiteY17" fmla="*/ 237342 h 5005654"/>
              <a:gd name="connsiteX18" fmla="*/ 423621 w 532109"/>
              <a:gd name="connsiteY18" fmla="*/ 314834 h 5005654"/>
              <a:gd name="connsiteX19" fmla="*/ 423621 w 532109"/>
              <a:gd name="connsiteY19" fmla="*/ 418156 h 5005654"/>
              <a:gd name="connsiteX20" fmla="*/ 87824 w 532109"/>
              <a:gd name="connsiteY20" fmla="*/ 5005654 h 5005654"/>
              <a:gd name="connsiteX0" fmla="*/ 532109 w 532109"/>
              <a:gd name="connsiteY0" fmla="*/ 350997 h 5005654"/>
              <a:gd name="connsiteX1" fmla="*/ 433953 w 532109"/>
              <a:gd name="connsiteY1" fmla="*/ 361329 h 5005654"/>
              <a:gd name="connsiteX2" fmla="*/ 310370 w 532109"/>
              <a:gd name="connsiteY2" fmla="*/ 380783 h 5005654"/>
              <a:gd name="connsiteX3" fmla="*/ 231264 w 532109"/>
              <a:gd name="connsiteY3" fmla="*/ 380782 h 5005654"/>
              <a:gd name="connsiteX4" fmla="*/ 166123 w 532109"/>
              <a:gd name="connsiteY4" fmla="*/ 365688 h 5005654"/>
              <a:gd name="connsiteX5" fmla="*/ 108891 w 532109"/>
              <a:gd name="connsiteY5" fmla="*/ 339857 h 5005654"/>
              <a:gd name="connsiteX6" fmla="*/ 36970 w 532109"/>
              <a:gd name="connsiteY6" fmla="*/ 268339 h 5005654"/>
              <a:gd name="connsiteX7" fmla="*/ 20665 w 532109"/>
              <a:gd name="connsiteY7" fmla="*/ 232176 h 5005654"/>
              <a:gd name="connsiteX8" fmla="*/ 0 w 532109"/>
              <a:gd name="connsiteY8" fmla="*/ 175349 h 5005654"/>
              <a:gd name="connsiteX9" fmla="*/ 0 w 532109"/>
              <a:gd name="connsiteY9" fmla="*/ 139187 h 5005654"/>
              <a:gd name="connsiteX10" fmla="*/ 15498 w 532109"/>
              <a:gd name="connsiteY10" fmla="*/ 92692 h 5005654"/>
              <a:gd name="connsiteX11" fmla="*/ 36163 w 532109"/>
              <a:gd name="connsiteY11" fmla="*/ 61695 h 5005654"/>
              <a:gd name="connsiteX12" fmla="*/ 84636 w 532109"/>
              <a:gd name="connsiteY12" fmla="*/ 25169 h 5005654"/>
              <a:gd name="connsiteX13" fmla="*/ 211003 w 532109"/>
              <a:gd name="connsiteY13" fmla="*/ 3293 h 5005654"/>
              <a:gd name="connsiteX14" fmla="*/ 294468 w 532109"/>
              <a:gd name="connsiteY14" fmla="*/ 51363 h 5005654"/>
              <a:gd name="connsiteX15" fmla="*/ 361627 w 532109"/>
              <a:gd name="connsiteY15" fmla="*/ 103024 h 5005654"/>
              <a:gd name="connsiteX16" fmla="*/ 382292 w 532109"/>
              <a:gd name="connsiteY16" fmla="*/ 159851 h 5005654"/>
              <a:gd name="connsiteX17" fmla="*/ 402956 w 532109"/>
              <a:gd name="connsiteY17" fmla="*/ 237342 h 5005654"/>
              <a:gd name="connsiteX18" fmla="*/ 423621 w 532109"/>
              <a:gd name="connsiteY18" fmla="*/ 314834 h 5005654"/>
              <a:gd name="connsiteX19" fmla="*/ 423621 w 532109"/>
              <a:gd name="connsiteY19" fmla="*/ 418156 h 5005654"/>
              <a:gd name="connsiteX20" fmla="*/ 87824 w 532109"/>
              <a:gd name="connsiteY20" fmla="*/ 5005654 h 5005654"/>
              <a:gd name="connsiteX0" fmla="*/ 532109 w 532109"/>
              <a:gd name="connsiteY0" fmla="*/ 348533 h 5003190"/>
              <a:gd name="connsiteX1" fmla="*/ 433953 w 532109"/>
              <a:gd name="connsiteY1" fmla="*/ 358865 h 5003190"/>
              <a:gd name="connsiteX2" fmla="*/ 310370 w 532109"/>
              <a:gd name="connsiteY2" fmla="*/ 378319 h 5003190"/>
              <a:gd name="connsiteX3" fmla="*/ 231264 w 532109"/>
              <a:gd name="connsiteY3" fmla="*/ 378318 h 5003190"/>
              <a:gd name="connsiteX4" fmla="*/ 166123 w 532109"/>
              <a:gd name="connsiteY4" fmla="*/ 363224 h 5003190"/>
              <a:gd name="connsiteX5" fmla="*/ 108891 w 532109"/>
              <a:gd name="connsiteY5" fmla="*/ 337393 h 5003190"/>
              <a:gd name="connsiteX6" fmla="*/ 36970 w 532109"/>
              <a:gd name="connsiteY6" fmla="*/ 265875 h 5003190"/>
              <a:gd name="connsiteX7" fmla="*/ 20665 w 532109"/>
              <a:gd name="connsiteY7" fmla="*/ 229712 h 5003190"/>
              <a:gd name="connsiteX8" fmla="*/ 0 w 532109"/>
              <a:gd name="connsiteY8" fmla="*/ 172885 h 5003190"/>
              <a:gd name="connsiteX9" fmla="*/ 0 w 532109"/>
              <a:gd name="connsiteY9" fmla="*/ 136723 h 5003190"/>
              <a:gd name="connsiteX10" fmla="*/ 15498 w 532109"/>
              <a:gd name="connsiteY10" fmla="*/ 90228 h 5003190"/>
              <a:gd name="connsiteX11" fmla="*/ 36163 w 532109"/>
              <a:gd name="connsiteY11" fmla="*/ 59231 h 5003190"/>
              <a:gd name="connsiteX12" fmla="*/ 84636 w 532109"/>
              <a:gd name="connsiteY12" fmla="*/ 22705 h 5003190"/>
              <a:gd name="connsiteX13" fmla="*/ 211003 w 532109"/>
              <a:gd name="connsiteY13" fmla="*/ 829 h 5003190"/>
              <a:gd name="connsiteX14" fmla="*/ 311137 w 532109"/>
              <a:gd name="connsiteY14" fmla="*/ 51281 h 5003190"/>
              <a:gd name="connsiteX15" fmla="*/ 361627 w 532109"/>
              <a:gd name="connsiteY15" fmla="*/ 100560 h 5003190"/>
              <a:gd name="connsiteX16" fmla="*/ 382292 w 532109"/>
              <a:gd name="connsiteY16" fmla="*/ 157387 h 5003190"/>
              <a:gd name="connsiteX17" fmla="*/ 402956 w 532109"/>
              <a:gd name="connsiteY17" fmla="*/ 234878 h 5003190"/>
              <a:gd name="connsiteX18" fmla="*/ 423621 w 532109"/>
              <a:gd name="connsiteY18" fmla="*/ 312370 h 5003190"/>
              <a:gd name="connsiteX19" fmla="*/ 423621 w 532109"/>
              <a:gd name="connsiteY19" fmla="*/ 415692 h 5003190"/>
              <a:gd name="connsiteX20" fmla="*/ 87824 w 532109"/>
              <a:gd name="connsiteY20" fmla="*/ 5003190 h 5003190"/>
              <a:gd name="connsiteX0" fmla="*/ 532109 w 532109"/>
              <a:gd name="connsiteY0" fmla="*/ 348533 h 5003190"/>
              <a:gd name="connsiteX1" fmla="*/ 433953 w 532109"/>
              <a:gd name="connsiteY1" fmla="*/ 358865 h 5003190"/>
              <a:gd name="connsiteX2" fmla="*/ 310370 w 532109"/>
              <a:gd name="connsiteY2" fmla="*/ 378319 h 5003190"/>
              <a:gd name="connsiteX3" fmla="*/ 231264 w 532109"/>
              <a:gd name="connsiteY3" fmla="*/ 378318 h 5003190"/>
              <a:gd name="connsiteX4" fmla="*/ 166123 w 532109"/>
              <a:gd name="connsiteY4" fmla="*/ 363224 h 5003190"/>
              <a:gd name="connsiteX5" fmla="*/ 108891 w 532109"/>
              <a:gd name="connsiteY5" fmla="*/ 337393 h 5003190"/>
              <a:gd name="connsiteX6" fmla="*/ 36970 w 532109"/>
              <a:gd name="connsiteY6" fmla="*/ 265875 h 5003190"/>
              <a:gd name="connsiteX7" fmla="*/ 20665 w 532109"/>
              <a:gd name="connsiteY7" fmla="*/ 229712 h 5003190"/>
              <a:gd name="connsiteX8" fmla="*/ 0 w 532109"/>
              <a:gd name="connsiteY8" fmla="*/ 172885 h 5003190"/>
              <a:gd name="connsiteX9" fmla="*/ 0 w 532109"/>
              <a:gd name="connsiteY9" fmla="*/ 136723 h 5003190"/>
              <a:gd name="connsiteX10" fmla="*/ 15498 w 532109"/>
              <a:gd name="connsiteY10" fmla="*/ 90228 h 5003190"/>
              <a:gd name="connsiteX11" fmla="*/ 36163 w 532109"/>
              <a:gd name="connsiteY11" fmla="*/ 59231 h 5003190"/>
              <a:gd name="connsiteX12" fmla="*/ 84636 w 532109"/>
              <a:gd name="connsiteY12" fmla="*/ 22705 h 5003190"/>
              <a:gd name="connsiteX13" fmla="*/ 211003 w 532109"/>
              <a:gd name="connsiteY13" fmla="*/ 829 h 5003190"/>
              <a:gd name="connsiteX14" fmla="*/ 311137 w 532109"/>
              <a:gd name="connsiteY14" fmla="*/ 51281 h 5003190"/>
              <a:gd name="connsiteX15" fmla="*/ 361627 w 532109"/>
              <a:gd name="connsiteY15" fmla="*/ 100560 h 5003190"/>
              <a:gd name="connsiteX16" fmla="*/ 382292 w 532109"/>
              <a:gd name="connsiteY16" fmla="*/ 157387 h 5003190"/>
              <a:gd name="connsiteX17" fmla="*/ 402956 w 532109"/>
              <a:gd name="connsiteY17" fmla="*/ 234878 h 5003190"/>
              <a:gd name="connsiteX18" fmla="*/ 423621 w 532109"/>
              <a:gd name="connsiteY18" fmla="*/ 312370 h 5003190"/>
              <a:gd name="connsiteX19" fmla="*/ 423621 w 532109"/>
              <a:gd name="connsiteY19" fmla="*/ 415692 h 5003190"/>
              <a:gd name="connsiteX20" fmla="*/ 87824 w 532109"/>
              <a:gd name="connsiteY20" fmla="*/ 5003190 h 5003190"/>
              <a:gd name="connsiteX0" fmla="*/ 532109 w 532109"/>
              <a:gd name="connsiteY0" fmla="*/ 348533 h 5003190"/>
              <a:gd name="connsiteX1" fmla="*/ 433953 w 532109"/>
              <a:gd name="connsiteY1" fmla="*/ 358865 h 5003190"/>
              <a:gd name="connsiteX2" fmla="*/ 310370 w 532109"/>
              <a:gd name="connsiteY2" fmla="*/ 378319 h 5003190"/>
              <a:gd name="connsiteX3" fmla="*/ 231264 w 532109"/>
              <a:gd name="connsiteY3" fmla="*/ 378318 h 5003190"/>
              <a:gd name="connsiteX4" fmla="*/ 166123 w 532109"/>
              <a:gd name="connsiteY4" fmla="*/ 363224 h 5003190"/>
              <a:gd name="connsiteX5" fmla="*/ 108891 w 532109"/>
              <a:gd name="connsiteY5" fmla="*/ 337393 h 5003190"/>
              <a:gd name="connsiteX6" fmla="*/ 36970 w 532109"/>
              <a:gd name="connsiteY6" fmla="*/ 265875 h 5003190"/>
              <a:gd name="connsiteX7" fmla="*/ 20665 w 532109"/>
              <a:gd name="connsiteY7" fmla="*/ 229712 h 5003190"/>
              <a:gd name="connsiteX8" fmla="*/ 0 w 532109"/>
              <a:gd name="connsiteY8" fmla="*/ 172885 h 5003190"/>
              <a:gd name="connsiteX9" fmla="*/ 0 w 532109"/>
              <a:gd name="connsiteY9" fmla="*/ 136723 h 5003190"/>
              <a:gd name="connsiteX10" fmla="*/ 15498 w 532109"/>
              <a:gd name="connsiteY10" fmla="*/ 90228 h 5003190"/>
              <a:gd name="connsiteX11" fmla="*/ 36163 w 532109"/>
              <a:gd name="connsiteY11" fmla="*/ 59231 h 5003190"/>
              <a:gd name="connsiteX12" fmla="*/ 84636 w 532109"/>
              <a:gd name="connsiteY12" fmla="*/ 22705 h 5003190"/>
              <a:gd name="connsiteX13" fmla="*/ 211003 w 532109"/>
              <a:gd name="connsiteY13" fmla="*/ 829 h 5003190"/>
              <a:gd name="connsiteX14" fmla="*/ 311137 w 532109"/>
              <a:gd name="connsiteY14" fmla="*/ 51281 h 5003190"/>
              <a:gd name="connsiteX15" fmla="*/ 361627 w 532109"/>
              <a:gd name="connsiteY15" fmla="*/ 100560 h 5003190"/>
              <a:gd name="connsiteX16" fmla="*/ 382292 w 532109"/>
              <a:gd name="connsiteY16" fmla="*/ 157387 h 5003190"/>
              <a:gd name="connsiteX17" fmla="*/ 402956 w 532109"/>
              <a:gd name="connsiteY17" fmla="*/ 234878 h 5003190"/>
              <a:gd name="connsiteX18" fmla="*/ 423621 w 532109"/>
              <a:gd name="connsiteY18" fmla="*/ 312370 h 5003190"/>
              <a:gd name="connsiteX19" fmla="*/ 423621 w 532109"/>
              <a:gd name="connsiteY19" fmla="*/ 415692 h 5003190"/>
              <a:gd name="connsiteX20" fmla="*/ 87824 w 532109"/>
              <a:gd name="connsiteY20" fmla="*/ 5003190 h 5003190"/>
              <a:gd name="connsiteX0" fmla="*/ 532109 w 532109"/>
              <a:gd name="connsiteY0" fmla="*/ 348533 h 5003190"/>
              <a:gd name="connsiteX1" fmla="*/ 433953 w 532109"/>
              <a:gd name="connsiteY1" fmla="*/ 358865 h 5003190"/>
              <a:gd name="connsiteX2" fmla="*/ 310370 w 532109"/>
              <a:gd name="connsiteY2" fmla="*/ 378319 h 5003190"/>
              <a:gd name="connsiteX3" fmla="*/ 231264 w 532109"/>
              <a:gd name="connsiteY3" fmla="*/ 378318 h 5003190"/>
              <a:gd name="connsiteX4" fmla="*/ 166123 w 532109"/>
              <a:gd name="connsiteY4" fmla="*/ 363224 h 5003190"/>
              <a:gd name="connsiteX5" fmla="*/ 108891 w 532109"/>
              <a:gd name="connsiteY5" fmla="*/ 337393 h 5003190"/>
              <a:gd name="connsiteX6" fmla="*/ 36970 w 532109"/>
              <a:gd name="connsiteY6" fmla="*/ 265875 h 5003190"/>
              <a:gd name="connsiteX7" fmla="*/ 20665 w 532109"/>
              <a:gd name="connsiteY7" fmla="*/ 229712 h 5003190"/>
              <a:gd name="connsiteX8" fmla="*/ 0 w 532109"/>
              <a:gd name="connsiteY8" fmla="*/ 172885 h 5003190"/>
              <a:gd name="connsiteX9" fmla="*/ 0 w 532109"/>
              <a:gd name="connsiteY9" fmla="*/ 136723 h 5003190"/>
              <a:gd name="connsiteX10" fmla="*/ 15498 w 532109"/>
              <a:gd name="connsiteY10" fmla="*/ 90228 h 5003190"/>
              <a:gd name="connsiteX11" fmla="*/ 36163 w 532109"/>
              <a:gd name="connsiteY11" fmla="*/ 59231 h 5003190"/>
              <a:gd name="connsiteX12" fmla="*/ 84636 w 532109"/>
              <a:gd name="connsiteY12" fmla="*/ 22705 h 5003190"/>
              <a:gd name="connsiteX13" fmla="*/ 211003 w 532109"/>
              <a:gd name="connsiteY13" fmla="*/ 829 h 5003190"/>
              <a:gd name="connsiteX14" fmla="*/ 311137 w 532109"/>
              <a:gd name="connsiteY14" fmla="*/ 51281 h 5003190"/>
              <a:gd name="connsiteX15" fmla="*/ 361627 w 532109"/>
              <a:gd name="connsiteY15" fmla="*/ 100560 h 5003190"/>
              <a:gd name="connsiteX16" fmla="*/ 382292 w 532109"/>
              <a:gd name="connsiteY16" fmla="*/ 157387 h 5003190"/>
              <a:gd name="connsiteX17" fmla="*/ 402956 w 532109"/>
              <a:gd name="connsiteY17" fmla="*/ 234878 h 5003190"/>
              <a:gd name="connsiteX18" fmla="*/ 423621 w 532109"/>
              <a:gd name="connsiteY18" fmla="*/ 312370 h 5003190"/>
              <a:gd name="connsiteX19" fmla="*/ 423621 w 532109"/>
              <a:gd name="connsiteY19" fmla="*/ 415692 h 5003190"/>
              <a:gd name="connsiteX20" fmla="*/ 87824 w 532109"/>
              <a:gd name="connsiteY20" fmla="*/ 5003190 h 5003190"/>
              <a:gd name="connsiteX0" fmla="*/ 532109 w 532109"/>
              <a:gd name="connsiteY0" fmla="*/ 348533 h 5003190"/>
              <a:gd name="connsiteX1" fmla="*/ 433953 w 532109"/>
              <a:gd name="connsiteY1" fmla="*/ 358865 h 5003190"/>
              <a:gd name="connsiteX2" fmla="*/ 310370 w 532109"/>
              <a:gd name="connsiteY2" fmla="*/ 378319 h 5003190"/>
              <a:gd name="connsiteX3" fmla="*/ 231264 w 532109"/>
              <a:gd name="connsiteY3" fmla="*/ 378318 h 5003190"/>
              <a:gd name="connsiteX4" fmla="*/ 166123 w 532109"/>
              <a:gd name="connsiteY4" fmla="*/ 363224 h 5003190"/>
              <a:gd name="connsiteX5" fmla="*/ 108891 w 532109"/>
              <a:gd name="connsiteY5" fmla="*/ 337393 h 5003190"/>
              <a:gd name="connsiteX6" fmla="*/ 36970 w 532109"/>
              <a:gd name="connsiteY6" fmla="*/ 265875 h 5003190"/>
              <a:gd name="connsiteX7" fmla="*/ 20665 w 532109"/>
              <a:gd name="connsiteY7" fmla="*/ 229712 h 5003190"/>
              <a:gd name="connsiteX8" fmla="*/ 0 w 532109"/>
              <a:gd name="connsiteY8" fmla="*/ 172885 h 5003190"/>
              <a:gd name="connsiteX9" fmla="*/ 0 w 532109"/>
              <a:gd name="connsiteY9" fmla="*/ 136723 h 5003190"/>
              <a:gd name="connsiteX10" fmla="*/ 15498 w 532109"/>
              <a:gd name="connsiteY10" fmla="*/ 90228 h 5003190"/>
              <a:gd name="connsiteX11" fmla="*/ 36163 w 532109"/>
              <a:gd name="connsiteY11" fmla="*/ 59231 h 5003190"/>
              <a:gd name="connsiteX12" fmla="*/ 84636 w 532109"/>
              <a:gd name="connsiteY12" fmla="*/ 22705 h 5003190"/>
              <a:gd name="connsiteX13" fmla="*/ 211003 w 532109"/>
              <a:gd name="connsiteY13" fmla="*/ 829 h 5003190"/>
              <a:gd name="connsiteX14" fmla="*/ 311137 w 532109"/>
              <a:gd name="connsiteY14" fmla="*/ 51281 h 5003190"/>
              <a:gd name="connsiteX15" fmla="*/ 361627 w 532109"/>
              <a:gd name="connsiteY15" fmla="*/ 100560 h 5003190"/>
              <a:gd name="connsiteX16" fmla="*/ 396580 w 532109"/>
              <a:gd name="connsiteY16" fmla="*/ 162150 h 5003190"/>
              <a:gd name="connsiteX17" fmla="*/ 402956 w 532109"/>
              <a:gd name="connsiteY17" fmla="*/ 234878 h 5003190"/>
              <a:gd name="connsiteX18" fmla="*/ 423621 w 532109"/>
              <a:gd name="connsiteY18" fmla="*/ 312370 h 5003190"/>
              <a:gd name="connsiteX19" fmla="*/ 423621 w 532109"/>
              <a:gd name="connsiteY19" fmla="*/ 415692 h 5003190"/>
              <a:gd name="connsiteX20" fmla="*/ 87824 w 532109"/>
              <a:gd name="connsiteY20" fmla="*/ 5003190 h 5003190"/>
              <a:gd name="connsiteX0" fmla="*/ 532109 w 532109"/>
              <a:gd name="connsiteY0" fmla="*/ 348533 h 5003190"/>
              <a:gd name="connsiteX1" fmla="*/ 433953 w 532109"/>
              <a:gd name="connsiteY1" fmla="*/ 358865 h 5003190"/>
              <a:gd name="connsiteX2" fmla="*/ 310370 w 532109"/>
              <a:gd name="connsiteY2" fmla="*/ 378319 h 5003190"/>
              <a:gd name="connsiteX3" fmla="*/ 231264 w 532109"/>
              <a:gd name="connsiteY3" fmla="*/ 378318 h 5003190"/>
              <a:gd name="connsiteX4" fmla="*/ 166123 w 532109"/>
              <a:gd name="connsiteY4" fmla="*/ 363224 h 5003190"/>
              <a:gd name="connsiteX5" fmla="*/ 108891 w 532109"/>
              <a:gd name="connsiteY5" fmla="*/ 337393 h 5003190"/>
              <a:gd name="connsiteX6" fmla="*/ 36970 w 532109"/>
              <a:gd name="connsiteY6" fmla="*/ 265875 h 5003190"/>
              <a:gd name="connsiteX7" fmla="*/ 20665 w 532109"/>
              <a:gd name="connsiteY7" fmla="*/ 229712 h 5003190"/>
              <a:gd name="connsiteX8" fmla="*/ 0 w 532109"/>
              <a:gd name="connsiteY8" fmla="*/ 172885 h 5003190"/>
              <a:gd name="connsiteX9" fmla="*/ 0 w 532109"/>
              <a:gd name="connsiteY9" fmla="*/ 136723 h 5003190"/>
              <a:gd name="connsiteX10" fmla="*/ 15498 w 532109"/>
              <a:gd name="connsiteY10" fmla="*/ 90228 h 5003190"/>
              <a:gd name="connsiteX11" fmla="*/ 36163 w 532109"/>
              <a:gd name="connsiteY11" fmla="*/ 59231 h 5003190"/>
              <a:gd name="connsiteX12" fmla="*/ 84636 w 532109"/>
              <a:gd name="connsiteY12" fmla="*/ 22705 h 5003190"/>
              <a:gd name="connsiteX13" fmla="*/ 211003 w 532109"/>
              <a:gd name="connsiteY13" fmla="*/ 829 h 5003190"/>
              <a:gd name="connsiteX14" fmla="*/ 311137 w 532109"/>
              <a:gd name="connsiteY14" fmla="*/ 51281 h 5003190"/>
              <a:gd name="connsiteX15" fmla="*/ 361627 w 532109"/>
              <a:gd name="connsiteY15" fmla="*/ 100560 h 5003190"/>
              <a:gd name="connsiteX16" fmla="*/ 396580 w 532109"/>
              <a:gd name="connsiteY16" fmla="*/ 162150 h 5003190"/>
              <a:gd name="connsiteX17" fmla="*/ 414862 w 532109"/>
              <a:gd name="connsiteY17" fmla="*/ 234878 h 5003190"/>
              <a:gd name="connsiteX18" fmla="*/ 423621 w 532109"/>
              <a:gd name="connsiteY18" fmla="*/ 312370 h 5003190"/>
              <a:gd name="connsiteX19" fmla="*/ 423621 w 532109"/>
              <a:gd name="connsiteY19" fmla="*/ 415692 h 5003190"/>
              <a:gd name="connsiteX20" fmla="*/ 87824 w 532109"/>
              <a:gd name="connsiteY20" fmla="*/ 5003190 h 5003190"/>
              <a:gd name="connsiteX0" fmla="*/ 534380 w 534380"/>
              <a:gd name="connsiteY0" fmla="*/ 348533 h 5003190"/>
              <a:gd name="connsiteX1" fmla="*/ 436224 w 534380"/>
              <a:gd name="connsiteY1" fmla="*/ 358865 h 5003190"/>
              <a:gd name="connsiteX2" fmla="*/ 312641 w 534380"/>
              <a:gd name="connsiteY2" fmla="*/ 378319 h 5003190"/>
              <a:gd name="connsiteX3" fmla="*/ 233535 w 534380"/>
              <a:gd name="connsiteY3" fmla="*/ 378318 h 5003190"/>
              <a:gd name="connsiteX4" fmla="*/ 168394 w 534380"/>
              <a:gd name="connsiteY4" fmla="*/ 363224 h 5003190"/>
              <a:gd name="connsiteX5" fmla="*/ 111162 w 534380"/>
              <a:gd name="connsiteY5" fmla="*/ 337393 h 5003190"/>
              <a:gd name="connsiteX6" fmla="*/ 39241 w 534380"/>
              <a:gd name="connsiteY6" fmla="*/ 265875 h 5003190"/>
              <a:gd name="connsiteX7" fmla="*/ 22936 w 534380"/>
              <a:gd name="connsiteY7" fmla="*/ 229712 h 5003190"/>
              <a:gd name="connsiteX8" fmla="*/ 2271 w 534380"/>
              <a:gd name="connsiteY8" fmla="*/ 172885 h 5003190"/>
              <a:gd name="connsiteX9" fmla="*/ 2271 w 534380"/>
              <a:gd name="connsiteY9" fmla="*/ 136723 h 5003190"/>
              <a:gd name="connsiteX10" fmla="*/ 17769 w 534380"/>
              <a:gd name="connsiteY10" fmla="*/ 90228 h 5003190"/>
              <a:gd name="connsiteX11" fmla="*/ 38434 w 534380"/>
              <a:gd name="connsiteY11" fmla="*/ 59231 h 5003190"/>
              <a:gd name="connsiteX12" fmla="*/ 86907 w 534380"/>
              <a:gd name="connsiteY12" fmla="*/ 22705 h 5003190"/>
              <a:gd name="connsiteX13" fmla="*/ 213274 w 534380"/>
              <a:gd name="connsiteY13" fmla="*/ 829 h 5003190"/>
              <a:gd name="connsiteX14" fmla="*/ 313408 w 534380"/>
              <a:gd name="connsiteY14" fmla="*/ 51281 h 5003190"/>
              <a:gd name="connsiteX15" fmla="*/ 363898 w 534380"/>
              <a:gd name="connsiteY15" fmla="*/ 100560 h 5003190"/>
              <a:gd name="connsiteX16" fmla="*/ 398851 w 534380"/>
              <a:gd name="connsiteY16" fmla="*/ 162150 h 5003190"/>
              <a:gd name="connsiteX17" fmla="*/ 417133 w 534380"/>
              <a:gd name="connsiteY17" fmla="*/ 234878 h 5003190"/>
              <a:gd name="connsiteX18" fmla="*/ 425892 w 534380"/>
              <a:gd name="connsiteY18" fmla="*/ 312370 h 5003190"/>
              <a:gd name="connsiteX19" fmla="*/ 425892 w 534380"/>
              <a:gd name="connsiteY19" fmla="*/ 415692 h 5003190"/>
              <a:gd name="connsiteX20" fmla="*/ 90095 w 534380"/>
              <a:gd name="connsiteY20" fmla="*/ 5003190 h 5003190"/>
              <a:gd name="connsiteX0" fmla="*/ 534380 w 534380"/>
              <a:gd name="connsiteY0" fmla="*/ 348533 h 5003190"/>
              <a:gd name="connsiteX1" fmla="*/ 436224 w 534380"/>
              <a:gd name="connsiteY1" fmla="*/ 358865 h 5003190"/>
              <a:gd name="connsiteX2" fmla="*/ 312641 w 534380"/>
              <a:gd name="connsiteY2" fmla="*/ 378319 h 5003190"/>
              <a:gd name="connsiteX3" fmla="*/ 233535 w 534380"/>
              <a:gd name="connsiteY3" fmla="*/ 378318 h 5003190"/>
              <a:gd name="connsiteX4" fmla="*/ 168394 w 534380"/>
              <a:gd name="connsiteY4" fmla="*/ 363224 h 5003190"/>
              <a:gd name="connsiteX5" fmla="*/ 111162 w 534380"/>
              <a:gd name="connsiteY5" fmla="*/ 337393 h 5003190"/>
              <a:gd name="connsiteX6" fmla="*/ 39241 w 534380"/>
              <a:gd name="connsiteY6" fmla="*/ 265875 h 5003190"/>
              <a:gd name="connsiteX7" fmla="*/ 22936 w 534380"/>
              <a:gd name="connsiteY7" fmla="*/ 229712 h 5003190"/>
              <a:gd name="connsiteX8" fmla="*/ 2271 w 534380"/>
              <a:gd name="connsiteY8" fmla="*/ 177647 h 5003190"/>
              <a:gd name="connsiteX9" fmla="*/ 2271 w 534380"/>
              <a:gd name="connsiteY9" fmla="*/ 136723 h 5003190"/>
              <a:gd name="connsiteX10" fmla="*/ 17769 w 534380"/>
              <a:gd name="connsiteY10" fmla="*/ 90228 h 5003190"/>
              <a:gd name="connsiteX11" fmla="*/ 38434 w 534380"/>
              <a:gd name="connsiteY11" fmla="*/ 59231 h 5003190"/>
              <a:gd name="connsiteX12" fmla="*/ 86907 w 534380"/>
              <a:gd name="connsiteY12" fmla="*/ 22705 h 5003190"/>
              <a:gd name="connsiteX13" fmla="*/ 213274 w 534380"/>
              <a:gd name="connsiteY13" fmla="*/ 829 h 5003190"/>
              <a:gd name="connsiteX14" fmla="*/ 313408 w 534380"/>
              <a:gd name="connsiteY14" fmla="*/ 51281 h 5003190"/>
              <a:gd name="connsiteX15" fmla="*/ 363898 w 534380"/>
              <a:gd name="connsiteY15" fmla="*/ 100560 h 5003190"/>
              <a:gd name="connsiteX16" fmla="*/ 398851 w 534380"/>
              <a:gd name="connsiteY16" fmla="*/ 162150 h 5003190"/>
              <a:gd name="connsiteX17" fmla="*/ 417133 w 534380"/>
              <a:gd name="connsiteY17" fmla="*/ 234878 h 5003190"/>
              <a:gd name="connsiteX18" fmla="*/ 425892 w 534380"/>
              <a:gd name="connsiteY18" fmla="*/ 312370 h 5003190"/>
              <a:gd name="connsiteX19" fmla="*/ 425892 w 534380"/>
              <a:gd name="connsiteY19" fmla="*/ 415692 h 5003190"/>
              <a:gd name="connsiteX20" fmla="*/ 90095 w 534380"/>
              <a:gd name="connsiteY20" fmla="*/ 5003190 h 5003190"/>
              <a:gd name="connsiteX0" fmla="*/ 534072 w 534072"/>
              <a:gd name="connsiteY0" fmla="*/ 348533 h 5003190"/>
              <a:gd name="connsiteX1" fmla="*/ 435916 w 534072"/>
              <a:gd name="connsiteY1" fmla="*/ 358865 h 5003190"/>
              <a:gd name="connsiteX2" fmla="*/ 312333 w 534072"/>
              <a:gd name="connsiteY2" fmla="*/ 378319 h 5003190"/>
              <a:gd name="connsiteX3" fmla="*/ 233227 w 534072"/>
              <a:gd name="connsiteY3" fmla="*/ 378318 h 5003190"/>
              <a:gd name="connsiteX4" fmla="*/ 168086 w 534072"/>
              <a:gd name="connsiteY4" fmla="*/ 363224 h 5003190"/>
              <a:gd name="connsiteX5" fmla="*/ 110854 w 534072"/>
              <a:gd name="connsiteY5" fmla="*/ 337393 h 5003190"/>
              <a:gd name="connsiteX6" fmla="*/ 38933 w 534072"/>
              <a:gd name="connsiteY6" fmla="*/ 265875 h 5003190"/>
              <a:gd name="connsiteX7" fmla="*/ 17866 w 534072"/>
              <a:gd name="connsiteY7" fmla="*/ 229712 h 5003190"/>
              <a:gd name="connsiteX8" fmla="*/ 1963 w 534072"/>
              <a:gd name="connsiteY8" fmla="*/ 177647 h 5003190"/>
              <a:gd name="connsiteX9" fmla="*/ 1963 w 534072"/>
              <a:gd name="connsiteY9" fmla="*/ 136723 h 5003190"/>
              <a:gd name="connsiteX10" fmla="*/ 17461 w 534072"/>
              <a:gd name="connsiteY10" fmla="*/ 90228 h 5003190"/>
              <a:gd name="connsiteX11" fmla="*/ 38126 w 534072"/>
              <a:gd name="connsiteY11" fmla="*/ 59231 h 5003190"/>
              <a:gd name="connsiteX12" fmla="*/ 86599 w 534072"/>
              <a:gd name="connsiteY12" fmla="*/ 22705 h 5003190"/>
              <a:gd name="connsiteX13" fmla="*/ 212966 w 534072"/>
              <a:gd name="connsiteY13" fmla="*/ 829 h 5003190"/>
              <a:gd name="connsiteX14" fmla="*/ 313100 w 534072"/>
              <a:gd name="connsiteY14" fmla="*/ 51281 h 5003190"/>
              <a:gd name="connsiteX15" fmla="*/ 363590 w 534072"/>
              <a:gd name="connsiteY15" fmla="*/ 100560 h 5003190"/>
              <a:gd name="connsiteX16" fmla="*/ 398543 w 534072"/>
              <a:gd name="connsiteY16" fmla="*/ 162150 h 5003190"/>
              <a:gd name="connsiteX17" fmla="*/ 416825 w 534072"/>
              <a:gd name="connsiteY17" fmla="*/ 234878 h 5003190"/>
              <a:gd name="connsiteX18" fmla="*/ 425584 w 534072"/>
              <a:gd name="connsiteY18" fmla="*/ 312370 h 5003190"/>
              <a:gd name="connsiteX19" fmla="*/ 425584 w 534072"/>
              <a:gd name="connsiteY19" fmla="*/ 415692 h 5003190"/>
              <a:gd name="connsiteX20" fmla="*/ 89787 w 534072"/>
              <a:gd name="connsiteY20" fmla="*/ 5003190 h 5003190"/>
              <a:gd name="connsiteX0" fmla="*/ 534072 w 534072"/>
              <a:gd name="connsiteY0" fmla="*/ 348533 h 5003190"/>
              <a:gd name="connsiteX1" fmla="*/ 435916 w 534072"/>
              <a:gd name="connsiteY1" fmla="*/ 366009 h 5003190"/>
              <a:gd name="connsiteX2" fmla="*/ 312333 w 534072"/>
              <a:gd name="connsiteY2" fmla="*/ 378319 h 5003190"/>
              <a:gd name="connsiteX3" fmla="*/ 233227 w 534072"/>
              <a:gd name="connsiteY3" fmla="*/ 378318 h 5003190"/>
              <a:gd name="connsiteX4" fmla="*/ 168086 w 534072"/>
              <a:gd name="connsiteY4" fmla="*/ 363224 h 5003190"/>
              <a:gd name="connsiteX5" fmla="*/ 110854 w 534072"/>
              <a:gd name="connsiteY5" fmla="*/ 337393 h 5003190"/>
              <a:gd name="connsiteX6" fmla="*/ 38933 w 534072"/>
              <a:gd name="connsiteY6" fmla="*/ 265875 h 5003190"/>
              <a:gd name="connsiteX7" fmla="*/ 17866 w 534072"/>
              <a:gd name="connsiteY7" fmla="*/ 229712 h 5003190"/>
              <a:gd name="connsiteX8" fmla="*/ 1963 w 534072"/>
              <a:gd name="connsiteY8" fmla="*/ 177647 h 5003190"/>
              <a:gd name="connsiteX9" fmla="*/ 1963 w 534072"/>
              <a:gd name="connsiteY9" fmla="*/ 136723 h 5003190"/>
              <a:gd name="connsiteX10" fmla="*/ 17461 w 534072"/>
              <a:gd name="connsiteY10" fmla="*/ 90228 h 5003190"/>
              <a:gd name="connsiteX11" fmla="*/ 38126 w 534072"/>
              <a:gd name="connsiteY11" fmla="*/ 59231 h 5003190"/>
              <a:gd name="connsiteX12" fmla="*/ 86599 w 534072"/>
              <a:gd name="connsiteY12" fmla="*/ 22705 h 5003190"/>
              <a:gd name="connsiteX13" fmla="*/ 212966 w 534072"/>
              <a:gd name="connsiteY13" fmla="*/ 829 h 5003190"/>
              <a:gd name="connsiteX14" fmla="*/ 313100 w 534072"/>
              <a:gd name="connsiteY14" fmla="*/ 51281 h 5003190"/>
              <a:gd name="connsiteX15" fmla="*/ 363590 w 534072"/>
              <a:gd name="connsiteY15" fmla="*/ 100560 h 5003190"/>
              <a:gd name="connsiteX16" fmla="*/ 398543 w 534072"/>
              <a:gd name="connsiteY16" fmla="*/ 162150 h 5003190"/>
              <a:gd name="connsiteX17" fmla="*/ 416825 w 534072"/>
              <a:gd name="connsiteY17" fmla="*/ 234878 h 5003190"/>
              <a:gd name="connsiteX18" fmla="*/ 425584 w 534072"/>
              <a:gd name="connsiteY18" fmla="*/ 312370 h 5003190"/>
              <a:gd name="connsiteX19" fmla="*/ 425584 w 534072"/>
              <a:gd name="connsiteY19" fmla="*/ 415692 h 5003190"/>
              <a:gd name="connsiteX20" fmla="*/ 89787 w 534072"/>
              <a:gd name="connsiteY20" fmla="*/ 5003190 h 5003190"/>
              <a:gd name="connsiteX0" fmla="*/ 534072 w 534072"/>
              <a:gd name="connsiteY0" fmla="*/ 351939 h 5006596"/>
              <a:gd name="connsiteX1" fmla="*/ 435916 w 534072"/>
              <a:gd name="connsiteY1" fmla="*/ 369415 h 5006596"/>
              <a:gd name="connsiteX2" fmla="*/ 312333 w 534072"/>
              <a:gd name="connsiteY2" fmla="*/ 381725 h 5006596"/>
              <a:gd name="connsiteX3" fmla="*/ 233227 w 534072"/>
              <a:gd name="connsiteY3" fmla="*/ 381724 h 5006596"/>
              <a:gd name="connsiteX4" fmla="*/ 168086 w 534072"/>
              <a:gd name="connsiteY4" fmla="*/ 366630 h 5006596"/>
              <a:gd name="connsiteX5" fmla="*/ 110854 w 534072"/>
              <a:gd name="connsiteY5" fmla="*/ 340799 h 5006596"/>
              <a:gd name="connsiteX6" fmla="*/ 38933 w 534072"/>
              <a:gd name="connsiteY6" fmla="*/ 269281 h 5006596"/>
              <a:gd name="connsiteX7" fmla="*/ 17866 w 534072"/>
              <a:gd name="connsiteY7" fmla="*/ 233118 h 5006596"/>
              <a:gd name="connsiteX8" fmla="*/ 1963 w 534072"/>
              <a:gd name="connsiteY8" fmla="*/ 181053 h 5006596"/>
              <a:gd name="connsiteX9" fmla="*/ 1963 w 534072"/>
              <a:gd name="connsiteY9" fmla="*/ 140129 h 5006596"/>
              <a:gd name="connsiteX10" fmla="*/ 17461 w 534072"/>
              <a:gd name="connsiteY10" fmla="*/ 93634 h 5006596"/>
              <a:gd name="connsiteX11" fmla="*/ 38126 w 534072"/>
              <a:gd name="connsiteY11" fmla="*/ 62637 h 5006596"/>
              <a:gd name="connsiteX12" fmla="*/ 110412 w 534072"/>
              <a:gd name="connsiteY12" fmla="*/ 9442 h 5006596"/>
              <a:gd name="connsiteX13" fmla="*/ 212966 w 534072"/>
              <a:gd name="connsiteY13" fmla="*/ 4235 h 5006596"/>
              <a:gd name="connsiteX14" fmla="*/ 313100 w 534072"/>
              <a:gd name="connsiteY14" fmla="*/ 54687 h 5006596"/>
              <a:gd name="connsiteX15" fmla="*/ 363590 w 534072"/>
              <a:gd name="connsiteY15" fmla="*/ 103966 h 5006596"/>
              <a:gd name="connsiteX16" fmla="*/ 398543 w 534072"/>
              <a:gd name="connsiteY16" fmla="*/ 165556 h 5006596"/>
              <a:gd name="connsiteX17" fmla="*/ 416825 w 534072"/>
              <a:gd name="connsiteY17" fmla="*/ 238284 h 5006596"/>
              <a:gd name="connsiteX18" fmla="*/ 425584 w 534072"/>
              <a:gd name="connsiteY18" fmla="*/ 315776 h 5006596"/>
              <a:gd name="connsiteX19" fmla="*/ 425584 w 534072"/>
              <a:gd name="connsiteY19" fmla="*/ 419098 h 5006596"/>
              <a:gd name="connsiteX20" fmla="*/ 89787 w 534072"/>
              <a:gd name="connsiteY20" fmla="*/ 5006596 h 5006596"/>
              <a:gd name="connsiteX0" fmla="*/ 534072 w 534072"/>
              <a:gd name="connsiteY0" fmla="*/ 351939 h 5006596"/>
              <a:gd name="connsiteX1" fmla="*/ 435916 w 534072"/>
              <a:gd name="connsiteY1" fmla="*/ 369415 h 5006596"/>
              <a:gd name="connsiteX2" fmla="*/ 312333 w 534072"/>
              <a:gd name="connsiteY2" fmla="*/ 381725 h 5006596"/>
              <a:gd name="connsiteX3" fmla="*/ 233227 w 534072"/>
              <a:gd name="connsiteY3" fmla="*/ 381724 h 5006596"/>
              <a:gd name="connsiteX4" fmla="*/ 160942 w 534072"/>
              <a:gd name="connsiteY4" fmla="*/ 371392 h 5006596"/>
              <a:gd name="connsiteX5" fmla="*/ 110854 w 534072"/>
              <a:gd name="connsiteY5" fmla="*/ 340799 h 5006596"/>
              <a:gd name="connsiteX6" fmla="*/ 38933 w 534072"/>
              <a:gd name="connsiteY6" fmla="*/ 269281 h 5006596"/>
              <a:gd name="connsiteX7" fmla="*/ 17866 w 534072"/>
              <a:gd name="connsiteY7" fmla="*/ 233118 h 5006596"/>
              <a:gd name="connsiteX8" fmla="*/ 1963 w 534072"/>
              <a:gd name="connsiteY8" fmla="*/ 181053 h 5006596"/>
              <a:gd name="connsiteX9" fmla="*/ 1963 w 534072"/>
              <a:gd name="connsiteY9" fmla="*/ 140129 h 5006596"/>
              <a:gd name="connsiteX10" fmla="*/ 17461 w 534072"/>
              <a:gd name="connsiteY10" fmla="*/ 93634 h 5006596"/>
              <a:gd name="connsiteX11" fmla="*/ 38126 w 534072"/>
              <a:gd name="connsiteY11" fmla="*/ 62637 h 5006596"/>
              <a:gd name="connsiteX12" fmla="*/ 110412 w 534072"/>
              <a:gd name="connsiteY12" fmla="*/ 9442 h 5006596"/>
              <a:gd name="connsiteX13" fmla="*/ 212966 w 534072"/>
              <a:gd name="connsiteY13" fmla="*/ 4235 h 5006596"/>
              <a:gd name="connsiteX14" fmla="*/ 313100 w 534072"/>
              <a:gd name="connsiteY14" fmla="*/ 54687 h 5006596"/>
              <a:gd name="connsiteX15" fmla="*/ 363590 w 534072"/>
              <a:gd name="connsiteY15" fmla="*/ 103966 h 5006596"/>
              <a:gd name="connsiteX16" fmla="*/ 398543 w 534072"/>
              <a:gd name="connsiteY16" fmla="*/ 165556 h 5006596"/>
              <a:gd name="connsiteX17" fmla="*/ 416825 w 534072"/>
              <a:gd name="connsiteY17" fmla="*/ 238284 h 5006596"/>
              <a:gd name="connsiteX18" fmla="*/ 425584 w 534072"/>
              <a:gd name="connsiteY18" fmla="*/ 315776 h 5006596"/>
              <a:gd name="connsiteX19" fmla="*/ 425584 w 534072"/>
              <a:gd name="connsiteY19" fmla="*/ 419098 h 5006596"/>
              <a:gd name="connsiteX20" fmla="*/ 89787 w 534072"/>
              <a:gd name="connsiteY20" fmla="*/ 5006596 h 5006596"/>
              <a:gd name="connsiteX0" fmla="*/ 534072 w 534072"/>
              <a:gd name="connsiteY0" fmla="*/ 351939 h 5006596"/>
              <a:gd name="connsiteX1" fmla="*/ 435916 w 534072"/>
              <a:gd name="connsiteY1" fmla="*/ 369415 h 5006596"/>
              <a:gd name="connsiteX2" fmla="*/ 312333 w 534072"/>
              <a:gd name="connsiteY2" fmla="*/ 381725 h 5006596"/>
              <a:gd name="connsiteX3" fmla="*/ 233227 w 534072"/>
              <a:gd name="connsiteY3" fmla="*/ 381724 h 5006596"/>
              <a:gd name="connsiteX4" fmla="*/ 158561 w 534072"/>
              <a:gd name="connsiteY4" fmla="*/ 366629 h 5006596"/>
              <a:gd name="connsiteX5" fmla="*/ 110854 w 534072"/>
              <a:gd name="connsiteY5" fmla="*/ 340799 h 5006596"/>
              <a:gd name="connsiteX6" fmla="*/ 38933 w 534072"/>
              <a:gd name="connsiteY6" fmla="*/ 269281 h 5006596"/>
              <a:gd name="connsiteX7" fmla="*/ 17866 w 534072"/>
              <a:gd name="connsiteY7" fmla="*/ 233118 h 5006596"/>
              <a:gd name="connsiteX8" fmla="*/ 1963 w 534072"/>
              <a:gd name="connsiteY8" fmla="*/ 181053 h 5006596"/>
              <a:gd name="connsiteX9" fmla="*/ 1963 w 534072"/>
              <a:gd name="connsiteY9" fmla="*/ 140129 h 5006596"/>
              <a:gd name="connsiteX10" fmla="*/ 17461 w 534072"/>
              <a:gd name="connsiteY10" fmla="*/ 93634 h 5006596"/>
              <a:gd name="connsiteX11" fmla="*/ 38126 w 534072"/>
              <a:gd name="connsiteY11" fmla="*/ 62637 h 5006596"/>
              <a:gd name="connsiteX12" fmla="*/ 110412 w 534072"/>
              <a:gd name="connsiteY12" fmla="*/ 9442 h 5006596"/>
              <a:gd name="connsiteX13" fmla="*/ 212966 w 534072"/>
              <a:gd name="connsiteY13" fmla="*/ 4235 h 5006596"/>
              <a:gd name="connsiteX14" fmla="*/ 313100 w 534072"/>
              <a:gd name="connsiteY14" fmla="*/ 54687 h 5006596"/>
              <a:gd name="connsiteX15" fmla="*/ 363590 w 534072"/>
              <a:gd name="connsiteY15" fmla="*/ 103966 h 5006596"/>
              <a:gd name="connsiteX16" fmla="*/ 398543 w 534072"/>
              <a:gd name="connsiteY16" fmla="*/ 165556 h 5006596"/>
              <a:gd name="connsiteX17" fmla="*/ 416825 w 534072"/>
              <a:gd name="connsiteY17" fmla="*/ 238284 h 5006596"/>
              <a:gd name="connsiteX18" fmla="*/ 425584 w 534072"/>
              <a:gd name="connsiteY18" fmla="*/ 315776 h 5006596"/>
              <a:gd name="connsiteX19" fmla="*/ 425584 w 534072"/>
              <a:gd name="connsiteY19" fmla="*/ 419098 h 5006596"/>
              <a:gd name="connsiteX20" fmla="*/ 89787 w 534072"/>
              <a:gd name="connsiteY20" fmla="*/ 5006596 h 5006596"/>
              <a:gd name="connsiteX0" fmla="*/ 534072 w 534072"/>
              <a:gd name="connsiteY0" fmla="*/ 351939 h 5006596"/>
              <a:gd name="connsiteX1" fmla="*/ 435916 w 534072"/>
              <a:gd name="connsiteY1" fmla="*/ 369415 h 5006596"/>
              <a:gd name="connsiteX2" fmla="*/ 312333 w 534072"/>
              <a:gd name="connsiteY2" fmla="*/ 381725 h 5006596"/>
              <a:gd name="connsiteX3" fmla="*/ 233227 w 534072"/>
              <a:gd name="connsiteY3" fmla="*/ 381724 h 5006596"/>
              <a:gd name="connsiteX4" fmla="*/ 158561 w 534072"/>
              <a:gd name="connsiteY4" fmla="*/ 366629 h 5006596"/>
              <a:gd name="connsiteX5" fmla="*/ 103710 w 534072"/>
              <a:gd name="connsiteY5" fmla="*/ 336037 h 5006596"/>
              <a:gd name="connsiteX6" fmla="*/ 38933 w 534072"/>
              <a:gd name="connsiteY6" fmla="*/ 269281 h 5006596"/>
              <a:gd name="connsiteX7" fmla="*/ 17866 w 534072"/>
              <a:gd name="connsiteY7" fmla="*/ 233118 h 5006596"/>
              <a:gd name="connsiteX8" fmla="*/ 1963 w 534072"/>
              <a:gd name="connsiteY8" fmla="*/ 181053 h 5006596"/>
              <a:gd name="connsiteX9" fmla="*/ 1963 w 534072"/>
              <a:gd name="connsiteY9" fmla="*/ 140129 h 5006596"/>
              <a:gd name="connsiteX10" fmla="*/ 17461 w 534072"/>
              <a:gd name="connsiteY10" fmla="*/ 93634 h 5006596"/>
              <a:gd name="connsiteX11" fmla="*/ 38126 w 534072"/>
              <a:gd name="connsiteY11" fmla="*/ 62637 h 5006596"/>
              <a:gd name="connsiteX12" fmla="*/ 110412 w 534072"/>
              <a:gd name="connsiteY12" fmla="*/ 9442 h 5006596"/>
              <a:gd name="connsiteX13" fmla="*/ 212966 w 534072"/>
              <a:gd name="connsiteY13" fmla="*/ 4235 h 5006596"/>
              <a:gd name="connsiteX14" fmla="*/ 313100 w 534072"/>
              <a:gd name="connsiteY14" fmla="*/ 54687 h 5006596"/>
              <a:gd name="connsiteX15" fmla="*/ 363590 w 534072"/>
              <a:gd name="connsiteY15" fmla="*/ 103966 h 5006596"/>
              <a:gd name="connsiteX16" fmla="*/ 398543 w 534072"/>
              <a:gd name="connsiteY16" fmla="*/ 165556 h 5006596"/>
              <a:gd name="connsiteX17" fmla="*/ 416825 w 534072"/>
              <a:gd name="connsiteY17" fmla="*/ 238284 h 5006596"/>
              <a:gd name="connsiteX18" fmla="*/ 425584 w 534072"/>
              <a:gd name="connsiteY18" fmla="*/ 315776 h 5006596"/>
              <a:gd name="connsiteX19" fmla="*/ 425584 w 534072"/>
              <a:gd name="connsiteY19" fmla="*/ 419098 h 5006596"/>
              <a:gd name="connsiteX20" fmla="*/ 89787 w 534072"/>
              <a:gd name="connsiteY20" fmla="*/ 5006596 h 5006596"/>
              <a:gd name="connsiteX0" fmla="*/ 534072 w 534072"/>
              <a:gd name="connsiteY0" fmla="*/ 351939 h 5006596"/>
              <a:gd name="connsiteX1" fmla="*/ 435916 w 534072"/>
              <a:gd name="connsiteY1" fmla="*/ 369415 h 5006596"/>
              <a:gd name="connsiteX2" fmla="*/ 312333 w 534072"/>
              <a:gd name="connsiteY2" fmla="*/ 381725 h 5006596"/>
              <a:gd name="connsiteX3" fmla="*/ 233227 w 534072"/>
              <a:gd name="connsiteY3" fmla="*/ 381724 h 5006596"/>
              <a:gd name="connsiteX4" fmla="*/ 158561 w 534072"/>
              <a:gd name="connsiteY4" fmla="*/ 366629 h 5006596"/>
              <a:gd name="connsiteX5" fmla="*/ 101329 w 534072"/>
              <a:gd name="connsiteY5" fmla="*/ 336037 h 5006596"/>
              <a:gd name="connsiteX6" fmla="*/ 38933 w 534072"/>
              <a:gd name="connsiteY6" fmla="*/ 269281 h 5006596"/>
              <a:gd name="connsiteX7" fmla="*/ 17866 w 534072"/>
              <a:gd name="connsiteY7" fmla="*/ 233118 h 5006596"/>
              <a:gd name="connsiteX8" fmla="*/ 1963 w 534072"/>
              <a:gd name="connsiteY8" fmla="*/ 181053 h 5006596"/>
              <a:gd name="connsiteX9" fmla="*/ 1963 w 534072"/>
              <a:gd name="connsiteY9" fmla="*/ 140129 h 5006596"/>
              <a:gd name="connsiteX10" fmla="*/ 17461 w 534072"/>
              <a:gd name="connsiteY10" fmla="*/ 93634 h 5006596"/>
              <a:gd name="connsiteX11" fmla="*/ 38126 w 534072"/>
              <a:gd name="connsiteY11" fmla="*/ 62637 h 5006596"/>
              <a:gd name="connsiteX12" fmla="*/ 110412 w 534072"/>
              <a:gd name="connsiteY12" fmla="*/ 9442 h 5006596"/>
              <a:gd name="connsiteX13" fmla="*/ 212966 w 534072"/>
              <a:gd name="connsiteY13" fmla="*/ 4235 h 5006596"/>
              <a:gd name="connsiteX14" fmla="*/ 313100 w 534072"/>
              <a:gd name="connsiteY14" fmla="*/ 54687 h 5006596"/>
              <a:gd name="connsiteX15" fmla="*/ 363590 w 534072"/>
              <a:gd name="connsiteY15" fmla="*/ 103966 h 5006596"/>
              <a:gd name="connsiteX16" fmla="*/ 398543 w 534072"/>
              <a:gd name="connsiteY16" fmla="*/ 165556 h 5006596"/>
              <a:gd name="connsiteX17" fmla="*/ 416825 w 534072"/>
              <a:gd name="connsiteY17" fmla="*/ 238284 h 5006596"/>
              <a:gd name="connsiteX18" fmla="*/ 425584 w 534072"/>
              <a:gd name="connsiteY18" fmla="*/ 315776 h 5006596"/>
              <a:gd name="connsiteX19" fmla="*/ 425584 w 534072"/>
              <a:gd name="connsiteY19" fmla="*/ 419098 h 5006596"/>
              <a:gd name="connsiteX20" fmla="*/ 89787 w 534072"/>
              <a:gd name="connsiteY20" fmla="*/ 5006596 h 5006596"/>
              <a:gd name="connsiteX0" fmla="*/ 534072 w 534072"/>
              <a:gd name="connsiteY0" fmla="*/ 351165 h 5005822"/>
              <a:gd name="connsiteX1" fmla="*/ 435916 w 534072"/>
              <a:gd name="connsiteY1" fmla="*/ 368641 h 5005822"/>
              <a:gd name="connsiteX2" fmla="*/ 312333 w 534072"/>
              <a:gd name="connsiteY2" fmla="*/ 380951 h 5005822"/>
              <a:gd name="connsiteX3" fmla="*/ 233227 w 534072"/>
              <a:gd name="connsiteY3" fmla="*/ 380950 h 5005822"/>
              <a:gd name="connsiteX4" fmla="*/ 158561 w 534072"/>
              <a:gd name="connsiteY4" fmla="*/ 365855 h 5005822"/>
              <a:gd name="connsiteX5" fmla="*/ 101329 w 534072"/>
              <a:gd name="connsiteY5" fmla="*/ 335263 h 5005822"/>
              <a:gd name="connsiteX6" fmla="*/ 38933 w 534072"/>
              <a:gd name="connsiteY6" fmla="*/ 268507 h 5005822"/>
              <a:gd name="connsiteX7" fmla="*/ 17866 w 534072"/>
              <a:gd name="connsiteY7" fmla="*/ 232344 h 5005822"/>
              <a:gd name="connsiteX8" fmla="*/ 1963 w 534072"/>
              <a:gd name="connsiteY8" fmla="*/ 180279 h 5005822"/>
              <a:gd name="connsiteX9" fmla="*/ 1963 w 534072"/>
              <a:gd name="connsiteY9" fmla="*/ 139355 h 5005822"/>
              <a:gd name="connsiteX10" fmla="*/ 17461 w 534072"/>
              <a:gd name="connsiteY10" fmla="*/ 92860 h 5005822"/>
              <a:gd name="connsiteX11" fmla="*/ 47651 w 534072"/>
              <a:gd name="connsiteY11" fmla="*/ 42813 h 5005822"/>
              <a:gd name="connsiteX12" fmla="*/ 110412 w 534072"/>
              <a:gd name="connsiteY12" fmla="*/ 8668 h 5005822"/>
              <a:gd name="connsiteX13" fmla="*/ 212966 w 534072"/>
              <a:gd name="connsiteY13" fmla="*/ 3461 h 5005822"/>
              <a:gd name="connsiteX14" fmla="*/ 313100 w 534072"/>
              <a:gd name="connsiteY14" fmla="*/ 53913 h 5005822"/>
              <a:gd name="connsiteX15" fmla="*/ 363590 w 534072"/>
              <a:gd name="connsiteY15" fmla="*/ 103192 h 5005822"/>
              <a:gd name="connsiteX16" fmla="*/ 398543 w 534072"/>
              <a:gd name="connsiteY16" fmla="*/ 164782 h 5005822"/>
              <a:gd name="connsiteX17" fmla="*/ 416825 w 534072"/>
              <a:gd name="connsiteY17" fmla="*/ 237510 h 5005822"/>
              <a:gd name="connsiteX18" fmla="*/ 425584 w 534072"/>
              <a:gd name="connsiteY18" fmla="*/ 315002 h 5005822"/>
              <a:gd name="connsiteX19" fmla="*/ 425584 w 534072"/>
              <a:gd name="connsiteY19" fmla="*/ 418324 h 5005822"/>
              <a:gd name="connsiteX20" fmla="*/ 89787 w 534072"/>
              <a:gd name="connsiteY20" fmla="*/ 5005822 h 5005822"/>
              <a:gd name="connsiteX0" fmla="*/ 534072 w 534072"/>
              <a:gd name="connsiteY0" fmla="*/ 351165 h 5005822"/>
              <a:gd name="connsiteX1" fmla="*/ 435916 w 534072"/>
              <a:gd name="connsiteY1" fmla="*/ 368641 h 5005822"/>
              <a:gd name="connsiteX2" fmla="*/ 312333 w 534072"/>
              <a:gd name="connsiteY2" fmla="*/ 380951 h 5005822"/>
              <a:gd name="connsiteX3" fmla="*/ 233227 w 534072"/>
              <a:gd name="connsiteY3" fmla="*/ 380950 h 5005822"/>
              <a:gd name="connsiteX4" fmla="*/ 158561 w 534072"/>
              <a:gd name="connsiteY4" fmla="*/ 365855 h 5005822"/>
              <a:gd name="connsiteX5" fmla="*/ 101329 w 534072"/>
              <a:gd name="connsiteY5" fmla="*/ 335263 h 5005822"/>
              <a:gd name="connsiteX6" fmla="*/ 38933 w 534072"/>
              <a:gd name="connsiteY6" fmla="*/ 268507 h 5005822"/>
              <a:gd name="connsiteX7" fmla="*/ 17866 w 534072"/>
              <a:gd name="connsiteY7" fmla="*/ 232344 h 5005822"/>
              <a:gd name="connsiteX8" fmla="*/ 1963 w 534072"/>
              <a:gd name="connsiteY8" fmla="*/ 180279 h 5005822"/>
              <a:gd name="connsiteX9" fmla="*/ 1963 w 534072"/>
              <a:gd name="connsiteY9" fmla="*/ 139355 h 5005822"/>
              <a:gd name="connsiteX10" fmla="*/ 17461 w 534072"/>
              <a:gd name="connsiteY10" fmla="*/ 92860 h 5005822"/>
              <a:gd name="connsiteX11" fmla="*/ 47651 w 534072"/>
              <a:gd name="connsiteY11" fmla="*/ 42813 h 5005822"/>
              <a:gd name="connsiteX12" fmla="*/ 110412 w 534072"/>
              <a:gd name="connsiteY12" fmla="*/ 8668 h 5005822"/>
              <a:gd name="connsiteX13" fmla="*/ 212966 w 534072"/>
              <a:gd name="connsiteY13" fmla="*/ 3461 h 5005822"/>
              <a:gd name="connsiteX14" fmla="*/ 313100 w 534072"/>
              <a:gd name="connsiteY14" fmla="*/ 53913 h 5005822"/>
              <a:gd name="connsiteX15" fmla="*/ 363590 w 534072"/>
              <a:gd name="connsiteY15" fmla="*/ 103192 h 5005822"/>
              <a:gd name="connsiteX16" fmla="*/ 398543 w 534072"/>
              <a:gd name="connsiteY16" fmla="*/ 164782 h 5005822"/>
              <a:gd name="connsiteX17" fmla="*/ 416825 w 534072"/>
              <a:gd name="connsiteY17" fmla="*/ 237510 h 5005822"/>
              <a:gd name="connsiteX18" fmla="*/ 425584 w 534072"/>
              <a:gd name="connsiteY18" fmla="*/ 315002 h 5005822"/>
              <a:gd name="connsiteX19" fmla="*/ 425584 w 534072"/>
              <a:gd name="connsiteY19" fmla="*/ 418324 h 5005822"/>
              <a:gd name="connsiteX20" fmla="*/ 89787 w 534072"/>
              <a:gd name="connsiteY20" fmla="*/ 5005822 h 5005822"/>
              <a:gd name="connsiteX0" fmla="*/ 534072 w 534072"/>
              <a:gd name="connsiteY0" fmla="*/ 351165 h 5005822"/>
              <a:gd name="connsiteX1" fmla="*/ 435916 w 534072"/>
              <a:gd name="connsiteY1" fmla="*/ 368641 h 5005822"/>
              <a:gd name="connsiteX2" fmla="*/ 312333 w 534072"/>
              <a:gd name="connsiteY2" fmla="*/ 380951 h 5005822"/>
              <a:gd name="connsiteX3" fmla="*/ 233227 w 534072"/>
              <a:gd name="connsiteY3" fmla="*/ 380950 h 5005822"/>
              <a:gd name="connsiteX4" fmla="*/ 158561 w 534072"/>
              <a:gd name="connsiteY4" fmla="*/ 365855 h 5005822"/>
              <a:gd name="connsiteX5" fmla="*/ 101329 w 534072"/>
              <a:gd name="connsiteY5" fmla="*/ 335263 h 5005822"/>
              <a:gd name="connsiteX6" fmla="*/ 38933 w 534072"/>
              <a:gd name="connsiteY6" fmla="*/ 268507 h 5005822"/>
              <a:gd name="connsiteX7" fmla="*/ 17866 w 534072"/>
              <a:gd name="connsiteY7" fmla="*/ 232344 h 5005822"/>
              <a:gd name="connsiteX8" fmla="*/ 1963 w 534072"/>
              <a:gd name="connsiteY8" fmla="*/ 180279 h 5005822"/>
              <a:gd name="connsiteX9" fmla="*/ 1963 w 534072"/>
              <a:gd name="connsiteY9" fmla="*/ 139355 h 5005822"/>
              <a:gd name="connsiteX10" fmla="*/ 17461 w 534072"/>
              <a:gd name="connsiteY10" fmla="*/ 92860 h 5005822"/>
              <a:gd name="connsiteX11" fmla="*/ 47651 w 534072"/>
              <a:gd name="connsiteY11" fmla="*/ 42813 h 5005822"/>
              <a:gd name="connsiteX12" fmla="*/ 110412 w 534072"/>
              <a:gd name="connsiteY12" fmla="*/ 8668 h 5005822"/>
              <a:gd name="connsiteX13" fmla="*/ 212966 w 534072"/>
              <a:gd name="connsiteY13" fmla="*/ 3461 h 5005822"/>
              <a:gd name="connsiteX14" fmla="*/ 313100 w 534072"/>
              <a:gd name="connsiteY14" fmla="*/ 53913 h 5005822"/>
              <a:gd name="connsiteX15" fmla="*/ 363590 w 534072"/>
              <a:gd name="connsiteY15" fmla="*/ 103192 h 5005822"/>
              <a:gd name="connsiteX16" fmla="*/ 398543 w 534072"/>
              <a:gd name="connsiteY16" fmla="*/ 164782 h 5005822"/>
              <a:gd name="connsiteX17" fmla="*/ 416825 w 534072"/>
              <a:gd name="connsiteY17" fmla="*/ 237510 h 5005822"/>
              <a:gd name="connsiteX18" fmla="*/ 425584 w 534072"/>
              <a:gd name="connsiteY18" fmla="*/ 315002 h 5005822"/>
              <a:gd name="connsiteX19" fmla="*/ 425584 w 534072"/>
              <a:gd name="connsiteY19" fmla="*/ 418324 h 5005822"/>
              <a:gd name="connsiteX20" fmla="*/ 89787 w 534072"/>
              <a:gd name="connsiteY20" fmla="*/ 5005822 h 5005822"/>
              <a:gd name="connsiteX0" fmla="*/ 535112 w 535112"/>
              <a:gd name="connsiteY0" fmla="*/ 351165 h 5005822"/>
              <a:gd name="connsiteX1" fmla="*/ 436956 w 535112"/>
              <a:gd name="connsiteY1" fmla="*/ 368641 h 5005822"/>
              <a:gd name="connsiteX2" fmla="*/ 313373 w 535112"/>
              <a:gd name="connsiteY2" fmla="*/ 380951 h 5005822"/>
              <a:gd name="connsiteX3" fmla="*/ 234267 w 535112"/>
              <a:gd name="connsiteY3" fmla="*/ 380950 h 5005822"/>
              <a:gd name="connsiteX4" fmla="*/ 159601 w 535112"/>
              <a:gd name="connsiteY4" fmla="*/ 365855 h 5005822"/>
              <a:gd name="connsiteX5" fmla="*/ 102369 w 535112"/>
              <a:gd name="connsiteY5" fmla="*/ 335263 h 5005822"/>
              <a:gd name="connsiteX6" fmla="*/ 39973 w 535112"/>
              <a:gd name="connsiteY6" fmla="*/ 268507 h 5005822"/>
              <a:gd name="connsiteX7" fmla="*/ 18906 w 535112"/>
              <a:gd name="connsiteY7" fmla="*/ 232344 h 5005822"/>
              <a:gd name="connsiteX8" fmla="*/ 3003 w 535112"/>
              <a:gd name="connsiteY8" fmla="*/ 180279 h 5005822"/>
              <a:gd name="connsiteX9" fmla="*/ 3003 w 535112"/>
              <a:gd name="connsiteY9" fmla="*/ 139355 h 5005822"/>
              <a:gd name="connsiteX10" fmla="*/ 18501 w 535112"/>
              <a:gd name="connsiteY10" fmla="*/ 92860 h 5005822"/>
              <a:gd name="connsiteX11" fmla="*/ 48691 w 535112"/>
              <a:gd name="connsiteY11" fmla="*/ 42813 h 5005822"/>
              <a:gd name="connsiteX12" fmla="*/ 111452 w 535112"/>
              <a:gd name="connsiteY12" fmla="*/ 8668 h 5005822"/>
              <a:gd name="connsiteX13" fmla="*/ 214006 w 535112"/>
              <a:gd name="connsiteY13" fmla="*/ 3461 h 5005822"/>
              <a:gd name="connsiteX14" fmla="*/ 314140 w 535112"/>
              <a:gd name="connsiteY14" fmla="*/ 53913 h 5005822"/>
              <a:gd name="connsiteX15" fmla="*/ 364630 w 535112"/>
              <a:gd name="connsiteY15" fmla="*/ 103192 h 5005822"/>
              <a:gd name="connsiteX16" fmla="*/ 399583 w 535112"/>
              <a:gd name="connsiteY16" fmla="*/ 164782 h 5005822"/>
              <a:gd name="connsiteX17" fmla="*/ 417865 w 535112"/>
              <a:gd name="connsiteY17" fmla="*/ 237510 h 5005822"/>
              <a:gd name="connsiteX18" fmla="*/ 426624 w 535112"/>
              <a:gd name="connsiteY18" fmla="*/ 315002 h 5005822"/>
              <a:gd name="connsiteX19" fmla="*/ 426624 w 535112"/>
              <a:gd name="connsiteY19" fmla="*/ 418324 h 5005822"/>
              <a:gd name="connsiteX20" fmla="*/ 90827 w 535112"/>
              <a:gd name="connsiteY20" fmla="*/ 5005822 h 5005822"/>
              <a:gd name="connsiteX0" fmla="*/ 535112 w 535112"/>
              <a:gd name="connsiteY0" fmla="*/ 351165 h 5005822"/>
              <a:gd name="connsiteX1" fmla="*/ 436956 w 535112"/>
              <a:gd name="connsiteY1" fmla="*/ 368641 h 5005822"/>
              <a:gd name="connsiteX2" fmla="*/ 313373 w 535112"/>
              <a:gd name="connsiteY2" fmla="*/ 380951 h 5005822"/>
              <a:gd name="connsiteX3" fmla="*/ 234267 w 535112"/>
              <a:gd name="connsiteY3" fmla="*/ 380950 h 5005822"/>
              <a:gd name="connsiteX4" fmla="*/ 159601 w 535112"/>
              <a:gd name="connsiteY4" fmla="*/ 365855 h 5005822"/>
              <a:gd name="connsiteX5" fmla="*/ 102369 w 535112"/>
              <a:gd name="connsiteY5" fmla="*/ 335263 h 5005822"/>
              <a:gd name="connsiteX6" fmla="*/ 39973 w 535112"/>
              <a:gd name="connsiteY6" fmla="*/ 268507 h 5005822"/>
              <a:gd name="connsiteX7" fmla="*/ 18906 w 535112"/>
              <a:gd name="connsiteY7" fmla="*/ 232344 h 5005822"/>
              <a:gd name="connsiteX8" fmla="*/ 3003 w 535112"/>
              <a:gd name="connsiteY8" fmla="*/ 180279 h 5005822"/>
              <a:gd name="connsiteX9" fmla="*/ 3003 w 535112"/>
              <a:gd name="connsiteY9" fmla="*/ 139355 h 5005822"/>
              <a:gd name="connsiteX10" fmla="*/ 18501 w 535112"/>
              <a:gd name="connsiteY10" fmla="*/ 92860 h 5005822"/>
              <a:gd name="connsiteX11" fmla="*/ 48691 w 535112"/>
              <a:gd name="connsiteY11" fmla="*/ 42813 h 5005822"/>
              <a:gd name="connsiteX12" fmla="*/ 111452 w 535112"/>
              <a:gd name="connsiteY12" fmla="*/ 8668 h 5005822"/>
              <a:gd name="connsiteX13" fmla="*/ 214006 w 535112"/>
              <a:gd name="connsiteY13" fmla="*/ 3461 h 5005822"/>
              <a:gd name="connsiteX14" fmla="*/ 314140 w 535112"/>
              <a:gd name="connsiteY14" fmla="*/ 53913 h 5005822"/>
              <a:gd name="connsiteX15" fmla="*/ 364630 w 535112"/>
              <a:gd name="connsiteY15" fmla="*/ 103192 h 5005822"/>
              <a:gd name="connsiteX16" fmla="*/ 399583 w 535112"/>
              <a:gd name="connsiteY16" fmla="*/ 164782 h 5005822"/>
              <a:gd name="connsiteX17" fmla="*/ 417865 w 535112"/>
              <a:gd name="connsiteY17" fmla="*/ 237510 h 5005822"/>
              <a:gd name="connsiteX18" fmla="*/ 426624 w 535112"/>
              <a:gd name="connsiteY18" fmla="*/ 315002 h 5005822"/>
              <a:gd name="connsiteX19" fmla="*/ 426624 w 535112"/>
              <a:gd name="connsiteY19" fmla="*/ 418324 h 5005822"/>
              <a:gd name="connsiteX20" fmla="*/ 90827 w 535112"/>
              <a:gd name="connsiteY20" fmla="*/ 5005822 h 5005822"/>
              <a:gd name="connsiteX0" fmla="*/ 535112 w 535112"/>
              <a:gd name="connsiteY0" fmla="*/ 351165 h 5005822"/>
              <a:gd name="connsiteX1" fmla="*/ 436956 w 535112"/>
              <a:gd name="connsiteY1" fmla="*/ 368641 h 5005822"/>
              <a:gd name="connsiteX2" fmla="*/ 313373 w 535112"/>
              <a:gd name="connsiteY2" fmla="*/ 380951 h 5005822"/>
              <a:gd name="connsiteX3" fmla="*/ 234267 w 535112"/>
              <a:gd name="connsiteY3" fmla="*/ 380950 h 5005822"/>
              <a:gd name="connsiteX4" fmla="*/ 159601 w 535112"/>
              <a:gd name="connsiteY4" fmla="*/ 365855 h 5005822"/>
              <a:gd name="connsiteX5" fmla="*/ 102369 w 535112"/>
              <a:gd name="connsiteY5" fmla="*/ 335263 h 5005822"/>
              <a:gd name="connsiteX6" fmla="*/ 39973 w 535112"/>
              <a:gd name="connsiteY6" fmla="*/ 268507 h 5005822"/>
              <a:gd name="connsiteX7" fmla="*/ 18906 w 535112"/>
              <a:gd name="connsiteY7" fmla="*/ 232344 h 5005822"/>
              <a:gd name="connsiteX8" fmla="*/ 3003 w 535112"/>
              <a:gd name="connsiteY8" fmla="*/ 180279 h 5005822"/>
              <a:gd name="connsiteX9" fmla="*/ 3003 w 535112"/>
              <a:gd name="connsiteY9" fmla="*/ 139355 h 5005822"/>
              <a:gd name="connsiteX10" fmla="*/ 18501 w 535112"/>
              <a:gd name="connsiteY10" fmla="*/ 92860 h 5005822"/>
              <a:gd name="connsiteX11" fmla="*/ 48691 w 535112"/>
              <a:gd name="connsiteY11" fmla="*/ 42813 h 5005822"/>
              <a:gd name="connsiteX12" fmla="*/ 111452 w 535112"/>
              <a:gd name="connsiteY12" fmla="*/ 8668 h 5005822"/>
              <a:gd name="connsiteX13" fmla="*/ 214006 w 535112"/>
              <a:gd name="connsiteY13" fmla="*/ 3461 h 5005822"/>
              <a:gd name="connsiteX14" fmla="*/ 314140 w 535112"/>
              <a:gd name="connsiteY14" fmla="*/ 53913 h 5005822"/>
              <a:gd name="connsiteX15" fmla="*/ 364630 w 535112"/>
              <a:gd name="connsiteY15" fmla="*/ 103192 h 5005822"/>
              <a:gd name="connsiteX16" fmla="*/ 399583 w 535112"/>
              <a:gd name="connsiteY16" fmla="*/ 164782 h 5005822"/>
              <a:gd name="connsiteX17" fmla="*/ 417865 w 535112"/>
              <a:gd name="connsiteY17" fmla="*/ 237510 h 5005822"/>
              <a:gd name="connsiteX18" fmla="*/ 426624 w 535112"/>
              <a:gd name="connsiteY18" fmla="*/ 315002 h 5005822"/>
              <a:gd name="connsiteX19" fmla="*/ 426624 w 535112"/>
              <a:gd name="connsiteY19" fmla="*/ 418324 h 5005822"/>
              <a:gd name="connsiteX20" fmla="*/ 90827 w 535112"/>
              <a:gd name="connsiteY20" fmla="*/ 5005822 h 5005822"/>
              <a:gd name="connsiteX0" fmla="*/ 533790 w 533790"/>
              <a:gd name="connsiteY0" fmla="*/ 351165 h 5005822"/>
              <a:gd name="connsiteX1" fmla="*/ 435634 w 533790"/>
              <a:gd name="connsiteY1" fmla="*/ 368641 h 5005822"/>
              <a:gd name="connsiteX2" fmla="*/ 312051 w 533790"/>
              <a:gd name="connsiteY2" fmla="*/ 380951 h 5005822"/>
              <a:gd name="connsiteX3" fmla="*/ 232945 w 533790"/>
              <a:gd name="connsiteY3" fmla="*/ 380950 h 5005822"/>
              <a:gd name="connsiteX4" fmla="*/ 158279 w 533790"/>
              <a:gd name="connsiteY4" fmla="*/ 365855 h 5005822"/>
              <a:gd name="connsiteX5" fmla="*/ 101047 w 533790"/>
              <a:gd name="connsiteY5" fmla="*/ 335263 h 5005822"/>
              <a:gd name="connsiteX6" fmla="*/ 38651 w 533790"/>
              <a:gd name="connsiteY6" fmla="*/ 268507 h 5005822"/>
              <a:gd name="connsiteX7" fmla="*/ 17584 w 533790"/>
              <a:gd name="connsiteY7" fmla="*/ 232344 h 5005822"/>
              <a:gd name="connsiteX8" fmla="*/ 1681 w 533790"/>
              <a:gd name="connsiteY8" fmla="*/ 180279 h 5005822"/>
              <a:gd name="connsiteX9" fmla="*/ 1681 w 533790"/>
              <a:gd name="connsiteY9" fmla="*/ 139355 h 5005822"/>
              <a:gd name="connsiteX10" fmla="*/ 12416 w 533790"/>
              <a:gd name="connsiteY10" fmla="*/ 92860 h 5005822"/>
              <a:gd name="connsiteX11" fmla="*/ 47369 w 533790"/>
              <a:gd name="connsiteY11" fmla="*/ 42813 h 5005822"/>
              <a:gd name="connsiteX12" fmla="*/ 110130 w 533790"/>
              <a:gd name="connsiteY12" fmla="*/ 8668 h 5005822"/>
              <a:gd name="connsiteX13" fmla="*/ 212684 w 533790"/>
              <a:gd name="connsiteY13" fmla="*/ 3461 h 5005822"/>
              <a:gd name="connsiteX14" fmla="*/ 312818 w 533790"/>
              <a:gd name="connsiteY14" fmla="*/ 53913 h 5005822"/>
              <a:gd name="connsiteX15" fmla="*/ 363308 w 533790"/>
              <a:gd name="connsiteY15" fmla="*/ 103192 h 5005822"/>
              <a:gd name="connsiteX16" fmla="*/ 398261 w 533790"/>
              <a:gd name="connsiteY16" fmla="*/ 164782 h 5005822"/>
              <a:gd name="connsiteX17" fmla="*/ 416543 w 533790"/>
              <a:gd name="connsiteY17" fmla="*/ 237510 h 5005822"/>
              <a:gd name="connsiteX18" fmla="*/ 425302 w 533790"/>
              <a:gd name="connsiteY18" fmla="*/ 315002 h 5005822"/>
              <a:gd name="connsiteX19" fmla="*/ 425302 w 533790"/>
              <a:gd name="connsiteY19" fmla="*/ 418324 h 5005822"/>
              <a:gd name="connsiteX20" fmla="*/ 89505 w 533790"/>
              <a:gd name="connsiteY20" fmla="*/ 5005822 h 5005822"/>
              <a:gd name="connsiteX0" fmla="*/ 435634 w 435634"/>
              <a:gd name="connsiteY0" fmla="*/ 368641 h 5005822"/>
              <a:gd name="connsiteX1" fmla="*/ 312051 w 435634"/>
              <a:gd name="connsiteY1" fmla="*/ 380951 h 5005822"/>
              <a:gd name="connsiteX2" fmla="*/ 232945 w 435634"/>
              <a:gd name="connsiteY2" fmla="*/ 380950 h 5005822"/>
              <a:gd name="connsiteX3" fmla="*/ 158279 w 435634"/>
              <a:gd name="connsiteY3" fmla="*/ 365855 h 5005822"/>
              <a:gd name="connsiteX4" fmla="*/ 101047 w 435634"/>
              <a:gd name="connsiteY4" fmla="*/ 335263 h 5005822"/>
              <a:gd name="connsiteX5" fmla="*/ 38651 w 435634"/>
              <a:gd name="connsiteY5" fmla="*/ 268507 h 5005822"/>
              <a:gd name="connsiteX6" fmla="*/ 17584 w 435634"/>
              <a:gd name="connsiteY6" fmla="*/ 232344 h 5005822"/>
              <a:gd name="connsiteX7" fmla="*/ 1681 w 435634"/>
              <a:gd name="connsiteY7" fmla="*/ 180279 h 5005822"/>
              <a:gd name="connsiteX8" fmla="*/ 1681 w 435634"/>
              <a:gd name="connsiteY8" fmla="*/ 139355 h 5005822"/>
              <a:gd name="connsiteX9" fmla="*/ 12416 w 435634"/>
              <a:gd name="connsiteY9" fmla="*/ 92860 h 5005822"/>
              <a:gd name="connsiteX10" fmla="*/ 47369 w 435634"/>
              <a:gd name="connsiteY10" fmla="*/ 42813 h 5005822"/>
              <a:gd name="connsiteX11" fmla="*/ 110130 w 435634"/>
              <a:gd name="connsiteY11" fmla="*/ 8668 h 5005822"/>
              <a:gd name="connsiteX12" fmla="*/ 212684 w 435634"/>
              <a:gd name="connsiteY12" fmla="*/ 3461 h 5005822"/>
              <a:gd name="connsiteX13" fmla="*/ 312818 w 435634"/>
              <a:gd name="connsiteY13" fmla="*/ 53913 h 5005822"/>
              <a:gd name="connsiteX14" fmla="*/ 363308 w 435634"/>
              <a:gd name="connsiteY14" fmla="*/ 103192 h 5005822"/>
              <a:gd name="connsiteX15" fmla="*/ 398261 w 435634"/>
              <a:gd name="connsiteY15" fmla="*/ 164782 h 5005822"/>
              <a:gd name="connsiteX16" fmla="*/ 416543 w 435634"/>
              <a:gd name="connsiteY16" fmla="*/ 237510 h 5005822"/>
              <a:gd name="connsiteX17" fmla="*/ 425302 w 435634"/>
              <a:gd name="connsiteY17" fmla="*/ 315002 h 5005822"/>
              <a:gd name="connsiteX18" fmla="*/ 425302 w 435634"/>
              <a:gd name="connsiteY18" fmla="*/ 418324 h 5005822"/>
              <a:gd name="connsiteX19" fmla="*/ 89505 w 435634"/>
              <a:gd name="connsiteY19" fmla="*/ 5005822 h 5005822"/>
              <a:gd name="connsiteX0" fmla="*/ 435634 w 435634"/>
              <a:gd name="connsiteY0" fmla="*/ 368641 h 4966910"/>
              <a:gd name="connsiteX1" fmla="*/ 312051 w 435634"/>
              <a:gd name="connsiteY1" fmla="*/ 380951 h 4966910"/>
              <a:gd name="connsiteX2" fmla="*/ 232945 w 435634"/>
              <a:gd name="connsiteY2" fmla="*/ 380950 h 4966910"/>
              <a:gd name="connsiteX3" fmla="*/ 158279 w 435634"/>
              <a:gd name="connsiteY3" fmla="*/ 365855 h 4966910"/>
              <a:gd name="connsiteX4" fmla="*/ 101047 w 435634"/>
              <a:gd name="connsiteY4" fmla="*/ 335263 h 4966910"/>
              <a:gd name="connsiteX5" fmla="*/ 38651 w 435634"/>
              <a:gd name="connsiteY5" fmla="*/ 268507 h 4966910"/>
              <a:gd name="connsiteX6" fmla="*/ 17584 w 435634"/>
              <a:gd name="connsiteY6" fmla="*/ 232344 h 4966910"/>
              <a:gd name="connsiteX7" fmla="*/ 1681 w 435634"/>
              <a:gd name="connsiteY7" fmla="*/ 180279 h 4966910"/>
              <a:gd name="connsiteX8" fmla="*/ 1681 w 435634"/>
              <a:gd name="connsiteY8" fmla="*/ 139355 h 4966910"/>
              <a:gd name="connsiteX9" fmla="*/ 12416 w 435634"/>
              <a:gd name="connsiteY9" fmla="*/ 92860 h 4966910"/>
              <a:gd name="connsiteX10" fmla="*/ 47369 w 435634"/>
              <a:gd name="connsiteY10" fmla="*/ 42813 h 4966910"/>
              <a:gd name="connsiteX11" fmla="*/ 110130 w 435634"/>
              <a:gd name="connsiteY11" fmla="*/ 8668 h 4966910"/>
              <a:gd name="connsiteX12" fmla="*/ 212684 w 435634"/>
              <a:gd name="connsiteY12" fmla="*/ 3461 h 4966910"/>
              <a:gd name="connsiteX13" fmla="*/ 312818 w 435634"/>
              <a:gd name="connsiteY13" fmla="*/ 53913 h 4966910"/>
              <a:gd name="connsiteX14" fmla="*/ 363308 w 435634"/>
              <a:gd name="connsiteY14" fmla="*/ 103192 h 4966910"/>
              <a:gd name="connsiteX15" fmla="*/ 398261 w 435634"/>
              <a:gd name="connsiteY15" fmla="*/ 164782 h 4966910"/>
              <a:gd name="connsiteX16" fmla="*/ 416543 w 435634"/>
              <a:gd name="connsiteY16" fmla="*/ 237510 h 4966910"/>
              <a:gd name="connsiteX17" fmla="*/ 425302 w 435634"/>
              <a:gd name="connsiteY17" fmla="*/ 315002 h 4966910"/>
              <a:gd name="connsiteX18" fmla="*/ 425302 w 435634"/>
              <a:gd name="connsiteY18" fmla="*/ 418324 h 4966910"/>
              <a:gd name="connsiteX19" fmla="*/ 106181 w 435634"/>
              <a:gd name="connsiteY19" fmla="*/ 4966910 h 496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35634" h="4966910">
                <a:moveTo>
                  <a:pt x="435634" y="368641"/>
                </a:moveTo>
                <a:cubicBezTo>
                  <a:pt x="399471" y="371224"/>
                  <a:pt x="345833" y="378900"/>
                  <a:pt x="312051" y="380951"/>
                </a:cubicBezTo>
                <a:cubicBezTo>
                  <a:pt x="278270" y="383003"/>
                  <a:pt x="258574" y="383466"/>
                  <a:pt x="232945" y="380950"/>
                </a:cubicBezTo>
                <a:cubicBezTo>
                  <a:pt x="207316" y="378434"/>
                  <a:pt x="180786" y="373267"/>
                  <a:pt x="158279" y="365855"/>
                </a:cubicBezTo>
                <a:cubicBezTo>
                  <a:pt x="139995" y="359626"/>
                  <a:pt x="120985" y="351488"/>
                  <a:pt x="101047" y="335263"/>
                </a:cubicBezTo>
                <a:cubicBezTo>
                  <a:pt x="81109" y="319038"/>
                  <a:pt x="53355" y="286454"/>
                  <a:pt x="38651" y="268507"/>
                </a:cubicBezTo>
                <a:lnTo>
                  <a:pt x="17584" y="232344"/>
                </a:lnTo>
                <a:cubicBezTo>
                  <a:pt x="11422" y="216846"/>
                  <a:pt x="4332" y="195777"/>
                  <a:pt x="1681" y="180279"/>
                </a:cubicBezTo>
                <a:cubicBezTo>
                  <a:pt x="-970" y="164781"/>
                  <a:pt x="-108" y="153925"/>
                  <a:pt x="1681" y="139355"/>
                </a:cubicBezTo>
                <a:cubicBezTo>
                  <a:pt x="3470" y="124785"/>
                  <a:pt x="4868" y="105977"/>
                  <a:pt x="12416" y="92860"/>
                </a:cubicBezTo>
                <a:cubicBezTo>
                  <a:pt x="19964" y="79743"/>
                  <a:pt x="31083" y="56845"/>
                  <a:pt x="47369" y="42813"/>
                </a:cubicBezTo>
                <a:cubicBezTo>
                  <a:pt x="63655" y="28781"/>
                  <a:pt x="82578" y="15227"/>
                  <a:pt x="110130" y="8668"/>
                </a:cubicBezTo>
                <a:cubicBezTo>
                  <a:pt x="137682" y="2109"/>
                  <a:pt x="178903" y="-4080"/>
                  <a:pt x="212684" y="3461"/>
                </a:cubicBezTo>
                <a:cubicBezTo>
                  <a:pt x="246465" y="11002"/>
                  <a:pt x="290432" y="36693"/>
                  <a:pt x="312818" y="53913"/>
                </a:cubicBezTo>
                <a:cubicBezTo>
                  <a:pt x="329648" y="70339"/>
                  <a:pt x="349068" y="84714"/>
                  <a:pt x="363308" y="103192"/>
                </a:cubicBezTo>
                <a:cubicBezTo>
                  <a:pt x="377548" y="121670"/>
                  <a:pt x="389389" y="142396"/>
                  <a:pt x="398261" y="164782"/>
                </a:cubicBezTo>
                <a:cubicBezTo>
                  <a:pt x="407133" y="187168"/>
                  <a:pt x="412036" y="212473"/>
                  <a:pt x="416543" y="237510"/>
                </a:cubicBezTo>
                <a:cubicBezTo>
                  <a:pt x="421050" y="262547"/>
                  <a:pt x="425302" y="280561"/>
                  <a:pt x="425302" y="315002"/>
                </a:cubicBezTo>
                <a:lnTo>
                  <a:pt x="425302" y="418324"/>
                </a:lnTo>
                <a:lnTo>
                  <a:pt x="106181" y="4966910"/>
                </a:lnTo>
              </a:path>
            </a:pathLst>
          </a:custGeom>
          <a:noFill/>
          <a:ln w="88900" cap="sq"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Freeform 23"/>
          <p:cNvSpPr/>
          <p:nvPr/>
        </p:nvSpPr>
        <p:spPr>
          <a:xfrm>
            <a:off x="981192" y="3542583"/>
            <a:ext cx="623584" cy="1285810"/>
          </a:xfrm>
          <a:custGeom>
            <a:avLst/>
            <a:gdLst>
              <a:gd name="connsiteX0" fmla="*/ 866775 w 1454150"/>
              <a:gd name="connsiteY0" fmla="*/ 2949575 h 2949575"/>
              <a:gd name="connsiteX1" fmla="*/ 711200 w 1454150"/>
              <a:gd name="connsiteY1" fmla="*/ 2698750 h 2949575"/>
              <a:gd name="connsiteX2" fmla="*/ 606425 w 1454150"/>
              <a:gd name="connsiteY2" fmla="*/ 2486025 h 2949575"/>
              <a:gd name="connsiteX3" fmla="*/ 523875 w 1454150"/>
              <a:gd name="connsiteY3" fmla="*/ 2320925 h 2949575"/>
              <a:gd name="connsiteX4" fmla="*/ 412750 w 1454150"/>
              <a:gd name="connsiteY4" fmla="*/ 2054225 h 2949575"/>
              <a:gd name="connsiteX5" fmla="*/ 301625 w 1454150"/>
              <a:gd name="connsiteY5" fmla="*/ 1793875 h 2949575"/>
              <a:gd name="connsiteX6" fmla="*/ 222250 w 1454150"/>
              <a:gd name="connsiteY6" fmla="*/ 1536700 h 2949575"/>
              <a:gd name="connsiteX7" fmla="*/ 152400 w 1454150"/>
              <a:gd name="connsiteY7" fmla="*/ 1304925 h 2949575"/>
              <a:gd name="connsiteX8" fmla="*/ 88900 w 1454150"/>
              <a:gd name="connsiteY8" fmla="*/ 1038225 h 2949575"/>
              <a:gd name="connsiteX9" fmla="*/ 25400 w 1454150"/>
              <a:gd name="connsiteY9" fmla="*/ 787400 h 2949575"/>
              <a:gd name="connsiteX10" fmla="*/ 6350 w 1454150"/>
              <a:gd name="connsiteY10" fmla="*/ 603250 h 2949575"/>
              <a:gd name="connsiteX11" fmla="*/ 0 w 1454150"/>
              <a:gd name="connsiteY11" fmla="*/ 434975 h 2949575"/>
              <a:gd name="connsiteX12" fmla="*/ 22225 w 1454150"/>
              <a:gd name="connsiteY12" fmla="*/ 304800 h 2949575"/>
              <a:gd name="connsiteX13" fmla="*/ 60325 w 1454150"/>
              <a:gd name="connsiteY13" fmla="*/ 209550 h 2949575"/>
              <a:gd name="connsiteX14" fmla="*/ 127000 w 1454150"/>
              <a:gd name="connsiteY14" fmla="*/ 117475 h 2949575"/>
              <a:gd name="connsiteX15" fmla="*/ 206375 w 1454150"/>
              <a:gd name="connsiteY15" fmla="*/ 47625 h 2949575"/>
              <a:gd name="connsiteX16" fmla="*/ 298450 w 1454150"/>
              <a:gd name="connsiteY16" fmla="*/ 6350 h 2949575"/>
              <a:gd name="connsiteX17" fmla="*/ 384175 w 1454150"/>
              <a:gd name="connsiteY17" fmla="*/ 0 h 2949575"/>
              <a:gd name="connsiteX18" fmla="*/ 479425 w 1454150"/>
              <a:gd name="connsiteY18" fmla="*/ 12700 h 2949575"/>
              <a:gd name="connsiteX19" fmla="*/ 581025 w 1454150"/>
              <a:gd name="connsiteY19" fmla="*/ 34925 h 2949575"/>
              <a:gd name="connsiteX20" fmla="*/ 673100 w 1454150"/>
              <a:gd name="connsiteY20" fmla="*/ 66675 h 2949575"/>
              <a:gd name="connsiteX21" fmla="*/ 803275 w 1454150"/>
              <a:gd name="connsiteY21" fmla="*/ 117475 h 2949575"/>
              <a:gd name="connsiteX22" fmla="*/ 898525 w 1454150"/>
              <a:gd name="connsiteY22" fmla="*/ 158750 h 2949575"/>
              <a:gd name="connsiteX23" fmla="*/ 1016000 w 1454150"/>
              <a:gd name="connsiteY23" fmla="*/ 219075 h 2949575"/>
              <a:gd name="connsiteX24" fmla="*/ 1120775 w 1454150"/>
              <a:gd name="connsiteY24" fmla="*/ 292100 h 2949575"/>
              <a:gd name="connsiteX25" fmla="*/ 1238250 w 1454150"/>
              <a:gd name="connsiteY25" fmla="*/ 403225 h 2949575"/>
              <a:gd name="connsiteX26" fmla="*/ 1323975 w 1454150"/>
              <a:gd name="connsiteY26" fmla="*/ 479425 h 2949575"/>
              <a:gd name="connsiteX27" fmla="*/ 1400175 w 1454150"/>
              <a:gd name="connsiteY27" fmla="*/ 609600 h 2949575"/>
              <a:gd name="connsiteX28" fmla="*/ 1454150 w 1454150"/>
              <a:gd name="connsiteY28" fmla="*/ 682625 h 2949575"/>
              <a:gd name="connsiteX0" fmla="*/ 866775 w 1454150"/>
              <a:gd name="connsiteY0" fmla="*/ 2949575 h 2949575"/>
              <a:gd name="connsiteX1" fmla="*/ 711200 w 1454150"/>
              <a:gd name="connsiteY1" fmla="*/ 2698750 h 2949575"/>
              <a:gd name="connsiteX2" fmla="*/ 606425 w 1454150"/>
              <a:gd name="connsiteY2" fmla="*/ 2486025 h 2949575"/>
              <a:gd name="connsiteX3" fmla="*/ 523875 w 1454150"/>
              <a:gd name="connsiteY3" fmla="*/ 2320925 h 2949575"/>
              <a:gd name="connsiteX4" fmla="*/ 412750 w 1454150"/>
              <a:gd name="connsiteY4" fmla="*/ 2054225 h 2949575"/>
              <a:gd name="connsiteX5" fmla="*/ 301625 w 1454150"/>
              <a:gd name="connsiteY5" fmla="*/ 1793875 h 2949575"/>
              <a:gd name="connsiteX6" fmla="*/ 222250 w 1454150"/>
              <a:gd name="connsiteY6" fmla="*/ 1536700 h 2949575"/>
              <a:gd name="connsiteX7" fmla="*/ 152400 w 1454150"/>
              <a:gd name="connsiteY7" fmla="*/ 1304925 h 2949575"/>
              <a:gd name="connsiteX8" fmla="*/ 88900 w 1454150"/>
              <a:gd name="connsiteY8" fmla="*/ 1038225 h 2949575"/>
              <a:gd name="connsiteX9" fmla="*/ 25400 w 1454150"/>
              <a:gd name="connsiteY9" fmla="*/ 787400 h 2949575"/>
              <a:gd name="connsiteX10" fmla="*/ 6350 w 1454150"/>
              <a:gd name="connsiteY10" fmla="*/ 603250 h 2949575"/>
              <a:gd name="connsiteX11" fmla="*/ 0 w 1454150"/>
              <a:gd name="connsiteY11" fmla="*/ 434975 h 2949575"/>
              <a:gd name="connsiteX12" fmla="*/ 22225 w 1454150"/>
              <a:gd name="connsiteY12" fmla="*/ 304800 h 2949575"/>
              <a:gd name="connsiteX13" fmla="*/ 60325 w 1454150"/>
              <a:gd name="connsiteY13" fmla="*/ 209550 h 2949575"/>
              <a:gd name="connsiteX14" fmla="*/ 127000 w 1454150"/>
              <a:gd name="connsiteY14" fmla="*/ 117475 h 2949575"/>
              <a:gd name="connsiteX15" fmla="*/ 206375 w 1454150"/>
              <a:gd name="connsiteY15" fmla="*/ 47625 h 2949575"/>
              <a:gd name="connsiteX16" fmla="*/ 298450 w 1454150"/>
              <a:gd name="connsiteY16" fmla="*/ 6350 h 2949575"/>
              <a:gd name="connsiteX17" fmla="*/ 384175 w 1454150"/>
              <a:gd name="connsiteY17" fmla="*/ 0 h 2949575"/>
              <a:gd name="connsiteX18" fmla="*/ 479425 w 1454150"/>
              <a:gd name="connsiteY18" fmla="*/ 12700 h 2949575"/>
              <a:gd name="connsiteX19" fmla="*/ 581025 w 1454150"/>
              <a:gd name="connsiteY19" fmla="*/ 34925 h 2949575"/>
              <a:gd name="connsiteX20" fmla="*/ 673100 w 1454150"/>
              <a:gd name="connsiteY20" fmla="*/ 66675 h 2949575"/>
              <a:gd name="connsiteX21" fmla="*/ 803275 w 1454150"/>
              <a:gd name="connsiteY21" fmla="*/ 117475 h 2949575"/>
              <a:gd name="connsiteX22" fmla="*/ 898525 w 1454150"/>
              <a:gd name="connsiteY22" fmla="*/ 158750 h 2949575"/>
              <a:gd name="connsiteX23" fmla="*/ 1016000 w 1454150"/>
              <a:gd name="connsiteY23" fmla="*/ 219075 h 2949575"/>
              <a:gd name="connsiteX24" fmla="*/ 1120775 w 1454150"/>
              <a:gd name="connsiteY24" fmla="*/ 292100 h 2949575"/>
              <a:gd name="connsiteX25" fmla="*/ 1238250 w 1454150"/>
              <a:gd name="connsiteY25" fmla="*/ 403225 h 2949575"/>
              <a:gd name="connsiteX26" fmla="*/ 1320800 w 1454150"/>
              <a:gd name="connsiteY26" fmla="*/ 488950 h 2949575"/>
              <a:gd name="connsiteX27" fmla="*/ 1400175 w 1454150"/>
              <a:gd name="connsiteY27" fmla="*/ 609600 h 2949575"/>
              <a:gd name="connsiteX28" fmla="*/ 1454150 w 1454150"/>
              <a:gd name="connsiteY28" fmla="*/ 682625 h 2949575"/>
              <a:gd name="connsiteX0" fmla="*/ 866775 w 1454150"/>
              <a:gd name="connsiteY0" fmla="*/ 2950170 h 2950170"/>
              <a:gd name="connsiteX1" fmla="*/ 711200 w 1454150"/>
              <a:gd name="connsiteY1" fmla="*/ 2699345 h 2950170"/>
              <a:gd name="connsiteX2" fmla="*/ 606425 w 1454150"/>
              <a:gd name="connsiteY2" fmla="*/ 2486620 h 2950170"/>
              <a:gd name="connsiteX3" fmla="*/ 523875 w 1454150"/>
              <a:gd name="connsiteY3" fmla="*/ 2321520 h 2950170"/>
              <a:gd name="connsiteX4" fmla="*/ 412750 w 1454150"/>
              <a:gd name="connsiteY4" fmla="*/ 2054820 h 2950170"/>
              <a:gd name="connsiteX5" fmla="*/ 301625 w 1454150"/>
              <a:gd name="connsiteY5" fmla="*/ 1794470 h 2950170"/>
              <a:gd name="connsiteX6" fmla="*/ 222250 w 1454150"/>
              <a:gd name="connsiteY6" fmla="*/ 1537295 h 2950170"/>
              <a:gd name="connsiteX7" fmla="*/ 152400 w 1454150"/>
              <a:gd name="connsiteY7" fmla="*/ 1305520 h 2950170"/>
              <a:gd name="connsiteX8" fmla="*/ 88900 w 1454150"/>
              <a:gd name="connsiteY8" fmla="*/ 1038820 h 2950170"/>
              <a:gd name="connsiteX9" fmla="*/ 25400 w 1454150"/>
              <a:gd name="connsiteY9" fmla="*/ 787995 h 2950170"/>
              <a:gd name="connsiteX10" fmla="*/ 6350 w 1454150"/>
              <a:gd name="connsiteY10" fmla="*/ 603845 h 2950170"/>
              <a:gd name="connsiteX11" fmla="*/ 0 w 1454150"/>
              <a:gd name="connsiteY11" fmla="*/ 435570 h 2950170"/>
              <a:gd name="connsiteX12" fmla="*/ 22225 w 1454150"/>
              <a:gd name="connsiteY12" fmla="*/ 305395 h 2950170"/>
              <a:gd name="connsiteX13" fmla="*/ 60325 w 1454150"/>
              <a:gd name="connsiteY13" fmla="*/ 210145 h 2950170"/>
              <a:gd name="connsiteX14" fmla="*/ 127000 w 1454150"/>
              <a:gd name="connsiteY14" fmla="*/ 118070 h 2950170"/>
              <a:gd name="connsiteX15" fmla="*/ 206375 w 1454150"/>
              <a:gd name="connsiteY15" fmla="*/ 48220 h 2950170"/>
              <a:gd name="connsiteX16" fmla="*/ 298450 w 1454150"/>
              <a:gd name="connsiteY16" fmla="*/ 6945 h 2950170"/>
              <a:gd name="connsiteX17" fmla="*/ 384175 w 1454150"/>
              <a:gd name="connsiteY17" fmla="*/ 595 h 2950170"/>
              <a:gd name="connsiteX18" fmla="*/ 479425 w 1454150"/>
              <a:gd name="connsiteY18" fmla="*/ 13295 h 2950170"/>
              <a:gd name="connsiteX19" fmla="*/ 581025 w 1454150"/>
              <a:gd name="connsiteY19" fmla="*/ 35520 h 2950170"/>
              <a:gd name="connsiteX20" fmla="*/ 673100 w 1454150"/>
              <a:gd name="connsiteY20" fmla="*/ 67270 h 2950170"/>
              <a:gd name="connsiteX21" fmla="*/ 803275 w 1454150"/>
              <a:gd name="connsiteY21" fmla="*/ 118070 h 2950170"/>
              <a:gd name="connsiteX22" fmla="*/ 898525 w 1454150"/>
              <a:gd name="connsiteY22" fmla="*/ 159345 h 2950170"/>
              <a:gd name="connsiteX23" fmla="*/ 1016000 w 1454150"/>
              <a:gd name="connsiteY23" fmla="*/ 219670 h 2950170"/>
              <a:gd name="connsiteX24" fmla="*/ 1120775 w 1454150"/>
              <a:gd name="connsiteY24" fmla="*/ 292695 h 2950170"/>
              <a:gd name="connsiteX25" fmla="*/ 1238250 w 1454150"/>
              <a:gd name="connsiteY25" fmla="*/ 403820 h 2950170"/>
              <a:gd name="connsiteX26" fmla="*/ 1320800 w 1454150"/>
              <a:gd name="connsiteY26" fmla="*/ 489545 h 2950170"/>
              <a:gd name="connsiteX27" fmla="*/ 1400175 w 1454150"/>
              <a:gd name="connsiteY27" fmla="*/ 610195 h 2950170"/>
              <a:gd name="connsiteX28" fmla="*/ 1454150 w 1454150"/>
              <a:gd name="connsiteY28" fmla="*/ 683220 h 2950170"/>
              <a:gd name="connsiteX0" fmla="*/ 867537 w 1454912"/>
              <a:gd name="connsiteY0" fmla="*/ 2950170 h 2950170"/>
              <a:gd name="connsiteX1" fmla="*/ 711962 w 1454912"/>
              <a:gd name="connsiteY1" fmla="*/ 2699345 h 2950170"/>
              <a:gd name="connsiteX2" fmla="*/ 607187 w 1454912"/>
              <a:gd name="connsiteY2" fmla="*/ 2486620 h 2950170"/>
              <a:gd name="connsiteX3" fmla="*/ 524637 w 1454912"/>
              <a:gd name="connsiteY3" fmla="*/ 2321520 h 2950170"/>
              <a:gd name="connsiteX4" fmla="*/ 413512 w 1454912"/>
              <a:gd name="connsiteY4" fmla="*/ 2054820 h 2950170"/>
              <a:gd name="connsiteX5" fmla="*/ 302387 w 1454912"/>
              <a:gd name="connsiteY5" fmla="*/ 1794470 h 2950170"/>
              <a:gd name="connsiteX6" fmla="*/ 223012 w 1454912"/>
              <a:gd name="connsiteY6" fmla="*/ 1537295 h 2950170"/>
              <a:gd name="connsiteX7" fmla="*/ 153162 w 1454912"/>
              <a:gd name="connsiteY7" fmla="*/ 1305520 h 2950170"/>
              <a:gd name="connsiteX8" fmla="*/ 89662 w 1454912"/>
              <a:gd name="connsiteY8" fmla="*/ 1038820 h 2950170"/>
              <a:gd name="connsiteX9" fmla="*/ 26162 w 1454912"/>
              <a:gd name="connsiteY9" fmla="*/ 787995 h 2950170"/>
              <a:gd name="connsiteX10" fmla="*/ 7112 w 1454912"/>
              <a:gd name="connsiteY10" fmla="*/ 603845 h 2950170"/>
              <a:gd name="connsiteX11" fmla="*/ 762 w 1454912"/>
              <a:gd name="connsiteY11" fmla="*/ 435570 h 2950170"/>
              <a:gd name="connsiteX12" fmla="*/ 22987 w 1454912"/>
              <a:gd name="connsiteY12" fmla="*/ 305395 h 2950170"/>
              <a:gd name="connsiteX13" fmla="*/ 61087 w 1454912"/>
              <a:gd name="connsiteY13" fmla="*/ 210145 h 2950170"/>
              <a:gd name="connsiteX14" fmla="*/ 127762 w 1454912"/>
              <a:gd name="connsiteY14" fmla="*/ 118070 h 2950170"/>
              <a:gd name="connsiteX15" fmla="*/ 207137 w 1454912"/>
              <a:gd name="connsiteY15" fmla="*/ 48220 h 2950170"/>
              <a:gd name="connsiteX16" fmla="*/ 299212 w 1454912"/>
              <a:gd name="connsiteY16" fmla="*/ 6945 h 2950170"/>
              <a:gd name="connsiteX17" fmla="*/ 384937 w 1454912"/>
              <a:gd name="connsiteY17" fmla="*/ 595 h 2950170"/>
              <a:gd name="connsiteX18" fmla="*/ 480187 w 1454912"/>
              <a:gd name="connsiteY18" fmla="*/ 13295 h 2950170"/>
              <a:gd name="connsiteX19" fmla="*/ 581787 w 1454912"/>
              <a:gd name="connsiteY19" fmla="*/ 35520 h 2950170"/>
              <a:gd name="connsiteX20" fmla="*/ 673862 w 1454912"/>
              <a:gd name="connsiteY20" fmla="*/ 67270 h 2950170"/>
              <a:gd name="connsiteX21" fmla="*/ 804037 w 1454912"/>
              <a:gd name="connsiteY21" fmla="*/ 118070 h 2950170"/>
              <a:gd name="connsiteX22" fmla="*/ 899287 w 1454912"/>
              <a:gd name="connsiteY22" fmla="*/ 159345 h 2950170"/>
              <a:gd name="connsiteX23" fmla="*/ 1016762 w 1454912"/>
              <a:gd name="connsiteY23" fmla="*/ 219670 h 2950170"/>
              <a:gd name="connsiteX24" fmla="*/ 1121537 w 1454912"/>
              <a:gd name="connsiteY24" fmla="*/ 292695 h 2950170"/>
              <a:gd name="connsiteX25" fmla="*/ 1239012 w 1454912"/>
              <a:gd name="connsiteY25" fmla="*/ 403820 h 2950170"/>
              <a:gd name="connsiteX26" fmla="*/ 1321562 w 1454912"/>
              <a:gd name="connsiteY26" fmla="*/ 489545 h 2950170"/>
              <a:gd name="connsiteX27" fmla="*/ 1400937 w 1454912"/>
              <a:gd name="connsiteY27" fmla="*/ 610195 h 2950170"/>
              <a:gd name="connsiteX28" fmla="*/ 1454912 w 1454912"/>
              <a:gd name="connsiteY28" fmla="*/ 683220 h 2950170"/>
              <a:gd name="connsiteX0" fmla="*/ 869510 w 1456885"/>
              <a:gd name="connsiteY0" fmla="*/ 2950170 h 2950170"/>
              <a:gd name="connsiteX1" fmla="*/ 713935 w 1456885"/>
              <a:gd name="connsiteY1" fmla="*/ 2699345 h 2950170"/>
              <a:gd name="connsiteX2" fmla="*/ 609160 w 1456885"/>
              <a:gd name="connsiteY2" fmla="*/ 2486620 h 2950170"/>
              <a:gd name="connsiteX3" fmla="*/ 526610 w 1456885"/>
              <a:gd name="connsiteY3" fmla="*/ 2321520 h 2950170"/>
              <a:gd name="connsiteX4" fmla="*/ 415485 w 1456885"/>
              <a:gd name="connsiteY4" fmla="*/ 2054820 h 2950170"/>
              <a:gd name="connsiteX5" fmla="*/ 304360 w 1456885"/>
              <a:gd name="connsiteY5" fmla="*/ 1794470 h 2950170"/>
              <a:gd name="connsiteX6" fmla="*/ 224985 w 1456885"/>
              <a:gd name="connsiteY6" fmla="*/ 1537295 h 2950170"/>
              <a:gd name="connsiteX7" fmla="*/ 155135 w 1456885"/>
              <a:gd name="connsiteY7" fmla="*/ 1305520 h 2950170"/>
              <a:gd name="connsiteX8" fmla="*/ 91635 w 1456885"/>
              <a:gd name="connsiteY8" fmla="*/ 1038820 h 2950170"/>
              <a:gd name="connsiteX9" fmla="*/ 28135 w 1456885"/>
              <a:gd name="connsiteY9" fmla="*/ 787995 h 2950170"/>
              <a:gd name="connsiteX10" fmla="*/ 9085 w 1456885"/>
              <a:gd name="connsiteY10" fmla="*/ 603845 h 2950170"/>
              <a:gd name="connsiteX11" fmla="*/ 2735 w 1456885"/>
              <a:gd name="connsiteY11" fmla="*/ 435570 h 2950170"/>
              <a:gd name="connsiteX12" fmla="*/ 24960 w 1456885"/>
              <a:gd name="connsiteY12" fmla="*/ 305395 h 2950170"/>
              <a:gd name="connsiteX13" fmla="*/ 63060 w 1456885"/>
              <a:gd name="connsiteY13" fmla="*/ 210145 h 2950170"/>
              <a:gd name="connsiteX14" fmla="*/ 129735 w 1456885"/>
              <a:gd name="connsiteY14" fmla="*/ 118070 h 2950170"/>
              <a:gd name="connsiteX15" fmla="*/ 209110 w 1456885"/>
              <a:gd name="connsiteY15" fmla="*/ 48220 h 2950170"/>
              <a:gd name="connsiteX16" fmla="*/ 301185 w 1456885"/>
              <a:gd name="connsiteY16" fmla="*/ 6945 h 2950170"/>
              <a:gd name="connsiteX17" fmla="*/ 386910 w 1456885"/>
              <a:gd name="connsiteY17" fmla="*/ 595 h 2950170"/>
              <a:gd name="connsiteX18" fmla="*/ 482160 w 1456885"/>
              <a:gd name="connsiteY18" fmla="*/ 13295 h 2950170"/>
              <a:gd name="connsiteX19" fmla="*/ 583760 w 1456885"/>
              <a:gd name="connsiteY19" fmla="*/ 35520 h 2950170"/>
              <a:gd name="connsiteX20" fmla="*/ 675835 w 1456885"/>
              <a:gd name="connsiteY20" fmla="*/ 67270 h 2950170"/>
              <a:gd name="connsiteX21" fmla="*/ 806010 w 1456885"/>
              <a:gd name="connsiteY21" fmla="*/ 118070 h 2950170"/>
              <a:gd name="connsiteX22" fmla="*/ 901260 w 1456885"/>
              <a:gd name="connsiteY22" fmla="*/ 159345 h 2950170"/>
              <a:gd name="connsiteX23" fmla="*/ 1018735 w 1456885"/>
              <a:gd name="connsiteY23" fmla="*/ 219670 h 2950170"/>
              <a:gd name="connsiteX24" fmla="*/ 1123510 w 1456885"/>
              <a:gd name="connsiteY24" fmla="*/ 292695 h 2950170"/>
              <a:gd name="connsiteX25" fmla="*/ 1240985 w 1456885"/>
              <a:gd name="connsiteY25" fmla="*/ 403820 h 2950170"/>
              <a:gd name="connsiteX26" fmla="*/ 1323535 w 1456885"/>
              <a:gd name="connsiteY26" fmla="*/ 489545 h 2950170"/>
              <a:gd name="connsiteX27" fmla="*/ 1402910 w 1456885"/>
              <a:gd name="connsiteY27" fmla="*/ 610195 h 2950170"/>
              <a:gd name="connsiteX28" fmla="*/ 1456885 w 1456885"/>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90429 w 1455679"/>
              <a:gd name="connsiteY8" fmla="*/ 1038820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0954 w 1455679"/>
              <a:gd name="connsiteY18" fmla="*/ 13295 h 2950170"/>
              <a:gd name="connsiteX19" fmla="*/ 582554 w 1455679"/>
              <a:gd name="connsiteY19" fmla="*/ 35520 h 2950170"/>
              <a:gd name="connsiteX20" fmla="*/ 674629 w 1455679"/>
              <a:gd name="connsiteY20" fmla="*/ 67270 h 2950170"/>
              <a:gd name="connsiteX21" fmla="*/ 804804 w 1455679"/>
              <a:gd name="connsiteY21" fmla="*/ 118070 h 2950170"/>
              <a:gd name="connsiteX22" fmla="*/ 900054 w 1455679"/>
              <a:gd name="connsiteY22" fmla="*/ 159345 h 2950170"/>
              <a:gd name="connsiteX23" fmla="*/ 1017529 w 1455679"/>
              <a:gd name="connsiteY23" fmla="*/ 219670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0954 w 1455679"/>
              <a:gd name="connsiteY18" fmla="*/ 13295 h 2950170"/>
              <a:gd name="connsiteX19" fmla="*/ 582554 w 1455679"/>
              <a:gd name="connsiteY19" fmla="*/ 35520 h 2950170"/>
              <a:gd name="connsiteX20" fmla="*/ 674629 w 1455679"/>
              <a:gd name="connsiteY20" fmla="*/ 67270 h 2950170"/>
              <a:gd name="connsiteX21" fmla="*/ 804804 w 1455679"/>
              <a:gd name="connsiteY21" fmla="*/ 118070 h 2950170"/>
              <a:gd name="connsiteX22" fmla="*/ 900054 w 1455679"/>
              <a:gd name="connsiteY22" fmla="*/ 159345 h 2950170"/>
              <a:gd name="connsiteX23" fmla="*/ 1017529 w 1455679"/>
              <a:gd name="connsiteY23" fmla="*/ 219670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82554 w 1455679"/>
              <a:gd name="connsiteY19" fmla="*/ 35520 h 2950170"/>
              <a:gd name="connsiteX20" fmla="*/ 674629 w 1455679"/>
              <a:gd name="connsiteY20" fmla="*/ 67270 h 2950170"/>
              <a:gd name="connsiteX21" fmla="*/ 804804 w 1455679"/>
              <a:gd name="connsiteY21" fmla="*/ 118070 h 2950170"/>
              <a:gd name="connsiteX22" fmla="*/ 900054 w 1455679"/>
              <a:gd name="connsiteY22" fmla="*/ 159345 h 2950170"/>
              <a:gd name="connsiteX23" fmla="*/ 1017529 w 1455679"/>
              <a:gd name="connsiteY23" fmla="*/ 219670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74629 w 1455679"/>
              <a:gd name="connsiteY20" fmla="*/ 67270 h 2950170"/>
              <a:gd name="connsiteX21" fmla="*/ 804804 w 1455679"/>
              <a:gd name="connsiteY21" fmla="*/ 118070 h 2950170"/>
              <a:gd name="connsiteX22" fmla="*/ 900054 w 1455679"/>
              <a:gd name="connsiteY22" fmla="*/ 159345 h 2950170"/>
              <a:gd name="connsiteX23" fmla="*/ 1017529 w 1455679"/>
              <a:gd name="connsiteY23" fmla="*/ 219670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04804 w 1455679"/>
              <a:gd name="connsiteY21" fmla="*/ 118070 h 2950170"/>
              <a:gd name="connsiteX22" fmla="*/ 900054 w 1455679"/>
              <a:gd name="connsiteY22" fmla="*/ 159345 h 2950170"/>
              <a:gd name="connsiteX23" fmla="*/ 1017529 w 1455679"/>
              <a:gd name="connsiteY23" fmla="*/ 219670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17529 w 1455679"/>
              <a:gd name="connsiteY23" fmla="*/ 219670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92720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92720 h 2950170"/>
              <a:gd name="connsiteX27" fmla="*/ 1408054 w 1455679"/>
              <a:gd name="connsiteY27" fmla="*/ 607020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92720 h 2950170"/>
              <a:gd name="connsiteX27" fmla="*/ 1408054 w 1455679"/>
              <a:gd name="connsiteY27" fmla="*/ 607020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92720 h 2950170"/>
              <a:gd name="connsiteX27" fmla="*/ 1408054 w 1455679"/>
              <a:gd name="connsiteY27" fmla="*/ 607020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0604 w 1455679"/>
              <a:gd name="connsiteY6" fmla="*/ 154364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92720 h 2950170"/>
              <a:gd name="connsiteX27" fmla="*/ 1408054 w 1455679"/>
              <a:gd name="connsiteY27" fmla="*/ 607020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0604 w 1455679"/>
              <a:gd name="connsiteY6" fmla="*/ 154364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92720 h 2950170"/>
              <a:gd name="connsiteX27" fmla="*/ 1408054 w 1455679"/>
              <a:gd name="connsiteY27" fmla="*/ 607020 h 2950170"/>
              <a:gd name="connsiteX28" fmla="*/ 1455679 w 1455679"/>
              <a:gd name="connsiteY28" fmla="*/ 683220 h 2950170"/>
              <a:gd name="connsiteX0" fmla="*/ 879420 w 1455679"/>
              <a:gd name="connsiteY0" fmla="*/ 3061345 h 3061345"/>
              <a:gd name="connsiteX1" fmla="*/ 712729 w 1455679"/>
              <a:gd name="connsiteY1" fmla="*/ 2699345 h 3061345"/>
              <a:gd name="connsiteX2" fmla="*/ 607954 w 1455679"/>
              <a:gd name="connsiteY2" fmla="*/ 2486620 h 3061345"/>
              <a:gd name="connsiteX3" fmla="*/ 525404 w 1455679"/>
              <a:gd name="connsiteY3" fmla="*/ 2321520 h 3061345"/>
              <a:gd name="connsiteX4" fmla="*/ 414279 w 1455679"/>
              <a:gd name="connsiteY4" fmla="*/ 2054820 h 3061345"/>
              <a:gd name="connsiteX5" fmla="*/ 303154 w 1455679"/>
              <a:gd name="connsiteY5" fmla="*/ 1794470 h 3061345"/>
              <a:gd name="connsiteX6" fmla="*/ 220604 w 1455679"/>
              <a:gd name="connsiteY6" fmla="*/ 1543645 h 3061345"/>
              <a:gd name="connsiteX7" fmla="*/ 153929 w 1455679"/>
              <a:gd name="connsiteY7" fmla="*/ 1305520 h 3061345"/>
              <a:gd name="connsiteX8" fmla="*/ 80904 w 1455679"/>
              <a:gd name="connsiteY8" fmla="*/ 1035645 h 3061345"/>
              <a:gd name="connsiteX9" fmla="*/ 26929 w 1455679"/>
              <a:gd name="connsiteY9" fmla="*/ 787995 h 3061345"/>
              <a:gd name="connsiteX10" fmla="*/ 4704 w 1455679"/>
              <a:gd name="connsiteY10" fmla="*/ 613370 h 3061345"/>
              <a:gd name="connsiteX11" fmla="*/ 1529 w 1455679"/>
              <a:gd name="connsiteY11" fmla="*/ 435570 h 3061345"/>
              <a:gd name="connsiteX12" fmla="*/ 23754 w 1455679"/>
              <a:gd name="connsiteY12" fmla="*/ 305395 h 3061345"/>
              <a:gd name="connsiteX13" fmla="*/ 61854 w 1455679"/>
              <a:gd name="connsiteY13" fmla="*/ 210145 h 3061345"/>
              <a:gd name="connsiteX14" fmla="*/ 128529 w 1455679"/>
              <a:gd name="connsiteY14" fmla="*/ 118070 h 3061345"/>
              <a:gd name="connsiteX15" fmla="*/ 207904 w 1455679"/>
              <a:gd name="connsiteY15" fmla="*/ 48220 h 3061345"/>
              <a:gd name="connsiteX16" fmla="*/ 299979 w 1455679"/>
              <a:gd name="connsiteY16" fmla="*/ 6945 h 3061345"/>
              <a:gd name="connsiteX17" fmla="*/ 385704 w 1455679"/>
              <a:gd name="connsiteY17" fmla="*/ 595 h 3061345"/>
              <a:gd name="connsiteX18" fmla="*/ 484129 w 1455679"/>
              <a:gd name="connsiteY18" fmla="*/ 6945 h 3061345"/>
              <a:gd name="connsiteX19" fmla="*/ 595254 w 1455679"/>
              <a:gd name="connsiteY19" fmla="*/ 32345 h 3061345"/>
              <a:gd name="connsiteX20" fmla="*/ 696854 w 1455679"/>
              <a:gd name="connsiteY20" fmla="*/ 67270 h 3061345"/>
              <a:gd name="connsiteX21" fmla="*/ 823854 w 1455679"/>
              <a:gd name="connsiteY21" fmla="*/ 118070 h 3061345"/>
              <a:gd name="connsiteX22" fmla="*/ 900054 w 1455679"/>
              <a:gd name="connsiteY22" fmla="*/ 159345 h 3061345"/>
              <a:gd name="connsiteX23" fmla="*/ 1023879 w 1455679"/>
              <a:gd name="connsiteY23" fmla="*/ 229195 h 3061345"/>
              <a:gd name="connsiteX24" fmla="*/ 1122304 w 1455679"/>
              <a:gd name="connsiteY24" fmla="*/ 292695 h 3061345"/>
              <a:gd name="connsiteX25" fmla="*/ 1239779 w 1455679"/>
              <a:gd name="connsiteY25" fmla="*/ 403820 h 3061345"/>
              <a:gd name="connsiteX26" fmla="*/ 1322329 w 1455679"/>
              <a:gd name="connsiteY26" fmla="*/ 492720 h 3061345"/>
              <a:gd name="connsiteX27" fmla="*/ 1408054 w 1455679"/>
              <a:gd name="connsiteY27" fmla="*/ 607020 h 3061345"/>
              <a:gd name="connsiteX28" fmla="*/ 1455679 w 1455679"/>
              <a:gd name="connsiteY28" fmla="*/ 683220 h 306134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23879 w 1455679"/>
              <a:gd name="connsiteY23" fmla="*/ 229195 h 3011315"/>
              <a:gd name="connsiteX24" fmla="*/ 1122304 w 1455679"/>
              <a:gd name="connsiteY24" fmla="*/ 292695 h 3011315"/>
              <a:gd name="connsiteX25" fmla="*/ 1239779 w 1455679"/>
              <a:gd name="connsiteY25" fmla="*/ 403820 h 3011315"/>
              <a:gd name="connsiteX26" fmla="*/ 1322329 w 1455679"/>
              <a:gd name="connsiteY26" fmla="*/ 492720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23878 w 1455679"/>
              <a:gd name="connsiteY23" fmla="*/ 234752 h 3011315"/>
              <a:gd name="connsiteX24" fmla="*/ 1122304 w 1455679"/>
              <a:gd name="connsiteY24" fmla="*/ 292695 h 3011315"/>
              <a:gd name="connsiteX25" fmla="*/ 1239779 w 1455679"/>
              <a:gd name="connsiteY25" fmla="*/ 403820 h 3011315"/>
              <a:gd name="connsiteX26" fmla="*/ 1322329 w 1455679"/>
              <a:gd name="connsiteY26" fmla="*/ 492720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4 w 1455679"/>
              <a:gd name="connsiteY24" fmla="*/ 292695 h 3011315"/>
              <a:gd name="connsiteX25" fmla="*/ 1239779 w 1455679"/>
              <a:gd name="connsiteY25" fmla="*/ 403820 h 3011315"/>
              <a:gd name="connsiteX26" fmla="*/ 1322329 w 1455679"/>
              <a:gd name="connsiteY26" fmla="*/ 492720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79 w 1455679"/>
              <a:gd name="connsiteY25" fmla="*/ 403820 h 3011315"/>
              <a:gd name="connsiteX26" fmla="*/ 1322329 w 1455679"/>
              <a:gd name="connsiteY26" fmla="*/ 492720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03819 h 3011315"/>
              <a:gd name="connsiteX26" fmla="*/ 1322329 w 1455679"/>
              <a:gd name="connsiteY26" fmla="*/ 492720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03819 h 3011315"/>
              <a:gd name="connsiteX26" fmla="*/ 1316772 w 1455679"/>
              <a:gd name="connsiteY26" fmla="*/ 509394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85818 w 1455679"/>
              <a:gd name="connsiteY27" fmla="*/ 61258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96937 w 1455679"/>
              <a:gd name="connsiteY27" fmla="*/ 601464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18294 w 1455679"/>
              <a:gd name="connsiteY21" fmla="*/ 123629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96937 w 1455679"/>
              <a:gd name="connsiteY27" fmla="*/ 601464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85734 w 1455679"/>
              <a:gd name="connsiteY20" fmla="*/ 72828 h 3011315"/>
              <a:gd name="connsiteX21" fmla="*/ 818294 w 1455679"/>
              <a:gd name="connsiteY21" fmla="*/ 123629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96937 w 1455679"/>
              <a:gd name="connsiteY27" fmla="*/ 601464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7906 h 3011315"/>
              <a:gd name="connsiteX20" fmla="*/ 685734 w 1455679"/>
              <a:gd name="connsiteY20" fmla="*/ 72828 h 3011315"/>
              <a:gd name="connsiteX21" fmla="*/ 818294 w 1455679"/>
              <a:gd name="connsiteY21" fmla="*/ 123629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96937 w 1455679"/>
              <a:gd name="connsiteY27" fmla="*/ 601464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95245 w 1455679"/>
              <a:gd name="connsiteY18" fmla="*/ 18061 h 3011315"/>
              <a:gd name="connsiteX19" fmla="*/ 595254 w 1455679"/>
              <a:gd name="connsiteY19" fmla="*/ 37906 h 3011315"/>
              <a:gd name="connsiteX20" fmla="*/ 685734 w 1455679"/>
              <a:gd name="connsiteY20" fmla="*/ 72828 h 3011315"/>
              <a:gd name="connsiteX21" fmla="*/ 818294 w 1455679"/>
              <a:gd name="connsiteY21" fmla="*/ 123629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96937 w 1455679"/>
              <a:gd name="connsiteY27" fmla="*/ 601464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95245 w 1455679"/>
              <a:gd name="connsiteY18" fmla="*/ 18061 h 3011315"/>
              <a:gd name="connsiteX19" fmla="*/ 595254 w 1455679"/>
              <a:gd name="connsiteY19" fmla="*/ 37906 h 3011315"/>
              <a:gd name="connsiteX20" fmla="*/ 685734 w 1455679"/>
              <a:gd name="connsiteY20" fmla="*/ 72828 h 3011315"/>
              <a:gd name="connsiteX21" fmla="*/ 818294 w 1455679"/>
              <a:gd name="connsiteY21" fmla="*/ 123629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96937 w 1455679"/>
              <a:gd name="connsiteY27" fmla="*/ 601464 h 3011315"/>
              <a:gd name="connsiteX28" fmla="*/ 1455679 w 1455679"/>
              <a:gd name="connsiteY28" fmla="*/ 683220 h 3011315"/>
              <a:gd name="connsiteX0" fmla="*/ 890538 w 1455679"/>
              <a:gd name="connsiteY0" fmla="*/ 3010794 h 3010794"/>
              <a:gd name="connsiteX1" fmla="*/ 712729 w 1455679"/>
              <a:gd name="connsiteY1" fmla="*/ 2698824 h 3010794"/>
              <a:gd name="connsiteX2" fmla="*/ 607954 w 1455679"/>
              <a:gd name="connsiteY2" fmla="*/ 2486099 h 3010794"/>
              <a:gd name="connsiteX3" fmla="*/ 525404 w 1455679"/>
              <a:gd name="connsiteY3" fmla="*/ 2320999 h 3010794"/>
              <a:gd name="connsiteX4" fmla="*/ 414279 w 1455679"/>
              <a:gd name="connsiteY4" fmla="*/ 2054299 h 3010794"/>
              <a:gd name="connsiteX5" fmla="*/ 303154 w 1455679"/>
              <a:gd name="connsiteY5" fmla="*/ 1793949 h 3010794"/>
              <a:gd name="connsiteX6" fmla="*/ 220604 w 1455679"/>
              <a:gd name="connsiteY6" fmla="*/ 1543124 h 3010794"/>
              <a:gd name="connsiteX7" fmla="*/ 153929 w 1455679"/>
              <a:gd name="connsiteY7" fmla="*/ 1304999 h 3010794"/>
              <a:gd name="connsiteX8" fmla="*/ 80904 w 1455679"/>
              <a:gd name="connsiteY8" fmla="*/ 1035124 h 3010794"/>
              <a:gd name="connsiteX9" fmla="*/ 26929 w 1455679"/>
              <a:gd name="connsiteY9" fmla="*/ 787474 h 3010794"/>
              <a:gd name="connsiteX10" fmla="*/ 4704 w 1455679"/>
              <a:gd name="connsiteY10" fmla="*/ 612849 h 3010794"/>
              <a:gd name="connsiteX11" fmla="*/ 1529 w 1455679"/>
              <a:gd name="connsiteY11" fmla="*/ 435049 h 3010794"/>
              <a:gd name="connsiteX12" fmla="*/ 23754 w 1455679"/>
              <a:gd name="connsiteY12" fmla="*/ 304874 h 3010794"/>
              <a:gd name="connsiteX13" fmla="*/ 61854 w 1455679"/>
              <a:gd name="connsiteY13" fmla="*/ 209624 h 3010794"/>
              <a:gd name="connsiteX14" fmla="*/ 128529 w 1455679"/>
              <a:gd name="connsiteY14" fmla="*/ 117549 h 3010794"/>
              <a:gd name="connsiteX15" fmla="*/ 207904 w 1455679"/>
              <a:gd name="connsiteY15" fmla="*/ 47699 h 3010794"/>
              <a:gd name="connsiteX16" fmla="*/ 305537 w 1455679"/>
              <a:gd name="connsiteY16" fmla="*/ 17540 h 3010794"/>
              <a:gd name="connsiteX17" fmla="*/ 385704 w 1455679"/>
              <a:gd name="connsiteY17" fmla="*/ 74 h 3010794"/>
              <a:gd name="connsiteX18" fmla="*/ 495245 w 1455679"/>
              <a:gd name="connsiteY18" fmla="*/ 17540 h 3010794"/>
              <a:gd name="connsiteX19" fmla="*/ 595254 w 1455679"/>
              <a:gd name="connsiteY19" fmla="*/ 37385 h 3010794"/>
              <a:gd name="connsiteX20" fmla="*/ 685734 w 1455679"/>
              <a:gd name="connsiteY20" fmla="*/ 72307 h 3010794"/>
              <a:gd name="connsiteX21" fmla="*/ 818294 w 1455679"/>
              <a:gd name="connsiteY21" fmla="*/ 123108 h 3010794"/>
              <a:gd name="connsiteX22" fmla="*/ 900054 w 1455679"/>
              <a:gd name="connsiteY22" fmla="*/ 158824 h 3010794"/>
              <a:gd name="connsiteX23" fmla="*/ 1018317 w 1455679"/>
              <a:gd name="connsiteY23" fmla="*/ 245350 h 3010794"/>
              <a:gd name="connsiteX24" fmla="*/ 1122305 w 1455679"/>
              <a:gd name="connsiteY24" fmla="*/ 319968 h 3010794"/>
              <a:gd name="connsiteX25" fmla="*/ 1239780 w 1455679"/>
              <a:gd name="connsiteY25" fmla="*/ 419973 h 3010794"/>
              <a:gd name="connsiteX26" fmla="*/ 1316772 w 1455679"/>
              <a:gd name="connsiteY26" fmla="*/ 508873 h 3010794"/>
              <a:gd name="connsiteX27" fmla="*/ 1396937 w 1455679"/>
              <a:gd name="connsiteY27" fmla="*/ 600943 h 3010794"/>
              <a:gd name="connsiteX28" fmla="*/ 1455679 w 1455679"/>
              <a:gd name="connsiteY28" fmla="*/ 682699 h 3010794"/>
              <a:gd name="connsiteX0" fmla="*/ 890538 w 1455679"/>
              <a:gd name="connsiteY0" fmla="*/ 3010794 h 3010794"/>
              <a:gd name="connsiteX1" fmla="*/ 712729 w 1455679"/>
              <a:gd name="connsiteY1" fmla="*/ 2698824 h 3010794"/>
              <a:gd name="connsiteX2" fmla="*/ 607954 w 1455679"/>
              <a:gd name="connsiteY2" fmla="*/ 2486099 h 3010794"/>
              <a:gd name="connsiteX3" fmla="*/ 525404 w 1455679"/>
              <a:gd name="connsiteY3" fmla="*/ 2320999 h 3010794"/>
              <a:gd name="connsiteX4" fmla="*/ 414279 w 1455679"/>
              <a:gd name="connsiteY4" fmla="*/ 2054299 h 3010794"/>
              <a:gd name="connsiteX5" fmla="*/ 303154 w 1455679"/>
              <a:gd name="connsiteY5" fmla="*/ 1793949 h 3010794"/>
              <a:gd name="connsiteX6" fmla="*/ 220604 w 1455679"/>
              <a:gd name="connsiteY6" fmla="*/ 1543124 h 3010794"/>
              <a:gd name="connsiteX7" fmla="*/ 153929 w 1455679"/>
              <a:gd name="connsiteY7" fmla="*/ 1304999 h 3010794"/>
              <a:gd name="connsiteX8" fmla="*/ 80904 w 1455679"/>
              <a:gd name="connsiteY8" fmla="*/ 1035124 h 3010794"/>
              <a:gd name="connsiteX9" fmla="*/ 26929 w 1455679"/>
              <a:gd name="connsiteY9" fmla="*/ 787474 h 3010794"/>
              <a:gd name="connsiteX10" fmla="*/ 4704 w 1455679"/>
              <a:gd name="connsiteY10" fmla="*/ 612849 h 3010794"/>
              <a:gd name="connsiteX11" fmla="*/ 1529 w 1455679"/>
              <a:gd name="connsiteY11" fmla="*/ 435049 h 3010794"/>
              <a:gd name="connsiteX12" fmla="*/ 23754 w 1455679"/>
              <a:gd name="connsiteY12" fmla="*/ 304874 h 3010794"/>
              <a:gd name="connsiteX13" fmla="*/ 61854 w 1455679"/>
              <a:gd name="connsiteY13" fmla="*/ 209624 h 3010794"/>
              <a:gd name="connsiteX14" fmla="*/ 128529 w 1455679"/>
              <a:gd name="connsiteY14" fmla="*/ 117549 h 3010794"/>
              <a:gd name="connsiteX15" fmla="*/ 207904 w 1455679"/>
              <a:gd name="connsiteY15" fmla="*/ 47699 h 3010794"/>
              <a:gd name="connsiteX16" fmla="*/ 305537 w 1455679"/>
              <a:gd name="connsiteY16" fmla="*/ 17540 h 3010794"/>
              <a:gd name="connsiteX17" fmla="*/ 385704 w 1455679"/>
              <a:gd name="connsiteY17" fmla="*/ 74 h 3010794"/>
              <a:gd name="connsiteX18" fmla="*/ 495245 w 1455679"/>
              <a:gd name="connsiteY18" fmla="*/ 17540 h 3010794"/>
              <a:gd name="connsiteX19" fmla="*/ 595254 w 1455679"/>
              <a:gd name="connsiteY19" fmla="*/ 37385 h 3010794"/>
              <a:gd name="connsiteX20" fmla="*/ 685734 w 1455679"/>
              <a:gd name="connsiteY20" fmla="*/ 72307 h 3010794"/>
              <a:gd name="connsiteX21" fmla="*/ 779383 w 1455679"/>
              <a:gd name="connsiteY21" fmla="*/ 123108 h 3010794"/>
              <a:gd name="connsiteX22" fmla="*/ 900054 w 1455679"/>
              <a:gd name="connsiteY22" fmla="*/ 158824 h 3010794"/>
              <a:gd name="connsiteX23" fmla="*/ 1018317 w 1455679"/>
              <a:gd name="connsiteY23" fmla="*/ 245350 h 3010794"/>
              <a:gd name="connsiteX24" fmla="*/ 1122305 w 1455679"/>
              <a:gd name="connsiteY24" fmla="*/ 319968 h 3010794"/>
              <a:gd name="connsiteX25" fmla="*/ 1239780 w 1455679"/>
              <a:gd name="connsiteY25" fmla="*/ 419973 h 3010794"/>
              <a:gd name="connsiteX26" fmla="*/ 1316772 w 1455679"/>
              <a:gd name="connsiteY26" fmla="*/ 508873 h 3010794"/>
              <a:gd name="connsiteX27" fmla="*/ 1396937 w 1455679"/>
              <a:gd name="connsiteY27" fmla="*/ 600943 h 3010794"/>
              <a:gd name="connsiteX28" fmla="*/ 1455679 w 1455679"/>
              <a:gd name="connsiteY28" fmla="*/ 682699 h 3010794"/>
              <a:gd name="connsiteX0" fmla="*/ 890538 w 1455679"/>
              <a:gd name="connsiteY0" fmla="*/ 3010794 h 3010794"/>
              <a:gd name="connsiteX1" fmla="*/ 712729 w 1455679"/>
              <a:gd name="connsiteY1" fmla="*/ 2698824 h 3010794"/>
              <a:gd name="connsiteX2" fmla="*/ 607954 w 1455679"/>
              <a:gd name="connsiteY2" fmla="*/ 2486099 h 3010794"/>
              <a:gd name="connsiteX3" fmla="*/ 525404 w 1455679"/>
              <a:gd name="connsiteY3" fmla="*/ 2320999 h 3010794"/>
              <a:gd name="connsiteX4" fmla="*/ 414279 w 1455679"/>
              <a:gd name="connsiteY4" fmla="*/ 2054299 h 3010794"/>
              <a:gd name="connsiteX5" fmla="*/ 303154 w 1455679"/>
              <a:gd name="connsiteY5" fmla="*/ 1793949 h 3010794"/>
              <a:gd name="connsiteX6" fmla="*/ 220604 w 1455679"/>
              <a:gd name="connsiteY6" fmla="*/ 1543124 h 3010794"/>
              <a:gd name="connsiteX7" fmla="*/ 153929 w 1455679"/>
              <a:gd name="connsiteY7" fmla="*/ 1304999 h 3010794"/>
              <a:gd name="connsiteX8" fmla="*/ 80904 w 1455679"/>
              <a:gd name="connsiteY8" fmla="*/ 1035124 h 3010794"/>
              <a:gd name="connsiteX9" fmla="*/ 26929 w 1455679"/>
              <a:gd name="connsiteY9" fmla="*/ 787474 h 3010794"/>
              <a:gd name="connsiteX10" fmla="*/ 4704 w 1455679"/>
              <a:gd name="connsiteY10" fmla="*/ 612849 h 3010794"/>
              <a:gd name="connsiteX11" fmla="*/ 1529 w 1455679"/>
              <a:gd name="connsiteY11" fmla="*/ 435049 h 3010794"/>
              <a:gd name="connsiteX12" fmla="*/ 23754 w 1455679"/>
              <a:gd name="connsiteY12" fmla="*/ 304874 h 3010794"/>
              <a:gd name="connsiteX13" fmla="*/ 61854 w 1455679"/>
              <a:gd name="connsiteY13" fmla="*/ 209624 h 3010794"/>
              <a:gd name="connsiteX14" fmla="*/ 128529 w 1455679"/>
              <a:gd name="connsiteY14" fmla="*/ 117549 h 3010794"/>
              <a:gd name="connsiteX15" fmla="*/ 207904 w 1455679"/>
              <a:gd name="connsiteY15" fmla="*/ 47699 h 3010794"/>
              <a:gd name="connsiteX16" fmla="*/ 305537 w 1455679"/>
              <a:gd name="connsiteY16" fmla="*/ 17540 h 3010794"/>
              <a:gd name="connsiteX17" fmla="*/ 385704 w 1455679"/>
              <a:gd name="connsiteY17" fmla="*/ 74 h 3010794"/>
              <a:gd name="connsiteX18" fmla="*/ 495245 w 1455679"/>
              <a:gd name="connsiteY18" fmla="*/ 17540 h 3010794"/>
              <a:gd name="connsiteX19" fmla="*/ 595254 w 1455679"/>
              <a:gd name="connsiteY19" fmla="*/ 37385 h 3010794"/>
              <a:gd name="connsiteX20" fmla="*/ 685734 w 1455679"/>
              <a:gd name="connsiteY20" fmla="*/ 72307 h 3010794"/>
              <a:gd name="connsiteX21" fmla="*/ 796059 w 1455679"/>
              <a:gd name="connsiteY21" fmla="*/ 123108 h 3010794"/>
              <a:gd name="connsiteX22" fmla="*/ 900054 w 1455679"/>
              <a:gd name="connsiteY22" fmla="*/ 158824 h 3010794"/>
              <a:gd name="connsiteX23" fmla="*/ 1018317 w 1455679"/>
              <a:gd name="connsiteY23" fmla="*/ 245350 h 3010794"/>
              <a:gd name="connsiteX24" fmla="*/ 1122305 w 1455679"/>
              <a:gd name="connsiteY24" fmla="*/ 319968 h 3010794"/>
              <a:gd name="connsiteX25" fmla="*/ 1239780 w 1455679"/>
              <a:gd name="connsiteY25" fmla="*/ 419973 h 3010794"/>
              <a:gd name="connsiteX26" fmla="*/ 1316772 w 1455679"/>
              <a:gd name="connsiteY26" fmla="*/ 508873 h 3010794"/>
              <a:gd name="connsiteX27" fmla="*/ 1396937 w 1455679"/>
              <a:gd name="connsiteY27" fmla="*/ 600943 h 3010794"/>
              <a:gd name="connsiteX28" fmla="*/ 1455679 w 1455679"/>
              <a:gd name="connsiteY28" fmla="*/ 682699 h 3010794"/>
              <a:gd name="connsiteX0" fmla="*/ 890538 w 1455679"/>
              <a:gd name="connsiteY0" fmla="*/ 3012008 h 3012008"/>
              <a:gd name="connsiteX1" fmla="*/ 712729 w 1455679"/>
              <a:gd name="connsiteY1" fmla="*/ 2700038 h 3012008"/>
              <a:gd name="connsiteX2" fmla="*/ 607954 w 1455679"/>
              <a:gd name="connsiteY2" fmla="*/ 2487313 h 3012008"/>
              <a:gd name="connsiteX3" fmla="*/ 525404 w 1455679"/>
              <a:gd name="connsiteY3" fmla="*/ 2322213 h 3012008"/>
              <a:gd name="connsiteX4" fmla="*/ 414279 w 1455679"/>
              <a:gd name="connsiteY4" fmla="*/ 2055513 h 3012008"/>
              <a:gd name="connsiteX5" fmla="*/ 303154 w 1455679"/>
              <a:gd name="connsiteY5" fmla="*/ 1795163 h 3012008"/>
              <a:gd name="connsiteX6" fmla="*/ 220604 w 1455679"/>
              <a:gd name="connsiteY6" fmla="*/ 1544338 h 3012008"/>
              <a:gd name="connsiteX7" fmla="*/ 153929 w 1455679"/>
              <a:gd name="connsiteY7" fmla="*/ 1306213 h 3012008"/>
              <a:gd name="connsiteX8" fmla="*/ 80904 w 1455679"/>
              <a:gd name="connsiteY8" fmla="*/ 1036338 h 3012008"/>
              <a:gd name="connsiteX9" fmla="*/ 26929 w 1455679"/>
              <a:gd name="connsiteY9" fmla="*/ 788688 h 3012008"/>
              <a:gd name="connsiteX10" fmla="*/ 4704 w 1455679"/>
              <a:gd name="connsiteY10" fmla="*/ 614063 h 3012008"/>
              <a:gd name="connsiteX11" fmla="*/ 1529 w 1455679"/>
              <a:gd name="connsiteY11" fmla="*/ 436263 h 3012008"/>
              <a:gd name="connsiteX12" fmla="*/ 23754 w 1455679"/>
              <a:gd name="connsiteY12" fmla="*/ 306088 h 3012008"/>
              <a:gd name="connsiteX13" fmla="*/ 61854 w 1455679"/>
              <a:gd name="connsiteY13" fmla="*/ 210838 h 3012008"/>
              <a:gd name="connsiteX14" fmla="*/ 128529 w 1455679"/>
              <a:gd name="connsiteY14" fmla="*/ 118763 h 3012008"/>
              <a:gd name="connsiteX15" fmla="*/ 207904 w 1455679"/>
              <a:gd name="connsiteY15" fmla="*/ 48913 h 3012008"/>
              <a:gd name="connsiteX16" fmla="*/ 305537 w 1455679"/>
              <a:gd name="connsiteY16" fmla="*/ 18754 h 3012008"/>
              <a:gd name="connsiteX17" fmla="*/ 385704 w 1455679"/>
              <a:gd name="connsiteY17" fmla="*/ 1288 h 3012008"/>
              <a:gd name="connsiteX18" fmla="*/ 495245 w 1455679"/>
              <a:gd name="connsiteY18" fmla="*/ 18754 h 3012008"/>
              <a:gd name="connsiteX19" fmla="*/ 595254 w 1455679"/>
              <a:gd name="connsiteY19" fmla="*/ 38599 h 3012008"/>
              <a:gd name="connsiteX20" fmla="*/ 685734 w 1455679"/>
              <a:gd name="connsiteY20" fmla="*/ 73521 h 3012008"/>
              <a:gd name="connsiteX21" fmla="*/ 796059 w 1455679"/>
              <a:gd name="connsiteY21" fmla="*/ 124322 h 3012008"/>
              <a:gd name="connsiteX22" fmla="*/ 900054 w 1455679"/>
              <a:gd name="connsiteY22" fmla="*/ 160038 h 3012008"/>
              <a:gd name="connsiteX23" fmla="*/ 1018317 w 1455679"/>
              <a:gd name="connsiteY23" fmla="*/ 246564 h 3012008"/>
              <a:gd name="connsiteX24" fmla="*/ 1122305 w 1455679"/>
              <a:gd name="connsiteY24" fmla="*/ 321182 h 3012008"/>
              <a:gd name="connsiteX25" fmla="*/ 1239780 w 1455679"/>
              <a:gd name="connsiteY25" fmla="*/ 421187 h 3012008"/>
              <a:gd name="connsiteX26" fmla="*/ 1316772 w 1455679"/>
              <a:gd name="connsiteY26" fmla="*/ 510087 h 3012008"/>
              <a:gd name="connsiteX27" fmla="*/ 1396937 w 1455679"/>
              <a:gd name="connsiteY27" fmla="*/ 602157 h 3012008"/>
              <a:gd name="connsiteX28" fmla="*/ 1455679 w 1455679"/>
              <a:gd name="connsiteY28" fmla="*/ 683913 h 3012008"/>
              <a:gd name="connsiteX0" fmla="*/ 890538 w 1455679"/>
              <a:gd name="connsiteY0" fmla="*/ 3010719 h 3010719"/>
              <a:gd name="connsiteX1" fmla="*/ 712729 w 1455679"/>
              <a:gd name="connsiteY1" fmla="*/ 2698749 h 3010719"/>
              <a:gd name="connsiteX2" fmla="*/ 607954 w 1455679"/>
              <a:gd name="connsiteY2" fmla="*/ 2486024 h 3010719"/>
              <a:gd name="connsiteX3" fmla="*/ 525404 w 1455679"/>
              <a:gd name="connsiteY3" fmla="*/ 2320924 h 3010719"/>
              <a:gd name="connsiteX4" fmla="*/ 414279 w 1455679"/>
              <a:gd name="connsiteY4" fmla="*/ 2054224 h 3010719"/>
              <a:gd name="connsiteX5" fmla="*/ 303154 w 1455679"/>
              <a:gd name="connsiteY5" fmla="*/ 1793874 h 3010719"/>
              <a:gd name="connsiteX6" fmla="*/ 220604 w 1455679"/>
              <a:gd name="connsiteY6" fmla="*/ 1543049 h 3010719"/>
              <a:gd name="connsiteX7" fmla="*/ 153929 w 1455679"/>
              <a:gd name="connsiteY7" fmla="*/ 1304924 h 3010719"/>
              <a:gd name="connsiteX8" fmla="*/ 80904 w 1455679"/>
              <a:gd name="connsiteY8" fmla="*/ 1035049 h 3010719"/>
              <a:gd name="connsiteX9" fmla="*/ 26929 w 1455679"/>
              <a:gd name="connsiteY9" fmla="*/ 787399 h 3010719"/>
              <a:gd name="connsiteX10" fmla="*/ 4704 w 1455679"/>
              <a:gd name="connsiteY10" fmla="*/ 612774 h 3010719"/>
              <a:gd name="connsiteX11" fmla="*/ 1529 w 1455679"/>
              <a:gd name="connsiteY11" fmla="*/ 434974 h 3010719"/>
              <a:gd name="connsiteX12" fmla="*/ 23754 w 1455679"/>
              <a:gd name="connsiteY12" fmla="*/ 304799 h 3010719"/>
              <a:gd name="connsiteX13" fmla="*/ 61854 w 1455679"/>
              <a:gd name="connsiteY13" fmla="*/ 209549 h 3010719"/>
              <a:gd name="connsiteX14" fmla="*/ 128529 w 1455679"/>
              <a:gd name="connsiteY14" fmla="*/ 117474 h 3010719"/>
              <a:gd name="connsiteX15" fmla="*/ 207904 w 1455679"/>
              <a:gd name="connsiteY15" fmla="*/ 47624 h 3010719"/>
              <a:gd name="connsiteX16" fmla="*/ 385704 w 1455679"/>
              <a:gd name="connsiteY16" fmla="*/ -1 h 3010719"/>
              <a:gd name="connsiteX17" fmla="*/ 495245 w 1455679"/>
              <a:gd name="connsiteY17" fmla="*/ 17465 h 3010719"/>
              <a:gd name="connsiteX18" fmla="*/ 595254 w 1455679"/>
              <a:gd name="connsiteY18" fmla="*/ 37310 h 3010719"/>
              <a:gd name="connsiteX19" fmla="*/ 685734 w 1455679"/>
              <a:gd name="connsiteY19" fmla="*/ 72232 h 3010719"/>
              <a:gd name="connsiteX20" fmla="*/ 796059 w 1455679"/>
              <a:gd name="connsiteY20" fmla="*/ 123033 h 3010719"/>
              <a:gd name="connsiteX21" fmla="*/ 900054 w 1455679"/>
              <a:gd name="connsiteY21" fmla="*/ 158749 h 3010719"/>
              <a:gd name="connsiteX22" fmla="*/ 1018317 w 1455679"/>
              <a:gd name="connsiteY22" fmla="*/ 245275 h 3010719"/>
              <a:gd name="connsiteX23" fmla="*/ 1122305 w 1455679"/>
              <a:gd name="connsiteY23" fmla="*/ 319893 h 3010719"/>
              <a:gd name="connsiteX24" fmla="*/ 1239780 w 1455679"/>
              <a:gd name="connsiteY24" fmla="*/ 419898 h 3010719"/>
              <a:gd name="connsiteX25" fmla="*/ 1316772 w 1455679"/>
              <a:gd name="connsiteY25" fmla="*/ 508798 h 3010719"/>
              <a:gd name="connsiteX26" fmla="*/ 1396937 w 1455679"/>
              <a:gd name="connsiteY26" fmla="*/ 600868 h 3010719"/>
              <a:gd name="connsiteX27" fmla="*/ 1455679 w 1455679"/>
              <a:gd name="connsiteY27" fmla="*/ 682624 h 3010719"/>
              <a:gd name="connsiteX0" fmla="*/ 890538 w 1455679"/>
              <a:gd name="connsiteY0" fmla="*/ 3011382 h 3011382"/>
              <a:gd name="connsiteX1" fmla="*/ 712729 w 1455679"/>
              <a:gd name="connsiteY1" fmla="*/ 2699412 h 3011382"/>
              <a:gd name="connsiteX2" fmla="*/ 607954 w 1455679"/>
              <a:gd name="connsiteY2" fmla="*/ 2486687 h 3011382"/>
              <a:gd name="connsiteX3" fmla="*/ 525404 w 1455679"/>
              <a:gd name="connsiteY3" fmla="*/ 2321587 h 3011382"/>
              <a:gd name="connsiteX4" fmla="*/ 414279 w 1455679"/>
              <a:gd name="connsiteY4" fmla="*/ 2054887 h 3011382"/>
              <a:gd name="connsiteX5" fmla="*/ 303154 w 1455679"/>
              <a:gd name="connsiteY5" fmla="*/ 1794537 h 3011382"/>
              <a:gd name="connsiteX6" fmla="*/ 220604 w 1455679"/>
              <a:gd name="connsiteY6" fmla="*/ 1543712 h 3011382"/>
              <a:gd name="connsiteX7" fmla="*/ 153929 w 1455679"/>
              <a:gd name="connsiteY7" fmla="*/ 1305587 h 3011382"/>
              <a:gd name="connsiteX8" fmla="*/ 80904 w 1455679"/>
              <a:gd name="connsiteY8" fmla="*/ 1035712 h 3011382"/>
              <a:gd name="connsiteX9" fmla="*/ 26929 w 1455679"/>
              <a:gd name="connsiteY9" fmla="*/ 788062 h 3011382"/>
              <a:gd name="connsiteX10" fmla="*/ 4704 w 1455679"/>
              <a:gd name="connsiteY10" fmla="*/ 613437 h 3011382"/>
              <a:gd name="connsiteX11" fmla="*/ 1529 w 1455679"/>
              <a:gd name="connsiteY11" fmla="*/ 435637 h 3011382"/>
              <a:gd name="connsiteX12" fmla="*/ 23754 w 1455679"/>
              <a:gd name="connsiteY12" fmla="*/ 305462 h 3011382"/>
              <a:gd name="connsiteX13" fmla="*/ 61854 w 1455679"/>
              <a:gd name="connsiteY13" fmla="*/ 210212 h 3011382"/>
              <a:gd name="connsiteX14" fmla="*/ 128529 w 1455679"/>
              <a:gd name="connsiteY14" fmla="*/ 118137 h 3011382"/>
              <a:gd name="connsiteX15" fmla="*/ 207904 w 1455679"/>
              <a:gd name="connsiteY15" fmla="*/ 48287 h 3011382"/>
              <a:gd name="connsiteX16" fmla="*/ 385704 w 1455679"/>
              <a:gd name="connsiteY16" fmla="*/ 662 h 3011382"/>
              <a:gd name="connsiteX17" fmla="*/ 495245 w 1455679"/>
              <a:gd name="connsiteY17" fmla="*/ 18128 h 3011382"/>
              <a:gd name="connsiteX18" fmla="*/ 595254 w 1455679"/>
              <a:gd name="connsiteY18" fmla="*/ 37973 h 3011382"/>
              <a:gd name="connsiteX19" fmla="*/ 685734 w 1455679"/>
              <a:gd name="connsiteY19" fmla="*/ 72895 h 3011382"/>
              <a:gd name="connsiteX20" fmla="*/ 796059 w 1455679"/>
              <a:gd name="connsiteY20" fmla="*/ 123696 h 3011382"/>
              <a:gd name="connsiteX21" fmla="*/ 900054 w 1455679"/>
              <a:gd name="connsiteY21" fmla="*/ 159412 h 3011382"/>
              <a:gd name="connsiteX22" fmla="*/ 1018317 w 1455679"/>
              <a:gd name="connsiteY22" fmla="*/ 245938 h 3011382"/>
              <a:gd name="connsiteX23" fmla="*/ 1122305 w 1455679"/>
              <a:gd name="connsiteY23" fmla="*/ 320556 h 3011382"/>
              <a:gd name="connsiteX24" fmla="*/ 1239780 w 1455679"/>
              <a:gd name="connsiteY24" fmla="*/ 420561 h 3011382"/>
              <a:gd name="connsiteX25" fmla="*/ 1316772 w 1455679"/>
              <a:gd name="connsiteY25" fmla="*/ 509461 h 3011382"/>
              <a:gd name="connsiteX26" fmla="*/ 1396937 w 1455679"/>
              <a:gd name="connsiteY26" fmla="*/ 601531 h 3011382"/>
              <a:gd name="connsiteX27" fmla="*/ 1455679 w 1455679"/>
              <a:gd name="connsiteY27" fmla="*/ 683287 h 3011382"/>
              <a:gd name="connsiteX0" fmla="*/ 890538 w 1455679"/>
              <a:gd name="connsiteY0" fmla="*/ 3010719 h 3010719"/>
              <a:gd name="connsiteX1" fmla="*/ 712729 w 1455679"/>
              <a:gd name="connsiteY1" fmla="*/ 2698749 h 3010719"/>
              <a:gd name="connsiteX2" fmla="*/ 607954 w 1455679"/>
              <a:gd name="connsiteY2" fmla="*/ 2486024 h 3010719"/>
              <a:gd name="connsiteX3" fmla="*/ 525404 w 1455679"/>
              <a:gd name="connsiteY3" fmla="*/ 2320924 h 3010719"/>
              <a:gd name="connsiteX4" fmla="*/ 414279 w 1455679"/>
              <a:gd name="connsiteY4" fmla="*/ 2054224 h 3010719"/>
              <a:gd name="connsiteX5" fmla="*/ 303154 w 1455679"/>
              <a:gd name="connsiteY5" fmla="*/ 1793874 h 3010719"/>
              <a:gd name="connsiteX6" fmla="*/ 220604 w 1455679"/>
              <a:gd name="connsiteY6" fmla="*/ 1543049 h 3010719"/>
              <a:gd name="connsiteX7" fmla="*/ 153929 w 1455679"/>
              <a:gd name="connsiteY7" fmla="*/ 1304924 h 3010719"/>
              <a:gd name="connsiteX8" fmla="*/ 80904 w 1455679"/>
              <a:gd name="connsiteY8" fmla="*/ 1035049 h 3010719"/>
              <a:gd name="connsiteX9" fmla="*/ 26929 w 1455679"/>
              <a:gd name="connsiteY9" fmla="*/ 787399 h 3010719"/>
              <a:gd name="connsiteX10" fmla="*/ 4704 w 1455679"/>
              <a:gd name="connsiteY10" fmla="*/ 612774 h 3010719"/>
              <a:gd name="connsiteX11" fmla="*/ 1529 w 1455679"/>
              <a:gd name="connsiteY11" fmla="*/ 434974 h 3010719"/>
              <a:gd name="connsiteX12" fmla="*/ 23754 w 1455679"/>
              <a:gd name="connsiteY12" fmla="*/ 304799 h 3010719"/>
              <a:gd name="connsiteX13" fmla="*/ 61854 w 1455679"/>
              <a:gd name="connsiteY13" fmla="*/ 209549 h 3010719"/>
              <a:gd name="connsiteX14" fmla="*/ 128529 w 1455679"/>
              <a:gd name="connsiteY14" fmla="*/ 117474 h 3010719"/>
              <a:gd name="connsiteX15" fmla="*/ 207904 w 1455679"/>
              <a:gd name="connsiteY15" fmla="*/ 47624 h 3010719"/>
              <a:gd name="connsiteX16" fmla="*/ 385704 w 1455679"/>
              <a:gd name="connsiteY16" fmla="*/ -1 h 3010719"/>
              <a:gd name="connsiteX17" fmla="*/ 495245 w 1455679"/>
              <a:gd name="connsiteY17" fmla="*/ 17465 h 3010719"/>
              <a:gd name="connsiteX18" fmla="*/ 595254 w 1455679"/>
              <a:gd name="connsiteY18" fmla="*/ 37310 h 3010719"/>
              <a:gd name="connsiteX19" fmla="*/ 685734 w 1455679"/>
              <a:gd name="connsiteY19" fmla="*/ 72232 h 3010719"/>
              <a:gd name="connsiteX20" fmla="*/ 796059 w 1455679"/>
              <a:gd name="connsiteY20" fmla="*/ 123033 h 3010719"/>
              <a:gd name="connsiteX21" fmla="*/ 900054 w 1455679"/>
              <a:gd name="connsiteY21" fmla="*/ 158749 h 3010719"/>
              <a:gd name="connsiteX22" fmla="*/ 1018317 w 1455679"/>
              <a:gd name="connsiteY22" fmla="*/ 245275 h 3010719"/>
              <a:gd name="connsiteX23" fmla="*/ 1122305 w 1455679"/>
              <a:gd name="connsiteY23" fmla="*/ 319893 h 3010719"/>
              <a:gd name="connsiteX24" fmla="*/ 1239780 w 1455679"/>
              <a:gd name="connsiteY24" fmla="*/ 419898 h 3010719"/>
              <a:gd name="connsiteX25" fmla="*/ 1316772 w 1455679"/>
              <a:gd name="connsiteY25" fmla="*/ 508798 h 3010719"/>
              <a:gd name="connsiteX26" fmla="*/ 1396937 w 1455679"/>
              <a:gd name="connsiteY26" fmla="*/ 600868 h 3010719"/>
              <a:gd name="connsiteX27" fmla="*/ 1455679 w 1455679"/>
              <a:gd name="connsiteY27" fmla="*/ 682624 h 3010719"/>
              <a:gd name="connsiteX0" fmla="*/ 890538 w 1455679"/>
              <a:gd name="connsiteY0" fmla="*/ 3011653 h 3011653"/>
              <a:gd name="connsiteX1" fmla="*/ 712729 w 1455679"/>
              <a:gd name="connsiteY1" fmla="*/ 2699683 h 3011653"/>
              <a:gd name="connsiteX2" fmla="*/ 607954 w 1455679"/>
              <a:gd name="connsiteY2" fmla="*/ 2486958 h 3011653"/>
              <a:gd name="connsiteX3" fmla="*/ 525404 w 1455679"/>
              <a:gd name="connsiteY3" fmla="*/ 2321858 h 3011653"/>
              <a:gd name="connsiteX4" fmla="*/ 414279 w 1455679"/>
              <a:gd name="connsiteY4" fmla="*/ 2055158 h 3011653"/>
              <a:gd name="connsiteX5" fmla="*/ 303154 w 1455679"/>
              <a:gd name="connsiteY5" fmla="*/ 1794808 h 3011653"/>
              <a:gd name="connsiteX6" fmla="*/ 220604 w 1455679"/>
              <a:gd name="connsiteY6" fmla="*/ 1543983 h 3011653"/>
              <a:gd name="connsiteX7" fmla="*/ 153929 w 1455679"/>
              <a:gd name="connsiteY7" fmla="*/ 1305858 h 3011653"/>
              <a:gd name="connsiteX8" fmla="*/ 80904 w 1455679"/>
              <a:gd name="connsiteY8" fmla="*/ 1035983 h 3011653"/>
              <a:gd name="connsiteX9" fmla="*/ 26929 w 1455679"/>
              <a:gd name="connsiteY9" fmla="*/ 788333 h 3011653"/>
              <a:gd name="connsiteX10" fmla="*/ 4704 w 1455679"/>
              <a:gd name="connsiteY10" fmla="*/ 613708 h 3011653"/>
              <a:gd name="connsiteX11" fmla="*/ 1529 w 1455679"/>
              <a:gd name="connsiteY11" fmla="*/ 435908 h 3011653"/>
              <a:gd name="connsiteX12" fmla="*/ 23754 w 1455679"/>
              <a:gd name="connsiteY12" fmla="*/ 305733 h 3011653"/>
              <a:gd name="connsiteX13" fmla="*/ 61854 w 1455679"/>
              <a:gd name="connsiteY13" fmla="*/ 210483 h 3011653"/>
              <a:gd name="connsiteX14" fmla="*/ 128529 w 1455679"/>
              <a:gd name="connsiteY14" fmla="*/ 118408 h 3011653"/>
              <a:gd name="connsiteX15" fmla="*/ 241255 w 1455679"/>
              <a:gd name="connsiteY15" fmla="*/ 48558 h 3011653"/>
              <a:gd name="connsiteX16" fmla="*/ 385704 w 1455679"/>
              <a:gd name="connsiteY16" fmla="*/ 933 h 3011653"/>
              <a:gd name="connsiteX17" fmla="*/ 495245 w 1455679"/>
              <a:gd name="connsiteY17" fmla="*/ 18399 h 3011653"/>
              <a:gd name="connsiteX18" fmla="*/ 595254 w 1455679"/>
              <a:gd name="connsiteY18" fmla="*/ 38244 h 3011653"/>
              <a:gd name="connsiteX19" fmla="*/ 685734 w 1455679"/>
              <a:gd name="connsiteY19" fmla="*/ 73166 h 3011653"/>
              <a:gd name="connsiteX20" fmla="*/ 796059 w 1455679"/>
              <a:gd name="connsiteY20" fmla="*/ 123967 h 3011653"/>
              <a:gd name="connsiteX21" fmla="*/ 900054 w 1455679"/>
              <a:gd name="connsiteY21" fmla="*/ 159683 h 3011653"/>
              <a:gd name="connsiteX22" fmla="*/ 1018317 w 1455679"/>
              <a:gd name="connsiteY22" fmla="*/ 246209 h 3011653"/>
              <a:gd name="connsiteX23" fmla="*/ 1122305 w 1455679"/>
              <a:gd name="connsiteY23" fmla="*/ 320827 h 3011653"/>
              <a:gd name="connsiteX24" fmla="*/ 1239780 w 1455679"/>
              <a:gd name="connsiteY24" fmla="*/ 420832 h 3011653"/>
              <a:gd name="connsiteX25" fmla="*/ 1316772 w 1455679"/>
              <a:gd name="connsiteY25" fmla="*/ 509732 h 3011653"/>
              <a:gd name="connsiteX26" fmla="*/ 1396937 w 1455679"/>
              <a:gd name="connsiteY26" fmla="*/ 601802 h 3011653"/>
              <a:gd name="connsiteX27" fmla="*/ 1455679 w 1455679"/>
              <a:gd name="connsiteY27" fmla="*/ 683558 h 3011653"/>
              <a:gd name="connsiteX0" fmla="*/ 890538 w 1455679"/>
              <a:gd name="connsiteY0" fmla="*/ 2995742 h 2995742"/>
              <a:gd name="connsiteX1" fmla="*/ 712729 w 1455679"/>
              <a:gd name="connsiteY1" fmla="*/ 2683772 h 2995742"/>
              <a:gd name="connsiteX2" fmla="*/ 607954 w 1455679"/>
              <a:gd name="connsiteY2" fmla="*/ 2471047 h 2995742"/>
              <a:gd name="connsiteX3" fmla="*/ 525404 w 1455679"/>
              <a:gd name="connsiteY3" fmla="*/ 2305947 h 2995742"/>
              <a:gd name="connsiteX4" fmla="*/ 414279 w 1455679"/>
              <a:gd name="connsiteY4" fmla="*/ 2039247 h 2995742"/>
              <a:gd name="connsiteX5" fmla="*/ 303154 w 1455679"/>
              <a:gd name="connsiteY5" fmla="*/ 1778897 h 2995742"/>
              <a:gd name="connsiteX6" fmla="*/ 220604 w 1455679"/>
              <a:gd name="connsiteY6" fmla="*/ 1528072 h 2995742"/>
              <a:gd name="connsiteX7" fmla="*/ 153929 w 1455679"/>
              <a:gd name="connsiteY7" fmla="*/ 1289947 h 2995742"/>
              <a:gd name="connsiteX8" fmla="*/ 80904 w 1455679"/>
              <a:gd name="connsiteY8" fmla="*/ 1020072 h 2995742"/>
              <a:gd name="connsiteX9" fmla="*/ 26929 w 1455679"/>
              <a:gd name="connsiteY9" fmla="*/ 772422 h 2995742"/>
              <a:gd name="connsiteX10" fmla="*/ 4704 w 1455679"/>
              <a:gd name="connsiteY10" fmla="*/ 597797 h 2995742"/>
              <a:gd name="connsiteX11" fmla="*/ 1529 w 1455679"/>
              <a:gd name="connsiteY11" fmla="*/ 419997 h 2995742"/>
              <a:gd name="connsiteX12" fmla="*/ 23754 w 1455679"/>
              <a:gd name="connsiteY12" fmla="*/ 289822 h 2995742"/>
              <a:gd name="connsiteX13" fmla="*/ 61854 w 1455679"/>
              <a:gd name="connsiteY13" fmla="*/ 194572 h 2995742"/>
              <a:gd name="connsiteX14" fmla="*/ 128529 w 1455679"/>
              <a:gd name="connsiteY14" fmla="*/ 102497 h 2995742"/>
              <a:gd name="connsiteX15" fmla="*/ 241255 w 1455679"/>
              <a:gd name="connsiteY15" fmla="*/ 32647 h 2995742"/>
              <a:gd name="connsiteX16" fmla="*/ 385704 w 1455679"/>
              <a:gd name="connsiteY16" fmla="*/ 7258 h 2995742"/>
              <a:gd name="connsiteX17" fmla="*/ 495245 w 1455679"/>
              <a:gd name="connsiteY17" fmla="*/ 2488 h 2995742"/>
              <a:gd name="connsiteX18" fmla="*/ 595254 w 1455679"/>
              <a:gd name="connsiteY18" fmla="*/ 22333 h 2995742"/>
              <a:gd name="connsiteX19" fmla="*/ 685734 w 1455679"/>
              <a:gd name="connsiteY19" fmla="*/ 57255 h 2995742"/>
              <a:gd name="connsiteX20" fmla="*/ 796059 w 1455679"/>
              <a:gd name="connsiteY20" fmla="*/ 108056 h 2995742"/>
              <a:gd name="connsiteX21" fmla="*/ 900054 w 1455679"/>
              <a:gd name="connsiteY21" fmla="*/ 143772 h 2995742"/>
              <a:gd name="connsiteX22" fmla="*/ 1018317 w 1455679"/>
              <a:gd name="connsiteY22" fmla="*/ 230298 h 2995742"/>
              <a:gd name="connsiteX23" fmla="*/ 1122305 w 1455679"/>
              <a:gd name="connsiteY23" fmla="*/ 304916 h 2995742"/>
              <a:gd name="connsiteX24" fmla="*/ 1239780 w 1455679"/>
              <a:gd name="connsiteY24" fmla="*/ 404921 h 2995742"/>
              <a:gd name="connsiteX25" fmla="*/ 1316772 w 1455679"/>
              <a:gd name="connsiteY25" fmla="*/ 493821 h 2995742"/>
              <a:gd name="connsiteX26" fmla="*/ 1396937 w 1455679"/>
              <a:gd name="connsiteY26" fmla="*/ 585891 h 2995742"/>
              <a:gd name="connsiteX27" fmla="*/ 1455679 w 1455679"/>
              <a:gd name="connsiteY27" fmla="*/ 667647 h 2995742"/>
              <a:gd name="connsiteX0" fmla="*/ 890538 w 1455679"/>
              <a:gd name="connsiteY0" fmla="*/ 3006431 h 3006431"/>
              <a:gd name="connsiteX1" fmla="*/ 712729 w 1455679"/>
              <a:gd name="connsiteY1" fmla="*/ 2694461 h 3006431"/>
              <a:gd name="connsiteX2" fmla="*/ 607954 w 1455679"/>
              <a:gd name="connsiteY2" fmla="*/ 2481736 h 3006431"/>
              <a:gd name="connsiteX3" fmla="*/ 525404 w 1455679"/>
              <a:gd name="connsiteY3" fmla="*/ 2316636 h 3006431"/>
              <a:gd name="connsiteX4" fmla="*/ 414279 w 1455679"/>
              <a:gd name="connsiteY4" fmla="*/ 2049936 h 3006431"/>
              <a:gd name="connsiteX5" fmla="*/ 303154 w 1455679"/>
              <a:gd name="connsiteY5" fmla="*/ 1789586 h 3006431"/>
              <a:gd name="connsiteX6" fmla="*/ 220604 w 1455679"/>
              <a:gd name="connsiteY6" fmla="*/ 1538761 h 3006431"/>
              <a:gd name="connsiteX7" fmla="*/ 153929 w 1455679"/>
              <a:gd name="connsiteY7" fmla="*/ 1300636 h 3006431"/>
              <a:gd name="connsiteX8" fmla="*/ 80904 w 1455679"/>
              <a:gd name="connsiteY8" fmla="*/ 1030761 h 3006431"/>
              <a:gd name="connsiteX9" fmla="*/ 26929 w 1455679"/>
              <a:gd name="connsiteY9" fmla="*/ 783111 h 3006431"/>
              <a:gd name="connsiteX10" fmla="*/ 4704 w 1455679"/>
              <a:gd name="connsiteY10" fmla="*/ 608486 h 3006431"/>
              <a:gd name="connsiteX11" fmla="*/ 1529 w 1455679"/>
              <a:gd name="connsiteY11" fmla="*/ 430686 h 3006431"/>
              <a:gd name="connsiteX12" fmla="*/ 23754 w 1455679"/>
              <a:gd name="connsiteY12" fmla="*/ 300511 h 3006431"/>
              <a:gd name="connsiteX13" fmla="*/ 61854 w 1455679"/>
              <a:gd name="connsiteY13" fmla="*/ 205261 h 3006431"/>
              <a:gd name="connsiteX14" fmla="*/ 128529 w 1455679"/>
              <a:gd name="connsiteY14" fmla="*/ 113186 h 3006431"/>
              <a:gd name="connsiteX15" fmla="*/ 241255 w 1455679"/>
              <a:gd name="connsiteY15" fmla="*/ 43336 h 3006431"/>
              <a:gd name="connsiteX16" fmla="*/ 380144 w 1455679"/>
              <a:gd name="connsiteY16" fmla="*/ 1270 h 3006431"/>
              <a:gd name="connsiteX17" fmla="*/ 495245 w 1455679"/>
              <a:gd name="connsiteY17" fmla="*/ 13177 h 3006431"/>
              <a:gd name="connsiteX18" fmla="*/ 595254 w 1455679"/>
              <a:gd name="connsiteY18" fmla="*/ 33022 h 3006431"/>
              <a:gd name="connsiteX19" fmla="*/ 685734 w 1455679"/>
              <a:gd name="connsiteY19" fmla="*/ 67944 h 3006431"/>
              <a:gd name="connsiteX20" fmla="*/ 796059 w 1455679"/>
              <a:gd name="connsiteY20" fmla="*/ 118745 h 3006431"/>
              <a:gd name="connsiteX21" fmla="*/ 900054 w 1455679"/>
              <a:gd name="connsiteY21" fmla="*/ 154461 h 3006431"/>
              <a:gd name="connsiteX22" fmla="*/ 1018317 w 1455679"/>
              <a:gd name="connsiteY22" fmla="*/ 240987 h 3006431"/>
              <a:gd name="connsiteX23" fmla="*/ 1122305 w 1455679"/>
              <a:gd name="connsiteY23" fmla="*/ 315605 h 3006431"/>
              <a:gd name="connsiteX24" fmla="*/ 1239780 w 1455679"/>
              <a:gd name="connsiteY24" fmla="*/ 415610 h 3006431"/>
              <a:gd name="connsiteX25" fmla="*/ 1316772 w 1455679"/>
              <a:gd name="connsiteY25" fmla="*/ 504510 h 3006431"/>
              <a:gd name="connsiteX26" fmla="*/ 1396937 w 1455679"/>
              <a:gd name="connsiteY26" fmla="*/ 596580 h 3006431"/>
              <a:gd name="connsiteX27" fmla="*/ 1455679 w 1455679"/>
              <a:gd name="connsiteY27" fmla="*/ 678336 h 3006431"/>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900054 w 1455679"/>
              <a:gd name="connsiteY21" fmla="*/ 149596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88935 w 1455679"/>
              <a:gd name="connsiteY21" fmla="*/ 166273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49599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55157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60715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60715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60715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60715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79162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60715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55679" h="3001566">
                <a:moveTo>
                  <a:pt x="890538" y="3001566"/>
                </a:moveTo>
                <a:lnTo>
                  <a:pt x="712729" y="2689596"/>
                </a:lnTo>
                <a:lnTo>
                  <a:pt x="607954" y="2476871"/>
                </a:lnTo>
                <a:cubicBezTo>
                  <a:pt x="576733" y="2413900"/>
                  <a:pt x="557683" y="2383738"/>
                  <a:pt x="525404" y="2311771"/>
                </a:cubicBezTo>
                <a:cubicBezTo>
                  <a:pt x="493125" y="2239804"/>
                  <a:pt x="451321" y="2132913"/>
                  <a:pt x="414279" y="2045071"/>
                </a:cubicBezTo>
                <a:cubicBezTo>
                  <a:pt x="377237" y="1957229"/>
                  <a:pt x="335433" y="1864358"/>
                  <a:pt x="303154" y="1779162"/>
                </a:cubicBezTo>
                <a:cubicBezTo>
                  <a:pt x="270875" y="1693966"/>
                  <a:pt x="245475" y="1615388"/>
                  <a:pt x="220604" y="1533896"/>
                </a:cubicBezTo>
                <a:lnTo>
                  <a:pt x="153929" y="1295771"/>
                </a:lnTo>
                <a:lnTo>
                  <a:pt x="80904" y="1025896"/>
                </a:lnTo>
                <a:lnTo>
                  <a:pt x="26929" y="778246"/>
                </a:lnTo>
                <a:cubicBezTo>
                  <a:pt x="13171" y="705750"/>
                  <a:pt x="8937" y="662358"/>
                  <a:pt x="4704" y="603621"/>
                </a:cubicBezTo>
                <a:cubicBezTo>
                  <a:pt x="471" y="544884"/>
                  <a:pt x="-1646" y="477150"/>
                  <a:pt x="1529" y="425821"/>
                </a:cubicBezTo>
                <a:cubicBezTo>
                  <a:pt x="4704" y="374492"/>
                  <a:pt x="16346" y="339038"/>
                  <a:pt x="23754" y="295646"/>
                </a:cubicBezTo>
                <a:lnTo>
                  <a:pt x="61854" y="200396"/>
                </a:lnTo>
                <a:cubicBezTo>
                  <a:pt x="79316" y="169175"/>
                  <a:pt x="98629" y="135308"/>
                  <a:pt x="128529" y="108321"/>
                </a:cubicBezTo>
                <a:cubicBezTo>
                  <a:pt x="158429" y="81334"/>
                  <a:pt x="199319" y="56197"/>
                  <a:pt x="241255" y="38471"/>
                </a:cubicBezTo>
                <a:cubicBezTo>
                  <a:pt x="283191" y="20745"/>
                  <a:pt x="337812" y="6990"/>
                  <a:pt x="380144" y="1963"/>
                </a:cubicBezTo>
                <a:cubicBezTo>
                  <a:pt x="422476" y="-3064"/>
                  <a:pt x="458731" y="2490"/>
                  <a:pt x="495245" y="8312"/>
                </a:cubicBezTo>
                <a:lnTo>
                  <a:pt x="595254" y="28157"/>
                </a:lnTo>
                <a:lnTo>
                  <a:pt x="685734" y="63079"/>
                </a:lnTo>
                <a:lnTo>
                  <a:pt x="796059" y="113880"/>
                </a:lnTo>
                <a:lnTo>
                  <a:pt x="894493" y="160715"/>
                </a:lnTo>
                <a:lnTo>
                  <a:pt x="1018317" y="236122"/>
                </a:lnTo>
                <a:cubicBezTo>
                  <a:pt x="1055358" y="258347"/>
                  <a:pt x="1085395" y="281636"/>
                  <a:pt x="1122305" y="310740"/>
                </a:cubicBezTo>
                <a:cubicBezTo>
                  <a:pt x="1159215" y="339844"/>
                  <a:pt x="1206443" y="377408"/>
                  <a:pt x="1239780" y="410745"/>
                </a:cubicBezTo>
                <a:lnTo>
                  <a:pt x="1316772" y="499645"/>
                </a:lnTo>
                <a:lnTo>
                  <a:pt x="1396937" y="591715"/>
                </a:lnTo>
                <a:lnTo>
                  <a:pt x="1455679" y="673471"/>
                </a:lnTo>
              </a:path>
            </a:pathLst>
          </a:custGeom>
          <a:noFill/>
          <a:ln w="88900" cap="rnd"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Freeform 24"/>
          <p:cNvSpPr/>
          <p:nvPr/>
        </p:nvSpPr>
        <p:spPr>
          <a:xfrm>
            <a:off x="1312692" y="3613408"/>
            <a:ext cx="894491" cy="1568471"/>
          </a:xfrm>
          <a:custGeom>
            <a:avLst/>
            <a:gdLst>
              <a:gd name="connsiteX0" fmla="*/ 666496 w 2072640"/>
              <a:gd name="connsiteY0" fmla="*/ 495808 h 3665728"/>
              <a:gd name="connsiteX1" fmla="*/ 727456 w 2072640"/>
              <a:gd name="connsiteY1" fmla="*/ 617728 h 3665728"/>
              <a:gd name="connsiteX2" fmla="*/ 796544 w 2072640"/>
              <a:gd name="connsiteY2" fmla="*/ 751840 h 3665728"/>
              <a:gd name="connsiteX3" fmla="*/ 824992 w 2072640"/>
              <a:gd name="connsiteY3" fmla="*/ 865632 h 3665728"/>
              <a:gd name="connsiteX4" fmla="*/ 833120 w 2072640"/>
              <a:gd name="connsiteY4" fmla="*/ 938784 h 3665728"/>
              <a:gd name="connsiteX5" fmla="*/ 816864 w 2072640"/>
              <a:gd name="connsiteY5" fmla="*/ 1016000 h 3665728"/>
              <a:gd name="connsiteX6" fmla="*/ 759968 w 2072640"/>
              <a:gd name="connsiteY6" fmla="*/ 1060704 h 3665728"/>
              <a:gd name="connsiteX7" fmla="*/ 719328 w 2072640"/>
              <a:gd name="connsiteY7" fmla="*/ 1068832 h 3665728"/>
              <a:gd name="connsiteX8" fmla="*/ 654304 w 2072640"/>
              <a:gd name="connsiteY8" fmla="*/ 1064768 h 3665728"/>
              <a:gd name="connsiteX9" fmla="*/ 597408 w 2072640"/>
              <a:gd name="connsiteY9" fmla="*/ 1040384 h 3665728"/>
              <a:gd name="connsiteX10" fmla="*/ 568960 w 2072640"/>
              <a:gd name="connsiteY10" fmla="*/ 975360 h 3665728"/>
              <a:gd name="connsiteX11" fmla="*/ 548640 w 2072640"/>
              <a:gd name="connsiteY11" fmla="*/ 922528 h 3665728"/>
              <a:gd name="connsiteX12" fmla="*/ 548640 w 2072640"/>
              <a:gd name="connsiteY12" fmla="*/ 833120 h 3665728"/>
              <a:gd name="connsiteX13" fmla="*/ 581152 w 2072640"/>
              <a:gd name="connsiteY13" fmla="*/ 768096 h 3665728"/>
              <a:gd name="connsiteX14" fmla="*/ 593344 w 2072640"/>
              <a:gd name="connsiteY14" fmla="*/ 715264 h 3665728"/>
              <a:gd name="connsiteX15" fmla="*/ 650240 w 2072640"/>
              <a:gd name="connsiteY15" fmla="*/ 674624 h 3665728"/>
              <a:gd name="connsiteX16" fmla="*/ 690880 w 2072640"/>
              <a:gd name="connsiteY16" fmla="*/ 617728 h 3665728"/>
              <a:gd name="connsiteX17" fmla="*/ 784352 w 2072640"/>
              <a:gd name="connsiteY17" fmla="*/ 532384 h 3665728"/>
              <a:gd name="connsiteX18" fmla="*/ 890016 w 2072640"/>
              <a:gd name="connsiteY18" fmla="*/ 438912 h 3665728"/>
              <a:gd name="connsiteX19" fmla="*/ 999744 w 2072640"/>
              <a:gd name="connsiteY19" fmla="*/ 337312 h 3665728"/>
              <a:gd name="connsiteX20" fmla="*/ 1129792 w 2072640"/>
              <a:gd name="connsiteY20" fmla="*/ 243840 h 3665728"/>
              <a:gd name="connsiteX21" fmla="*/ 1300480 w 2072640"/>
              <a:gd name="connsiteY21" fmla="*/ 154432 h 3665728"/>
              <a:gd name="connsiteX22" fmla="*/ 1442720 w 2072640"/>
              <a:gd name="connsiteY22" fmla="*/ 73152 h 3665728"/>
              <a:gd name="connsiteX23" fmla="*/ 1556512 w 2072640"/>
              <a:gd name="connsiteY23" fmla="*/ 32512 h 3665728"/>
              <a:gd name="connsiteX24" fmla="*/ 1645920 w 2072640"/>
              <a:gd name="connsiteY24" fmla="*/ 8128 h 3665728"/>
              <a:gd name="connsiteX25" fmla="*/ 1686560 w 2072640"/>
              <a:gd name="connsiteY25" fmla="*/ 4064 h 3665728"/>
              <a:gd name="connsiteX26" fmla="*/ 1739392 w 2072640"/>
              <a:gd name="connsiteY26" fmla="*/ 4064 h 3665728"/>
              <a:gd name="connsiteX27" fmla="*/ 1755648 w 2072640"/>
              <a:gd name="connsiteY27" fmla="*/ 0 h 3665728"/>
              <a:gd name="connsiteX28" fmla="*/ 1836928 w 2072640"/>
              <a:gd name="connsiteY28" fmla="*/ 12192 h 3665728"/>
              <a:gd name="connsiteX29" fmla="*/ 1897888 w 2072640"/>
              <a:gd name="connsiteY29" fmla="*/ 28448 h 3665728"/>
              <a:gd name="connsiteX30" fmla="*/ 1983232 w 2072640"/>
              <a:gd name="connsiteY30" fmla="*/ 81280 h 3665728"/>
              <a:gd name="connsiteX31" fmla="*/ 2015744 w 2072640"/>
              <a:gd name="connsiteY31" fmla="*/ 134112 h 3665728"/>
              <a:gd name="connsiteX32" fmla="*/ 2048256 w 2072640"/>
              <a:gd name="connsiteY32" fmla="*/ 199136 h 3665728"/>
              <a:gd name="connsiteX33" fmla="*/ 2064512 w 2072640"/>
              <a:gd name="connsiteY33" fmla="*/ 264160 h 3665728"/>
              <a:gd name="connsiteX34" fmla="*/ 2064512 w 2072640"/>
              <a:gd name="connsiteY34" fmla="*/ 321056 h 3665728"/>
              <a:gd name="connsiteX35" fmla="*/ 2072640 w 2072640"/>
              <a:gd name="connsiteY35" fmla="*/ 410464 h 3665728"/>
              <a:gd name="connsiteX36" fmla="*/ 2060448 w 2072640"/>
              <a:gd name="connsiteY36" fmla="*/ 487680 h 3665728"/>
              <a:gd name="connsiteX37" fmla="*/ 2023872 w 2072640"/>
              <a:gd name="connsiteY37" fmla="*/ 589280 h 3665728"/>
              <a:gd name="connsiteX38" fmla="*/ 1975104 w 2072640"/>
              <a:gd name="connsiteY38" fmla="*/ 739648 h 3665728"/>
              <a:gd name="connsiteX39" fmla="*/ 1926336 w 2072640"/>
              <a:gd name="connsiteY39" fmla="*/ 885952 h 3665728"/>
              <a:gd name="connsiteX40" fmla="*/ 1845056 w 2072640"/>
              <a:gd name="connsiteY40" fmla="*/ 1020064 h 3665728"/>
              <a:gd name="connsiteX41" fmla="*/ 1759712 w 2072640"/>
              <a:gd name="connsiteY41" fmla="*/ 1154176 h 3665728"/>
              <a:gd name="connsiteX42" fmla="*/ 1670304 w 2072640"/>
              <a:gd name="connsiteY42" fmla="*/ 1337056 h 3665728"/>
              <a:gd name="connsiteX43" fmla="*/ 1552448 w 2072640"/>
              <a:gd name="connsiteY43" fmla="*/ 1503680 h 3665728"/>
              <a:gd name="connsiteX44" fmla="*/ 1381760 w 2072640"/>
              <a:gd name="connsiteY44" fmla="*/ 1767840 h 3665728"/>
              <a:gd name="connsiteX45" fmla="*/ 1247648 w 2072640"/>
              <a:gd name="connsiteY45" fmla="*/ 1946656 h 3665728"/>
              <a:gd name="connsiteX46" fmla="*/ 1060704 w 2072640"/>
              <a:gd name="connsiteY46" fmla="*/ 2186432 h 3665728"/>
              <a:gd name="connsiteX47" fmla="*/ 898144 w 2072640"/>
              <a:gd name="connsiteY47" fmla="*/ 2397760 h 3665728"/>
              <a:gd name="connsiteX48" fmla="*/ 548640 w 2072640"/>
              <a:gd name="connsiteY48" fmla="*/ 2852928 h 3665728"/>
              <a:gd name="connsiteX49" fmla="*/ 308864 w 2072640"/>
              <a:gd name="connsiteY49" fmla="*/ 3165856 h 3665728"/>
              <a:gd name="connsiteX50" fmla="*/ 65024 w 2072640"/>
              <a:gd name="connsiteY50" fmla="*/ 3551936 h 3665728"/>
              <a:gd name="connsiteX51" fmla="*/ 0 w 2072640"/>
              <a:gd name="connsiteY51" fmla="*/ 3665728 h 3665728"/>
              <a:gd name="connsiteX0" fmla="*/ 666496 w 2072640"/>
              <a:gd name="connsiteY0" fmla="*/ 495808 h 3665728"/>
              <a:gd name="connsiteX1" fmla="*/ 727456 w 2072640"/>
              <a:gd name="connsiteY1" fmla="*/ 617728 h 3665728"/>
              <a:gd name="connsiteX2" fmla="*/ 796544 w 2072640"/>
              <a:gd name="connsiteY2" fmla="*/ 751840 h 3665728"/>
              <a:gd name="connsiteX3" fmla="*/ 824992 w 2072640"/>
              <a:gd name="connsiteY3" fmla="*/ 865632 h 3665728"/>
              <a:gd name="connsiteX4" fmla="*/ 833120 w 2072640"/>
              <a:gd name="connsiteY4" fmla="*/ 938784 h 3665728"/>
              <a:gd name="connsiteX5" fmla="*/ 816864 w 2072640"/>
              <a:gd name="connsiteY5" fmla="*/ 1016000 h 3665728"/>
              <a:gd name="connsiteX6" fmla="*/ 759968 w 2072640"/>
              <a:gd name="connsiteY6" fmla="*/ 1060704 h 3665728"/>
              <a:gd name="connsiteX7" fmla="*/ 719328 w 2072640"/>
              <a:gd name="connsiteY7" fmla="*/ 1068832 h 3665728"/>
              <a:gd name="connsiteX8" fmla="*/ 654304 w 2072640"/>
              <a:gd name="connsiteY8" fmla="*/ 1064768 h 3665728"/>
              <a:gd name="connsiteX9" fmla="*/ 597408 w 2072640"/>
              <a:gd name="connsiteY9" fmla="*/ 1040384 h 3665728"/>
              <a:gd name="connsiteX10" fmla="*/ 568960 w 2072640"/>
              <a:gd name="connsiteY10" fmla="*/ 975360 h 3665728"/>
              <a:gd name="connsiteX11" fmla="*/ 548640 w 2072640"/>
              <a:gd name="connsiteY11" fmla="*/ 922528 h 3665728"/>
              <a:gd name="connsiteX12" fmla="*/ 548640 w 2072640"/>
              <a:gd name="connsiteY12" fmla="*/ 833120 h 3665728"/>
              <a:gd name="connsiteX13" fmla="*/ 581152 w 2072640"/>
              <a:gd name="connsiteY13" fmla="*/ 768096 h 3665728"/>
              <a:gd name="connsiteX14" fmla="*/ 593344 w 2072640"/>
              <a:gd name="connsiteY14" fmla="*/ 715264 h 3665728"/>
              <a:gd name="connsiteX15" fmla="*/ 650240 w 2072640"/>
              <a:gd name="connsiteY15" fmla="*/ 674624 h 3665728"/>
              <a:gd name="connsiteX16" fmla="*/ 690880 w 2072640"/>
              <a:gd name="connsiteY16" fmla="*/ 617728 h 3665728"/>
              <a:gd name="connsiteX17" fmla="*/ 784352 w 2072640"/>
              <a:gd name="connsiteY17" fmla="*/ 532384 h 3665728"/>
              <a:gd name="connsiteX18" fmla="*/ 890016 w 2072640"/>
              <a:gd name="connsiteY18" fmla="*/ 438912 h 3665728"/>
              <a:gd name="connsiteX19" fmla="*/ 999744 w 2072640"/>
              <a:gd name="connsiteY19" fmla="*/ 337312 h 3665728"/>
              <a:gd name="connsiteX20" fmla="*/ 1129792 w 2072640"/>
              <a:gd name="connsiteY20" fmla="*/ 243840 h 3665728"/>
              <a:gd name="connsiteX21" fmla="*/ 1300480 w 2072640"/>
              <a:gd name="connsiteY21" fmla="*/ 154432 h 3665728"/>
              <a:gd name="connsiteX22" fmla="*/ 1442720 w 2072640"/>
              <a:gd name="connsiteY22" fmla="*/ 73152 h 3665728"/>
              <a:gd name="connsiteX23" fmla="*/ 1556512 w 2072640"/>
              <a:gd name="connsiteY23" fmla="*/ 32512 h 3665728"/>
              <a:gd name="connsiteX24" fmla="*/ 1645920 w 2072640"/>
              <a:gd name="connsiteY24" fmla="*/ 8128 h 3665728"/>
              <a:gd name="connsiteX25" fmla="*/ 1686560 w 2072640"/>
              <a:gd name="connsiteY25" fmla="*/ 4064 h 3665728"/>
              <a:gd name="connsiteX26" fmla="*/ 1739392 w 2072640"/>
              <a:gd name="connsiteY26" fmla="*/ 4064 h 3665728"/>
              <a:gd name="connsiteX27" fmla="*/ 1755648 w 2072640"/>
              <a:gd name="connsiteY27" fmla="*/ 0 h 3665728"/>
              <a:gd name="connsiteX28" fmla="*/ 1836928 w 2072640"/>
              <a:gd name="connsiteY28" fmla="*/ 12192 h 3665728"/>
              <a:gd name="connsiteX29" fmla="*/ 1897888 w 2072640"/>
              <a:gd name="connsiteY29" fmla="*/ 28448 h 3665728"/>
              <a:gd name="connsiteX30" fmla="*/ 1983232 w 2072640"/>
              <a:gd name="connsiteY30" fmla="*/ 81280 h 3665728"/>
              <a:gd name="connsiteX31" fmla="*/ 2015744 w 2072640"/>
              <a:gd name="connsiteY31" fmla="*/ 134112 h 3665728"/>
              <a:gd name="connsiteX32" fmla="*/ 2048256 w 2072640"/>
              <a:gd name="connsiteY32" fmla="*/ 199136 h 3665728"/>
              <a:gd name="connsiteX33" fmla="*/ 2064512 w 2072640"/>
              <a:gd name="connsiteY33" fmla="*/ 264160 h 3665728"/>
              <a:gd name="connsiteX34" fmla="*/ 2064512 w 2072640"/>
              <a:gd name="connsiteY34" fmla="*/ 321056 h 3665728"/>
              <a:gd name="connsiteX35" fmla="*/ 2072640 w 2072640"/>
              <a:gd name="connsiteY35" fmla="*/ 410464 h 3665728"/>
              <a:gd name="connsiteX36" fmla="*/ 2060448 w 2072640"/>
              <a:gd name="connsiteY36" fmla="*/ 487680 h 3665728"/>
              <a:gd name="connsiteX37" fmla="*/ 2023872 w 2072640"/>
              <a:gd name="connsiteY37" fmla="*/ 589280 h 3665728"/>
              <a:gd name="connsiteX38" fmla="*/ 1975104 w 2072640"/>
              <a:gd name="connsiteY38" fmla="*/ 739648 h 3665728"/>
              <a:gd name="connsiteX39" fmla="*/ 1926336 w 2072640"/>
              <a:gd name="connsiteY39" fmla="*/ 885952 h 3665728"/>
              <a:gd name="connsiteX40" fmla="*/ 1845056 w 2072640"/>
              <a:gd name="connsiteY40" fmla="*/ 1020064 h 3665728"/>
              <a:gd name="connsiteX41" fmla="*/ 1763776 w 2072640"/>
              <a:gd name="connsiteY41" fmla="*/ 1162304 h 3665728"/>
              <a:gd name="connsiteX42" fmla="*/ 1670304 w 2072640"/>
              <a:gd name="connsiteY42" fmla="*/ 1337056 h 3665728"/>
              <a:gd name="connsiteX43" fmla="*/ 1552448 w 2072640"/>
              <a:gd name="connsiteY43" fmla="*/ 1503680 h 3665728"/>
              <a:gd name="connsiteX44" fmla="*/ 1381760 w 2072640"/>
              <a:gd name="connsiteY44" fmla="*/ 1767840 h 3665728"/>
              <a:gd name="connsiteX45" fmla="*/ 1247648 w 2072640"/>
              <a:gd name="connsiteY45" fmla="*/ 1946656 h 3665728"/>
              <a:gd name="connsiteX46" fmla="*/ 1060704 w 2072640"/>
              <a:gd name="connsiteY46" fmla="*/ 2186432 h 3665728"/>
              <a:gd name="connsiteX47" fmla="*/ 898144 w 2072640"/>
              <a:gd name="connsiteY47" fmla="*/ 2397760 h 3665728"/>
              <a:gd name="connsiteX48" fmla="*/ 548640 w 2072640"/>
              <a:gd name="connsiteY48" fmla="*/ 2852928 h 3665728"/>
              <a:gd name="connsiteX49" fmla="*/ 308864 w 2072640"/>
              <a:gd name="connsiteY49" fmla="*/ 3165856 h 3665728"/>
              <a:gd name="connsiteX50" fmla="*/ 65024 w 2072640"/>
              <a:gd name="connsiteY50" fmla="*/ 3551936 h 3665728"/>
              <a:gd name="connsiteX51" fmla="*/ 0 w 2072640"/>
              <a:gd name="connsiteY51" fmla="*/ 3665728 h 3665728"/>
              <a:gd name="connsiteX0" fmla="*/ 666496 w 2072640"/>
              <a:gd name="connsiteY0" fmla="*/ 495808 h 3665728"/>
              <a:gd name="connsiteX1" fmla="*/ 727456 w 2072640"/>
              <a:gd name="connsiteY1" fmla="*/ 617728 h 3665728"/>
              <a:gd name="connsiteX2" fmla="*/ 796544 w 2072640"/>
              <a:gd name="connsiteY2" fmla="*/ 751840 h 3665728"/>
              <a:gd name="connsiteX3" fmla="*/ 824992 w 2072640"/>
              <a:gd name="connsiteY3" fmla="*/ 865632 h 3665728"/>
              <a:gd name="connsiteX4" fmla="*/ 833120 w 2072640"/>
              <a:gd name="connsiteY4" fmla="*/ 938784 h 3665728"/>
              <a:gd name="connsiteX5" fmla="*/ 816864 w 2072640"/>
              <a:gd name="connsiteY5" fmla="*/ 1016000 h 3665728"/>
              <a:gd name="connsiteX6" fmla="*/ 759968 w 2072640"/>
              <a:gd name="connsiteY6" fmla="*/ 1060704 h 3665728"/>
              <a:gd name="connsiteX7" fmla="*/ 719328 w 2072640"/>
              <a:gd name="connsiteY7" fmla="*/ 1068832 h 3665728"/>
              <a:gd name="connsiteX8" fmla="*/ 654304 w 2072640"/>
              <a:gd name="connsiteY8" fmla="*/ 1064768 h 3665728"/>
              <a:gd name="connsiteX9" fmla="*/ 597408 w 2072640"/>
              <a:gd name="connsiteY9" fmla="*/ 1040384 h 3665728"/>
              <a:gd name="connsiteX10" fmla="*/ 568960 w 2072640"/>
              <a:gd name="connsiteY10" fmla="*/ 975360 h 3665728"/>
              <a:gd name="connsiteX11" fmla="*/ 548640 w 2072640"/>
              <a:gd name="connsiteY11" fmla="*/ 922528 h 3665728"/>
              <a:gd name="connsiteX12" fmla="*/ 548640 w 2072640"/>
              <a:gd name="connsiteY12" fmla="*/ 833120 h 3665728"/>
              <a:gd name="connsiteX13" fmla="*/ 581152 w 2072640"/>
              <a:gd name="connsiteY13" fmla="*/ 768096 h 3665728"/>
              <a:gd name="connsiteX14" fmla="*/ 593344 w 2072640"/>
              <a:gd name="connsiteY14" fmla="*/ 715264 h 3665728"/>
              <a:gd name="connsiteX15" fmla="*/ 650240 w 2072640"/>
              <a:gd name="connsiteY15" fmla="*/ 674624 h 3665728"/>
              <a:gd name="connsiteX16" fmla="*/ 690880 w 2072640"/>
              <a:gd name="connsiteY16" fmla="*/ 617728 h 3665728"/>
              <a:gd name="connsiteX17" fmla="*/ 784352 w 2072640"/>
              <a:gd name="connsiteY17" fmla="*/ 532384 h 3665728"/>
              <a:gd name="connsiteX18" fmla="*/ 890016 w 2072640"/>
              <a:gd name="connsiteY18" fmla="*/ 438912 h 3665728"/>
              <a:gd name="connsiteX19" fmla="*/ 999744 w 2072640"/>
              <a:gd name="connsiteY19" fmla="*/ 337312 h 3665728"/>
              <a:gd name="connsiteX20" fmla="*/ 1129792 w 2072640"/>
              <a:gd name="connsiteY20" fmla="*/ 243840 h 3665728"/>
              <a:gd name="connsiteX21" fmla="*/ 1300480 w 2072640"/>
              <a:gd name="connsiteY21" fmla="*/ 154432 h 3665728"/>
              <a:gd name="connsiteX22" fmla="*/ 1442720 w 2072640"/>
              <a:gd name="connsiteY22" fmla="*/ 73152 h 3665728"/>
              <a:gd name="connsiteX23" fmla="*/ 1556512 w 2072640"/>
              <a:gd name="connsiteY23" fmla="*/ 32512 h 3665728"/>
              <a:gd name="connsiteX24" fmla="*/ 1645920 w 2072640"/>
              <a:gd name="connsiteY24" fmla="*/ 8128 h 3665728"/>
              <a:gd name="connsiteX25" fmla="*/ 1686560 w 2072640"/>
              <a:gd name="connsiteY25" fmla="*/ 4064 h 3665728"/>
              <a:gd name="connsiteX26" fmla="*/ 1739392 w 2072640"/>
              <a:gd name="connsiteY26" fmla="*/ 4064 h 3665728"/>
              <a:gd name="connsiteX27" fmla="*/ 1755648 w 2072640"/>
              <a:gd name="connsiteY27" fmla="*/ 0 h 3665728"/>
              <a:gd name="connsiteX28" fmla="*/ 1836928 w 2072640"/>
              <a:gd name="connsiteY28" fmla="*/ 12192 h 3665728"/>
              <a:gd name="connsiteX29" fmla="*/ 1897888 w 2072640"/>
              <a:gd name="connsiteY29" fmla="*/ 28448 h 3665728"/>
              <a:gd name="connsiteX30" fmla="*/ 1983232 w 2072640"/>
              <a:gd name="connsiteY30" fmla="*/ 81280 h 3665728"/>
              <a:gd name="connsiteX31" fmla="*/ 2015744 w 2072640"/>
              <a:gd name="connsiteY31" fmla="*/ 134112 h 3665728"/>
              <a:gd name="connsiteX32" fmla="*/ 2048256 w 2072640"/>
              <a:gd name="connsiteY32" fmla="*/ 199136 h 3665728"/>
              <a:gd name="connsiteX33" fmla="*/ 2064512 w 2072640"/>
              <a:gd name="connsiteY33" fmla="*/ 264160 h 3665728"/>
              <a:gd name="connsiteX34" fmla="*/ 2064512 w 2072640"/>
              <a:gd name="connsiteY34" fmla="*/ 321056 h 3665728"/>
              <a:gd name="connsiteX35" fmla="*/ 2072640 w 2072640"/>
              <a:gd name="connsiteY35" fmla="*/ 410464 h 3665728"/>
              <a:gd name="connsiteX36" fmla="*/ 2060448 w 2072640"/>
              <a:gd name="connsiteY36" fmla="*/ 487680 h 3665728"/>
              <a:gd name="connsiteX37" fmla="*/ 2023872 w 2072640"/>
              <a:gd name="connsiteY37" fmla="*/ 589280 h 3665728"/>
              <a:gd name="connsiteX38" fmla="*/ 1975104 w 2072640"/>
              <a:gd name="connsiteY38" fmla="*/ 739648 h 3665728"/>
              <a:gd name="connsiteX39" fmla="*/ 1910080 w 2072640"/>
              <a:gd name="connsiteY39" fmla="*/ 873760 h 3665728"/>
              <a:gd name="connsiteX40" fmla="*/ 1845056 w 2072640"/>
              <a:gd name="connsiteY40" fmla="*/ 1020064 h 3665728"/>
              <a:gd name="connsiteX41" fmla="*/ 1763776 w 2072640"/>
              <a:gd name="connsiteY41" fmla="*/ 1162304 h 3665728"/>
              <a:gd name="connsiteX42" fmla="*/ 1670304 w 2072640"/>
              <a:gd name="connsiteY42" fmla="*/ 1337056 h 3665728"/>
              <a:gd name="connsiteX43" fmla="*/ 1552448 w 2072640"/>
              <a:gd name="connsiteY43" fmla="*/ 1503680 h 3665728"/>
              <a:gd name="connsiteX44" fmla="*/ 1381760 w 2072640"/>
              <a:gd name="connsiteY44" fmla="*/ 1767840 h 3665728"/>
              <a:gd name="connsiteX45" fmla="*/ 1247648 w 2072640"/>
              <a:gd name="connsiteY45" fmla="*/ 1946656 h 3665728"/>
              <a:gd name="connsiteX46" fmla="*/ 1060704 w 2072640"/>
              <a:gd name="connsiteY46" fmla="*/ 2186432 h 3665728"/>
              <a:gd name="connsiteX47" fmla="*/ 898144 w 2072640"/>
              <a:gd name="connsiteY47" fmla="*/ 2397760 h 3665728"/>
              <a:gd name="connsiteX48" fmla="*/ 548640 w 2072640"/>
              <a:gd name="connsiteY48" fmla="*/ 2852928 h 3665728"/>
              <a:gd name="connsiteX49" fmla="*/ 308864 w 2072640"/>
              <a:gd name="connsiteY49" fmla="*/ 3165856 h 3665728"/>
              <a:gd name="connsiteX50" fmla="*/ 65024 w 2072640"/>
              <a:gd name="connsiteY50" fmla="*/ 3551936 h 3665728"/>
              <a:gd name="connsiteX51" fmla="*/ 0 w 2072640"/>
              <a:gd name="connsiteY51" fmla="*/ 3665728 h 3665728"/>
              <a:gd name="connsiteX0" fmla="*/ 666496 w 2072640"/>
              <a:gd name="connsiteY0" fmla="*/ 495808 h 3665728"/>
              <a:gd name="connsiteX1" fmla="*/ 727456 w 2072640"/>
              <a:gd name="connsiteY1" fmla="*/ 617728 h 3665728"/>
              <a:gd name="connsiteX2" fmla="*/ 796544 w 2072640"/>
              <a:gd name="connsiteY2" fmla="*/ 751840 h 3665728"/>
              <a:gd name="connsiteX3" fmla="*/ 824992 w 2072640"/>
              <a:gd name="connsiteY3" fmla="*/ 865632 h 3665728"/>
              <a:gd name="connsiteX4" fmla="*/ 833120 w 2072640"/>
              <a:gd name="connsiteY4" fmla="*/ 938784 h 3665728"/>
              <a:gd name="connsiteX5" fmla="*/ 816864 w 2072640"/>
              <a:gd name="connsiteY5" fmla="*/ 1016000 h 3665728"/>
              <a:gd name="connsiteX6" fmla="*/ 759968 w 2072640"/>
              <a:gd name="connsiteY6" fmla="*/ 1060704 h 3665728"/>
              <a:gd name="connsiteX7" fmla="*/ 719328 w 2072640"/>
              <a:gd name="connsiteY7" fmla="*/ 1068832 h 3665728"/>
              <a:gd name="connsiteX8" fmla="*/ 654304 w 2072640"/>
              <a:gd name="connsiteY8" fmla="*/ 1064768 h 3665728"/>
              <a:gd name="connsiteX9" fmla="*/ 597408 w 2072640"/>
              <a:gd name="connsiteY9" fmla="*/ 1040384 h 3665728"/>
              <a:gd name="connsiteX10" fmla="*/ 568960 w 2072640"/>
              <a:gd name="connsiteY10" fmla="*/ 975360 h 3665728"/>
              <a:gd name="connsiteX11" fmla="*/ 548640 w 2072640"/>
              <a:gd name="connsiteY11" fmla="*/ 922528 h 3665728"/>
              <a:gd name="connsiteX12" fmla="*/ 548640 w 2072640"/>
              <a:gd name="connsiteY12" fmla="*/ 833120 h 3665728"/>
              <a:gd name="connsiteX13" fmla="*/ 581152 w 2072640"/>
              <a:gd name="connsiteY13" fmla="*/ 768096 h 3665728"/>
              <a:gd name="connsiteX14" fmla="*/ 593344 w 2072640"/>
              <a:gd name="connsiteY14" fmla="*/ 715264 h 3665728"/>
              <a:gd name="connsiteX15" fmla="*/ 650240 w 2072640"/>
              <a:gd name="connsiteY15" fmla="*/ 674624 h 3665728"/>
              <a:gd name="connsiteX16" fmla="*/ 690880 w 2072640"/>
              <a:gd name="connsiteY16" fmla="*/ 617728 h 3665728"/>
              <a:gd name="connsiteX17" fmla="*/ 784352 w 2072640"/>
              <a:gd name="connsiteY17" fmla="*/ 532384 h 3665728"/>
              <a:gd name="connsiteX18" fmla="*/ 890016 w 2072640"/>
              <a:gd name="connsiteY18" fmla="*/ 438912 h 3665728"/>
              <a:gd name="connsiteX19" fmla="*/ 999744 w 2072640"/>
              <a:gd name="connsiteY19" fmla="*/ 337312 h 3665728"/>
              <a:gd name="connsiteX20" fmla="*/ 1129792 w 2072640"/>
              <a:gd name="connsiteY20" fmla="*/ 243840 h 3665728"/>
              <a:gd name="connsiteX21" fmla="*/ 1300480 w 2072640"/>
              <a:gd name="connsiteY21" fmla="*/ 154432 h 3665728"/>
              <a:gd name="connsiteX22" fmla="*/ 1442720 w 2072640"/>
              <a:gd name="connsiteY22" fmla="*/ 73152 h 3665728"/>
              <a:gd name="connsiteX23" fmla="*/ 1556512 w 2072640"/>
              <a:gd name="connsiteY23" fmla="*/ 32512 h 3665728"/>
              <a:gd name="connsiteX24" fmla="*/ 1645920 w 2072640"/>
              <a:gd name="connsiteY24" fmla="*/ 8128 h 3665728"/>
              <a:gd name="connsiteX25" fmla="*/ 1686560 w 2072640"/>
              <a:gd name="connsiteY25" fmla="*/ 4064 h 3665728"/>
              <a:gd name="connsiteX26" fmla="*/ 1739392 w 2072640"/>
              <a:gd name="connsiteY26" fmla="*/ 4064 h 3665728"/>
              <a:gd name="connsiteX27" fmla="*/ 1755648 w 2072640"/>
              <a:gd name="connsiteY27" fmla="*/ 0 h 3665728"/>
              <a:gd name="connsiteX28" fmla="*/ 1836928 w 2072640"/>
              <a:gd name="connsiteY28" fmla="*/ 12192 h 3665728"/>
              <a:gd name="connsiteX29" fmla="*/ 1897888 w 2072640"/>
              <a:gd name="connsiteY29" fmla="*/ 28448 h 3665728"/>
              <a:gd name="connsiteX30" fmla="*/ 1983232 w 2072640"/>
              <a:gd name="connsiteY30" fmla="*/ 81280 h 3665728"/>
              <a:gd name="connsiteX31" fmla="*/ 2015744 w 2072640"/>
              <a:gd name="connsiteY31" fmla="*/ 134112 h 3665728"/>
              <a:gd name="connsiteX32" fmla="*/ 2048256 w 2072640"/>
              <a:gd name="connsiteY32" fmla="*/ 199136 h 3665728"/>
              <a:gd name="connsiteX33" fmla="*/ 2064512 w 2072640"/>
              <a:gd name="connsiteY33" fmla="*/ 264160 h 3665728"/>
              <a:gd name="connsiteX34" fmla="*/ 2064512 w 2072640"/>
              <a:gd name="connsiteY34" fmla="*/ 321056 h 3665728"/>
              <a:gd name="connsiteX35" fmla="*/ 2072640 w 2072640"/>
              <a:gd name="connsiteY35" fmla="*/ 410464 h 3665728"/>
              <a:gd name="connsiteX36" fmla="*/ 2060448 w 2072640"/>
              <a:gd name="connsiteY36" fmla="*/ 487680 h 3665728"/>
              <a:gd name="connsiteX37" fmla="*/ 2023872 w 2072640"/>
              <a:gd name="connsiteY37" fmla="*/ 589280 h 3665728"/>
              <a:gd name="connsiteX38" fmla="*/ 1975104 w 2072640"/>
              <a:gd name="connsiteY38" fmla="*/ 739648 h 3665728"/>
              <a:gd name="connsiteX39" fmla="*/ 1910080 w 2072640"/>
              <a:gd name="connsiteY39" fmla="*/ 873760 h 3665728"/>
              <a:gd name="connsiteX40" fmla="*/ 1845056 w 2072640"/>
              <a:gd name="connsiteY40" fmla="*/ 1020064 h 3665728"/>
              <a:gd name="connsiteX41" fmla="*/ 1763776 w 2072640"/>
              <a:gd name="connsiteY41" fmla="*/ 1162304 h 3665728"/>
              <a:gd name="connsiteX42" fmla="*/ 1666240 w 2072640"/>
              <a:gd name="connsiteY42" fmla="*/ 1341120 h 3665728"/>
              <a:gd name="connsiteX43" fmla="*/ 1552448 w 2072640"/>
              <a:gd name="connsiteY43" fmla="*/ 1503680 h 3665728"/>
              <a:gd name="connsiteX44" fmla="*/ 1381760 w 2072640"/>
              <a:gd name="connsiteY44" fmla="*/ 1767840 h 3665728"/>
              <a:gd name="connsiteX45" fmla="*/ 1247648 w 2072640"/>
              <a:gd name="connsiteY45" fmla="*/ 1946656 h 3665728"/>
              <a:gd name="connsiteX46" fmla="*/ 1060704 w 2072640"/>
              <a:gd name="connsiteY46" fmla="*/ 2186432 h 3665728"/>
              <a:gd name="connsiteX47" fmla="*/ 898144 w 2072640"/>
              <a:gd name="connsiteY47" fmla="*/ 2397760 h 3665728"/>
              <a:gd name="connsiteX48" fmla="*/ 548640 w 2072640"/>
              <a:gd name="connsiteY48" fmla="*/ 2852928 h 3665728"/>
              <a:gd name="connsiteX49" fmla="*/ 308864 w 2072640"/>
              <a:gd name="connsiteY49" fmla="*/ 3165856 h 3665728"/>
              <a:gd name="connsiteX50" fmla="*/ 65024 w 2072640"/>
              <a:gd name="connsiteY50" fmla="*/ 3551936 h 3665728"/>
              <a:gd name="connsiteX51" fmla="*/ 0 w 2072640"/>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90016 w 2080768"/>
              <a:gd name="connsiteY18" fmla="*/ 438912 h 3665728"/>
              <a:gd name="connsiteX19" fmla="*/ 999744 w 2080768"/>
              <a:gd name="connsiteY19" fmla="*/ 337312 h 3665728"/>
              <a:gd name="connsiteX20" fmla="*/ 1129792 w 2080768"/>
              <a:gd name="connsiteY20" fmla="*/ 243840 h 3665728"/>
              <a:gd name="connsiteX21" fmla="*/ 1300480 w 2080768"/>
              <a:gd name="connsiteY21" fmla="*/ 154432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686560 w 2080768"/>
              <a:gd name="connsiteY25" fmla="*/ 4064 h 3665728"/>
              <a:gd name="connsiteX26" fmla="*/ 1739392 w 2080768"/>
              <a:gd name="connsiteY26" fmla="*/ 4064 h 3665728"/>
              <a:gd name="connsiteX27" fmla="*/ 1755648 w 2080768"/>
              <a:gd name="connsiteY27" fmla="*/ 0 h 3665728"/>
              <a:gd name="connsiteX28" fmla="*/ 1836928 w 2080768"/>
              <a:gd name="connsiteY28" fmla="*/ 12192 h 3665728"/>
              <a:gd name="connsiteX29" fmla="*/ 1897888 w 2080768"/>
              <a:gd name="connsiteY29" fmla="*/ 28448 h 3665728"/>
              <a:gd name="connsiteX30" fmla="*/ 1983232 w 2080768"/>
              <a:gd name="connsiteY30" fmla="*/ 81280 h 3665728"/>
              <a:gd name="connsiteX31" fmla="*/ 2015744 w 2080768"/>
              <a:gd name="connsiteY31" fmla="*/ 134112 h 3665728"/>
              <a:gd name="connsiteX32" fmla="*/ 2048256 w 2080768"/>
              <a:gd name="connsiteY32" fmla="*/ 199136 h 3665728"/>
              <a:gd name="connsiteX33" fmla="*/ 2064512 w 2080768"/>
              <a:gd name="connsiteY33" fmla="*/ 264160 h 3665728"/>
              <a:gd name="connsiteX34" fmla="*/ 2080768 w 2080768"/>
              <a:gd name="connsiteY34" fmla="*/ 337312 h 3665728"/>
              <a:gd name="connsiteX35" fmla="*/ 2072640 w 2080768"/>
              <a:gd name="connsiteY35" fmla="*/ 410464 h 3665728"/>
              <a:gd name="connsiteX36" fmla="*/ 2060448 w 2080768"/>
              <a:gd name="connsiteY36" fmla="*/ 487680 h 3665728"/>
              <a:gd name="connsiteX37" fmla="*/ 2023872 w 2080768"/>
              <a:gd name="connsiteY37" fmla="*/ 589280 h 3665728"/>
              <a:gd name="connsiteX38" fmla="*/ 1975104 w 2080768"/>
              <a:gd name="connsiteY38" fmla="*/ 739648 h 3665728"/>
              <a:gd name="connsiteX39" fmla="*/ 1910080 w 2080768"/>
              <a:gd name="connsiteY39" fmla="*/ 873760 h 3665728"/>
              <a:gd name="connsiteX40" fmla="*/ 1845056 w 2080768"/>
              <a:gd name="connsiteY40" fmla="*/ 1020064 h 3665728"/>
              <a:gd name="connsiteX41" fmla="*/ 1763776 w 2080768"/>
              <a:gd name="connsiteY41" fmla="*/ 1162304 h 3665728"/>
              <a:gd name="connsiteX42" fmla="*/ 1666240 w 2080768"/>
              <a:gd name="connsiteY42" fmla="*/ 1341120 h 3665728"/>
              <a:gd name="connsiteX43" fmla="*/ 1552448 w 2080768"/>
              <a:gd name="connsiteY43" fmla="*/ 1503680 h 3665728"/>
              <a:gd name="connsiteX44" fmla="*/ 1381760 w 2080768"/>
              <a:gd name="connsiteY44" fmla="*/ 1767840 h 3665728"/>
              <a:gd name="connsiteX45" fmla="*/ 1247648 w 2080768"/>
              <a:gd name="connsiteY45" fmla="*/ 1946656 h 3665728"/>
              <a:gd name="connsiteX46" fmla="*/ 1060704 w 2080768"/>
              <a:gd name="connsiteY46" fmla="*/ 2186432 h 3665728"/>
              <a:gd name="connsiteX47" fmla="*/ 898144 w 2080768"/>
              <a:gd name="connsiteY47" fmla="*/ 2397760 h 3665728"/>
              <a:gd name="connsiteX48" fmla="*/ 548640 w 2080768"/>
              <a:gd name="connsiteY48" fmla="*/ 2852928 h 3665728"/>
              <a:gd name="connsiteX49" fmla="*/ 308864 w 2080768"/>
              <a:gd name="connsiteY49" fmla="*/ 3165856 h 3665728"/>
              <a:gd name="connsiteX50" fmla="*/ 65024 w 2080768"/>
              <a:gd name="connsiteY50" fmla="*/ 3551936 h 3665728"/>
              <a:gd name="connsiteX51" fmla="*/ 0 w 2080768"/>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90016 w 2080768"/>
              <a:gd name="connsiteY18" fmla="*/ 438912 h 3665728"/>
              <a:gd name="connsiteX19" fmla="*/ 999744 w 2080768"/>
              <a:gd name="connsiteY19" fmla="*/ 337312 h 3665728"/>
              <a:gd name="connsiteX20" fmla="*/ 1129792 w 2080768"/>
              <a:gd name="connsiteY20" fmla="*/ 243840 h 3665728"/>
              <a:gd name="connsiteX21" fmla="*/ 1300480 w 2080768"/>
              <a:gd name="connsiteY21" fmla="*/ 154432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686560 w 2080768"/>
              <a:gd name="connsiteY25" fmla="*/ 4064 h 3665728"/>
              <a:gd name="connsiteX26" fmla="*/ 1739392 w 2080768"/>
              <a:gd name="connsiteY26" fmla="*/ 4064 h 3665728"/>
              <a:gd name="connsiteX27" fmla="*/ 1755648 w 2080768"/>
              <a:gd name="connsiteY27" fmla="*/ 0 h 3665728"/>
              <a:gd name="connsiteX28" fmla="*/ 1836928 w 2080768"/>
              <a:gd name="connsiteY28" fmla="*/ 12192 h 3665728"/>
              <a:gd name="connsiteX29" fmla="*/ 1897888 w 2080768"/>
              <a:gd name="connsiteY29" fmla="*/ 28448 h 3665728"/>
              <a:gd name="connsiteX30" fmla="*/ 1983232 w 2080768"/>
              <a:gd name="connsiteY30" fmla="*/ 81280 h 3665728"/>
              <a:gd name="connsiteX31" fmla="*/ 2015744 w 2080768"/>
              <a:gd name="connsiteY31" fmla="*/ 134112 h 3665728"/>
              <a:gd name="connsiteX32" fmla="*/ 2048256 w 2080768"/>
              <a:gd name="connsiteY32" fmla="*/ 199136 h 3665728"/>
              <a:gd name="connsiteX33" fmla="*/ 2064512 w 2080768"/>
              <a:gd name="connsiteY33" fmla="*/ 264160 h 3665728"/>
              <a:gd name="connsiteX34" fmla="*/ 2080768 w 2080768"/>
              <a:gd name="connsiteY34" fmla="*/ 337312 h 3665728"/>
              <a:gd name="connsiteX35" fmla="*/ 2072640 w 2080768"/>
              <a:gd name="connsiteY35" fmla="*/ 410464 h 3665728"/>
              <a:gd name="connsiteX36" fmla="*/ 2060448 w 2080768"/>
              <a:gd name="connsiteY36" fmla="*/ 487680 h 3665728"/>
              <a:gd name="connsiteX37" fmla="*/ 2027936 w 2080768"/>
              <a:gd name="connsiteY37" fmla="*/ 597408 h 3665728"/>
              <a:gd name="connsiteX38" fmla="*/ 1975104 w 2080768"/>
              <a:gd name="connsiteY38" fmla="*/ 739648 h 3665728"/>
              <a:gd name="connsiteX39" fmla="*/ 1910080 w 2080768"/>
              <a:gd name="connsiteY39" fmla="*/ 873760 h 3665728"/>
              <a:gd name="connsiteX40" fmla="*/ 1845056 w 2080768"/>
              <a:gd name="connsiteY40" fmla="*/ 1020064 h 3665728"/>
              <a:gd name="connsiteX41" fmla="*/ 1763776 w 2080768"/>
              <a:gd name="connsiteY41" fmla="*/ 1162304 h 3665728"/>
              <a:gd name="connsiteX42" fmla="*/ 1666240 w 2080768"/>
              <a:gd name="connsiteY42" fmla="*/ 1341120 h 3665728"/>
              <a:gd name="connsiteX43" fmla="*/ 1552448 w 2080768"/>
              <a:gd name="connsiteY43" fmla="*/ 1503680 h 3665728"/>
              <a:gd name="connsiteX44" fmla="*/ 1381760 w 2080768"/>
              <a:gd name="connsiteY44" fmla="*/ 1767840 h 3665728"/>
              <a:gd name="connsiteX45" fmla="*/ 1247648 w 2080768"/>
              <a:gd name="connsiteY45" fmla="*/ 1946656 h 3665728"/>
              <a:gd name="connsiteX46" fmla="*/ 1060704 w 2080768"/>
              <a:gd name="connsiteY46" fmla="*/ 2186432 h 3665728"/>
              <a:gd name="connsiteX47" fmla="*/ 898144 w 2080768"/>
              <a:gd name="connsiteY47" fmla="*/ 2397760 h 3665728"/>
              <a:gd name="connsiteX48" fmla="*/ 548640 w 2080768"/>
              <a:gd name="connsiteY48" fmla="*/ 2852928 h 3665728"/>
              <a:gd name="connsiteX49" fmla="*/ 308864 w 2080768"/>
              <a:gd name="connsiteY49" fmla="*/ 3165856 h 3665728"/>
              <a:gd name="connsiteX50" fmla="*/ 65024 w 2080768"/>
              <a:gd name="connsiteY50" fmla="*/ 3551936 h 3665728"/>
              <a:gd name="connsiteX51" fmla="*/ 0 w 2080768"/>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90016 w 2080768"/>
              <a:gd name="connsiteY18" fmla="*/ 438912 h 3665728"/>
              <a:gd name="connsiteX19" fmla="*/ 999744 w 2080768"/>
              <a:gd name="connsiteY19" fmla="*/ 337312 h 3665728"/>
              <a:gd name="connsiteX20" fmla="*/ 1129792 w 2080768"/>
              <a:gd name="connsiteY20" fmla="*/ 243840 h 3665728"/>
              <a:gd name="connsiteX21" fmla="*/ 1300480 w 2080768"/>
              <a:gd name="connsiteY21" fmla="*/ 154432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686560 w 2080768"/>
              <a:gd name="connsiteY25" fmla="*/ 4064 h 3665728"/>
              <a:gd name="connsiteX26" fmla="*/ 1739392 w 2080768"/>
              <a:gd name="connsiteY26" fmla="*/ 4064 h 3665728"/>
              <a:gd name="connsiteX27" fmla="*/ 1755648 w 2080768"/>
              <a:gd name="connsiteY27" fmla="*/ 0 h 3665728"/>
              <a:gd name="connsiteX28" fmla="*/ 1836928 w 2080768"/>
              <a:gd name="connsiteY28" fmla="*/ 12192 h 3665728"/>
              <a:gd name="connsiteX29" fmla="*/ 1897888 w 2080768"/>
              <a:gd name="connsiteY29" fmla="*/ 28448 h 3665728"/>
              <a:gd name="connsiteX30" fmla="*/ 1983232 w 2080768"/>
              <a:gd name="connsiteY30" fmla="*/ 81280 h 3665728"/>
              <a:gd name="connsiteX31" fmla="*/ 2015744 w 2080768"/>
              <a:gd name="connsiteY31" fmla="*/ 134112 h 3665728"/>
              <a:gd name="connsiteX32" fmla="*/ 2048256 w 2080768"/>
              <a:gd name="connsiteY32" fmla="*/ 199136 h 3665728"/>
              <a:gd name="connsiteX33" fmla="*/ 2064512 w 2080768"/>
              <a:gd name="connsiteY33" fmla="*/ 264160 h 3665728"/>
              <a:gd name="connsiteX34" fmla="*/ 2080768 w 2080768"/>
              <a:gd name="connsiteY34" fmla="*/ 337312 h 3665728"/>
              <a:gd name="connsiteX35" fmla="*/ 2072640 w 2080768"/>
              <a:gd name="connsiteY35" fmla="*/ 410464 h 3665728"/>
              <a:gd name="connsiteX36" fmla="*/ 2060448 w 2080768"/>
              <a:gd name="connsiteY36" fmla="*/ 487680 h 3665728"/>
              <a:gd name="connsiteX37" fmla="*/ 2027936 w 2080768"/>
              <a:gd name="connsiteY37" fmla="*/ 597408 h 3665728"/>
              <a:gd name="connsiteX38" fmla="*/ 1975104 w 2080768"/>
              <a:gd name="connsiteY38" fmla="*/ 739648 h 3665728"/>
              <a:gd name="connsiteX39" fmla="*/ 1914144 w 2080768"/>
              <a:gd name="connsiteY39" fmla="*/ 865632 h 3665728"/>
              <a:gd name="connsiteX40" fmla="*/ 1845056 w 2080768"/>
              <a:gd name="connsiteY40" fmla="*/ 1020064 h 3665728"/>
              <a:gd name="connsiteX41" fmla="*/ 1763776 w 2080768"/>
              <a:gd name="connsiteY41" fmla="*/ 1162304 h 3665728"/>
              <a:gd name="connsiteX42" fmla="*/ 1666240 w 2080768"/>
              <a:gd name="connsiteY42" fmla="*/ 1341120 h 3665728"/>
              <a:gd name="connsiteX43" fmla="*/ 1552448 w 2080768"/>
              <a:gd name="connsiteY43" fmla="*/ 1503680 h 3665728"/>
              <a:gd name="connsiteX44" fmla="*/ 1381760 w 2080768"/>
              <a:gd name="connsiteY44" fmla="*/ 1767840 h 3665728"/>
              <a:gd name="connsiteX45" fmla="*/ 1247648 w 2080768"/>
              <a:gd name="connsiteY45" fmla="*/ 1946656 h 3665728"/>
              <a:gd name="connsiteX46" fmla="*/ 1060704 w 2080768"/>
              <a:gd name="connsiteY46" fmla="*/ 2186432 h 3665728"/>
              <a:gd name="connsiteX47" fmla="*/ 898144 w 2080768"/>
              <a:gd name="connsiteY47" fmla="*/ 2397760 h 3665728"/>
              <a:gd name="connsiteX48" fmla="*/ 548640 w 2080768"/>
              <a:gd name="connsiteY48" fmla="*/ 2852928 h 3665728"/>
              <a:gd name="connsiteX49" fmla="*/ 308864 w 2080768"/>
              <a:gd name="connsiteY49" fmla="*/ 3165856 h 3665728"/>
              <a:gd name="connsiteX50" fmla="*/ 65024 w 2080768"/>
              <a:gd name="connsiteY50" fmla="*/ 3551936 h 3665728"/>
              <a:gd name="connsiteX51" fmla="*/ 0 w 2080768"/>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90016 w 2080768"/>
              <a:gd name="connsiteY18" fmla="*/ 438912 h 3665728"/>
              <a:gd name="connsiteX19" fmla="*/ 999744 w 2080768"/>
              <a:gd name="connsiteY19" fmla="*/ 337312 h 3665728"/>
              <a:gd name="connsiteX20" fmla="*/ 1129792 w 2080768"/>
              <a:gd name="connsiteY20" fmla="*/ 243840 h 3665728"/>
              <a:gd name="connsiteX21" fmla="*/ 1300480 w 2080768"/>
              <a:gd name="connsiteY21" fmla="*/ 154432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686560 w 2080768"/>
              <a:gd name="connsiteY25" fmla="*/ 4064 h 3665728"/>
              <a:gd name="connsiteX26" fmla="*/ 1739392 w 2080768"/>
              <a:gd name="connsiteY26" fmla="*/ 4064 h 3665728"/>
              <a:gd name="connsiteX27" fmla="*/ 1755648 w 2080768"/>
              <a:gd name="connsiteY27" fmla="*/ 0 h 3665728"/>
              <a:gd name="connsiteX28" fmla="*/ 1836928 w 2080768"/>
              <a:gd name="connsiteY28" fmla="*/ 12192 h 3665728"/>
              <a:gd name="connsiteX29" fmla="*/ 1897888 w 2080768"/>
              <a:gd name="connsiteY29" fmla="*/ 28448 h 3665728"/>
              <a:gd name="connsiteX30" fmla="*/ 1983232 w 2080768"/>
              <a:gd name="connsiteY30" fmla="*/ 81280 h 3665728"/>
              <a:gd name="connsiteX31" fmla="*/ 2015744 w 2080768"/>
              <a:gd name="connsiteY31" fmla="*/ 134112 h 3665728"/>
              <a:gd name="connsiteX32" fmla="*/ 2048256 w 2080768"/>
              <a:gd name="connsiteY32" fmla="*/ 199136 h 3665728"/>
              <a:gd name="connsiteX33" fmla="*/ 2064512 w 2080768"/>
              <a:gd name="connsiteY33" fmla="*/ 264160 h 3665728"/>
              <a:gd name="connsiteX34" fmla="*/ 2080768 w 2080768"/>
              <a:gd name="connsiteY34" fmla="*/ 337312 h 3665728"/>
              <a:gd name="connsiteX35" fmla="*/ 2072640 w 2080768"/>
              <a:gd name="connsiteY35" fmla="*/ 410464 h 3665728"/>
              <a:gd name="connsiteX36" fmla="*/ 2060448 w 2080768"/>
              <a:gd name="connsiteY36" fmla="*/ 487680 h 3665728"/>
              <a:gd name="connsiteX37" fmla="*/ 2027936 w 2080768"/>
              <a:gd name="connsiteY37" fmla="*/ 597408 h 3665728"/>
              <a:gd name="connsiteX38" fmla="*/ 1975104 w 2080768"/>
              <a:gd name="connsiteY38" fmla="*/ 739648 h 3665728"/>
              <a:gd name="connsiteX39" fmla="*/ 1918208 w 2080768"/>
              <a:gd name="connsiteY39" fmla="*/ 865632 h 3665728"/>
              <a:gd name="connsiteX40" fmla="*/ 1845056 w 2080768"/>
              <a:gd name="connsiteY40" fmla="*/ 1020064 h 3665728"/>
              <a:gd name="connsiteX41" fmla="*/ 1763776 w 2080768"/>
              <a:gd name="connsiteY41" fmla="*/ 1162304 h 3665728"/>
              <a:gd name="connsiteX42" fmla="*/ 1666240 w 2080768"/>
              <a:gd name="connsiteY42" fmla="*/ 1341120 h 3665728"/>
              <a:gd name="connsiteX43" fmla="*/ 1552448 w 2080768"/>
              <a:gd name="connsiteY43" fmla="*/ 1503680 h 3665728"/>
              <a:gd name="connsiteX44" fmla="*/ 1381760 w 2080768"/>
              <a:gd name="connsiteY44" fmla="*/ 1767840 h 3665728"/>
              <a:gd name="connsiteX45" fmla="*/ 1247648 w 2080768"/>
              <a:gd name="connsiteY45" fmla="*/ 1946656 h 3665728"/>
              <a:gd name="connsiteX46" fmla="*/ 1060704 w 2080768"/>
              <a:gd name="connsiteY46" fmla="*/ 2186432 h 3665728"/>
              <a:gd name="connsiteX47" fmla="*/ 898144 w 2080768"/>
              <a:gd name="connsiteY47" fmla="*/ 2397760 h 3665728"/>
              <a:gd name="connsiteX48" fmla="*/ 548640 w 2080768"/>
              <a:gd name="connsiteY48" fmla="*/ 2852928 h 3665728"/>
              <a:gd name="connsiteX49" fmla="*/ 308864 w 2080768"/>
              <a:gd name="connsiteY49" fmla="*/ 3165856 h 3665728"/>
              <a:gd name="connsiteX50" fmla="*/ 65024 w 2080768"/>
              <a:gd name="connsiteY50" fmla="*/ 3551936 h 3665728"/>
              <a:gd name="connsiteX51" fmla="*/ 0 w 2080768"/>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85952 w 2080768"/>
              <a:gd name="connsiteY18" fmla="*/ 422656 h 3665728"/>
              <a:gd name="connsiteX19" fmla="*/ 999744 w 2080768"/>
              <a:gd name="connsiteY19" fmla="*/ 337312 h 3665728"/>
              <a:gd name="connsiteX20" fmla="*/ 1129792 w 2080768"/>
              <a:gd name="connsiteY20" fmla="*/ 243840 h 3665728"/>
              <a:gd name="connsiteX21" fmla="*/ 1300480 w 2080768"/>
              <a:gd name="connsiteY21" fmla="*/ 154432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686560 w 2080768"/>
              <a:gd name="connsiteY25" fmla="*/ 4064 h 3665728"/>
              <a:gd name="connsiteX26" fmla="*/ 1739392 w 2080768"/>
              <a:gd name="connsiteY26" fmla="*/ 4064 h 3665728"/>
              <a:gd name="connsiteX27" fmla="*/ 1755648 w 2080768"/>
              <a:gd name="connsiteY27" fmla="*/ 0 h 3665728"/>
              <a:gd name="connsiteX28" fmla="*/ 1836928 w 2080768"/>
              <a:gd name="connsiteY28" fmla="*/ 12192 h 3665728"/>
              <a:gd name="connsiteX29" fmla="*/ 1897888 w 2080768"/>
              <a:gd name="connsiteY29" fmla="*/ 28448 h 3665728"/>
              <a:gd name="connsiteX30" fmla="*/ 1983232 w 2080768"/>
              <a:gd name="connsiteY30" fmla="*/ 81280 h 3665728"/>
              <a:gd name="connsiteX31" fmla="*/ 2015744 w 2080768"/>
              <a:gd name="connsiteY31" fmla="*/ 134112 h 3665728"/>
              <a:gd name="connsiteX32" fmla="*/ 2048256 w 2080768"/>
              <a:gd name="connsiteY32" fmla="*/ 199136 h 3665728"/>
              <a:gd name="connsiteX33" fmla="*/ 2064512 w 2080768"/>
              <a:gd name="connsiteY33" fmla="*/ 264160 h 3665728"/>
              <a:gd name="connsiteX34" fmla="*/ 2080768 w 2080768"/>
              <a:gd name="connsiteY34" fmla="*/ 337312 h 3665728"/>
              <a:gd name="connsiteX35" fmla="*/ 2072640 w 2080768"/>
              <a:gd name="connsiteY35" fmla="*/ 410464 h 3665728"/>
              <a:gd name="connsiteX36" fmla="*/ 2060448 w 2080768"/>
              <a:gd name="connsiteY36" fmla="*/ 487680 h 3665728"/>
              <a:gd name="connsiteX37" fmla="*/ 2027936 w 2080768"/>
              <a:gd name="connsiteY37" fmla="*/ 597408 h 3665728"/>
              <a:gd name="connsiteX38" fmla="*/ 1975104 w 2080768"/>
              <a:gd name="connsiteY38" fmla="*/ 739648 h 3665728"/>
              <a:gd name="connsiteX39" fmla="*/ 1918208 w 2080768"/>
              <a:gd name="connsiteY39" fmla="*/ 865632 h 3665728"/>
              <a:gd name="connsiteX40" fmla="*/ 1845056 w 2080768"/>
              <a:gd name="connsiteY40" fmla="*/ 1020064 h 3665728"/>
              <a:gd name="connsiteX41" fmla="*/ 1763776 w 2080768"/>
              <a:gd name="connsiteY41" fmla="*/ 1162304 h 3665728"/>
              <a:gd name="connsiteX42" fmla="*/ 1666240 w 2080768"/>
              <a:gd name="connsiteY42" fmla="*/ 1341120 h 3665728"/>
              <a:gd name="connsiteX43" fmla="*/ 1552448 w 2080768"/>
              <a:gd name="connsiteY43" fmla="*/ 1503680 h 3665728"/>
              <a:gd name="connsiteX44" fmla="*/ 1381760 w 2080768"/>
              <a:gd name="connsiteY44" fmla="*/ 1767840 h 3665728"/>
              <a:gd name="connsiteX45" fmla="*/ 1247648 w 2080768"/>
              <a:gd name="connsiteY45" fmla="*/ 1946656 h 3665728"/>
              <a:gd name="connsiteX46" fmla="*/ 1060704 w 2080768"/>
              <a:gd name="connsiteY46" fmla="*/ 2186432 h 3665728"/>
              <a:gd name="connsiteX47" fmla="*/ 898144 w 2080768"/>
              <a:gd name="connsiteY47" fmla="*/ 2397760 h 3665728"/>
              <a:gd name="connsiteX48" fmla="*/ 548640 w 2080768"/>
              <a:gd name="connsiteY48" fmla="*/ 2852928 h 3665728"/>
              <a:gd name="connsiteX49" fmla="*/ 308864 w 2080768"/>
              <a:gd name="connsiteY49" fmla="*/ 3165856 h 3665728"/>
              <a:gd name="connsiteX50" fmla="*/ 65024 w 2080768"/>
              <a:gd name="connsiteY50" fmla="*/ 3551936 h 3665728"/>
              <a:gd name="connsiteX51" fmla="*/ 0 w 2080768"/>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85952 w 2080768"/>
              <a:gd name="connsiteY18" fmla="*/ 422656 h 3665728"/>
              <a:gd name="connsiteX19" fmla="*/ 999744 w 2080768"/>
              <a:gd name="connsiteY19" fmla="*/ 337312 h 3665728"/>
              <a:gd name="connsiteX20" fmla="*/ 1129792 w 2080768"/>
              <a:gd name="connsiteY20" fmla="*/ 243840 h 3665728"/>
              <a:gd name="connsiteX21" fmla="*/ 1300480 w 2080768"/>
              <a:gd name="connsiteY21" fmla="*/ 142240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686560 w 2080768"/>
              <a:gd name="connsiteY25" fmla="*/ 4064 h 3665728"/>
              <a:gd name="connsiteX26" fmla="*/ 1739392 w 2080768"/>
              <a:gd name="connsiteY26" fmla="*/ 4064 h 3665728"/>
              <a:gd name="connsiteX27" fmla="*/ 1755648 w 2080768"/>
              <a:gd name="connsiteY27" fmla="*/ 0 h 3665728"/>
              <a:gd name="connsiteX28" fmla="*/ 1836928 w 2080768"/>
              <a:gd name="connsiteY28" fmla="*/ 12192 h 3665728"/>
              <a:gd name="connsiteX29" fmla="*/ 1897888 w 2080768"/>
              <a:gd name="connsiteY29" fmla="*/ 28448 h 3665728"/>
              <a:gd name="connsiteX30" fmla="*/ 1983232 w 2080768"/>
              <a:gd name="connsiteY30" fmla="*/ 81280 h 3665728"/>
              <a:gd name="connsiteX31" fmla="*/ 2015744 w 2080768"/>
              <a:gd name="connsiteY31" fmla="*/ 134112 h 3665728"/>
              <a:gd name="connsiteX32" fmla="*/ 2048256 w 2080768"/>
              <a:gd name="connsiteY32" fmla="*/ 199136 h 3665728"/>
              <a:gd name="connsiteX33" fmla="*/ 2064512 w 2080768"/>
              <a:gd name="connsiteY33" fmla="*/ 264160 h 3665728"/>
              <a:gd name="connsiteX34" fmla="*/ 2080768 w 2080768"/>
              <a:gd name="connsiteY34" fmla="*/ 337312 h 3665728"/>
              <a:gd name="connsiteX35" fmla="*/ 2072640 w 2080768"/>
              <a:gd name="connsiteY35" fmla="*/ 410464 h 3665728"/>
              <a:gd name="connsiteX36" fmla="*/ 2060448 w 2080768"/>
              <a:gd name="connsiteY36" fmla="*/ 487680 h 3665728"/>
              <a:gd name="connsiteX37" fmla="*/ 2027936 w 2080768"/>
              <a:gd name="connsiteY37" fmla="*/ 597408 h 3665728"/>
              <a:gd name="connsiteX38" fmla="*/ 1975104 w 2080768"/>
              <a:gd name="connsiteY38" fmla="*/ 739648 h 3665728"/>
              <a:gd name="connsiteX39" fmla="*/ 1918208 w 2080768"/>
              <a:gd name="connsiteY39" fmla="*/ 865632 h 3665728"/>
              <a:gd name="connsiteX40" fmla="*/ 1845056 w 2080768"/>
              <a:gd name="connsiteY40" fmla="*/ 1020064 h 3665728"/>
              <a:gd name="connsiteX41" fmla="*/ 1763776 w 2080768"/>
              <a:gd name="connsiteY41" fmla="*/ 1162304 h 3665728"/>
              <a:gd name="connsiteX42" fmla="*/ 1666240 w 2080768"/>
              <a:gd name="connsiteY42" fmla="*/ 1341120 h 3665728"/>
              <a:gd name="connsiteX43" fmla="*/ 1552448 w 2080768"/>
              <a:gd name="connsiteY43" fmla="*/ 1503680 h 3665728"/>
              <a:gd name="connsiteX44" fmla="*/ 1381760 w 2080768"/>
              <a:gd name="connsiteY44" fmla="*/ 1767840 h 3665728"/>
              <a:gd name="connsiteX45" fmla="*/ 1247648 w 2080768"/>
              <a:gd name="connsiteY45" fmla="*/ 1946656 h 3665728"/>
              <a:gd name="connsiteX46" fmla="*/ 1060704 w 2080768"/>
              <a:gd name="connsiteY46" fmla="*/ 2186432 h 3665728"/>
              <a:gd name="connsiteX47" fmla="*/ 898144 w 2080768"/>
              <a:gd name="connsiteY47" fmla="*/ 2397760 h 3665728"/>
              <a:gd name="connsiteX48" fmla="*/ 548640 w 2080768"/>
              <a:gd name="connsiteY48" fmla="*/ 2852928 h 3665728"/>
              <a:gd name="connsiteX49" fmla="*/ 308864 w 2080768"/>
              <a:gd name="connsiteY49" fmla="*/ 3165856 h 3665728"/>
              <a:gd name="connsiteX50" fmla="*/ 65024 w 2080768"/>
              <a:gd name="connsiteY50" fmla="*/ 3551936 h 3665728"/>
              <a:gd name="connsiteX51" fmla="*/ 0 w 2080768"/>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85952 w 2080768"/>
              <a:gd name="connsiteY18" fmla="*/ 422656 h 3665728"/>
              <a:gd name="connsiteX19" fmla="*/ 999744 w 2080768"/>
              <a:gd name="connsiteY19" fmla="*/ 337312 h 3665728"/>
              <a:gd name="connsiteX20" fmla="*/ 1129792 w 2080768"/>
              <a:gd name="connsiteY20" fmla="*/ 243840 h 3665728"/>
              <a:gd name="connsiteX21" fmla="*/ 1300480 w 2080768"/>
              <a:gd name="connsiteY21" fmla="*/ 142240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739392 w 2080768"/>
              <a:gd name="connsiteY25" fmla="*/ 4064 h 3665728"/>
              <a:gd name="connsiteX26" fmla="*/ 1755648 w 2080768"/>
              <a:gd name="connsiteY26" fmla="*/ 0 h 3665728"/>
              <a:gd name="connsiteX27" fmla="*/ 1836928 w 2080768"/>
              <a:gd name="connsiteY27" fmla="*/ 12192 h 3665728"/>
              <a:gd name="connsiteX28" fmla="*/ 1897888 w 2080768"/>
              <a:gd name="connsiteY28" fmla="*/ 28448 h 3665728"/>
              <a:gd name="connsiteX29" fmla="*/ 1983232 w 2080768"/>
              <a:gd name="connsiteY29" fmla="*/ 81280 h 3665728"/>
              <a:gd name="connsiteX30" fmla="*/ 2015744 w 2080768"/>
              <a:gd name="connsiteY30" fmla="*/ 134112 h 3665728"/>
              <a:gd name="connsiteX31" fmla="*/ 2048256 w 2080768"/>
              <a:gd name="connsiteY31" fmla="*/ 199136 h 3665728"/>
              <a:gd name="connsiteX32" fmla="*/ 2064512 w 2080768"/>
              <a:gd name="connsiteY32" fmla="*/ 264160 h 3665728"/>
              <a:gd name="connsiteX33" fmla="*/ 2080768 w 2080768"/>
              <a:gd name="connsiteY33" fmla="*/ 337312 h 3665728"/>
              <a:gd name="connsiteX34" fmla="*/ 2072640 w 2080768"/>
              <a:gd name="connsiteY34" fmla="*/ 410464 h 3665728"/>
              <a:gd name="connsiteX35" fmla="*/ 2060448 w 2080768"/>
              <a:gd name="connsiteY35" fmla="*/ 487680 h 3665728"/>
              <a:gd name="connsiteX36" fmla="*/ 2027936 w 2080768"/>
              <a:gd name="connsiteY36" fmla="*/ 597408 h 3665728"/>
              <a:gd name="connsiteX37" fmla="*/ 1975104 w 2080768"/>
              <a:gd name="connsiteY37" fmla="*/ 739648 h 3665728"/>
              <a:gd name="connsiteX38" fmla="*/ 1918208 w 2080768"/>
              <a:gd name="connsiteY38" fmla="*/ 865632 h 3665728"/>
              <a:gd name="connsiteX39" fmla="*/ 1845056 w 2080768"/>
              <a:gd name="connsiteY39" fmla="*/ 1020064 h 3665728"/>
              <a:gd name="connsiteX40" fmla="*/ 1763776 w 2080768"/>
              <a:gd name="connsiteY40" fmla="*/ 1162304 h 3665728"/>
              <a:gd name="connsiteX41" fmla="*/ 1666240 w 2080768"/>
              <a:gd name="connsiteY41" fmla="*/ 1341120 h 3665728"/>
              <a:gd name="connsiteX42" fmla="*/ 1552448 w 2080768"/>
              <a:gd name="connsiteY42" fmla="*/ 1503680 h 3665728"/>
              <a:gd name="connsiteX43" fmla="*/ 1381760 w 2080768"/>
              <a:gd name="connsiteY43" fmla="*/ 1767840 h 3665728"/>
              <a:gd name="connsiteX44" fmla="*/ 1247648 w 2080768"/>
              <a:gd name="connsiteY44" fmla="*/ 1946656 h 3665728"/>
              <a:gd name="connsiteX45" fmla="*/ 1060704 w 2080768"/>
              <a:gd name="connsiteY45" fmla="*/ 2186432 h 3665728"/>
              <a:gd name="connsiteX46" fmla="*/ 898144 w 2080768"/>
              <a:gd name="connsiteY46" fmla="*/ 2397760 h 3665728"/>
              <a:gd name="connsiteX47" fmla="*/ 548640 w 2080768"/>
              <a:gd name="connsiteY47" fmla="*/ 2852928 h 3665728"/>
              <a:gd name="connsiteX48" fmla="*/ 308864 w 2080768"/>
              <a:gd name="connsiteY48" fmla="*/ 3165856 h 3665728"/>
              <a:gd name="connsiteX49" fmla="*/ 65024 w 2080768"/>
              <a:gd name="connsiteY49" fmla="*/ 3551936 h 3665728"/>
              <a:gd name="connsiteX50" fmla="*/ 0 w 2080768"/>
              <a:gd name="connsiteY50" fmla="*/ 3665728 h 3665728"/>
              <a:gd name="connsiteX0" fmla="*/ 666496 w 2080768"/>
              <a:gd name="connsiteY0" fmla="*/ 499872 h 3669792"/>
              <a:gd name="connsiteX1" fmla="*/ 727456 w 2080768"/>
              <a:gd name="connsiteY1" fmla="*/ 621792 h 3669792"/>
              <a:gd name="connsiteX2" fmla="*/ 796544 w 2080768"/>
              <a:gd name="connsiteY2" fmla="*/ 755904 h 3669792"/>
              <a:gd name="connsiteX3" fmla="*/ 824992 w 2080768"/>
              <a:gd name="connsiteY3" fmla="*/ 869696 h 3669792"/>
              <a:gd name="connsiteX4" fmla="*/ 833120 w 2080768"/>
              <a:gd name="connsiteY4" fmla="*/ 942848 h 3669792"/>
              <a:gd name="connsiteX5" fmla="*/ 816864 w 2080768"/>
              <a:gd name="connsiteY5" fmla="*/ 1020064 h 3669792"/>
              <a:gd name="connsiteX6" fmla="*/ 759968 w 2080768"/>
              <a:gd name="connsiteY6" fmla="*/ 1064768 h 3669792"/>
              <a:gd name="connsiteX7" fmla="*/ 719328 w 2080768"/>
              <a:gd name="connsiteY7" fmla="*/ 1072896 h 3669792"/>
              <a:gd name="connsiteX8" fmla="*/ 654304 w 2080768"/>
              <a:gd name="connsiteY8" fmla="*/ 1068832 h 3669792"/>
              <a:gd name="connsiteX9" fmla="*/ 597408 w 2080768"/>
              <a:gd name="connsiteY9" fmla="*/ 1044448 h 3669792"/>
              <a:gd name="connsiteX10" fmla="*/ 568960 w 2080768"/>
              <a:gd name="connsiteY10" fmla="*/ 979424 h 3669792"/>
              <a:gd name="connsiteX11" fmla="*/ 548640 w 2080768"/>
              <a:gd name="connsiteY11" fmla="*/ 926592 h 3669792"/>
              <a:gd name="connsiteX12" fmla="*/ 548640 w 2080768"/>
              <a:gd name="connsiteY12" fmla="*/ 837184 h 3669792"/>
              <a:gd name="connsiteX13" fmla="*/ 581152 w 2080768"/>
              <a:gd name="connsiteY13" fmla="*/ 772160 h 3669792"/>
              <a:gd name="connsiteX14" fmla="*/ 593344 w 2080768"/>
              <a:gd name="connsiteY14" fmla="*/ 719328 h 3669792"/>
              <a:gd name="connsiteX15" fmla="*/ 650240 w 2080768"/>
              <a:gd name="connsiteY15" fmla="*/ 678688 h 3669792"/>
              <a:gd name="connsiteX16" fmla="*/ 690880 w 2080768"/>
              <a:gd name="connsiteY16" fmla="*/ 621792 h 3669792"/>
              <a:gd name="connsiteX17" fmla="*/ 784352 w 2080768"/>
              <a:gd name="connsiteY17" fmla="*/ 536448 h 3669792"/>
              <a:gd name="connsiteX18" fmla="*/ 885952 w 2080768"/>
              <a:gd name="connsiteY18" fmla="*/ 426720 h 3669792"/>
              <a:gd name="connsiteX19" fmla="*/ 999744 w 2080768"/>
              <a:gd name="connsiteY19" fmla="*/ 341376 h 3669792"/>
              <a:gd name="connsiteX20" fmla="*/ 1129792 w 2080768"/>
              <a:gd name="connsiteY20" fmla="*/ 247904 h 3669792"/>
              <a:gd name="connsiteX21" fmla="*/ 1300480 w 2080768"/>
              <a:gd name="connsiteY21" fmla="*/ 146304 h 3669792"/>
              <a:gd name="connsiteX22" fmla="*/ 1442720 w 2080768"/>
              <a:gd name="connsiteY22" fmla="*/ 77216 h 3669792"/>
              <a:gd name="connsiteX23" fmla="*/ 1556512 w 2080768"/>
              <a:gd name="connsiteY23" fmla="*/ 36576 h 3669792"/>
              <a:gd name="connsiteX24" fmla="*/ 1645920 w 2080768"/>
              <a:gd name="connsiteY24" fmla="*/ 12192 h 3669792"/>
              <a:gd name="connsiteX25" fmla="*/ 1715008 w 2080768"/>
              <a:gd name="connsiteY25" fmla="*/ 0 h 3669792"/>
              <a:gd name="connsiteX26" fmla="*/ 1755648 w 2080768"/>
              <a:gd name="connsiteY26" fmla="*/ 4064 h 3669792"/>
              <a:gd name="connsiteX27" fmla="*/ 1836928 w 2080768"/>
              <a:gd name="connsiteY27" fmla="*/ 16256 h 3669792"/>
              <a:gd name="connsiteX28" fmla="*/ 1897888 w 2080768"/>
              <a:gd name="connsiteY28" fmla="*/ 32512 h 3669792"/>
              <a:gd name="connsiteX29" fmla="*/ 1983232 w 2080768"/>
              <a:gd name="connsiteY29" fmla="*/ 85344 h 3669792"/>
              <a:gd name="connsiteX30" fmla="*/ 2015744 w 2080768"/>
              <a:gd name="connsiteY30" fmla="*/ 138176 h 3669792"/>
              <a:gd name="connsiteX31" fmla="*/ 2048256 w 2080768"/>
              <a:gd name="connsiteY31" fmla="*/ 203200 h 3669792"/>
              <a:gd name="connsiteX32" fmla="*/ 2064512 w 2080768"/>
              <a:gd name="connsiteY32" fmla="*/ 268224 h 3669792"/>
              <a:gd name="connsiteX33" fmla="*/ 2080768 w 2080768"/>
              <a:gd name="connsiteY33" fmla="*/ 341376 h 3669792"/>
              <a:gd name="connsiteX34" fmla="*/ 2072640 w 2080768"/>
              <a:gd name="connsiteY34" fmla="*/ 414528 h 3669792"/>
              <a:gd name="connsiteX35" fmla="*/ 2060448 w 2080768"/>
              <a:gd name="connsiteY35" fmla="*/ 491744 h 3669792"/>
              <a:gd name="connsiteX36" fmla="*/ 2027936 w 2080768"/>
              <a:gd name="connsiteY36" fmla="*/ 601472 h 3669792"/>
              <a:gd name="connsiteX37" fmla="*/ 1975104 w 2080768"/>
              <a:gd name="connsiteY37" fmla="*/ 743712 h 3669792"/>
              <a:gd name="connsiteX38" fmla="*/ 1918208 w 2080768"/>
              <a:gd name="connsiteY38" fmla="*/ 869696 h 3669792"/>
              <a:gd name="connsiteX39" fmla="*/ 1845056 w 2080768"/>
              <a:gd name="connsiteY39" fmla="*/ 1024128 h 3669792"/>
              <a:gd name="connsiteX40" fmla="*/ 1763776 w 2080768"/>
              <a:gd name="connsiteY40" fmla="*/ 1166368 h 3669792"/>
              <a:gd name="connsiteX41" fmla="*/ 1666240 w 2080768"/>
              <a:gd name="connsiteY41" fmla="*/ 1345184 h 3669792"/>
              <a:gd name="connsiteX42" fmla="*/ 1552448 w 2080768"/>
              <a:gd name="connsiteY42" fmla="*/ 1507744 h 3669792"/>
              <a:gd name="connsiteX43" fmla="*/ 1381760 w 2080768"/>
              <a:gd name="connsiteY43" fmla="*/ 1771904 h 3669792"/>
              <a:gd name="connsiteX44" fmla="*/ 1247648 w 2080768"/>
              <a:gd name="connsiteY44" fmla="*/ 1950720 h 3669792"/>
              <a:gd name="connsiteX45" fmla="*/ 1060704 w 2080768"/>
              <a:gd name="connsiteY45" fmla="*/ 2190496 h 3669792"/>
              <a:gd name="connsiteX46" fmla="*/ 898144 w 2080768"/>
              <a:gd name="connsiteY46" fmla="*/ 2401824 h 3669792"/>
              <a:gd name="connsiteX47" fmla="*/ 548640 w 2080768"/>
              <a:gd name="connsiteY47" fmla="*/ 2856992 h 3669792"/>
              <a:gd name="connsiteX48" fmla="*/ 308864 w 2080768"/>
              <a:gd name="connsiteY48" fmla="*/ 3169920 h 3669792"/>
              <a:gd name="connsiteX49" fmla="*/ 65024 w 2080768"/>
              <a:gd name="connsiteY49" fmla="*/ 3556000 h 3669792"/>
              <a:gd name="connsiteX50" fmla="*/ 0 w 2080768"/>
              <a:gd name="connsiteY50" fmla="*/ 3669792 h 3669792"/>
              <a:gd name="connsiteX0" fmla="*/ 666496 w 2080768"/>
              <a:gd name="connsiteY0" fmla="*/ 499872 h 3669792"/>
              <a:gd name="connsiteX1" fmla="*/ 727456 w 2080768"/>
              <a:gd name="connsiteY1" fmla="*/ 621792 h 3669792"/>
              <a:gd name="connsiteX2" fmla="*/ 796544 w 2080768"/>
              <a:gd name="connsiteY2" fmla="*/ 755904 h 3669792"/>
              <a:gd name="connsiteX3" fmla="*/ 824992 w 2080768"/>
              <a:gd name="connsiteY3" fmla="*/ 869696 h 3669792"/>
              <a:gd name="connsiteX4" fmla="*/ 833120 w 2080768"/>
              <a:gd name="connsiteY4" fmla="*/ 942848 h 3669792"/>
              <a:gd name="connsiteX5" fmla="*/ 816864 w 2080768"/>
              <a:gd name="connsiteY5" fmla="*/ 1020064 h 3669792"/>
              <a:gd name="connsiteX6" fmla="*/ 759968 w 2080768"/>
              <a:gd name="connsiteY6" fmla="*/ 1064768 h 3669792"/>
              <a:gd name="connsiteX7" fmla="*/ 719328 w 2080768"/>
              <a:gd name="connsiteY7" fmla="*/ 1072896 h 3669792"/>
              <a:gd name="connsiteX8" fmla="*/ 654304 w 2080768"/>
              <a:gd name="connsiteY8" fmla="*/ 1068832 h 3669792"/>
              <a:gd name="connsiteX9" fmla="*/ 597408 w 2080768"/>
              <a:gd name="connsiteY9" fmla="*/ 1044448 h 3669792"/>
              <a:gd name="connsiteX10" fmla="*/ 568960 w 2080768"/>
              <a:gd name="connsiteY10" fmla="*/ 979424 h 3669792"/>
              <a:gd name="connsiteX11" fmla="*/ 548640 w 2080768"/>
              <a:gd name="connsiteY11" fmla="*/ 926592 h 3669792"/>
              <a:gd name="connsiteX12" fmla="*/ 548640 w 2080768"/>
              <a:gd name="connsiteY12" fmla="*/ 837184 h 3669792"/>
              <a:gd name="connsiteX13" fmla="*/ 568960 w 2080768"/>
              <a:gd name="connsiteY13" fmla="*/ 772160 h 3669792"/>
              <a:gd name="connsiteX14" fmla="*/ 593344 w 2080768"/>
              <a:gd name="connsiteY14" fmla="*/ 719328 h 3669792"/>
              <a:gd name="connsiteX15" fmla="*/ 650240 w 2080768"/>
              <a:gd name="connsiteY15" fmla="*/ 678688 h 3669792"/>
              <a:gd name="connsiteX16" fmla="*/ 690880 w 2080768"/>
              <a:gd name="connsiteY16" fmla="*/ 621792 h 3669792"/>
              <a:gd name="connsiteX17" fmla="*/ 784352 w 2080768"/>
              <a:gd name="connsiteY17" fmla="*/ 536448 h 3669792"/>
              <a:gd name="connsiteX18" fmla="*/ 885952 w 2080768"/>
              <a:gd name="connsiteY18" fmla="*/ 426720 h 3669792"/>
              <a:gd name="connsiteX19" fmla="*/ 999744 w 2080768"/>
              <a:gd name="connsiteY19" fmla="*/ 341376 h 3669792"/>
              <a:gd name="connsiteX20" fmla="*/ 1129792 w 2080768"/>
              <a:gd name="connsiteY20" fmla="*/ 247904 h 3669792"/>
              <a:gd name="connsiteX21" fmla="*/ 1300480 w 2080768"/>
              <a:gd name="connsiteY21" fmla="*/ 146304 h 3669792"/>
              <a:gd name="connsiteX22" fmla="*/ 1442720 w 2080768"/>
              <a:gd name="connsiteY22" fmla="*/ 77216 h 3669792"/>
              <a:gd name="connsiteX23" fmla="*/ 1556512 w 2080768"/>
              <a:gd name="connsiteY23" fmla="*/ 36576 h 3669792"/>
              <a:gd name="connsiteX24" fmla="*/ 1645920 w 2080768"/>
              <a:gd name="connsiteY24" fmla="*/ 12192 h 3669792"/>
              <a:gd name="connsiteX25" fmla="*/ 1715008 w 2080768"/>
              <a:gd name="connsiteY25" fmla="*/ 0 h 3669792"/>
              <a:gd name="connsiteX26" fmla="*/ 1755648 w 2080768"/>
              <a:gd name="connsiteY26" fmla="*/ 4064 h 3669792"/>
              <a:gd name="connsiteX27" fmla="*/ 1836928 w 2080768"/>
              <a:gd name="connsiteY27" fmla="*/ 16256 h 3669792"/>
              <a:gd name="connsiteX28" fmla="*/ 1897888 w 2080768"/>
              <a:gd name="connsiteY28" fmla="*/ 32512 h 3669792"/>
              <a:gd name="connsiteX29" fmla="*/ 1983232 w 2080768"/>
              <a:gd name="connsiteY29" fmla="*/ 85344 h 3669792"/>
              <a:gd name="connsiteX30" fmla="*/ 2015744 w 2080768"/>
              <a:gd name="connsiteY30" fmla="*/ 138176 h 3669792"/>
              <a:gd name="connsiteX31" fmla="*/ 2048256 w 2080768"/>
              <a:gd name="connsiteY31" fmla="*/ 203200 h 3669792"/>
              <a:gd name="connsiteX32" fmla="*/ 2064512 w 2080768"/>
              <a:gd name="connsiteY32" fmla="*/ 268224 h 3669792"/>
              <a:gd name="connsiteX33" fmla="*/ 2080768 w 2080768"/>
              <a:gd name="connsiteY33" fmla="*/ 341376 h 3669792"/>
              <a:gd name="connsiteX34" fmla="*/ 2072640 w 2080768"/>
              <a:gd name="connsiteY34" fmla="*/ 414528 h 3669792"/>
              <a:gd name="connsiteX35" fmla="*/ 2060448 w 2080768"/>
              <a:gd name="connsiteY35" fmla="*/ 491744 h 3669792"/>
              <a:gd name="connsiteX36" fmla="*/ 2027936 w 2080768"/>
              <a:gd name="connsiteY36" fmla="*/ 601472 h 3669792"/>
              <a:gd name="connsiteX37" fmla="*/ 1975104 w 2080768"/>
              <a:gd name="connsiteY37" fmla="*/ 743712 h 3669792"/>
              <a:gd name="connsiteX38" fmla="*/ 1918208 w 2080768"/>
              <a:gd name="connsiteY38" fmla="*/ 869696 h 3669792"/>
              <a:gd name="connsiteX39" fmla="*/ 1845056 w 2080768"/>
              <a:gd name="connsiteY39" fmla="*/ 1024128 h 3669792"/>
              <a:gd name="connsiteX40" fmla="*/ 1763776 w 2080768"/>
              <a:gd name="connsiteY40" fmla="*/ 1166368 h 3669792"/>
              <a:gd name="connsiteX41" fmla="*/ 1666240 w 2080768"/>
              <a:gd name="connsiteY41" fmla="*/ 1345184 h 3669792"/>
              <a:gd name="connsiteX42" fmla="*/ 1552448 w 2080768"/>
              <a:gd name="connsiteY42" fmla="*/ 1507744 h 3669792"/>
              <a:gd name="connsiteX43" fmla="*/ 1381760 w 2080768"/>
              <a:gd name="connsiteY43" fmla="*/ 1771904 h 3669792"/>
              <a:gd name="connsiteX44" fmla="*/ 1247648 w 2080768"/>
              <a:gd name="connsiteY44" fmla="*/ 1950720 h 3669792"/>
              <a:gd name="connsiteX45" fmla="*/ 1060704 w 2080768"/>
              <a:gd name="connsiteY45" fmla="*/ 2190496 h 3669792"/>
              <a:gd name="connsiteX46" fmla="*/ 898144 w 2080768"/>
              <a:gd name="connsiteY46" fmla="*/ 2401824 h 3669792"/>
              <a:gd name="connsiteX47" fmla="*/ 548640 w 2080768"/>
              <a:gd name="connsiteY47" fmla="*/ 2856992 h 3669792"/>
              <a:gd name="connsiteX48" fmla="*/ 308864 w 2080768"/>
              <a:gd name="connsiteY48" fmla="*/ 3169920 h 3669792"/>
              <a:gd name="connsiteX49" fmla="*/ 65024 w 2080768"/>
              <a:gd name="connsiteY49" fmla="*/ 3556000 h 3669792"/>
              <a:gd name="connsiteX50" fmla="*/ 0 w 2080768"/>
              <a:gd name="connsiteY50" fmla="*/ 3669792 h 3669792"/>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68960 w 2080768"/>
              <a:gd name="connsiteY10" fmla="*/ 991616 h 3681984"/>
              <a:gd name="connsiteX11" fmla="*/ 548640 w 2080768"/>
              <a:gd name="connsiteY11" fmla="*/ 938784 h 3681984"/>
              <a:gd name="connsiteX12" fmla="*/ 548640 w 2080768"/>
              <a:gd name="connsiteY12" fmla="*/ 849376 h 3681984"/>
              <a:gd name="connsiteX13" fmla="*/ 568960 w 2080768"/>
              <a:gd name="connsiteY13" fmla="*/ 784352 h 3681984"/>
              <a:gd name="connsiteX14" fmla="*/ 593344 w 2080768"/>
              <a:gd name="connsiteY14" fmla="*/ 731520 h 3681984"/>
              <a:gd name="connsiteX15" fmla="*/ 650240 w 2080768"/>
              <a:gd name="connsiteY15" fmla="*/ 690880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36928 w 2080768"/>
              <a:gd name="connsiteY27" fmla="*/ 28448 h 3681984"/>
              <a:gd name="connsiteX28" fmla="*/ 1897888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68960 w 2080768"/>
              <a:gd name="connsiteY10" fmla="*/ 991616 h 3681984"/>
              <a:gd name="connsiteX11" fmla="*/ 548640 w 2080768"/>
              <a:gd name="connsiteY11" fmla="*/ 938784 h 3681984"/>
              <a:gd name="connsiteX12" fmla="*/ 548640 w 2080768"/>
              <a:gd name="connsiteY12" fmla="*/ 849376 h 3681984"/>
              <a:gd name="connsiteX13" fmla="*/ 568960 w 2080768"/>
              <a:gd name="connsiteY13" fmla="*/ 784352 h 3681984"/>
              <a:gd name="connsiteX14" fmla="*/ 593344 w 2080768"/>
              <a:gd name="connsiteY14" fmla="*/ 731520 h 3681984"/>
              <a:gd name="connsiteX15" fmla="*/ 650240 w 2080768"/>
              <a:gd name="connsiteY15" fmla="*/ 690880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897888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68960 w 2080768"/>
              <a:gd name="connsiteY10" fmla="*/ 991616 h 3681984"/>
              <a:gd name="connsiteX11" fmla="*/ 548640 w 2080768"/>
              <a:gd name="connsiteY11" fmla="*/ 938784 h 3681984"/>
              <a:gd name="connsiteX12" fmla="*/ 548640 w 2080768"/>
              <a:gd name="connsiteY12" fmla="*/ 849376 h 3681984"/>
              <a:gd name="connsiteX13" fmla="*/ 568960 w 2080768"/>
              <a:gd name="connsiteY13" fmla="*/ 784352 h 3681984"/>
              <a:gd name="connsiteX14" fmla="*/ 593344 w 2080768"/>
              <a:gd name="connsiteY14" fmla="*/ 731520 h 3681984"/>
              <a:gd name="connsiteX15" fmla="*/ 650240 w 2080768"/>
              <a:gd name="connsiteY15" fmla="*/ 690880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68960 w 2080768"/>
              <a:gd name="connsiteY10" fmla="*/ 991616 h 3681984"/>
              <a:gd name="connsiteX11" fmla="*/ 548640 w 2080768"/>
              <a:gd name="connsiteY11" fmla="*/ 938784 h 3681984"/>
              <a:gd name="connsiteX12" fmla="*/ 548640 w 2080768"/>
              <a:gd name="connsiteY12" fmla="*/ 849376 h 3681984"/>
              <a:gd name="connsiteX13" fmla="*/ 568960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68960 w 2080768"/>
              <a:gd name="connsiteY10" fmla="*/ 991616 h 3681984"/>
              <a:gd name="connsiteX11" fmla="*/ 548640 w 2080768"/>
              <a:gd name="connsiteY11" fmla="*/ 938784 h 3681984"/>
              <a:gd name="connsiteX12" fmla="*/ 528320 w 2080768"/>
              <a:gd name="connsiteY12" fmla="*/ 865632 h 3681984"/>
              <a:gd name="connsiteX13" fmla="*/ 568960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68960 w 2080768"/>
              <a:gd name="connsiteY10" fmla="*/ 991616 h 3681984"/>
              <a:gd name="connsiteX11" fmla="*/ 532384 w 2080768"/>
              <a:gd name="connsiteY11" fmla="*/ 950976 h 3681984"/>
              <a:gd name="connsiteX12" fmla="*/ 528320 w 2080768"/>
              <a:gd name="connsiteY12" fmla="*/ 865632 h 3681984"/>
              <a:gd name="connsiteX13" fmla="*/ 568960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995680 h 3681984"/>
              <a:gd name="connsiteX11" fmla="*/ 532384 w 2080768"/>
              <a:gd name="connsiteY11" fmla="*/ 950976 h 3681984"/>
              <a:gd name="connsiteX12" fmla="*/ 528320 w 2080768"/>
              <a:gd name="connsiteY12" fmla="*/ 865632 h 3681984"/>
              <a:gd name="connsiteX13" fmla="*/ 568960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995680 h 3681984"/>
              <a:gd name="connsiteX11" fmla="*/ 532384 w 2080768"/>
              <a:gd name="connsiteY11" fmla="*/ 950976 h 3681984"/>
              <a:gd name="connsiteX12" fmla="*/ 528320 w 2080768"/>
              <a:gd name="connsiteY12" fmla="*/ 865632 h 3681984"/>
              <a:gd name="connsiteX13" fmla="*/ 568960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995680 h 3681984"/>
              <a:gd name="connsiteX11" fmla="*/ 532384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1011936 h 3681984"/>
              <a:gd name="connsiteX11" fmla="*/ 532384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1011936 h 3681984"/>
              <a:gd name="connsiteX11" fmla="*/ 532384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1011936 h 3681984"/>
              <a:gd name="connsiteX11" fmla="*/ 532384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46176 w 2080768"/>
              <a:gd name="connsiteY8" fmla="*/ 1101344 h 3681984"/>
              <a:gd name="connsiteX9" fmla="*/ 597408 w 2080768"/>
              <a:gd name="connsiteY9" fmla="*/ 105664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7408 w 2080768"/>
              <a:gd name="connsiteY9" fmla="*/ 105664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41248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68096 h 3681984"/>
              <a:gd name="connsiteX3" fmla="*/ 841248 w 2080768"/>
              <a:gd name="connsiteY3" fmla="*/ 857504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6864 w 2080768"/>
              <a:gd name="connsiteY5" fmla="*/ 1032256 h 3681984"/>
              <a:gd name="connsiteX6" fmla="*/ 776636 w 2080768"/>
              <a:gd name="connsiteY6" fmla="*/ 1083406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6864 w 2080768"/>
              <a:gd name="connsiteY5" fmla="*/ 1032256 h 3681984"/>
              <a:gd name="connsiteX6" fmla="*/ 776636 w 2080768"/>
              <a:gd name="connsiteY6" fmla="*/ 1083406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9246 w 2080768"/>
              <a:gd name="connsiteY5" fmla="*/ 1039400 h 3681984"/>
              <a:gd name="connsiteX6" fmla="*/ 776636 w 2080768"/>
              <a:gd name="connsiteY6" fmla="*/ 1083406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9246 w 2080768"/>
              <a:gd name="connsiteY5" fmla="*/ 1039400 h 3681984"/>
              <a:gd name="connsiteX6" fmla="*/ 776636 w 2080768"/>
              <a:gd name="connsiteY6" fmla="*/ 1083406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8926 w 2080768"/>
              <a:gd name="connsiteY2" fmla="*/ 757587 h 3681984"/>
              <a:gd name="connsiteX3" fmla="*/ 841248 w 2080768"/>
              <a:gd name="connsiteY3" fmla="*/ 857504 h 3681984"/>
              <a:gd name="connsiteX4" fmla="*/ 853440 w 2080768"/>
              <a:gd name="connsiteY4" fmla="*/ 971296 h 3681984"/>
              <a:gd name="connsiteX5" fmla="*/ 819246 w 2080768"/>
              <a:gd name="connsiteY5" fmla="*/ 1039400 h 3681984"/>
              <a:gd name="connsiteX6" fmla="*/ 776636 w 2080768"/>
              <a:gd name="connsiteY6" fmla="*/ 1083406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8926 w 2080768"/>
              <a:gd name="connsiteY2" fmla="*/ 757587 h 3681984"/>
              <a:gd name="connsiteX3" fmla="*/ 841248 w 2080768"/>
              <a:gd name="connsiteY3" fmla="*/ 857504 h 3681984"/>
              <a:gd name="connsiteX4" fmla="*/ 853440 w 2080768"/>
              <a:gd name="connsiteY4" fmla="*/ 971296 h 3681984"/>
              <a:gd name="connsiteX5" fmla="*/ 826390 w 2080768"/>
              <a:gd name="connsiteY5" fmla="*/ 1041781 h 3681984"/>
              <a:gd name="connsiteX6" fmla="*/ 776636 w 2080768"/>
              <a:gd name="connsiteY6" fmla="*/ 1083406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4160 h 3684080"/>
              <a:gd name="connsiteX1" fmla="*/ 743712 w 2080768"/>
              <a:gd name="connsiteY1" fmla="*/ 652336 h 3684080"/>
              <a:gd name="connsiteX2" fmla="*/ 798926 w 2080768"/>
              <a:gd name="connsiteY2" fmla="*/ 759683 h 3684080"/>
              <a:gd name="connsiteX3" fmla="*/ 841248 w 2080768"/>
              <a:gd name="connsiteY3" fmla="*/ 859600 h 3684080"/>
              <a:gd name="connsiteX4" fmla="*/ 853440 w 2080768"/>
              <a:gd name="connsiteY4" fmla="*/ 973392 h 3684080"/>
              <a:gd name="connsiteX5" fmla="*/ 826390 w 2080768"/>
              <a:gd name="connsiteY5" fmla="*/ 1043877 h 3684080"/>
              <a:gd name="connsiteX6" fmla="*/ 776636 w 2080768"/>
              <a:gd name="connsiteY6" fmla="*/ 1085502 h 3684080"/>
              <a:gd name="connsiteX7" fmla="*/ 715264 w 2080768"/>
              <a:gd name="connsiteY7" fmla="*/ 1107504 h 3684080"/>
              <a:gd name="connsiteX8" fmla="*/ 646176 w 2080768"/>
              <a:gd name="connsiteY8" fmla="*/ 1103440 h 3684080"/>
              <a:gd name="connsiteX9" fmla="*/ 593344 w 2080768"/>
              <a:gd name="connsiteY9" fmla="*/ 1079056 h 3684080"/>
              <a:gd name="connsiteX10" fmla="*/ 540512 w 2080768"/>
              <a:gd name="connsiteY10" fmla="*/ 1014032 h 3684080"/>
              <a:gd name="connsiteX11" fmla="*/ 524256 w 2080768"/>
              <a:gd name="connsiteY11" fmla="*/ 953072 h 3684080"/>
              <a:gd name="connsiteX12" fmla="*/ 528320 w 2080768"/>
              <a:gd name="connsiteY12" fmla="*/ 867728 h 3684080"/>
              <a:gd name="connsiteX13" fmla="*/ 556768 w 2080768"/>
              <a:gd name="connsiteY13" fmla="*/ 786448 h 3684080"/>
              <a:gd name="connsiteX14" fmla="*/ 593344 w 2080768"/>
              <a:gd name="connsiteY14" fmla="*/ 733616 h 3684080"/>
              <a:gd name="connsiteX15" fmla="*/ 650240 w 2080768"/>
              <a:gd name="connsiteY15" fmla="*/ 668592 h 3684080"/>
              <a:gd name="connsiteX16" fmla="*/ 703072 w 2080768"/>
              <a:gd name="connsiteY16" fmla="*/ 603568 h 3684080"/>
              <a:gd name="connsiteX17" fmla="*/ 784352 w 2080768"/>
              <a:gd name="connsiteY17" fmla="*/ 526352 h 3684080"/>
              <a:gd name="connsiteX18" fmla="*/ 885952 w 2080768"/>
              <a:gd name="connsiteY18" fmla="*/ 441008 h 3684080"/>
              <a:gd name="connsiteX19" fmla="*/ 999744 w 2080768"/>
              <a:gd name="connsiteY19" fmla="*/ 355664 h 3684080"/>
              <a:gd name="connsiteX20" fmla="*/ 1129792 w 2080768"/>
              <a:gd name="connsiteY20" fmla="*/ 262192 h 3684080"/>
              <a:gd name="connsiteX21" fmla="*/ 1300480 w 2080768"/>
              <a:gd name="connsiteY21" fmla="*/ 160592 h 3684080"/>
              <a:gd name="connsiteX22" fmla="*/ 1442720 w 2080768"/>
              <a:gd name="connsiteY22" fmla="*/ 91504 h 3684080"/>
              <a:gd name="connsiteX23" fmla="*/ 1556512 w 2080768"/>
              <a:gd name="connsiteY23" fmla="*/ 50864 h 3684080"/>
              <a:gd name="connsiteX24" fmla="*/ 1645920 w 2080768"/>
              <a:gd name="connsiteY24" fmla="*/ 26480 h 3684080"/>
              <a:gd name="connsiteX25" fmla="*/ 1717390 w 2080768"/>
              <a:gd name="connsiteY25" fmla="*/ 0 h 3684080"/>
              <a:gd name="connsiteX26" fmla="*/ 1771904 w 2080768"/>
              <a:gd name="connsiteY26" fmla="*/ 2096 h 3684080"/>
              <a:gd name="connsiteX27" fmla="*/ 1845056 w 2080768"/>
              <a:gd name="connsiteY27" fmla="*/ 14288 h 3684080"/>
              <a:gd name="connsiteX28" fmla="*/ 1906016 w 2080768"/>
              <a:gd name="connsiteY28" fmla="*/ 46800 h 3684080"/>
              <a:gd name="connsiteX29" fmla="*/ 1983232 w 2080768"/>
              <a:gd name="connsiteY29" fmla="*/ 99632 h 3684080"/>
              <a:gd name="connsiteX30" fmla="*/ 2015744 w 2080768"/>
              <a:gd name="connsiteY30" fmla="*/ 152464 h 3684080"/>
              <a:gd name="connsiteX31" fmla="*/ 2048256 w 2080768"/>
              <a:gd name="connsiteY31" fmla="*/ 217488 h 3684080"/>
              <a:gd name="connsiteX32" fmla="*/ 2064512 w 2080768"/>
              <a:gd name="connsiteY32" fmla="*/ 282512 h 3684080"/>
              <a:gd name="connsiteX33" fmla="*/ 2080768 w 2080768"/>
              <a:gd name="connsiteY33" fmla="*/ 355664 h 3684080"/>
              <a:gd name="connsiteX34" fmla="*/ 2072640 w 2080768"/>
              <a:gd name="connsiteY34" fmla="*/ 428816 h 3684080"/>
              <a:gd name="connsiteX35" fmla="*/ 2060448 w 2080768"/>
              <a:gd name="connsiteY35" fmla="*/ 506032 h 3684080"/>
              <a:gd name="connsiteX36" fmla="*/ 2027936 w 2080768"/>
              <a:gd name="connsiteY36" fmla="*/ 615760 h 3684080"/>
              <a:gd name="connsiteX37" fmla="*/ 1975104 w 2080768"/>
              <a:gd name="connsiteY37" fmla="*/ 758000 h 3684080"/>
              <a:gd name="connsiteX38" fmla="*/ 1918208 w 2080768"/>
              <a:gd name="connsiteY38" fmla="*/ 883984 h 3684080"/>
              <a:gd name="connsiteX39" fmla="*/ 1845056 w 2080768"/>
              <a:gd name="connsiteY39" fmla="*/ 1038416 h 3684080"/>
              <a:gd name="connsiteX40" fmla="*/ 1763776 w 2080768"/>
              <a:gd name="connsiteY40" fmla="*/ 1180656 h 3684080"/>
              <a:gd name="connsiteX41" fmla="*/ 1666240 w 2080768"/>
              <a:gd name="connsiteY41" fmla="*/ 1359472 h 3684080"/>
              <a:gd name="connsiteX42" fmla="*/ 1552448 w 2080768"/>
              <a:gd name="connsiteY42" fmla="*/ 1522032 h 3684080"/>
              <a:gd name="connsiteX43" fmla="*/ 1381760 w 2080768"/>
              <a:gd name="connsiteY43" fmla="*/ 1786192 h 3684080"/>
              <a:gd name="connsiteX44" fmla="*/ 1247648 w 2080768"/>
              <a:gd name="connsiteY44" fmla="*/ 1965008 h 3684080"/>
              <a:gd name="connsiteX45" fmla="*/ 1060704 w 2080768"/>
              <a:gd name="connsiteY45" fmla="*/ 2204784 h 3684080"/>
              <a:gd name="connsiteX46" fmla="*/ 898144 w 2080768"/>
              <a:gd name="connsiteY46" fmla="*/ 2416112 h 3684080"/>
              <a:gd name="connsiteX47" fmla="*/ 548640 w 2080768"/>
              <a:gd name="connsiteY47" fmla="*/ 2871280 h 3684080"/>
              <a:gd name="connsiteX48" fmla="*/ 308864 w 2080768"/>
              <a:gd name="connsiteY48" fmla="*/ 3184208 h 3684080"/>
              <a:gd name="connsiteX49" fmla="*/ 65024 w 2080768"/>
              <a:gd name="connsiteY49" fmla="*/ 3570288 h 3684080"/>
              <a:gd name="connsiteX50" fmla="*/ 0 w 2080768"/>
              <a:gd name="connsiteY50" fmla="*/ 3684080 h 3684080"/>
              <a:gd name="connsiteX0" fmla="*/ 666496 w 2080768"/>
              <a:gd name="connsiteY0" fmla="*/ 515954 h 3685874"/>
              <a:gd name="connsiteX1" fmla="*/ 743712 w 2080768"/>
              <a:gd name="connsiteY1" fmla="*/ 654130 h 3685874"/>
              <a:gd name="connsiteX2" fmla="*/ 798926 w 2080768"/>
              <a:gd name="connsiteY2" fmla="*/ 761477 h 3685874"/>
              <a:gd name="connsiteX3" fmla="*/ 841248 w 2080768"/>
              <a:gd name="connsiteY3" fmla="*/ 861394 h 3685874"/>
              <a:gd name="connsiteX4" fmla="*/ 853440 w 2080768"/>
              <a:gd name="connsiteY4" fmla="*/ 975186 h 3685874"/>
              <a:gd name="connsiteX5" fmla="*/ 826390 w 2080768"/>
              <a:gd name="connsiteY5" fmla="*/ 1045671 h 3685874"/>
              <a:gd name="connsiteX6" fmla="*/ 776636 w 2080768"/>
              <a:gd name="connsiteY6" fmla="*/ 1087296 h 3685874"/>
              <a:gd name="connsiteX7" fmla="*/ 715264 w 2080768"/>
              <a:gd name="connsiteY7" fmla="*/ 1109298 h 3685874"/>
              <a:gd name="connsiteX8" fmla="*/ 646176 w 2080768"/>
              <a:gd name="connsiteY8" fmla="*/ 1105234 h 3685874"/>
              <a:gd name="connsiteX9" fmla="*/ 593344 w 2080768"/>
              <a:gd name="connsiteY9" fmla="*/ 1080850 h 3685874"/>
              <a:gd name="connsiteX10" fmla="*/ 540512 w 2080768"/>
              <a:gd name="connsiteY10" fmla="*/ 1015826 h 3685874"/>
              <a:gd name="connsiteX11" fmla="*/ 524256 w 2080768"/>
              <a:gd name="connsiteY11" fmla="*/ 954866 h 3685874"/>
              <a:gd name="connsiteX12" fmla="*/ 528320 w 2080768"/>
              <a:gd name="connsiteY12" fmla="*/ 869522 h 3685874"/>
              <a:gd name="connsiteX13" fmla="*/ 556768 w 2080768"/>
              <a:gd name="connsiteY13" fmla="*/ 788242 h 3685874"/>
              <a:gd name="connsiteX14" fmla="*/ 593344 w 2080768"/>
              <a:gd name="connsiteY14" fmla="*/ 735410 h 3685874"/>
              <a:gd name="connsiteX15" fmla="*/ 650240 w 2080768"/>
              <a:gd name="connsiteY15" fmla="*/ 670386 h 3685874"/>
              <a:gd name="connsiteX16" fmla="*/ 703072 w 2080768"/>
              <a:gd name="connsiteY16" fmla="*/ 605362 h 3685874"/>
              <a:gd name="connsiteX17" fmla="*/ 784352 w 2080768"/>
              <a:gd name="connsiteY17" fmla="*/ 528146 h 3685874"/>
              <a:gd name="connsiteX18" fmla="*/ 885952 w 2080768"/>
              <a:gd name="connsiteY18" fmla="*/ 442802 h 3685874"/>
              <a:gd name="connsiteX19" fmla="*/ 999744 w 2080768"/>
              <a:gd name="connsiteY19" fmla="*/ 357458 h 3685874"/>
              <a:gd name="connsiteX20" fmla="*/ 1129792 w 2080768"/>
              <a:gd name="connsiteY20" fmla="*/ 263986 h 3685874"/>
              <a:gd name="connsiteX21" fmla="*/ 1300480 w 2080768"/>
              <a:gd name="connsiteY21" fmla="*/ 162386 h 3685874"/>
              <a:gd name="connsiteX22" fmla="*/ 1442720 w 2080768"/>
              <a:gd name="connsiteY22" fmla="*/ 93298 h 3685874"/>
              <a:gd name="connsiteX23" fmla="*/ 1556512 w 2080768"/>
              <a:gd name="connsiteY23" fmla="*/ 52658 h 3685874"/>
              <a:gd name="connsiteX24" fmla="*/ 1645920 w 2080768"/>
              <a:gd name="connsiteY24" fmla="*/ 28274 h 3685874"/>
              <a:gd name="connsiteX25" fmla="*/ 1717390 w 2080768"/>
              <a:gd name="connsiteY25" fmla="*/ 1794 h 3685874"/>
              <a:gd name="connsiteX26" fmla="*/ 1771904 w 2080768"/>
              <a:gd name="connsiteY26" fmla="*/ 3890 h 3685874"/>
              <a:gd name="connsiteX27" fmla="*/ 1845056 w 2080768"/>
              <a:gd name="connsiteY27" fmla="*/ 16082 h 3685874"/>
              <a:gd name="connsiteX28" fmla="*/ 1906016 w 2080768"/>
              <a:gd name="connsiteY28" fmla="*/ 48594 h 3685874"/>
              <a:gd name="connsiteX29" fmla="*/ 1983232 w 2080768"/>
              <a:gd name="connsiteY29" fmla="*/ 101426 h 3685874"/>
              <a:gd name="connsiteX30" fmla="*/ 2015744 w 2080768"/>
              <a:gd name="connsiteY30" fmla="*/ 154258 h 3685874"/>
              <a:gd name="connsiteX31" fmla="*/ 2048256 w 2080768"/>
              <a:gd name="connsiteY31" fmla="*/ 219282 h 3685874"/>
              <a:gd name="connsiteX32" fmla="*/ 2064512 w 2080768"/>
              <a:gd name="connsiteY32" fmla="*/ 284306 h 3685874"/>
              <a:gd name="connsiteX33" fmla="*/ 2080768 w 2080768"/>
              <a:gd name="connsiteY33" fmla="*/ 357458 h 3685874"/>
              <a:gd name="connsiteX34" fmla="*/ 2072640 w 2080768"/>
              <a:gd name="connsiteY34" fmla="*/ 430610 h 3685874"/>
              <a:gd name="connsiteX35" fmla="*/ 2060448 w 2080768"/>
              <a:gd name="connsiteY35" fmla="*/ 507826 h 3685874"/>
              <a:gd name="connsiteX36" fmla="*/ 2027936 w 2080768"/>
              <a:gd name="connsiteY36" fmla="*/ 617554 h 3685874"/>
              <a:gd name="connsiteX37" fmla="*/ 1975104 w 2080768"/>
              <a:gd name="connsiteY37" fmla="*/ 759794 h 3685874"/>
              <a:gd name="connsiteX38" fmla="*/ 1918208 w 2080768"/>
              <a:gd name="connsiteY38" fmla="*/ 885778 h 3685874"/>
              <a:gd name="connsiteX39" fmla="*/ 1845056 w 2080768"/>
              <a:gd name="connsiteY39" fmla="*/ 1040210 h 3685874"/>
              <a:gd name="connsiteX40" fmla="*/ 1763776 w 2080768"/>
              <a:gd name="connsiteY40" fmla="*/ 1182450 h 3685874"/>
              <a:gd name="connsiteX41" fmla="*/ 1666240 w 2080768"/>
              <a:gd name="connsiteY41" fmla="*/ 1361266 h 3685874"/>
              <a:gd name="connsiteX42" fmla="*/ 1552448 w 2080768"/>
              <a:gd name="connsiteY42" fmla="*/ 1523826 h 3685874"/>
              <a:gd name="connsiteX43" fmla="*/ 1381760 w 2080768"/>
              <a:gd name="connsiteY43" fmla="*/ 1787986 h 3685874"/>
              <a:gd name="connsiteX44" fmla="*/ 1247648 w 2080768"/>
              <a:gd name="connsiteY44" fmla="*/ 1966802 h 3685874"/>
              <a:gd name="connsiteX45" fmla="*/ 1060704 w 2080768"/>
              <a:gd name="connsiteY45" fmla="*/ 2206578 h 3685874"/>
              <a:gd name="connsiteX46" fmla="*/ 898144 w 2080768"/>
              <a:gd name="connsiteY46" fmla="*/ 2417906 h 3685874"/>
              <a:gd name="connsiteX47" fmla="*/ 548640 w 2080768"/>
              <a:gd name="connsiteY47" fmla="*/ 2873074 h 3685874"/>
              <a:gd name="connsiteX48" fmla="*/ 308864 w 2080768"/>
              <a:gd name="connsiteY48" fmla="*/ 3186002 h 3685874"/>
              <a:gd name="connsiteX49" fmla="*/ 65024 w 2080768"/>
              <a:gd name="connsiteY49" fmla="*/ 3572082 h 3685874"/>
              <a:gd name="connsiteX50" fmla="*/ 0 w 2080768"/>
              <a:gd name="connsiteY50" fmla="*/ 3685874 h 3685874"/>
              <a:gd name="connsiteX0" fmla="*/ 666496 w 2080768"/>
              <a:gd name="connsiteY0" fmla="*/ 515954 h 3685874"/>
              <a:gd name="connsiteX1" fmla="*/ 743712 w 2080768"/>
              <a:gd name="connsiteY1" fmla="*/ 654130 h 3685874"/>
              <a:gd name="connsiteX2" fmla="*/ 798926 w 2080768"/>
              <a:gd name="connsiteY2" fmla="*/ 761477 h 3685874"/>
              <a:gd name="connsiteX3" fmla="*/ 841248 w 2080768"/>
              <a:gd name="connsiteY3" fmla="*/ 861394 h 3685874"/>
              <a:gd name="connsiteX4" fmla="*/ 853440 w 2080768"/>
              <a:gd name="connsiteY4" fmla="*/ 975186 h 3685874"/>
              <a:gd name="connsiteX5" fmla="*/ 826390 w 2080768"/>
              <a:gd name="connsiteY5" fmla="*/ 1045671 h 3685874"/>
              <a:gd name="connsiteX6" fmla="*/ 776636 w 2080768"/>
              <a:gd name="connsiteY6" fmla="*/ 1087296 h 3685874"/>
              <a:gd name="connsiteX7" fmla="*/ 715264 w 2080768"/>
              <a:gd name="connsiteY7" fmla="*/ 1109298 h 3685874"/>
              <a:gd name="connsiteX8" fmla="*/ 646176 w 2080768"/>
              <a:gd name="connsiteY8" fmla="*/ 1105234 h 3685874"/>
              <a:gd name="connsiteX9" fmla="*/ 593344 w 2080768"/>
              <a:gd name="connsiteY9" fmla="*/ 1080850 h 3685874"/>
              <a:gd name="connsiteX10" fmla="*/ 540512 w 2080768"/>
              <a:gd name="connsiteY10" fmla="*/ 1015826 h 3685874"/>
              <a:gd name="connsiteX11" fmla="*/ 524256 w 2080768"/>
              <a:gd name="connsiteY11" fmla="*/ 954866 h 3685874"/>
              <a:gd name="connsiteX12" fmla="*/ 528320 w 2080768"/>
              <a:gd name="connsiteY12" fmla="*/ 869522 h 3685874"/>
              <a:gd name="connsiteX13" fmla="*/ 556768 w 2080768"/>
              <a:gd name="connsiteY13" fmla="*/ 788242 h 3685874"/>
              <a:gd name="connsiteX14" fmla="*/ 593344 w 2080768"/>
              <a:gd name="connsiteY14" fmla="*/ 735410 h 3685874"/>
              <a:gd name="connsiteX15" fmla="*/ 650240 w 2080768"/>
              <a:gd name="connsiteY15" fmla="*/ 670386 h 3685874"/>
              <a:gd name="connsiteX16" fmla="*/ 703072 w 2080768"/>
              <a:gd name="connsiteY16" fmla="*/ 605362 h 3685874"/>
              <a:gd name="connsiteX17" fmla="*/ 784352 w 2080768"/>
              <a:gd name="connsiteY17" fmla="*/ 528146 h 3685874"/>
              <a:gd name="connsiteX18" fmla="*/ 885952 w 2080768"/>
              <a:gd name="connsiteY18" fmla="*/ 442802 h 3685874"/>
              <a:gd name="connsiteX19" fmla="*/ 999744 w 2080768"/>
              <a:gd name="connsiteY19" fmla="*/ 357458 h 3685874"/>
              <a:gd name="connsiteX20" fmla="*/ 1129792 w 2080768"/>
              <a:gd name="connsiteY20" fmla="*/ 263986 h 3685874"/>
              <a:gd name="connsiteX21" fmla="*/ 1300480 w 2080768"/>
              <a:gd name="connsiteY21" fmla="*/ 162386 h 3685874"/>
              <a:gd name="connsiteX22" fmla="*/ 1442720 w 2080768"/>
              <a:gd name="connsiteY22" fmla="*/ 93298 h 3685874"/>
              <a:gd name="connsiteX23" fmla="*/ 1556512 w 2080768"/>
              <a:gd name="connsiteY23" fmla="*/ 52658 h 3685874"/>
              <a:gd name="connsiteX24" fmla="*/ 1643539 w 2080768"/>
              <a:gd name="connsiteY24" fmla="*/ 21130 h 3685874"/>
              <a:gd name="connsiteX25" fmla="*/ 1717390 w 2080768"/>
              <a:gd name="connsiteY25" fmla="*/ 1794 h 3685874"/>
              <a:gd name="connsiteX26" fmla="*/ 1771904 w 2080768"/>
              <a:gd name="connsiteY26" fmla="*/ 3890 h 3685874"/>
              <a:gd name="connsiteX27" fmla="*/ 1845056 w 2080768"/>
              <a:gd name="connsiteY27" fmla="*/ 16082 h 3685874"/>
              <a:gd name="connsiteX28" fmla="*/ 1906016 w 2080768"/>
              <a:gd name="connsiteY28" fmla="*/ 48594 h 3685874"/>
              <a:gd name="connsiteX29" fmla="*/ 1983232 w 2080768"/>
              <a:gd name="connsiteY29" fmla="*/ 101426 h 3685874"/>
              <a:gd name="connsiteX30" fmla="*/ 2015744 w 2080768"/>
              <a:gd name="connsiteY30" fmla="*/ 154258 h 3685874"/>
              <a:gd name="connsiteX31" fmla="*/ 2048256 w 2080768"/>
              <a:gd name="connsiteY31" fmla="*/ 219282 h 3685874"/>
              <a:gd name="connsiteX32" fmla="*/ 2064512 w 2080768"/>
              <a:gd name="connsiteY32" fmla="*/ 284306 h 3685874"/>
              <a:gd name="connsiteX33" fmla="*/ 2080768 w 2080768"/>
              <a:gd name="connsiteY33" fmla="*/ 357458 h 3685874"/>
              <a:gd name="connsiteX34" fmla="*/ 2072640 w 2080768"/>
              <a:gd name="connsiteY34" fmla="*/ 430610 h 3685874"/>
              <a:gd name="connsiteX35" fmla="*/ 2060448 w 2080768"/>
              <a:gd name="connsiteY35" fmla="*/ 507826 h 3685874"/>
              <a:gd name="connsiteX36" fmla="*/ 2027936 w 2080768"/>
              <a:gd name="connsiteY36" fmla="*/ 617554 h 3685874"/>
              <a:gd name="connsiteX37" fmla="*/ 1975104 w 2080768"/>
              <a:gd name="connsiteY37" fmla="*/ 759794 h 3685874"/>
              <a:gd name="connsiteX38" fmla="*/ 1918208 w 2080768"/>
              <a:gd name="connsiteY38" fmla="*/ 885778 h 3685874"/>
              <a:gd name="connsiteX39" fmla="*/ 1845056 w 2080768"/>
              <a:gd name="connsiteY39" fmla="*/ 1040210 h 3685874"/>
              <a:gd name="connsiteX40" fmla="*/ 1763776 w 2080768"/>
              <a:gd name="connsiteY40" fmla="*/ 1182450 h 3685874"/>
              <a:gd name="connsiteX41" fmla="*/ 1666240 w 2080768"/>
              <a:gd name="connsiteY41" fmla="*/ 1361266 h 3685874"/>
              <a:gd name="connsiteX42" fmla="*/ 1552448 w 2080768"/>
              <a:gd name="connsiteY42" fmla="*/ 1523826 h 3685874"/>
              <a:gd name="connsiteX43" fmla="*/ 1381760 w 2080768"/>
              <a:gd name="connsiteY43" fmla="*/ 1787986 h 3685874"/>
              <a:gd name="connsiteX44" fmla="*/ 1247648 w 2080768"/>
              <a:gd name="connsiteY44" fmla="*/ 1966802 h 3685874"/>
              <a:gd name="connsiteX45" fmla="*/ 1060704 w 2080768"/>
              <a:gd name="connsiteY45" fmla="*/ 2206578 h 3685874"/>
              <a:gd name="connsiteX46" fmla="*/ 898144 w 2080768"/>
              <a:gd name="connsiteY46" fmla="*/ 2417906 h 3685874"/>
              <a:gd name="connsiteX47" fmla="*/ 548640 w 2080768"/>
              <a:gd name="connsiteY47" fmla="*/ 2873074 h 3685874"/>
              <a:gd name="connsiteX48" fmla="*/ 308864 w 2080768"/>
              <a:gd name="connsiteY48" fmla="*/ 3186002 h 3685874"/>
              <a:gd name="connsiteX49" fmla="*/ 65024 w 2080768"/>
              <a:gd name="connsiteY49" fmla="*/ 3572082 h 3685874"/>
              <a:gd name="connsiteX50" fmla="*/ 0 w 2080768"/>
              <a:gd name="connsiteY50" fmla="*/ 3685874 h 3685874"/>
              <a:gd name="connsiteX0" fmla="*/ 666496 w 2080768"/>
              <a:gd name="connsiteY0" fmla="*/ 515954 h 3685874"/>
              <a:gd name="connsiteX1" fmla="*/ 743712 w 2080768"/>
              <a:gd name="connsiteY1" fmla="*/ 654130 h 3685874"/>
              <a:gd name="connsiteX2" fmla="*/ 798926 w 2080768"/>
              <a:gd name="connsiteY2" fmla="*/ 761477 h 3685874"/>
              <a:gd name="connsiteX3" fmla="*/ 841248 w 2080768"/>
              <a:gd name="connsiteY3" fmla="*/ 861394 h 3685874"/>
              <a:gd name="connsiteX4" fmla="*/ 853440 w 2080768"/>
              <a:gd name="connsiteY4" fmla="*/ 975186 h 3685874"/>
              <a:gd name="connsiteX5" fmla="*/ 826390 w 2080768"/>
              <a:gd name="connsiteY5" fmla="*/ 1045671 h 3685874"/>
              <a:gd name="connsiteX6" fmla="*/ 776636 w 2080768"/>
              <a:gd name="connsiteY6" fmla="*/ 1087296 h 3685874"/>
              <a:gd name="connsiteX7" fmla="*/ 715264 w 2080768"/>
              <a:gd name="connsiteY7" fmla="*/ 1109298 h 3685874"/>
              <a:gd name="connsiteX8" fmla="*/ 646176 w 2080768"/>
              <a:gd name="connsiteY8" fmla="*/ 1105234 h 3685874"/>
              <a:gd name="connsiteX9" fmla="*/ 593344 w 2080768"/>
              <a:gd name="connsiteY9" fmla="*/ 1080850 h 3685874"/>
              <a:gd name="connsiteX10" fmla="*/ 540512 w 2080768"/>
              <a:gd name="connsiteY10" fmla="*/ 1015826 h 3685874"/>
              <a:gd name="connsiteX11" fmla="*/ 524256 w 2080768"/>
              <a:gd name="connsiteY11" fmla="*/ 954866 h 3685874"/>
              <a:gd name="connsiteX12" fmla="*/ 528320 w 2080768"/>
              <a:gd name="connsiteY12" fmla="*/ 869522 h 3685874"/>
              <a:gd name="connsiteX13" fmla="*/ 556768 w 2080768"/>
              <a:gd name="connsiteY13" fmla="*/ 788242 h 3685874"/>
              <a:gd name="connsiteX14" fmla="*/ 593344 w 2080768"/>
              <a:gd name="connsiteY14" fmla="*/ 735410 h 3685874"/>
              <a:gd name="connsiteX15" fmla="*/ 650240 w 2080768"/>
              <a:gd name="connsiteY15" fmla="*/ 670386 h 3685874"/>
              <a:gd name="connsiteX16" fmla="*/ 703072 w 2080768"/>
              <a:gd name="connsiteY16" fmla="*/ 605362 h 3685874"/>
              <a:gd name="connsiteX17" fmla="*/ 784352 w 2080768"/>
              <a:gd name="connsiteY17" fmla="*/ 528146 h 3685874"/>
              <a:gd name="connsiteX18" fmla="*/ 885952 w 2080768"/>
              <a:gd name="connsiteY18" fmla="*/ 442802 h 3685874"/>
              <a:gd name="connsiteX19" fmla="*/ 999744 w 2080768"/>
              <a:gd name="connsiteY19" fmla="*/ 357458 h 3685874"/>
              <a:gd name="connsiteX20" fmla="*/ 1129792 w 2080768"/>
              <a:gd name="connsiteY20" fmla="*/ 263986 h 3685874"/>
              <a:gd name="connsiteX21" fmla="*/ 1300480 w 2080768"/>
              <a:gd name="connsiteY21" fmla="*/ 162386 h 3685874"/>
              <a:gd name="connsiteX22" fmla="*/ 1442720 w 2080768"/>
              <a:gd name="connsiteY22" fmla="*/ 93298 h 3685874"/>
              <a:gd name="connsiteX23" fmla="*/ 1556512 w 2080768"/>
              <a:gd name="connsiteY23" fmla="*/ 52658 h 3685874"/>
              <a:gd name="connsiteX24" fmla="*/ 1643539 w 2080768"/>
              <a:gd name="connsiteY24" fmla="*/ 21130 h 3685874"/>
              <a:gd name="connsiteX25" fmla="*/ 1717390 w 2080768"/>
              <a:gd name="connsiteY25" fmla="*/ 1794 h 3685874"/>
              <a:gd name="connsiteX26" fmla="*/ 1771904 w 2080768"/>
              <a:gd name="connsiteY26" fmla="*/ 3890 h 3685874"/>
              <a:gd name="connsiteX27" fmla="*/ 1845056 w 2080768"/>
              <a:gd name="connsiteY27" fmla="*/ 16082 h 3685874"/>
              <a:gd name="connsiteX28" fmla="*/ 1906016 w 2080768"/>
              <a:gd name="connsiteY28" fmla="*/ 48594 h 3685874"/>
              <a:gd name="connsiteX29" fmla="*/ 1983232 w 2080768"/>
              <a:gd name="connsiteY29" fmla="*/ 101426 h 3685874"/>
              <a:gd name="connsiteX30" fmla="*/ 2015744 w 2080768"/>
              <a:gd name="connsiteY30" fmla="*/ 154258 h 3685874"/>
              <a:gd name="connsiteX31" fmla="*/ 2048256 w 2080768"/>
              <a:gd name="connsiteY31" fmla="*/ 219282 h 3685874"/>
              <a:gd name="connsiteX32" fmla="*/ 2064512 w 2080768"/>
              <a:gd name="connsiteY32" fmla="*/ 284306 h 3685874"/>
              <a:gd name="connsiteX33" fmla="*/ 2080768 w 2080768"/>
              <a:gd name="connsiteY33" fmla="*/ 357458 h 3685874"/>
              <a:gd name="connsiteX34" fmla="*/ 2072640 w 2080768"/>
              <a:gd name="connsiteY34" fmla="*/ 430610 h 3685874"/>
              <a:gd name="connsiteX35" fmla="*/ 2060448 w 2080768"/>
              <a:gd name="connsiteY35" fmla="*/ 507826 h 3685874"/>
              <a:gd name="connsiteX36" fmla="*/ 2027936 w 2080768"/>
              <a:gd name="connsiteY36" fmla="*/ 617554 h 3685874"/>
              <a:gd name="connsiteX37" fmla="*/ 1975104 w 2080768"/>
              <a:gd name="connsiteY37" fmla="*/ 759794 h 3685874"/>
              <a:gd name="connsiteX38" fmla="*/ 1918208 w 2080768"/>
              <a:gd name="connsiteY38" fmla="*/ 885778 h 3685874"/>
              <a:gd name="connsiteX39" fmla="*/ 1845056 w 2080768"/>
              <a:gd name="connsiteY39" fmla="*/ 1040210 h 3685874"/>
              <a:gd name="connsiteX40" fmla="*/ 1763776 w 2080768"/>
              <a:gd name="connsiteY40" fmla="*/ 1182450 h 3685874"/>
              <a:gd name="connsiteX41" fmla="*/ 1666240 w 2080768"/>
              <a:gd name="connsiteY41" fmla="*/ 1361266 h 3685874"/>
              <a:gd name="connsiteX42" fmla="*/ 1552448 w 2080768"/>
              <a:gd name="connsiteY42" fmla="*/ 1523826 h 3685874"/>
              <a:gd name="connsiteX43" fmla="*/ 1381760 w 2080768"/>
              <a:gd name="connsiteY43" fmla="*/ 1787986 h 3685874"/>
              <a:gd name="connsiteX44" fmla="*/ 1247648 w 2080768"/>
              <a:gd name="connsiteY44" fmla="*/ 1966802 h 3685874"/>
              <a:gd name="connsiteX45" fmla="*/ 1060704 w 2080768"/>
              <a:gd name="connsiteY45" fmla="*/ 2206578 h 3685874"/>
              <a:gd name="connsiteX46" fmla="*/ 898144 w 2080768"/>
              <a:gd name="connsiteY46" fmla="*/ 2417906 h 3685874"/>
              <a:gd name="connsiteX47" fmla="*/ 548640 w 2080768"/>
              <a:gd name="connsiteY47" fmla="*/ 2873074 h 3685874"/>
              <a:gd name="connsiteX48" fmla="*/ 308864 w 2080768"/>
              <a:gd name="connsiteY48" fmla="*/ 3186002 h 3685874"/>
              <a:gd name="connsiteX49" fmla="*/ 65024 w 2080768"/>
              <a:gd name="connsiteY49" fmla="*/ 3572082 h 3685874"/>
              <a:gd name="connsiteX50" fmla="*/ 0 w 2080768"/>
              <a:gd name="connsiteY50" fmla="*/ 3685874 h 3685874"/>
              <a:gd name="connsiteX0" fmla="*/ 666496 w 2080768"/>
              <a:gd name="connsiteY0" fmla="*/ 516737 h 3686657"/>
              <a:gd name="connsiteX1" fmla="*/ 743712 w 2080768"/>
              <a:gd name="connsiteY1" fmla="*/ 654913 h 3686657"/>
              <a:gd name="connsiteX2" fmla="*/ 798926 w 2080768"/>
              <a:gd name="connsiteY2" fmla="*/ 762260 h 3686657"/>
              <a:gd name="connsiteX3" fmla="*/ 841248 w 2080768"/>
              <a:gd name="connsiteY3" fmla="*/ 862177 h 3686657"/>
              <a:gd name="connsiteX4" fmla="*/ 853440 w 2080768"/>
              <a:gd name="connsiteY4" fmla="*/ 975969 h 3686657"/>
              <a:gd name="connsiteX5" fmla="*/ 826390 w 2080768"/>
              <a:gd name="connsiteY5" fmla="*/ 1046454 h 3686657"/>
              <a:gd name="connsiteX6" fmla="*/ 776636 w 2080768"/>
              <a:gd name="connsiteY6" fmla="*/ 1088079 h 3686657"/>
              <a:gd name="connsiteX7" fmla="*/ 715264 w 2080768"/>
              <a:gd name="connsiteY7" fmla="*/ 1110081 h 3686657"/>
              <a:gd name="connsiteX8" fmla="*/ 646176 w 2080768"/>
              <a:gd name="connsiteY8" fmla="*/ 1106017 h 3686657"/>
              <a:gd name="connsiteX9" fmla="*/ 593344 w 2080768"/>
              <a:gd name="connsiteY9" fmla="*/ 1081633 h 3686657"/>
              <a:gd name="connsiteX10" fmla="*/ 540512 w 2080768"/>
              <a:gd name="connsiteY10" fmla="*/ 1016609 h 3686657"/>
              <a:gd name="connsiteX11" fmla="*/ 524256 w 2080768"/>
              <a:gd name="connsiteY11" fmla="*/ 955649 h 3686657"/>
              <a:gd name="connsiteX12" fmla="*/ 528320 w 2080768"/>
              <a:gd name="connsiteY12" fmla="*/ 870305 h 3686657"/>
              <a:gd name="connsiteX13" fmla="*/ 556768 w 2080768"/>
              <a:gd name="connsiteY13" fmla="*/ 789025 h 3686657"/>
              <a:gd name="connsiteX14" fmla="*/ 593344 w 2080768"/>
              <a:gd name="connsiteY14" fmla="*/ 736193 h 3686657"/>
              <a:gd name="connsiteX15" fmla="*/ 650240 w 2080768"/>
              <a:gd name="connsiteY15" fmla="*/ 671169 h 3686657"/>
              <a:gd name="connsiteX16" fmla="*/ 703072 w 2080768"/>
              <a:gd name="connsiteY16" fmla="*/ 606145 h 3686657"/>
              <a:gd name="connsiteX17" fmla="*/ 784352 w 2080768"/>
              <a:gd name="connsiteY17" fmla="*/ 528929 h 3686657"/>
              <a:gd name="connsiteX18" fmla="*/ 885952 w 2080768"/>
              <a:gd name="connsiteY18" fmla="*/ 443585 h 3686657"/>
              <a:gd name="connsiteX19" fmla="*/ 999744 w 2080768"/>
              <a:gd name="connsiteY19" fmla="*/ 358241 h 3686657"/>
              <a:gd name="connsiteX20" fmla="*/ 1129792 w 2080768"/>
              <a:gd name="connsiteY20" fmla="*/ 264769 h 3686657"/>
              <a:gd name="connsiteX21" fmla="*/ 1300480 w 2080768"/>
              <a:gd name="connsiteY21" fmla="*/ 163169 h 3686657"/>
              <a:gd name="connsiteX22" fmla="*/ 1442720 w 2080768"/>
              <a:gd name="connsiteY22" fmla="*/ 94081 h 3686657"/>
              <a:gd name="connsiteX23" fmla="*/ 1556512 w 2080768"/>
              <a:gd name="connsiteY23" fmla="*/ 53441 h 3686657"/>
              <a:gd name="connsiteX24" fmla="*/ 1643539 w 2080768"/>
              <a:gd name="connsiteY24" fmla="*/ 21913 h 3686657"/>
              <a:gd name="connsiteX25" fmla="*/ 1717390 w 2080768"/>
              <a:gd name="connsiteY25" fmla="*/ 2577 h 3686657"/>
              <a:gd name="connsiteX26" fmla="*/ 1786192 w 2080768"/>
              <a:gd name="connsiteY26" fmla="*/ 2292 h 3686657"/>
              <a:gd name="connsiteX27" fmla="*/ 1845056 w 2080768"/>
              <a:gd name="connsiteY27" fmla="*/ 16865 h 3686657"/>
              <a:gd name="connsiteX28" fmla="*/ 1906016 w 2080768"/>
              <a:gd name="connsiteY28" fmla="*/ 49377 h 3686657"/>
              <a:gd name="connsiteX29" fmla="*/ 1983232 w 2080768"/>
              <a:gd name="connsiteY29" fmla="*/ 102209 h 3686657"/>
              <a:gd name="connsiteX30" fmla="*/ 2015744 w 2080768"/>
              <a:gd name="connsiteY30" fmla="*/ 155041 h 3686657"/>
              <a:gd name="connsiteX31" fmla="*/ 2048256 w 2080768"/>
              <a:gd name="connsiteY31" fmla="*/ 220065 h 3686657"/>
              <a:gd name="connsiteX32" fmla="*/ 2064512 w 2080768"/>
              <a:gd name="connsiteY32" fmla="*/ 285089 h 3686657"/>
              <a:gd name="connsiteX33" fmla="*/ 2080768 w 2080768"/>
              <a:gd name="connsiteY33" fmla="*/ 358241 h 3686657"/>
              <a:gd name="connsiteX34" fmla="*/ 2072640 w 2080768"/>
              <a:gd name="connsiteY34" fmla="*/ 431393 h 3686657"/>
              <a:gd name="connsiteX35" fmla="*/ 2060448 w 2080768"/>
              <a:gd name="connsiteY35" fmla="*/ 508609 h 3686657"/>
              <a:gd name="connsiteX36" fmla="*/ 2027936 w 2080768"/>
              <a:gd name="connsiteY36" fmla="*/ 618337 h 3686657"/>
              <a:gd name="connsiteX37" fmla="*/ 1975104 w 2080768"/>
              <a:gd name="connsiteY37" fmla="*/ 760577 h 3686657"/>
              <a:gd name="connsiteX38" fmla="*/ 1918208 w 2080768"/>
              <a:gd name="connsiteY38" fmla="*/ 886561 h 3686657"/>
              <a:gd name="connsiteX39" fmla="*/ 1845056 w 2080768"/>
              <a:gd name="connsiteY39" fmla="*/ 1040993 h 3686657"/>
              <a:gd name="connsiteX40" fmla="*/ 1763776 w 2080768"/>
              <a:gd name="connsiteY40" fmla="*/ 1183233 h 3686657"/>
              <a:gd name="connsiteX41" fmla="*/ 1666240 w 2080768"/>
              <a:gd name="connsiteY41" fmla="*/ 1362049 h 3686657"/>
              <a:gd name="connsiteX42" fmla="*/ 1552448 w 2080768"/>
              <a:gd name="connsiteY42" fmla="*/ 1524609 h 3686657"/>
              <a:gd name="connsiteX43" fmla="*/ 1381760 w 2080768"/>
              <a:gd name="connsiteY43" fmla="*/ 1788769 h 3686657"/>
              <a:gd name="connsiteX44" fmla="*/ 1247648 w 2080768"/>
              <a:gd name="connsiteY44" fmla="*/ 1967585 h 3686657"/>
              <a:gd name="connsiteX45" fmla="*/ 1060704 w 2080768"/>
              <a:gd name="connsiteY45" fmla="*/ 2207361 h 3686657"/>
              <a:gd name="connsiteX46" fmla="*/ 898144 w 2080768"/>
              <a:gd name="connsiteY46" fmla="*/ 2418689 h 3686657"/>
              <a:gd name="connsiteX47" fmla="*/ 548640 w 2080768"/>
              <a:gd name="connsiteY47" fmla="*/ 2873857 h 3686657"/>
              <a:gd name="connsiteX48" fmla="*/ 308864 w 2080768"/>
              <a:gd name="connsiteY48" fmla="*/ 3186785 h 3686657"/>
              <a:gd name="connsiteX49" fmla="*/ 65024 w 2080768"/>
              <a:gd name="connsiteY49" fmla="*/ 3572865 h 3686657"/>
              <a:gd name="connsiteX50" fmla="*/ 0 w 2080768"/>
              <a:gd name="connsiteY50" fmla="*/ 3686657 h 3686657"/>
              <a:gd name="connsiteX0" fmla="*/ 666496 w 2080768"/>
              <a:gd name="connsiteY0" fmla="*/ 516737 h 3686657"/>
              <a:gd name="connsiteX1" fmla="*/ 743712 w 2080768"/>
              <a:gd name="connsiteY1" fmla="*/ 654913 h 3686657"/>
              <a:gd name="connsiteX2" fmla="*/ 798926 w 2080768"/>
              <a:gd name="connsiteY2" fmla="*/ 762260 h 3686657"/>
              <a:gd name="connsiteX3" fmla="*/ 841248 w 2080768"/>
              <a:gd name="connsiteY3" fmla="*/ 862177 h 3686657"/>
              <a:gd name="connsiteX4" fmla="*/ 853440 w 2080768"/>
              <a:gd name="connsiteY4" fmla="*/ 975969 h 3686657"/>
              <a:gd name="connsiteX5" fmla="*/ 826390 w 2080768"/>
              <a:gd name="connsiteY5" fmla="*/ 1046454 h 3686657"/>
              <a:gd name="connsiteX6" fmla="*/ 776636 w 2080768"/>
              <a:gd name="connsiteY6" fmla="*/ 1088079 h 3686657"/>
              <a:gd name="connsiteX7" fmla="*/ 715264 w 2080768"/>
              <a:gd name="connsiteY7" fmla="*/ 1110081 h 3686657"/>
              <a:gd name="connsiteX8" fmla="*/ 646176 w 2080768"/>
              <a:gd name="connsiteY8" fmla="*/ 1106017 h 3686657"/>
              <a:gd name="connsiteX9" fmla="*/ 593344 w 2080768"/>
              <a:gd name="connsiteY9" fmla="*/ 1081633 h 3686657"/>
              <a:gd name="connsiteX10" fmla="*/ 540512 w 2080768"/>
              <a:gd name="connsiteY10" fmla="*/ 1016609 h 3686657"/>
              <a:gd name="connsiteX11" fmla="*/ 524256 w 2080768"/>
              <a:gd name="connsiteY11" fmla="*/ 955649 h 3686657"/>
              <a:gd name="connsiteX12" fmla="*/ 528320 w 2080768"/>
              <a:gd name="connsiteY12" fmla="*/ 870305 h 3686657"/>
              <a:gd name="connsiteX13" fmla="*/ 556768 w 2080768"/>
              <a:gd name="connsiteY13" fmla="*/ 789025 h 3686657"/>
              <a:gd name="connsiteX14" fmla="*/ 593344 w 2080768"/>
              <a:gd name="connsiteY14" fmla="*/ 736193 h 3686657"/>
              <a:gd name="connsiteX15" fmla="*/ 650240 w 2080768"/>
              <a:gd name="connsiteY15" fmla="*/ 671169 h 3686657"/>
              <a:gd name="connsiteX16" fmla="*/ 703072 w 2080768"/>
              <a:gd name="connsiteY16" fmla="*/ 606145 h 3686657"/>
              <a:gd name="connsiteX17" fmla="*/ 784352 w 2080768"/>
              <a:gd name="connsiteY17" fmla="*/ 528929 h 3686657"/>
              <a:gd name="connsiteX18" fmla="*/ 885952 w 2080768"/>
              <a:gd name="connsiteY18" fmla="*/ 443585 h 3686657"/>
              <a:gd name="connsiteX19" fmla="*/ 999744 w 2080768"/>
              <a:gd name="connsiteY19" fmla="*/ 358241 h 3686657"/>
              <a:gd name="connsiteX20" fmla="*/ 1129792 w 2080768"/>
              <a:gd name="connsiteY20" fmla="*/ 264769 h 3686657"/>
              <a:gd name="connsiteX21" fmla="*/ 1300480 w 2080768"/>
              <a:gd name="connsiteY21" fmla="*/ 163169 h 3686657"/>
              <a:gd name="connsiteX22" fmla="*/ 1442720 w 2080768"/>
              <a:gd name="connsiteY22" fmla="*/ 94081 h 3686657"/>
              <a:gd name="connsiteX23" fmla="*/ 1556512 w 2080768"/>
              <a:gd name="connsiteY23" fmla="*/ 53441 h 3686657"/>
              <a:gd name="connsiteX24" fmla="*/ 1643539 w 2080768"/>
              <a:gd name="connsiteY24" fmla="*/ 21913 h 3686657"/>
              <a:gd name="connsiteX25" fmla="*/ 1717390 w 2080768"/>
              <a:gd name="connsiteY25" fmla="*/ 2577 h 3686657"/>
              <a:gd name="connsiteX26" fmla="*/ 1786192 w 2080768"/>
              <a:gd name="connsiteY26" fmla="*/ 2292 h 3686657"/>
              <a:gd name="connsiteX27" fmla="*/ 1845056 w 2080768"/>
              <a:gd name="connsiteY27" fmla="*/ 16865 h 3686657"/>
              <a:gd name="connsiteX28" fmla="*/ 1906016 w 2080768"/>
              <a:gd name="connsiteY28" fmla="*/ 49377 h 3686657"/>
              <a:gd name="connsiteX29" fmla="*/ 1983232 w 2080768"/>
              <a:gd name="connsiteY29" fmla="*/ 102209 h 3686657"/>
              <a:gd name="connsiteX30" fmla="*/ 2015744 w 2080768"/>
              <a:gd name="connsiteY30" fmla="*/ 155041 h 3686657"/>
              <a:gd name="connsiteX31" fmla="*/ 2048256 w 2080768"/>
              <a:gd name="connsiteY31" fmla="*/ 220065 h 3686657"/>
              <a:gd name="connsiteX32" fmla="*/ 2064512 w 2080768"/>
              <a:gd name="connsiteY32" fmla="*/ 285089 h 3686657"/>
              <a:gd name="connsiteX33" fmla="*/ 2080768 w 2080768"/>
              <a:gd name="connsiteY33" fmla="*/ 358241 h 3686657"/>
              <a:gd name="connsiteX34" fmla="*/ 2072640 w 2080768"/>
              <a:gd name="connsiteY34" fmla="*/ 431393 h 3686657"/>
              <a:gd name="connsiteX35" fmla="*/ 2060448 w 2080768"/>
              <a:gd name="connsiteY35" fmla="*/ 508609 h 3686657"/>
              <a:gd name="connsiteX36" fmla="*/ 2027936 w 2080768"/>
              <a:gd name="connsiteY36" fmla="*/ 618337 h 3686657"/>
              <a:gd name="connsiteX37" fmla="*/ 1975104 w 2080768"/>
              <a:gd name="connsiteY37" fmla="*/ 760577 h 3686657"/>
              <a:gd name="connsiteX38" fmla="*/ 1918208 w 2080768"/>
              <a:gd name="connsiteY38" fmla="*/ 886561 h 3686657"/>
              <a:gd name="connsiteX39" fmla="*/ 1845056 w 2080768"/>
              <a:gd name="connsiteY39" fmla="*/ 1040993 h 3686657"/>
              <a:gd name="connsiteX40" fmla="*/ 1763776 w 2080768"/>
              <a:gd name="connsiteY40" fmla="*/ 1183233 h 3686657"/>
              <a:gd name="connsiteX41" fmla="*/ 1666240 w 2080768"/>
              <a:gd name="connsiteY41" fmla="*/ 1362049 h 3686657"/>
              <a:gd name="connsiteX42" fmla="*/ 1552448 w 2080768"/>
              <a:gd name="connsiteY42" fmla="*/ 1524609 h 3686657"/>
              <a:gd name="connsiteX43" fmla="*/ 1381760 w 2080768"/>
              <a:gd name="connsiteY43" fmla="*/ 1788769 h 3686657"/>
              <a:gd name="connsiteX44" fmla="*/ 1247648 w 2080768"/>
              <a:gd name="connsiteY44" fmla="*/ 1967585 h 3686657"/>
              <a:gd name="connsiteX45" fmla="*/ 1060704 w 2080768"/>
              <a:gd name="connsiteY45" fmla="*/ 2207361 h 3686657"/>
              <a:gd name="connsiteX46" fmla="*/ 898144 w 2080768"/>
              <a:gd name="connsiteY46" fmla="*/ 2418689 h 3686657"/>
              <a:gd name="connsiteX47" fmla="*/ 548640 w 2080768"/>
              <a:gd name="connsiteY47" fmla="*/ 2873857 h 3686657"/>
              <a:gd name="connsiteX48" fmla="*/ 308864 w 2080768"/>
              <a:gd name="connsiteY48" fmla="*/ 3186785 h 3686657"/>
              <a:gd name="connsiteX49" fmla="*/ 65024 w 2080768"/>
              <a:gd name="connsiteY49" fmla="*/ 3572865 h 3686657"/>
              <a:gd name="connsiteX50" fmla="*/ 0 w 2080768"/>
              <a:gd name="connsiteY50" fmla="*/ 3686657 h 3686657"/>
              <a:gd name="connsiteX0" fmla="*/ 666496 w 2080768"/>
              <a:gd name="connsiteY0" fmla="*/ 516737 h 3686657"/>
              <a:gd name="connsiteX1" fmla="*/ 743712 w 2080768"/>
              <a:gd name="connsiteY1" fmla="*/ 654913 h 3686657"/>
              <a:gd name="connsiteX2" fmla="*/ 798926 w 2080768"/>
              <a:gd name="connsiteY2" fmla="*/ 762260 h 3686657"/>
              <a:gd name="connsiteX3" fmla="*/ 841248 w 2080768"/>
              <a:gd name="connsiteY3" fmla="*/ 862177 h 3686657"/>
              <a:gd name="connsiteX4" fmla="*/ 853440 w 2080768"/>
              <a:gd name="connsiteY4" fmla="*/ 975969 h 3686657"/>
              <a:gd name="connsiteX5" fmla="*/ 826390 w 2080768"/>
              <a:gd name="connsiteY5" fmla="*/ 1046454 h 3686657"/>
              <a:gd name="connsiteX6" fmla="*/ 776636 w 2080768"/>
              <a:gd name="connsiteY6" fmla="*/ 1088079 h 3686657"/>
              <a:gd name="connsiteX7" fmla="*/ 715264 w 2080768"/>
              <a:gd name="connsiteY7" fmla="*/ 1110081 h 3686657"/>
              <a:gd name="connsiteX8" fmla="*/ 646176 w 2080768"/>
              <a:gd name="connsiteY8" fmla="*/ 1106017 h 3686657"/>
              <a:gd name="connsiteX9" fmla="*/ 593344 w 2080768"/>
              <a:gd name="connsiteY9" fmla="*/ 1081633 h 3686657"/>
              <a:gd name="connsiteX10" fmla="*/ 540512 w 2080768"/>
              <a:gd name="connsiteY10" fmla="*/ 1016609 h 3686657"/>
              <a:gd name="connsiteX11" fmla="*/ 524256 w 2080768"/>
              <a:gd name="connsiteY11" fmla="*/ 955649 h 3686657"/>
              <a:gd name="connsiteX12" fmla="*/ 528320 w 2080768"/>
              <a:gd name="connsiteY12" fmla="*/ 870305 h 3686657"/>
              <a:gd name="connsiteX13" fmla="*/ 556768 w 2080768"/>
              <a:gd name="connsiteY13" fmla="*/ 789025 h 3686657"/>
              <a:gd name="connsiteX14" fmla="*/ 593344 w 2080768"/>
              <a:gd name="connsiteY14" fmla="*/ 736193 h 3686657"/>
              <a:gd name="connsiteX15" fmla="*/ 650240 w 2080768"/>
              <a:gd name="connsiteY15" fmla="*/ 671169 h 3686657"/>
              <a:gd name="connsiteX16" fmla="*/ 703072 w 2080768"/>
              <a:gd name="connsiteY16" fmla="*/ 606145 h 3686657"/>
              <a:gd name="connsiteX17" fmla="*/ 784352 w 2080768"/>
              <a:gd name="connsiteY17" fmla="*/ 528929 h 3686657"/>
              <a:gd name="connsiteX18" fmla="*/ 885952 w 2080768"/>
              <a:gd name="connsiteY18" fmla="*/ 443585 h 3686657"/>
              <a:gd name="connsiteX19" fmla="*/ 999744 w 2080768"/>
              <a:gd name="connsiteY19" fmla="*/ 358241 h 3686657"/>
              <a:gd name="connsiteX20" fmla="*/ 1129792 w 2080768"/>
              <a:gd name="connsiteY20" fmla="*/ 264769 h 3686657"/>
              <a:gd name="connsiteX21" fmla="*/ 1300480 w 2080768"/>
              <a:gd name="connsiteY21" fmla="*/ 163169 h 3686657"/>
              <a:gd name="connsiteX22" fmla="*/ 1442720 w 2080768"/>
              <a:gd name="connsiteY22" fmla="*/ 94081 h 3686657"/>
              <a:gd name="connsiteX23" fmla="*/ 1556512 w 2080768"/>
              <a:gd name="connsiteY23" fmla="*/ 53441 h 3686657"/>
              <a:gd name="connsiteX24" fmla="*/ 1643539 w 2080768"/>
              <a:gd name="connsiteY24" fmla="*/ 21913 h 3686657"/>
              <a:gd name="connsiteX25" fmla="*/ 1717390 w 2080768"/>
              <a:gd name="connsiteY25" fmla="*/ 2577 h 3686657"/>
              <a:gd name="connsiteX26" fmla="*/ 1786192 w 2080768"/>
              <a:gd name="connsiteY26" fmla="*/ 2292 h 3686657"/>
              <a:gd name="connsiteX27" fmla="*/ 1845056 w 2080768"/>
              <a:gd name="connsiteY27" fmla="*/ 16865 h 3686657"/>
              <a:gd name="connsiteX28" fmla="*/ 1906016 w 2080768"/>
              <a:gd name="connsiteY28" fmla="*/ 49377 h 3686657"/>
              <a:gd name="connsiteX29" fmla="*/ 1983232 w 2080768"/>
              <a:gd name="connsiteY29" fmla="*/ 102209 h 3686657"/>
              <a:gd name="connsiteX30" fmla="*/ 2015744 w 2080768"/>
              <a:gd name="connsiteY30" fmla="*/ 155041 h 3686657"/>
              <a:gd name="connsiteX31" fmla="*/ 2048256 w 2080768"/>
              <a:gd name="connsiteY31" fmla="*/ 220065 h 3686657"/>
              <a:gd name="connsiteX32" fmla="*/ 2064512 w 2080768"/>
              <a:gd name="connsiteY32" fmla="*/ 285089 h 3686657"/>
              <a:gd name="connsiteX33" fmla="*/ 2080768 w 2080768"/>
              <a:gd name="connsiteY33" fmla="*/ 358241 h 3686657"/>
              <a:gd name="connsiteX34" fmla="*/ 2072640 w 2080768"/>
              <a:gd name="connsiteY34" fmla="*/ 431393 h 3686657"/>
              <a:gd name="connsiteX35" fmla="*/ 2060448 w 2080768"/>
              <a:gd name="connsiteY35" fmla="*/ 508609 h 3686657"/>
              <a:gd name="connsiteX36" fmla="*/ 2027936 w 2080768"/>
              <a:gd name="connsiteY36" fmla="*/ 618337 h 3686657"/>
              <a:gd name="connsiteX37" fmla="*/ 1975104 w 2080768"/>
              <a:gd name="connsiteY37" fmla="*/ 760577 h 3686657"/>
              <a:gd name="connsiteX38" fmla="*/ 1918208 w 2080768"/>
              <a:gd name="connsiteY38" fmla="*/ 886561 h 3686657"/>
              <a:gd name="connsiteX39" fmla="*/ 1845056 w 2080768"/>
              <a:gd name="connsiteY39" fmla="*/ 1040993 h 3686657"/>
              <a:gd name="connsiteX40" fmla="*/ 1763776 w 2080768"/>
              <a:gd name="connsiteY40" fmla="*/ 1183233 h 3686657"/>
              <a:gd name="connsiteX41" fmla="*/ 1666240 w 2080768"/>
              <a:gd name="connsiteY41" fmla="*/ 1362049 h 3686657"/>
              <a:gd name="connsiteX42" fmla="*/ 1552448 w 2080768"/>
              <a:gd name="connsiteY42" fmla="*/ 1524609 h 3686657"/>
              <a:gd name="connsiteX43" fmla="*/ 1381760 w 2080768"/>
              <a:gd name="connsiteY43" fmla="*/ 1788769 h 3686657"/>
              <a:gd name="connsiteX44" fmla="*/ 1247648 w 2080768"/>
              <a:gd name="connsiteY44" fmla="*/ 1967585 h 3686657"/>
              <a:gd name="connsiteX45" fmla="*/ 1060704 w 2080768"/>
              <a:gd name="connsiteY45" fmla="*/ 2207361 h 3686657"/>
              <a:gd name="connsiteX46" fmla="*/ 898144 w 2080768"/>
              <a:gd name="connsiteY46" fmla="*/ 2418689 h 3686657"/>
              <a:gd name="connsiteX47" fmla="*/ 548640 w 2080768"/>
              <a:gd name="connsiteY47" fmla="*/ 2873857 h 3686657"/>
              <a:gd name="connsiteX48" fmla="*/ 308864 w 2080768"/>
              <a:gd name="connsiteY48" fmla="*/ 3186785 h 3686657"/>
              <a:gd name="connsiteX49" fmla="*/ 65024 w 2080768"/>
              <a:gd name="connsiteY49" fmla="*/ 3572865 h 3686657"/>
              <a:gd name="connsiteX50" fmla="*/ 0 w 2080768"/>
              <a:gd name="connsiteY50" fmla="*/ 3686657 h 3686657"/>
              <a:gd name="connsiteX0" fmla="*/ 666496 w 2080961"/>
              <a:gd name="connsiteY0" fmla="*/ 516737 h 3686657"/>
              <a:gd name="connsiteX1" fmla="*/ 743712 w 2080961"/>
              <a:gd name="connsiteY1" fmla="*/ 654913 h 3686657"/>
              <a:gd name="connsiteX2" fmla="*/ 798926 w 2080961"/>
              <a:gd name="connsiteY2" fmla="*/ 762260 h 3686657"/>
              <a:gd name="connsiteX3" fmla="*/ 841248 w 2080961"/>
              <a:gd name="connsiteY3" fmla="*/ 862177 h 3686657"/>
              <a:gd name="connsiteX4" fmla="*/ 853440 w 2080961"/>
              <a:gd name="connsiteY4" fmla="*/ 975969 h 3686657"/>
              <a:gd name="connsiteX5" fmla="*/ 826390 w 2080961"/>
              <a:gd name="connsiteY5" fmla="*/ 1046454 h 3686657"/>
              <a:gd name="connsiteX6" fmla="*/ 776636 w 2080961"/>
              <a:gd name="connsiteY6" fmla="*/ 1088079 h 3686657"/>
              <a:gd name="connsiteX7" fmla="*/ 715264 w 2080961"/>
              <a:gd name="connsiteY7" fmla="*/ 1110081 h 3686657"/>
              <a:gd name="connsiteX8" fmla="*/ 646176 w 2080961"/>
              <a:gd name="connsiteY8" fmla="*/ 1106017 h 3686657"/>
              <a:gd name="connsiteX9" fmla="*/ 593344 w 2080961"/>
              <a:gd name="connsiteY9" fmla="*/ 1081633 h 3686657"/>
              <a:gd name="connsiteX10" fmla="*/ 540512 w 2080961"/>
              <a:gd name="connsiteY10" fmla="*/ 1016609 h 3686657"/>
              <a:gd name="connsiteX11" fmla="*/ 524256 w 2080961"/>
              <a:gd name="connsiteY11" fmla="*/ 955649 h 3686657"/>
              <a:gd name="connsiteX12" fmla="*/ 528320 w 2080961"/>
              <a:gd name="connsiteY12" fmla="*/ 870305 h 3686657"/>
              <a:gd name="connsiteX13" fmla="*/ 556768 w 2080961"/>
              <a:gd name="connsiteY13" fmla="*/ 789025 h 3686657"/>
              <a:gd name="connsiteX14" fmla="*/ 593344 w 2080961"/>
              <a:gd name="connsiteY14" fmla="*/ 736193 h 3686657"/>
              <a:gd name="connsiteX15" fmla="*/ 650240 w 2080961"/>
              <a:gd name="connsiteY15" fmla="*/ 671169 h 3686657"/>
              <a:gd name="connsiteX16" fmla="*/ 703072 w 2080961"/>
              <a:gd name="connsiteY16" fmla="*/ 606145 h 3686657"/>
              <a:gd name="connsiteX17" fmla="*/ 784352 w 2080961"/>
              <a:gd name="connsiteY17" fmla="*/ 528929 h 3686657"/>
              <a:gd name="connsiteX18" fmla="*/ 885952 w 2080961"/>
              <a:gd name="connsiteY18" fmla="*/ 443585 h 3686657"/>
              <a:gd name="connsiteX19" fmla="*/ 999744 w 2080961"/>
              <a:gd name="connsiteY19" fmla="*/ 358241 h 3686657"/>
              <a:gd name="connsiteX20" fmla="*/ 1129792 w 2080961"/>
              <a:gd name="connsiteY20" fmla="*/ 264769 h 3686657"/>
              <a:gd name="connsiteX21" fmla="*/ 1300480 w 2080961"/>
              <a:gd name="connsiteY21" fmla="*/ 163169 h 3686657"/>
              <a:gd name="connsiteX22" fmla="*/ 1442720 w 2080961"/>
              <a:gd name="connsiteY22" fmla="*/ 94081 h 3686657"/>
              <a:gd name="connsiteX23" fmla="*/ 1556512 w 2080961"/>
              <a:gd name="connsiteY23" fmla="*/ 53441 h 3686657"/>
              <a:gd name="connsiteX24" fmla="*/ 1643539 w 2080961"/>
              <a:gd name="connsiteY24" fmla="*/ 21913 h 3686657"/>
              <a:gd name="connsiteX25" fmla="*/ 1717390 w 2080961"/>
              <a:gd name="connsiteY25" fmla="*/ 2577 h 3686657"/>
              <a:gd name="connsiteX26" fmla="*/ 1786192 w 2080961"/>
              <a:gd name="connsiteY26" fmla="*/ 2292 h 3686657"/>
              <a:gd name="connsiteX27" fmla="*/ 1845056 w 2080961"/>
              <a:gd name="connsiteY27" fmla="*/ 16865 h 3686657"/>
              <a:gd name="connsiteX28" fmla="*/ 1906016 w 2080961"/>
              <a:gd name="connsiteY28" fmla="*/ 49377 h 3686657"/>
              <a:gd name="connsiteX29" fmla="*/ 1983232 w 2080961"/>
              <a:gd name="connsiteY29" fmla="*/ 102209 h 3686657"/>
              <a:gd name="connsiteX30" fmla="*/ 2015744 w 2080961"/>
              <a:gd name="connsiteY30" fmla="*/ 155041 h 3686657"/>
              <a:gd name="connsiteX31" fmla="*/ 2048256 w 2080961"/>
              <a:gd name="connsiteY31" fmla="*/ 220065 h 3686657"/>
              <a:gd name="connsiteX32" fmla="*/ 2064512 w 2080961"/>
              <a:gd name="connsiteY32" fmla="*/ 285089 h 3686657"/>
              <a:gd name="connsiteX33" fmla="*/ 2080768 w 2080961"/>
              <a:gd name="connsiteY33" fmla="*/ 358241 h 3686657"/>
              <a:gd name="connsiteX34" fmla="*/ 2072640 w 2080961"/>
              <a:gd name="connsiteY34" fmla="*/ 431393 h 3686657"/>
              <a:gd name="connsiteX35" fmla="*/ 2060448 w 2080961"/>
              <a:gd name="connsiteY35" fmla="*/ 508609 h 3686657"/>
              <a:gd name="connsiteX36" fmla="*/ 2027936 w 2080961"/>
              <a:gd name="connsiteY36" fmla="*/ 618337 h 3686657"/>
              <a:gd name="connsiteX37" fmla="*/ 1975104 w 2080961"/>
              <a:gd name="connsiteY37" fmla="*/ 760577 h 3686657"/>
              <a:gd name="connsiteX38" fmla="*/ 1918208 w 2080961"/>
              <a:gd name="connsiteY38" fmla="*/ 886561 h 3686657"/>
              <a:gd name="connsiteX39" fmla="*/ 1845056 w 2080961"/>
              <a:gd name="connsiteY39" fmla="*/ 1040993 h 3686657"/>
              <a:gd name="connsiteX40" fmla="*/ 1763776 w 2080961"/>
              <a:gd name="connsiteY40" fmla="*/ 1183233 h 3686657"/>
              <a:gd name="connsiteX41" fmla="*/ 1666240 w 2080961"/>
              <a:gd name="connsiteY41" fmla="*/ 1362049 h 3686657"/>
              <a:gd name="connsiteX42" fmla="*/ 1552448 w 2080961"/>
              <a:gd name="connsiteY42" fmla="*/ 1524609 h 3686657"/>
              <a:gd name="connsiteX43" fmla="*/ 1381760 w 2080961"/>
              <a:gd name="connsiteY43" fmla="*/ 1788769 h 3686657"/>
              <a:gd name="connsiteX44" fmla="*/ 1247648 w 2080961"/>
              <a:gd name="connsiteY44" fmla="*/ 1967585 h 3686657"/>
              <a:gd name="connsiteX45" fmla="*/ 1060704 w 2080961"/>
              <a:gd name="connsiteY45" fmla="*/ 2207361 h 3686657"/>
              <a:gd name="connsiteX46" fmla="*/ 898144 w 2080961"/>
              <a:gd name="connsiteY46" fmla="*/ 2418689 h 3686657"/>
              <a:gd name="connsiteX47" fmla="*/ 548640 w 2080961"/>
              <a:gd name="connsiteY47" fmla="*/ 2873857 h 3686657"/>
              <a:gd name="connsiteX48" fmla="*/ 308864 w 2080961"/>
              <a:gd name="connsiteY48" fmla="*/ 3186785 h 3686657"/>
              <a:gd name="connsiteX49" fmla="*/ 65024 w 2080961"/>
              <a:gd name="connsiteY49" fmla="*/ 3572865 h 3686657"/>
              <a:gd name="connsiteX50" fmla="*/ 0 w 2080961"/>
              <a:gd name="connsiteY50" fmla="*/ 3686657 h 3686657"/>
              <a:gd name="connsiteX0" fmla="*/ 666496 w 2080961"/>
              <a:gd name="connsiteY0" fmla="*/ 516737 h 3686657"/>
              <a:gd name="connsiteX1" fmla="*/ 743712 w 2080961"/>
              <a:gd name="connsiteY1" fmla="*/ 654913 h 3686657"/>
              <a:gd name="connsiteX2" fmla="*/ 798926 w 2080961"/>
              <a:gd name="connsiteY2" fmla="*/ 762260 h 3686657"/>
              <a:gd name="connsiteX3" fmla="*/ 841248 w 2080961"/>
              <a:gd name="connsiteY3" fmla="*/ 862177 h 3686657"/>
              <a:gd name="connsiteX4" fmla="*/ 853440 w 2080961"/>
              <a:gd name="connsiteY4" fmla="*/ 975969 h 3686657"/>
              <a:gd name="connsiteX5" fmla="*/ 826390 w 2080961"/>
              <a:gd name="connsiteY5" fmla="*/ 1046454 h 3686657"/>
              <a:gd name="connsiteX6" fmla="*/ 776636 w 2080961"/>
              <a:gd name="connsiteY6" fmla="*/ 1088079 h 3686657"/>
              <a:gd name="connsiteX7" fmla="*/ 715264 w 2080961"/>
              <a:gd name="connsiteY7" fmla="*/ 1110081 h 3686657"/>
              <a:gd name="connsiteX8" fmla="*/ 646176 w 2080961"/>
              <a:gd name="connsiteY8" fmla="*/ 1106017 h 3686657"/>
              <a:gd name="connsiteX9" fmla="*/ 593344 w 2080961"/>
              <a:gd name="connsiteY9" fmla="*/ 1081633 h 3686657"/>
              <a:gd name="connsiteX10" fmla="*/ 540512 w 2080961"/>
              <a:gd name="connsiteY10" fmla="*/ 1016609 h 3686657"/>
              <a:gd name="connsiteX11" fmla="*/ 524256 w 2080961"/>
              <a:gd name="connsiteY11" fmla="*/ 955649 h 3686657"/>
              <a:gd name="connsiteX12" fmla="*/ 528320 w 2080961"/>
              <a:gd name="connsiteY12" fmla="*/ 870305 h 3686657"/>
              <a:gd name="connsiteX13" fmla="*/ 556768 w 2080961"/>
              <a:gd name="connsiteY13" fmla="*/ 789025 h 3686657"/>
              <a:gd name="connsiteX14" fmla="*/ 593344 w 2080961"/>
              <a:gd name="connsiteY14" fmla="*/ 736193 h 3686657"/>
              <a:gd name="connsiteX15" fmla="*/ 650240 w 2080961"/>
              <a:gd name="connsiteY15" fmla="*/ 671169 h 3686657"/>
              <a:gd name="connsiteX16" fmla="*/ 703072 w 2080961"/>
              <a:gd name="connsiteY16" fmla="*/ 606145 h 3686657"/>
              <a:gd name="connsiteX17" fmla="*/ 784352 w 2080961"/>
              <a:gd name="connsiteY17" fmla="*/ 528929 h 3686657"/>
              <a:gd name="connsiteX18" fmla="*/ 885952 w 2080961"/>
              <a:gd name="connsiteY18" fmla="*/ 443585 h 3686657"/>
              <a:gd name="connsiteX19" fmla="*/ 999744 w 2080961"/>
              <a:gd name="connsiteY19" fmla="*/ 358241 h 3686657"/>
              <a:gd name="connsiteX20" fmla="*/ 1129792 w 2080961"/>
              <a:gd name="connsiteY20" fmla="*/ 264769 h 3686657"/>
              <a:gd name="connsiteX21" fmla="*/ 1300480 w 2080961"/>
              <a:gd name="connsiteY21" fmla="*/ 163169 h 3686657"/>
              <a:gd name="connsiteX22" fmla="*/ 1442720 w 2080961"/>
              <a:gd name="connsiteY22" fmla="*/ 94081 h 3686657"/>
              <a:gd name="connsiteX23" fmla="*/ 1556512 w 2080961"/>
              <a:gd name="connsiteY23" fmla="*/ 53441 h 3686657"/>
              <a:gd name="connsiteX24" fmla="*/ 1643539 w 2080961"/>
              <a:gd name="connsiteY24" fmla="*/ 21913 h 3686657"/>
              <a:gd name="connsiteX25" fmla="*/ 1717390 w 2080961"/>
              <a:gd name="connsiteY25" fmla="*/ 2577 h 3686657"/>
              <a:gd name="connsiteX26" fmla="*/ 1786192 w 2080961"/>
              <a:gd name="connsiteY26" fmla="*/ 2292 h 3686657"/>
              <a:gd name="connsiteX27" fmla="*/ 1845056 w 2080961"/>
              <a:gd name="connsiteY27" fmla="*/ 16865 h 3686657"/>
              <a:gd name="connsiteX28" fmla="*/ 1906016 w 2080961"/>
              <a:gd name="connsiteY28" fmla="*/ 49377 h 3686657"/>
              <a:gd name="connsiteX29" fmla="*/ 1983232 w 2080961"/>
              <a:gd name="connsiteY29" fmla="*/ 102209 h 3686657"/>
              <a:gd name="connsiteX30" fmla="*/ 2015744 w 2080961"/>
              <a:gd name="connsiteY30" fmla="*/ 155041 h 3686657"/>
              <a:gd name="connsiteX31" fmla="*/ 2048256 w 2080961"/>
              <a:gd name="connsiteY31" fmla="*/ 220065 h 3686657"/>
              <a:gd name="connsiteX32" fmla="*/ 2064512 w 2080961"/>
              <a:gd name="connsiteY32" fmla="*/ 285089 h 3686657"/>
              <a:gd name="connsiteX33" fmla="*/ 2080768 w 2080961"/>
              <a:gd name="connsiteY33" fmla="*/ 358241 h 3686657"/>
              <a:gd name="connsiteX34" fmla="*/ 2072640 w 2080961"/>
              <a:gd name="connsiteY34" fmla="*/ 431393 h 3686657"/>
              <a:gd name="connsiteX35" fmla="*/ 2060448 w 2080961"/>
              <a:gd name="connsiteY35" fmla="*/ 508609 h 3686657"/>
              <a:gd name="connsiteX36" fmla="*/ 2027936 w 2080961"/>
              <a:gd name="connsiteY36" fmla="*/ 618337 h 3686657"/>
              <a:gd name="connsiteX37" fmla="*/ 1975104 w 2080961"/>
              <a:gd name="connsiteY37" fmla="*/ 760577 h 3686657"/>
              <a:gd name="connsiteX38" fmla="*/ 1918208 w 2080961"/>
              <a:gd name="connsiteY38" fmla="*/ 886561 h 3686657"/>
              <a:gd name="connsiteX39" fmla="*/ 1845056 w 2080961"/>
              <a:gd name="connsiteY39" fmla="*/ 1040993 h 3686657"/>
              <a:gd name="connsiteX40" fmla="*/ 1763776 w 2080961"/>
              <a:gd name="connsiteY40" fmla="*/ 1183233 h 3686657"/>
              <a:gd name="connsiteX41" fmla="*/ 1666240 w 2080961"/>
              <a:gd name="connsiteY41" fmla="*/ 1362049 h 3686657"/>
              <a:gd name="connsiteX42" fmla="*/ 1552448 w 2080961"/>
              <a:gd name="connsiteY42" fmla="*/ 1524609 h 3686657"/>
              <a:gd name="connsiteX43" fmla="*/ 1381760 w 2080961"/>
              <a:gd name="connsiteY43" fmla="*/ 1788769 h 3686657"/>
              <a:gd name="connsiteX44" fmla="*/ 1247648 w 2080961"/>
              <a:gd name="connsiteY44" fmla="*/ 1967585 h 3686657"/>
              <a:gd name="connsiteX45" fmla="*/ 1060704 w 2080961"/>
              <a:gd name="connsiteY45" fmla="*/ 2207361 h 3686657"/>
              <a:gd name="connsiteX46" fmla="*/ 898144 w 2080961"/>
              <a:gd name="connsiteY46" fmla="*/ 2418689 h 3686657"/>
              <a:gd name="connsiteX47" fmla="*/ 548640 w 2080961"/>
              <a:gd name="connsiteY47" fmla="*/ 2873857 h 3686657"/>
              <a:gd name="connsiteX48" fmla="*/ 308864 w 2080961"/>
              <a:gd name="connsiteY48" fmla="*/ 3186785 h 3686657"/>
              <a:gd name="connsiteX49" fmla="*/ 65024 w 2080961"/>
              <a:gd name="connsiteY49" fmla="*/ 3572865 h 3686657"/>
              <a:gd name="connsiteX50" fmla="*/ 0 w 2080961"/>
              <a:gd name="connsiteY50" fmla="*/ 3686657 h 3686657"/>
              <a:gd name="connsiteX0" fmla="*/ 666496 w 2080961"/>
              <a:gd name="connsiteY0" fmla="*/ 516737 h 3686657"/>
              <a:gd name="connsiteX1" fmla="*/ 743712 w 2080961"/>
              <a:gd name="connsiteY1" fmla="*/ 654913 h 3686657"/>
              <a:gd name="connsiteX2" fmla="*/ 798926 w 2080961"/>
              <a:gd name="connsiteY2" fmla="*/ 762260 h 3686657"/>
              <a:gd name="connsiteX3" fmla="*/ 841248 w 2080961"/>
              <a:gd name="connsiteY3" fmla="*/ 862177 h 3686657"/>
              <a:gd name="connsiteX4" fmla="*/ 853440 w 2080961"/>
              <a:gd name="connsiteY4" fmla="*/ 975969 h 3686657"/>
              <a:gd name="connsiteX5" fmla="*/ 826390 w 2080961"/>
              <a:gd name="connsiteY5" fmla="*/ 1046454 h 3686657"/>
              <a:gd name="connsiteX6" fmla="*/ 776636 w 2080961"/>
              <a:gd name="connsiteY6" fmla="*/ 1088079 h 3686657"/>
              <a:gd name="connsiteX7" fmla="*/ 715264 w 2080961"/>
              <a:gd name="connsiteY7" fmla="*/ 1110081 h 3686657"/>
              <a:gd name="connsiteX8" fmla="*/ 646176 w 2080961"/>
              <a:gd name="connsiteY8" fmla="*/ 1106017 h 3686657"/>
              <a:gd name="connsiteX9" fmla="*/ 593344 w 2080961"/>
              <a:gd name="connsiteY9" fmla="*/ 1081633 h 3686657"/>
              <a:gd name="connsiteX10" fmla="*/ 540512 w 2080961"/>
              <a:gd name="connsiteY10" fmla="*/ 1016609 h 3686657"/>
              <a:gd name="connsiteX11" fmla="*/ 524256 w 2080961"/>
              <a:gd name="connsiteY11" fmla="*/ 955649 h 3686657"/>
              <a:gd name="connsiteX12" fmla="*/ 528320 w 2080961"/>
              <a:gd name="connsiteY12" fmla="*/ 870305 h 3686657"/>
              <a:gd name="connsiteX13" fmla="*/ 556768 w 2080961"/>
              <a:gd name="connsiteY13" fmla="*/ 789025 h 3686657"/>
              <a:gd name="connsiteX14" fmla="*/ 593344 w 2080961"/>
              <a:gd name="connsiteY14" fmla="*/ 736193 h 3686657"/>
              <a:gd name="connsiteX15" fmla="*/ 650240 w 2080961"/>
              <a:gd name="connsiteY15" fmla="*/ 671169 h 3686657"/>
              <a:gd name="connsiteX16" fmla="*/ 703072 w 2080961"/>
              <a:gd name="connsiteY16" fmla="*/ 606145 h 3686657"/>
              <a:gd name="connsiteX17" fmla="*/ 784352 w 2080961"/>
              <a:gd name="connsiteY17" fmla="*/ 528929 h 3686657"/>
              <a:gd name="connsiteX18" fmla="*/ 885952 w 2080961"/>
              <a:gd name="connsiteY18" fmla="*/ 443585 h 3686657"/>
              <a:gd name="connsiteX19" fmla="*/ 999744 w 2080961"/>
              <a:gd name="connsiteY19" fmla="*/ 358241 h 3686657"/>
              <a:gd name="connsiteX20" fmla="*/ 1129792 w 2080961"/>
              <a:gd name="connsiteY20" fmla="*/ 264769 h 3686657"/>
              <a:gd name="connsiteX21" fmla="*/ 1300480 w 2080961"/>
              <a:gd name="connsiteY21" fmla="*/ 163169 h 3686657"/>
              <a:gd name="connsiteX22" fmla="*/ 1442720 w 2080961"/>
              <a:gd name="connsiteY22" fmla="*/ 94081 h 3686657"/>
              <a:gd name="connsiteX23" fmla="*/ 1556512 w 2080961"/>
              <a:gd name="connsiteY23" fmla="*/ 53441 h 3686657"/>
              <a:gd name="connsiteX24" fmla="*/ 1643539 w 2080961"/>
              <a:gd name="connsiteY24" fmla="*/ 21913 h 3686657"/>
              <a:gd name="connsiteX25" fmla="*/ 1717390 w 2080961"/>
              <a:gd name="connsiteY25" fmla="*/ 2577 h 3686657"/>
              <a:gd name="connsiteX26" fmla="*/ 1786192 w 2080961"/>
              <a:gd name="connsiteY26" fmla="*/ 2292 h 3686657"/>
              <a:gd name="connsiteX27" fmla="*/ 1845056 w 2080961"/>
              <a:gd name="connsiteY27" fmla="*/ 16865 h 3686657"/>
              <a:gd name="connsiteX28" fmla="*/ 1906016 w 2080961"/>
              <a:gd name="connsiteY28" fmla="*/ 49377 h 3686657"/>
              <a:gd name="connsiteX29" fmla="*/ 1983232 w 2080961"/>
              <a:gd name="connsiteY29" fmla="*/ 102209 h 3686657"/>
              <a:gd name="connsiteX30" fmla="*/ 2015744 w 2080961"/>
              <a:gd name="connsiteY30" fmla="*/ 155041 h 3686657"/>
              <a:gd name="connsiteX31" fmla="*/ 2048256 w 2080961"/>
              <a:gd name="connsiteY31" fmla="*/ 220065 h 3686657"/>
              <a:gd name="connsiteX32" fmla="*/ 2064512 w 2080961"/>
              <a:gd name="connsiteY32" fmla="*/ 285089 h 3686657"/>
              <a:gd name="connsiteX33" fmla="*/ 2080768 w 2080961"/>
              <a:gd name="connsiteY33" fmla="*/ 358241 h 3686657"/>
              <a:gd name="connsiteX34" fmla="*/ 2072640 w 2080961"/>
              <a:gd name="connsiteY34" fmla="*/ 431393 h 3686657"/>
              <a:gd name="connsiteX35" fmla="*/ 2060448 w 2080961"/>
              <a:gd name="connsiteY35" fmla="*/ 508609 h 3686657"/>
              <a:gd name="connsiteX36" fmla="*/ 2027936 w 2080961"/>
              <a:gd name="connsiteY36" fmla="*/ 618337 h 3686657"/>
              <a:gd name="connsiteX37" fmla="*/ 1975104 w 2080961"/>
              <a:gd name="connsiteY37" fmla="*/ 760577 h 3686657"/>
              <a:gd name="connsiteX38" fmla="*/ 1918208 w 2080961"/>
              <a:gd name="connsiteY38" fmla="*/ 886561 h 3686657"/>
              <a:gd name="connsiteX39" fmla="*/ 1845056 w 2080961"/>
              <a:gd name="connsiteY39" fmla="*/ 1040993 h 3686657"/>
              <a:gd name="connsiteX40" fmla="*/ 1763776 w 2080961"/>
              <a:gd name="connsiteY40" fmla="*/ 1183233 h 3686657"/>
              <a:gd name="connsiteX41" fmla="*/ 1666240 w 2080961"/>
              <a:gd name="connsiteY41" fmla="*/ 1362049 h 3686657"/>
              <a:gd name="connsiteX42" fmla="*/ 1552448 w 2080961"/>
              <a:gd name="connsiteY42" fmla="*/ 1524609 h 3686657"/>
              <a:gd name="connsiteX43" fmla="*/ 1381760 w 2080961"/>
              <a:gd name="connsiteY43" fmla="*/ 1788769 h 3686657"/>
              <a:gd name="connsiteX44" fmla="*/ 1247648 w 2080961"/>
              <a:gd name="connsiteY44" fmla="*/ 1967585 h 3686657"/>
              <a:gd name="connsiteX45" fmla="*/ 1060704 w 2080961"/>
              <a:gd name="connsiteY45" fmla="*/ 2207361 h 3686657"/>
              <a:gd name="connsiteX46" fmla="*/ 898144 w 2080961"/>
              <a:gd name="connsiteY46" fmla="*/ 2418689 h 3686657"/>
              <a:gd name="connsiteX47" fmla="*/ 548640 w 2080961"/>
              <a:gd name="connsiteY47" fmla="*/ 2873857 h 3686657"/>
              <a:gd name="connsiteX48" fmla="*/ 308864 w 2080961"/>
              <a:gd name="connsiteY48" fmla="*/ 3186785 h 3686657"/>
              <a:gd name="connsiteX49" fmla="*/ 65024 w 2080961"/>
              <a:gd name="connsiteY49" fmla="*/ 3572865 h 3686657"/>
              <a:gd name="connsiteX50" fmla="*/ 0 w 2080961"/>
              <a:gd name="connsiteY50" fmla="*/ 3686657 h 3686657"/>
              <a:gd name="connsiteX0" fmla="*/ 666496 w 2080961"/>
              <a:gd name="connsiteY0" fmla="*/ 516737 h 3686657"/>
              <a:gd name="connsiteX1" fmla="*/ 743712 w 2080961"/>
              <a:gd name="connsiteY1" fmla="*/ 654913 h 3686657"/>
              <a:gd name="connsiteX2" fmla="*/ 798926 w 2080961"/>
              <a:gd name="connsiteY2" fmla="*/ 762260 h 3686657"/>
              <a:gd name="connsiteX3" fmla="*/ 841248 w 2080961"/>
              <a:gd name="connsiteY3" fmla="*/ 862177 h 3686657"/>
              <a:gd name="connsiteX4" fmla="*/ 853440 w 2080961"/>
              <a:gd name="connsiteY4" fmla="*/ 975969 h 3686657"/>
              <a:gd name="connsiteX5" fmla="*/ 826390 w 2080961"/>
              <a:gd name="connsiteY5" fmla="*/ 1046454 h 3686657"/>
              <a:gd name="connsiteX6" fmla="*/ 776636 w 2080961"/>
              <a:gd name="connsiteY6" fmla="*/ 1088079 h 3686657"/>
              <a:gd name="connsiteX7" fmla="*/ 715264 w 2080961"/>
              <a:gd name="connsiteY7" fmla="*/ 1110081 h 3686657"/>
              <a:gd name="connsiteX8" fmla="*/ 646176 w 2080961"/>
              <a:gd name="connsiteY8" fmla="*/ 1106017 h 3686657"/>
              <a:gd name="connsiteX9" fmla="*/ 593344 w 2080961"/>
              <a:gd name="connsiteY9" fmla="*/ 1081633 h 3686657"/>
              <a:gd name="connsiteX10" fmla="*/ 540512 w 2080961"/>
              <a:gd name="connsiteY10" fmla="*/ 1016609 h 3686657"/>
              <a:gd name="connsiteX11" fmla="*/ 524256 w 2080961"/>
              <a:gd name="connsiteY11" fmla="*/ 955649 h 3686657"/>
              <a:gd name="connsiteX12" fmla="*/ 528320 w 2080961"/>
              <a:gd name="connsiteY12" fmla="*/ 870305 h 3686657"/>
              <a:gd name="connsiteX13" fmla="*/ 556768 w 2080961"/>
              <a:gd name="connsiteY13" fmla="*/ 789025 h 3686657"/>
              <a:gd name="connsiteX14" fmla="*/ 593344 w 2080961"/>
              <a:gd name="connsiteY14" fmla="*/ 736193 h 3686657"/>
              <a:gd name="connsiteX15" fmla="*/ 650240 w 2080961"/>
              <a:gd name="connsiteY15" fmla="*/ 671169 h 3686657"/>
              <a:gd name="connsiteX16" fmla="*/ 703072 w 2080961"/>
              <a:gd name="connsiteY16" fmla="*/ 606145 h 3686657"/>
              <a:gd name="connsiteX17" fmla="*/ 784352 w 2080961"/>
              <a:gd name="connsiteY17" fmla="*/ 528929 h 3686657"/>
              <a:gd name="connsiteX18" fmla="*/ 885952 w 2080961"/>
              <a:gd name="connsiteY18" fmla="*/ 443585 h 3686657"/>
              <a:gd name="connsiteX19" fmla="*/ 999744 w 2080961"/>
              <a:gd name="connsiteY19" fmla="*/ 358241 h 3686657"/>
              <a:gd name="connsiteX20" fmla="*/ 1129792 w 2080961"/>
              <a:gd name="connsiteY20" fmla="*/ 264769 h 3686657"/>
              <a:gd name="connsiteX21" fmla="*/ 1300480 w 2080961"/>
              <a:gd name="connsiteY21" fmla="*/ 163169 h 3686657"/>
              <a:gd name="connsiteX22" fmla="*/ 1442720 w 2080961"/>
              <a:gd name="connsiteY22" fmla="*/ 94081 h 3686657"/>
              <a:gd name="connsiteX23" fmla="*/ 1556512 w 2080961"/>
              <a:gd name="connsiteY23" fmla="*/ 53441 h 3686657"/>
              <a:gd name="connsiteX24" fmla="*/ 1643539 w 2080961"/>
              <a:gd name="connsiteY24" fmla="*/ 21913 h 3686657"/>
              <a:gd name="connsiteX25" fmla="*/ 1717390 w 2080961"/>
              <a:gd name="connsiteY25" fmla="*/ 2577 h 3686657"/>
              <a:gd name="connsiteX26" fmla="*/ 1786192 w 2080961"/>
              <a:gd name="connsiteY26" fmla="*/ 2292 h 3686657"/>
              <a:gd name="connsiteX27" fmla="*/ 1845056 w 2080961"/>
              <a:gd name="connsiteY27" fmla="*/ 16865 h 3686657"/>
              <a:gd name="connsiteX28" fmla="*/ 1920304 w 2080961"/>
              <a:gd name="connsiteY28" fmla="*/ 46995 h 3686657"/>
              <a:gd name="connsiteX29" fmla="*/ 1983232 w 2080961"/>
              <a:gd name="connsiteY29" fmla="*/ 102209 h 3686657"/>
              <a:gd name="connsiteX30" fmla="*/ 2015744 w 2080961"/>
              <a:gd name="connsiteY30" fmla="*/ 155041 h 3686657"/>
              <a:gd name="connsiteX31" fmla="*/ 2048256 w 2080961"/>
              <a:gd name="connsiteY31" fmla="*/ 220065 h 3686657"/>
              <a:gd name="connsiteX32" fmla="*/ 2064512 w 2080961"/>
              <a:gd name="connsiteY32" fmla="*/ 285089 h 3686657"/>
              <a:gd name="connsiteX33" fmla="*/ 2080768 w 2080961"/>
              <a:gd name="connsiteY33" fmla="*/ 358241 h 3686657"/>
              <a:gd name="connsiteX34" fmla="*/ 2072640 w 2080961"/>
              <a:gd name="connsiteY34" fmla="*/ 431393 h 3686657"/>
              <a:gd name="connsiteX35" fmla="*/ 2060448 w 2080961"/>
              <a:gd name="connsiteY35" fmla="*/ 508609 h 3686657"/>
              <a:gd name="connsiteX36" fmla="*/ 2027936 w 2080961"/>
              <a:gd name="connsiteY36" fmla="*/ 618337 h 3686657"/>
              <a:gd name="connsiteX37" fmla="*/ 1975104 w 2080961"/>
              <a:gd name="connsiteY37" fmla="*/ 760577 h 3686657"/>
              <a:gd name="connsiteX38" fmla="*/ 1918208 w 2080961"/>
              <a:gd name="connsiteY38" fmla="*/ 886561 h 3686657"/>
              <a:gd name="connsiteX39" fmla="*/ 1845056 w 2080961"/>
              <a:gd name="connsiteY39" fmla="*/ 1040993 h 3686657"/>
              <a:gd name="connsiteX40" fmla="*/ 1763776 w 2080961"/>
              <a:gd name="connsiteY40" fmla="*/ 1183233 h 3686657"/>
              <a:gd name="connsiteX41" fmla="*/ 1666240 w 2080961"/>
              <a:gd name="connsiteY41" fmla="*/ 1362049 h 3686657"/>
              <a:gd name="connsiteX42" fmla="*/ 1552448 w 2080961"/>
              <a:gd name="connsiteY42" fmla="*/ 1524609 h 3686657"/>
              <a:gd name="connsiteX43" fmla="*/ 1381760 w 2080961"/>
              <a:gd name="connsiteY43" fmla="*/ 1788769 h 3686657"/>
              <a:gd name="connsiteX44" fmla="*/ 1247648 w 2080961"/>
              <a:gd name="connsiteY44" fmla="*/ 1967585 h 3686657"/>
              <a:gd name="connsiteX45" fmla="*/ 1060704 w 2080961"/>
              <a:gd name="connsiteY45" fmla="*/ 2207361 h 3686657"/>
              <a:gd name="connsiteX46" fmla="*/ 898144 w 2080961"/>
              <a:gd name="connsiteY46" fmla="*/ 2418689 h 3686657"/>
              <a:gd name="connsiteX47" fmla="*/ 548640 w 2080961"/>
              <a:gd name="connsiteY47" fmla="*/ 2873857 h 3686657"/>
              <a:gd name="connsiteX48" fmla="*/ 308864 w 2080961"/>
              <a:gd name="connsiteY48" fmla="*/ 3186785 h 3686657"/>
              <a:gd name="connsiteX49" fmla="*/ 65024 w 2080961"/>
              <a:gd name="connsiteY49" fmla="*/ 3572865 h 3686657"/>
              <a:gd name="connsiteX50" fmla="*/ 0 w 2080961"/>
              <a:gd name="connsiteY50" fmla="*/ 3686657 h 3686657"/>
              <a:gd name="connsiteX0" fmla="*/ 666496 w 2080961"/>
              <a:gd name="connsiteY0" fmla="*/ 514874 h 3684794"/>
              <a:gd name="connsiteX1" fmla="*/ 743712 w 2080961"/>
              <a:gd name="connsiteY1" fmla="*/ 653050 h 3684794"/>
              <a:gd name="connsiteX2" fmla="*/ 798926 w 2080961"/>
              <a:gd name="connsiteY2" fmla="*/ 760397 h 3684794"/>
              <a:gd name="connsiteX3" fmla="*/ 841248 w 2080961"/>
              <a:gd name="connsiteY3" fmla="*/ 860314 h 3684794"/>
              <a:gd name="connsiteX4" fmla="*/ 853440 w 2080961"/>
              <a:gd name="connsiteY4" fmla="*/ 974106 h 3684794"/>
              <a:gd name="connsiteX5" fmla="*/ 826390 w 2080961"/>
              <a:gd name="connsiteY5" fmla="*/ 1044591 h 3684794"/>
              <a:gd name="connsiteX6" fmla="*/ 776636 w 2080961"/>
              <a:gd name="connsiteY6" fmla="*/ 1086216 h 3684794"/>
              <a:gd name="connsiteX7" fmla="*/ 715264 w 2080961"/>
              <a:gd name="connsiteY7" fmla="*/ 1108218 h 3684794"/>
              <a:gd name="connsiteX8" fmla="*/ 646176 w 2080961"/>
              <a:gd name="connsiteY8" fmla="*/ 1104154 h 3684794"/>
              <a:gd name="connsiteX9" fmla="*/ 593344 w 2080961"/>
              <a:gd name="connsiteY9" fmla="*/ 1079770 h 3684794"/>
              <a:gd name="connsiteX10" fmla="*/ 540512 w 2080961"/>
              <a:gd name="connsiteY10" fmla="*/ 1014746 h 3684794"/>
              <a:gd name="connsiteX11" fmla="*/ 524256 w 2080961"/>
              <a:gd name="connsiteY11" fmla="*/ 953786 h 3684794"/>
              <a:gd name="connsiteX12" fmla="*/ 528320 w 2080961"/>
              <a:gd name="connsiteY12" fmla="*/ 868442 h 3684794"/>
              <a:gd name="connsiteX13" fmla="*/ 556768 w 2080961"/>
              <a:gd name="connsiteY13" fmla="*/ 787162 h 3684794"/>
              <a:gd name="connsiteX14" fmla="*/ 593344 w 2080961"/>
              <a:gd name="connsiteY14" fmla="*/ 734330 h 3684794"/>
              <a:gd name="connsiteX15" fmla="*/ 650240 w 2080961"/>
              <a:gd name="connsiteY15" fmla="*/ 669306 h 3684794"/>
              <a:gd name="connsiteX16" fmla="*/ 703072 w 2080961"/>
              <a:gd name="connsiteY16" fmla="*/ 604282 h 3684794"/>
              <a:gd name="connsiteX17" fmla="*/ 784352 w 2080961"/>
              <a:gd name="connsiteY17" fmla="*/ 527066 h 3684794"/>
              <a:gd name="connsiteX18" fmla="*/ 885952 w 2080961"/>
              <a:gd name="connsiteY18" fmla="*/ 441722 h 3684794"/>
              <a:gd name="connsiteX19" fmla="*/ 999744 w 2080961"/>
              <a:gd name="connsiteY19" fmla="*/ 356378 h 3684794"/>
              <a:gd name="connsiteX20" fmla="*/ 1129792 w 2080961"/>
              <a:gd name="connsiteY20" fmla="*/ 262906 h 3684794"/>
              <a:gd name="connsiteX21" fmla="*/ 1300480 w 2080961"/>
              <a:gd name="connsiteY21" fmla="*/ 161306 h 3684794"/>
              <a:gd name="connsiteX22" fmla="*/ 1442720 w 2080961"/>
              <a:gd name="connsiteY22" fmla="*/ 92218 h 3684794"/>
              <a:gd name="connsiteX23" fmla="*/ 1556512 w 2080961"/>
              <a:gd name="connsiteY23" fmla="*/ 51578 h 3684794"/>
              <a:gd name="connsiteX24" fmla="*/ 1643539 w 2080961"/>
              <a:gd name="connsiteY24" fmla="*/ 20050 h 3684794"/>
              <a:gd name="connsiteX25" fmla="*/ 1717390 w 2080961"/>
              <a:gd name="connsiteY25" fmla="*/ 714 h 3684794"/>
              <a:gd name="connsiteX26" fmla="*/ 1786192 w 2080961"/>
              <a:gd name="connsiteY26" fmla="*/ 5191 h 3684794"/>
              <a:gd name="connsiteX27" fmla="*/ 1845056 w 2080961"/>
              <a:gd name="connsiteY27" fmla="*/ 15002 h 3684794"/>
              <a:gd name="connsiteX28" fmla="*/ 1920304 w 2080961"/>
              <a:gd name="connsiteY28" fmla="*/ 45132 h 3684794"/>
              <a:gd name="connsiteX29" fmla="*/ 1983232 w 2080961"/>
              <a:gd name="connsiteY29" fmla="*/ 100346 h 3684794"/>
              <a:gd name="connsiteX30" fmla="*/ 2015744 w 2080961"/>
              <a:gd name="connsiteY30" fmla="*/ 153178 h 3684794"/>
              <a:gd name="connsiteX31" fmla="*/ 2048256 w 2080961"/>
              <a:gd name="connsiteY31" fmla="*/ 218202 h 3684794"/>
              <a:gd name="connsiteX32" fmla="*/ 2064512 w 2080961"/>
              <a:gd name="connsiteY32" fmla="*/ 283226 h 3684794"/>
              <a:gd name="connsiteX33" fmla="*/ 2080768 w 2080961"/>
              <a:gd name="connsiteY33" fmla="*/ 356378 h 3684794"/>
              <a:gd name="connsiteX34" fmla="*/ 2072640 w 2080961"/>
              <a:gd name="connsiteY34" fmla="*/ 429530 h 3684794"/>
              <a:gd name="connsiteX35" fmla="*/ 2060448 w 2080961"/>
              <a:gd name="connsiteY35" fmla="*/ 506746 h 3684794"/>
              <a:gd name="connsiteX36" fmla="*/ 2027936 w 2080961"/>
              <a:gd name="connsiteY36" fmla="*/ 616474 h 3684794"/>
              <a:gd name="connsiteX37" fmla="*/ 1975104 w 2080961"/>
              <a:gd name="connsiteY37" fmla="*/ 758714 h 3684794"/>
              <a:gd name="connsiteX38" fmla="*/ 1918208 w 2080961"/>
              <a:gd name="connsiteY38" fmla="*/ 884698 h 3684794"/>
              <a:gd name="connsiteX39" fmla="*/ 1845056 w 2080961"/>
              <a:gd name="connsiteY39" fmla="*/ 1039130 h 3684794"/>
              <a:gd name="connsiteX40" fmla="*/ 1763776 w 2080961"/>
              <a:gd name="connsiteY40" fmla="*/ 1181370 h 3684794"/>
              <a:gd name="connsiteX41" fmla="*/ 1666240 w 2080961"/>
              <a:gd name="connsiteY41" fmla="*/ 1360186 h 3684794"/>
              <a:gd name="connsiteX42" fmla="*/ 1552448 w 2080961"/>
              <a:gd name="connsiteY42" fmla="*/ 1522746 h 3684794"/>
              <a:gd name="connsiteX43" fmla="*/ 1381760 w 2080961"/>
              <a:gd name="connsiteY43" fmla="*/ 1786906 h 3684794"/>
              <a:gd name="connsiteX44" fmla="*/ 1247648 w 2080961"/>
              <a:gd name="connsiteY44" fmla="*/ 1965722 h 3684794"/>
              <a:gd name="connsiteX45" fmla="*/ 1060704 w 2080961"/>
              <a:gd name="connsiteY45" fmla="*/ 2205498 h 3684794"/>
              <a:gd name="connsiteX46" fmla="*/ 898144 w 2080961"/>
              <a:gd name="connsiteY46" fmla="*/ 2416826 h 3684794"/>
              <a:gd name="connsiteX47" fmla="*/ 548640 w 2080961"/>
              <a:gd name="connsiteY47" fmla="*/ 2871994 h 3684794"/>
              <a:gd name="connsiteX48" fmla="*/ 308864 w 2080961"/>
              <a:gd name="connsiteY48" fmla="*/ 3184922 h 3684794"/>
              <a:gd name="connsiteX49" fmla="*/ 65024 w 2080961"/>
              <a:gd name="connsiteY49" fmla="*/ 3571002 h 3684794"/>
              <a:gd name="connsiteX50" fmla="*/ 0 w 2080961"/>
              <a:gd name="connsiteY50" fmla="*/ 3684794 h 3684794"/>
              <a:gd name="connsiteX0" fmla="*/ 666496 w 2080961"/>
              <a:gd name="connsiteY0" fmla="*/ 509802 h 3679722"/>
              <a:gd name="connsiteX1" fmla="*/ 743712 w 2080961"/>
              <a:gd name="connsiteY1" fmla="*/ 647978 h 3679722"/>
              <a:gd name="connsiteX2" fmla="*/ 798926 w 2080961"/>
              <a:gd name="connsiteY2" fmla="*/ 755325 h 3679722"/>
              <a:gd name="connsiteX3" fmla="*/ 841248 w 2080961"/>
              <a:gd name="connsiteY3" fmla="*/ 855242 h 3679722"/>
              <a:gd name="connsiteX4" fmla="*/ 853440 w 2080961"/>
              <a:gd name="connsiteY4" fmla="*/ 969034 h 3679722"/>
              <a:gd name="connsiteX5" fmla="*/ 826390 w 2080961"/>
              <a:gd name="connsiteY5" fmla="*/ 1039519 h 3679722"/>
              <a:gd name="connsiteX6" fmla="*/ 776636 w 2080961"/>
              <a:gd name="connsiteY6" fmla="*/ 1081144 h 3679722"/>
              <a:gd name="connsiteX7" fmla="*/ 715264 w 2080961"/>
              <a:gd name="connsiteY7" fmla="*/ 1103146 h 3679722"/>
              <a:gd name="connsiteX8" fmla="*/ 646176 w 2080961"/>
              <a:gd name="connsiteY8" fmla="*/ 1099082 h 3679722"/>
              <a:gd name="connsiteX9" fmla="*/ 593344 w 2080961"/>
              <a:gd name="connsiteY9" fmla="*/ 1074698 h 3679722"/>
              <a:gd name="connsiteX10" fmla="*/ 540512 w 2080961"/>
              <a:gd name="connsiteY10" fmla="*/ 1009674 h 3679722"/>
              <a:gd name="connsiteX11" fmla="*/ 524256 w 2080961"/>
              <a:gd name="connsiteY11" fmla="*/ 948714 h 3679722"/>
              <a:gd name="connsiteX12" fmla="*/ 528320 w 2080961"/>
              <a:gd name="connsiteY12" fmla="*/ 863370 h 3679722"/>
              <a:gd name="connsiteX13" fmla="*/ 556768 w 2080961"/>
              <a:gd name="connsiteY13" fmla="*/ 782090 h 3679722"/>
              <a:gd name="connsiteX14" fmla="*/ 593344 w 2080961"/>
              <a:gd name="connsiteY14" fmla="*/ 729258 h 3679722"/>
              <a:gd name="connsiteX15" fmla="*/ 650240 w 2080961"/>
              <a:gd name="connsiteY15" fmla="*/ 664234 h 3679722"/>
              <a:gd name="connsiteX16" fmla="*/ 703072 w 2080961"/>
              <a:gd name="connsiteY16" fmla="*/ 599210 h 3679722"/>
              <a:gd name="connsiteX17" fmla="*/ 784352 w 2080961"/>
              <a:gd name="connsiteY17" fmla="*/ 521994 h 3679722"/>
              <a:gd name="connsiteX18" fmla="*/ 885952 w 2080961"/>
              <a:gd name="connsiteY18" fmla="*/ 436650 h 3679722"/>
              <a:gd name="connsiteX19" fmla="*/ 999744 w 2080961"/>
              <a:gd name="connsiteY19" fmla="*/ 351306 h 3679722"/>
              <a:gd name="connsiteX20" fmla="*/ 1129792 w 2080961"/>
              <a:gd name="connsiteY20" fmla="*/ 257834 h 3679722"/>
              <a:gd name="connsiteX21" fmla="*/ 1300480 w 2080961"/>
              <a:gd name="connsiteY21" fmla="*/ 156234 h 3679722"/>
              <a:gd name="connsiteX22" fmla="*/ 1442720 w 2080961"/>
              <a:gd name="connsiteY22" fmla="*/ 87146 h 3679722"/>
              <a:gd name="connsiteX23" fmla="*/ 1556512 w 2080961"/>
              <a:gd name="connsiteY23" fmla="*/ 46506 h 3679722"/>
              <a:gd name="connsiteX24" fmla="*/ 1643539 w 2080961"/>
              <a:gd name="connsiteY24" fmla="*/ 14978 h 3679722"/>
              <a:gd name="connsiteX25" fmla="*/ 1717390 w 2080961"/>
              <a:gd name="connsiteY25" fmla="*/ 5167 h 3679722"/>
              <a:gd name="connsiteX26" fmla="*/ 1786192 w 2080961"/>
              <a:gd name="connsiteY26" fmla="*/ 119 h 3679722"/>
              <a:gd name="connsiteX27" fmla="*/ 1845056 w 2080961"/>
              <a:gd name="connsiteY27" fmla="*/ 9930 h 3679722"/>
              <a:gd name="connsiteX28" fmla="*/ 1920304 w 2080961"/>
              <a:gd name="connsiteY28" fmla="*/ 40060 h 3679722"/>
              <a:gd name="connsiteX29" fmla="*/ 1983232 w 2080961"/>
              <a:gd name="connsiteY29" fmla="*/ 95274 h 3679722"/>
              <a:gd name="connsiteX30" fmla="*/ 2015744 w 2080961"/>
              <a:gd name="connsiteY30" fmla="*/ 148106 h 3679722"/>
              <a:gd name="connsiteX31" fmla="*/ 2048256 w 2080961"/>
              <a:gd name="connsiteY31" fmla="*/ 213130 h 3679722"/>
              <a:gd name="connsiteX32" fmla="*/ 2064512 w 2080961"/>
              <a:gd name="connsiteY32" fmla="*/ 278154 h 3679722"/>
              <a:gd name="connsiteX33" fmla="*/ 2080768 w 2080961"/>
              <a:gd name="connsiteY33" fmla="*/ 351306 h 3679722"/>
              <a:gd name="connsiteX34" fmla="*/ 2072640 w 2080961"/>
              <a:gd name="connsiteY34" fmla="*/ 424458 h 3679722"/>
              <a:gd name="connsiteX35" fmla="*/ 2060448 w 2080961"/>
              <a:gd name="connsiteY35" fmla="*/ 501674 h 3679722"/>
              <a:gd name="connsiteX36" fmla="*/ 2027936 w 2080961"/>
              <a:gd name="connsiteY36" fmla="*/ 611402 h 3679722"/>
              <a:gd name="connsiteX37" fmla="*/ 1975104 w 2080961"/>
              <a:gd name="connsiteY37" fmla="*/ 753642 h 3679722"/>
              <a:gd name="connsiteX38" fmla="*/ 1918208 w 2080961"/>
              <a:gd name="connsiteY38" fmla="*/ 879626 h 3679722"/>
              <a:gd name="connsiteX39" fmla="*/ 1845056 w 2080961"/>
              <a:gd name="connsiteY39" fmla="*/ 1034058 h 3679722"/>
              <a:gd name="connsiteX40" fmla="*/ 1763776 w 2080961"/>
              <a:gd name="connsiteY40" fmla="*/ 1176298 h 3679722"/>
              <a:gd name="connsiteX41" fmla="*/ 1666240 w 2080961"/>
              <a:gd name="connsiteY41" fmla="*/ 1355114 h 3679722"/>
              <a:gd name="connsiteX42" fmla="*/ 1552448 w 2080961"/>
              <a:gd name="connsiteY42" fmla="*/ 1517674 h 3679722"/>
              <a:gd name="connsiteX43" fmla="*/ 1381760 w 2080961"/>
              <a:gd name="connsiteY43" fmla="*/ 1781834 h 3679722"/>
              <a:gd name="connsiteX44" fmla="*/ 1247648 w 2080961"/>
              <a:gd name="connsiteY44" fmla="*/ 1960650 h 3679722"/>
              <a:gd name="connsiteX45" fmla="*/ 1060704 w 2080961"/>
              <a:gd name="connsiteY45" fmla="*/ 2200426 h 3679722"/>
              <a:gd name="connsiteX46" fmla="*/ 898144 w 2080961"/>
              <a:gd name="connsiteY46" fmla="*/ 2411754 h 3679722"/>
              <a:gd name="connsiteX47" fmla="*/ 548640 w 2080961"/>
              <a:gd name="connsiteY47" fmla="*/ 2866922 h 3679722"/>
              <a:gd name="connsiteX48" fmla="*/ 308864 w 2080961"/>
              <a:gd name="connsiteY48" fmla="*/ 3179850 h 3679722"/>
              <a:gd name="connsiteX49" fmla="*/ 65024 w 2080961"/>
              <a:gd name="connsiteY49" fmla="*/ 3565930 h 3679722"/>
              <a:gd name="connsiteX50" fmla="*/ 0 w 2080961"/>
              <a:gd name="connsiteY50" fmla="*/ 3679722 h 3679722"/>
              <a:gd name="connsiteX0" fmla="*/ 666496 w 2080961"/>
              <a:gd name="connsiteY0" fmla="*/ 509802 h 3679722"/>
              <a:gd name="connsiteX1" fmla="*/ 743712 w 2080961"/>
              <a:gd name="connsiteY1" fmla="*/ 647978 h 3679722"/>
              <a:gd name="connsiteX2" fmla="*/ 798926 w 2080961"/>
              <a:gd name="connsiteY2" fmla="*/ 755325 h 3679722"/>
              <a:gd name="connsiteX3" fmla="*/ 841248 w 2080961"/>
              <a:gd name="connsiteY3" fmla="*/ 855242 h 3679722"/>
              <a:gd name="connsiteX4" fmla="*/ 853440 w 2080961"/>
              <a:gd name="connsiteY4" fmla="*/ 969034 h 3679722"/>
              <a:gd name="connsiteX5" fmla="*/ 826390 w 2080961"/>
              <a:gd name="connsiteY5" fmla="*/ 1039519 h 3679722"/>
              <a:gd name="connsiteX6" fmla="*/ 776636 w 2080961"/>
              <a:gd name="connsiteY6" fmla="*/ 1081144 h 3679722"/>
              <a:gd name="connsiteX7" fmla="*/ 715264 w 2080961"/>
              <a:gd name="connsiteY7" fmla="*/ 1103146 h 3679722"/>
              <a:gd name="connsiteX8" fmla="*/ 646176 w 2080961"/>
              <a:gd name="connsiteY8" fmla="*/ 1099082 h 3679722"/>
              <a:gd name="connsiteX9" fmla="*/ 593344 w 2080961"/>
              <a:gd name="connsiteY9" fmla="*/ 1074698 h 3679722"/>
              <a:gd name="connsiteX10" fmla="*/ 540512 w 2080961"/>
              <a:gd name="connsiteY10" fmla="*/ 1009674 h 3679722"/>
              <a:gd name="connsiteX11" fmla="*/ 524256 w 2080961"/>
              <a:gd name="connsiteY11" fmla="*/ 948714 h 3679722"/>
              <a:gd name="connsiteX12" fmla="*/ 528320 w 2080961"/>
              <a:gd name="connsiteY12" fmla="*/ 863370 h 3679722"/>
              <a:gd name="connsiteX13" fmla="*/ 556768 w 2080961"/>
              <a:gd name="connsiteY13" fmla="*/ 782090 h 3679722"/>
              <a:gd name="connsiteX14" fmla="*/ 593344 w 2080961"/>
              <a:gd name="connsiteY14" fmla="*/ 729258 h 3679722"/>
              <a:gd name="connsiteX15" fmla="*/ 650240 w 2080961"/>
              <a:gd name="connsiteY15" fmla="*/ 664234 h 3679722"/>
              <a:gd name="connsiteX16" fmla="*/ 703072 w 2080961"/>
              <a:gd name="connsiteY16" fmla="*/ 599210 h 3679722"/>
              <a:gd name="connsiteX17" fmla="*/ 784352 w 2080961"/>
              <a:gd name="connsiteY17" fmla="*/ 521994 h 3679722"/>
              <a:gd name="connsiteX18" fmla="*/ 885952 w 2080961"/>
              <a:gd name="connsiteY18" fmla="*/ 436650 h 3679722"/>
              <a:gd name="connsiteX19" fmla="*/ 999744 w 2080961"/>
              <a:gd name="connsiteY19" fmla="*/ 351306 h 3679722"/>
              <a:gd name="connsiteX20" fmla="*/ 1129792 w 2080961"/>
              <a:gd name="connsiteY20" fmla="*/ 257834 h 3679722"/>
              <a:gd name="connsiteX21" fmla="*/ 1300480 w 2080961"/>
              <a:gd name="connsiteY21" fmla="*/ 156234 h 3679722"/>
              <a:gd name="connsiteX22" fmla="*/ 1442720 w 2080961"/>
              <a:gd name="connsiteY22" fmla="*/ 87146 h 3679722"/>
              <a:gd name="connsiteX23" fmla="*/ 1551750 w 2080961"/>
              <a:gd name="connsiteY23" fmla="*/ 36981 h 3679722"/>
              <a:gd name="connsiteX24" fmla="*/ 1643539 w 2080961"/>
              <a:gd name="connsiteY24" fmla="*/ 14978 h 3679722"/>
              <a:gd name="connsiteX25" fmla="*/ 1717390 w 2080961"/>
              <a:gd name="connsiteY25" fmla="*/ 5167 h 3679722"/>
              <a:gd name="connsiteX26" fmla="*/ 1786192 w 2080961"/>
              <a:gd name="connsiteY26" fmla="*/ 119 h 3679722"/>
              <a:gd name="connsiteX27" fmla="*/ 1845056 w 2080961"/>
              <a:gd name="connsiteY27" fmla="*/ 9930 h 3679722"/>
              <a:gd name="connsiteX28" fmla="*/ 1920304 w 2080961"/>
              <a:gd name="connsiteY28" fmla="*/ 40060 h 3679722"/>
              <a:gd name="connsiteX29" fmla="*/ 1983232 w 2080961"/>
              <a:gd name="connsiteY29" fmla="*/ 95274 h 3679722"/>
              <a:gd name="connsiteX30" fmla="*/ 2015744 w 2080961"/>
              <a:gd name="connsiteY30" fmla="*/ 148106 h 3679722"/>
              <a:gd name="connsiteX31" fmla="*/ 2048256 w 2080961"/>
              <a:gd name="connsiteY31" fmla="*/ 213130 h 3679722"/>
              <a:gd name="connsiteX32" fmla="*/ 2064512 w 2080961"/>
              <a:gd name="connsiteY32" fmla="*/ 278154 h 3679722"/>
              <a:gd name="connsiteX33" fmla="*/ 2080768 w 2080961"/>
              <a:gd name="connsiteY33" fmla="*/ 351306 h 3679722"/>
              <a:gd name="connsiteX34" fmla="*/ 2072640 w 2080961"/>
              <a:gd name="connsiteY34" fmla="*/ 424458 h 3679722"/>
              <a:gd name="connsiteX35" fmla="*/ 2060448 w 2080961"/>
              <a:gd name="connsiteY35" fmla="*/ 501674 h 3679722"/>
              <a:gd name="connsiteX36" fmla="*/ 2027936 w 2080961"/>
              <a:gd name="connsiteY36" fmla="*/ 611402 h 3679722"/>
              <a:gd name="connsiteX37" fmla="*/ 1975104 w 2080961"/>
              <a:gd name="connsiteY37" fmla="*/ 753642 h 3679722"/>
              <a:gd name="connsiteX38" fmla="*/ 1918208 w 2080961"/>
              <a:gd name="connsiteY38" fmla="*/ 879626 h 3679722"/>
              <a:gd name="connsiteX39" fmla="*/ 1845056 w 2080961"/>
              <a:gd name="connsiteY39" fmla="*/ 1034058 h 3679722"/>
              <a:gd name="connsiteX40" fmla="*/ 1763776 w 2080961"/>
              <a:gd name="connsiteY40" fmla="*/ 1176298 h 3679722"/>
              <a:gd name="connsiteX41" fmla="*/ 1666240 w 2080961"/>
              <a:gd name="connsiteY41" fmla="*/ 1355114 h 3679722"/>
              <a:gd name="connsiteX42" fmla="*/ 1552448 w 2080961"/>
              <a:gd name="connsiteY42" fmla="*/ 1517674 h 3679722"/>
              <a:gd name="connsiteX43" fmla="*/ 1381760 w 2080961"/>
              <a:gd name="connsiteY43" fmla="*/ 1781834 h 3679722"/>
              <a:gd name="connsiteX44" fmla="*/ 1247648 w 2080961"/>
              <a:gd name="connsiteY44" fmla="*/ 1960650 h 3679722"/>
              <a:gd name="connsiteX45" fmla="*/ 1060704 w 2080961"/>
              <a:gd name="connsiteY45" fmla="*/ 2200426 h 3679722"/>
              <a:gd name="connsiteX46" fmla="*/ 898144 w 2080961"/>
              <a:gd name="connsiteY46" fmla="*/ 2411754 h 3679722"/>
              <a:gd name="connsiteX47" fmla="*/ 548640 w 2080961"/>
              <a:gd name="connsiteY47" fmla="*/ 2866922 h 3679722"/>
              <a:gd name="connsiteX48" fmla="*/ 308864 w 2080961"/>
              <a:gd name="connsiteY48" fmla="*/ 3179850 h 3679722"/>
              <a:gd name="connsiteX49" fmla="*/ 65024 w 2080961"/>
              <a:gd name="connsiteY49" fmla="*/ 3565930 h 3679722"/>
              <a:gd name="connsiteX50" fmla="*/ 0 w 2080961"/>
              <a:gd name="connsiteY50" fmla="*/ 3679722 h 3679722"/>
              <a:gd name="connsiteX0" fmla="*/ 666496 w 2080961"/>
              <a:gd name="connsiteY0" fmla="*/ 509802 h 3679722"/>
              <a:gd name="connsiteX1" fmla="*/ 743712 w 2080961"/>
              <a:gd name="connsiteY1" fmla="*/ 647978 h 3679722"/>
              <a:gd name="connsiteX2" fmla="*/ 798926 w 2080961"/>
              <a:gd name="connsiteY2" fmla="*/ 755325 h 3679722"/>
              <a:gd name="connsiteX3" fmla="*/ 841248 w 2080961"/>
              <a:gd name="connsiteY3" fmla="*/ 855242 h 3679722"/>
              <a:gd name="connsiteX4" fmla="*/ 853440 w 2080961"/>
              <a:gd name="connsiteY4" fmla="*/ 969034 h 3679722"/>
              <a:gd name="connsiteX5" fmla="*/ 826390 w 2080961"/>
              <a:gd name="connsiteY5" fmla="*/ 1039519 h 3679722"/>
              <a:gd name="connsiteX6" fmla="*/ 776636 w 2080961"/>
              <a:gd name="connsiteY6" fmla="*/ 1081144 h 3679722"/>
              <a:gd name="connsiteX7" fmla="*/ 715264 w 2080961"/>
              <a:gd name="connsiteY7" fmla="*/ 1103146 h 3679722"/>
              <a:gd name="connsiteX8" fmla="*/ 646176 w 2080961"/>
              <a:gd name="connsiteY8" fmla="*/ 1099082 h 3679722"/>
              <a:gd name="connsiteX9" fmla="*/ 593344 w 2080961"/>
              <a:gd name="connsiteY9" fmla="*/ 1074698 h 3679722"/>
              <a:gd name="connsiteX10" fmla="*/ 540512 w 2080961"/>
              <a:gd name="connsiteY10" fmla="*/ 1009674 h 3679722"/>
              <a:gd name="connsiteX11" fmla="*/ 524256 w 2080961"/>
              <a:gd name="connsiteY11" fmla="*/ 948714 h 3679722"/>
              <a:gd name="connsiteX12" fmla="*/ 528320 w 2080961"/>
              <a:gd name="connsiteY12" fmla="*/ 863370 h 3679722"/>
              <a:gd name="connsiteX13" fmla="*/ 556768 w 2080961"/>
              <a:gd name="connsiteY13" fmla="*/ 782090 h 3679722"/>
              <a:gd name="connsiteX14" fmla="*/ 593344 w 2080961"/>
              <a:gd name="connsiteY14" fmla="*/ 729258 h 3679722"/>
              <a:gd name="connsiteX15" fmla="*/ 650240 w 2080961"/>
              <a:gd name="connsiteY15" fmla="*/ 664234 h 3679722"/>
              <a:gd name="connsiteX16" fmla="*/ 703072 w 2080961"/>
              <a:gd name="connsiteY16" fmla="*/ 599210 h 3679722"/>
              <a:gd name="connsiteX17" fmla="*/ 784352 w 2080961"/>
              <a:gd name="connsiteY17" fmla="*/ 521994 h 3679722"/>
              <a:gd name="connsiteX18" fmla="*/ 885952 w 2080961"/>
              <a:gd name="connsiteY18" fmla="*/ 436650 h 3679722"/>
              <a:gd name="connsiteX19" fmla="*/ 999744 w 2080961"/>
              <a:gd name="connsiteY19" fmla="*/ 351306 h 3679722"/>
              <a:gd name="connsiteX20" fmla="*/ 1129792 w 2080961"/>
              <a:gd name="connsiteY20" fmla="*/ 267359 h 3679722"/>
              <a:gd name="connsiteX21" fmla="*/ 1300480 w 2080961"/>
              <a:gd name="connsiteY21" fmla="*/ 156234 h 3679722"/>
              <a:gd name="connsiteX22" fmla="*/ 1442720 w 2080961"/>
              <a:gd name="connsiteY22" fmla="*/ 87146 h 3679722"/>
              <a:gd name="connsiteX23" fmla="*/ 1551750 w 2080961"/>
              <a:gd name="connsiteY23" fmla="*/ 36981 h 3679722"/>
              <a:gd name="connsiteX24" fmla="*/ 1643539 w 2080961"/>
              <a:gd name="connsiteY24" fmla="*/ 14978 h 3679722"/>
              <a:gd name="connsiteX25" fmla="*/ 1717390 w 2080961"/>
              <a:gd name="connsiteY25" fmla="*/ 5167 h 3679722"/>
              <a:gd name="connsiteX26" fmla="*/ 1786192 w 2080961"/>
              <a:gd name="connsiteY26" fmla="*/ 119 h 3679722"/>
              <a:gd name="connsiteX27" fmla="*/ 1845056 w 2080961"/>
              <a:gd name="connsiteY27" fmla="*/ 9930 h 3679722"/>
              <a:gd name="connsiteX28" fmla="*/ 1920304 w 2080961"/>
              <a:gd name="connsiteY28" fmla="*/ 40060 h 3679722"/>
              <a:gd name="connsiteX29" fmla="*/ 1983232 w 2080961"/>
              <a:gd name="connsiteY29" fmla="*/ 95274 h 3679722"/>
              <a:gd name="connsiteX30" fmla="*/ 2015744 w 2080961"/>
              <a:gd name="connsiteY30" fmla="*/ 148106 h 3679722"/>
              <a:gd name="connsiteX31" fmla="*/ 2048256 w 2080961"/>
              <a:gd name="connsiteY31" fmla="*/ 213130 h 3679722"/>
              <a:gd name="connsiteX32" fmla="*/ 2064512 w 2080961"/>
              <a:gd name="connsiteY32" fmla="*/ 278154 h 3679722"/>
              <a:gd name="connsiteX33" fmla="*/ 2080768 w 2080961"/>
              <a:gd name="connsiteY33" fmla="*/ 351306 h 3679722"/>
              <a:gd name="connsiteX34" fmla="*/ 2072640 w 2080961"/>
              <a:gd name="connsiteY34" fmla="*/ 424458 h 3679722"/>
              <a:gd name="connsiteX35" fmla="*/ 2060448 w 2080961"/>
              <a:gd name="connsiteY35" fmla="*/ 501674 h 3679722"/>
              <a:gd name="connsiteX36" fmla="*/ 2027936 w 2080961"/>
              <a:gd name="connsiteY36" fmla="*/ 611402 h 3679722"/>
              <a:gd name="connsiteX37" fmla="*/ 1975104 w 2080961"/>
              <a:gd name="connsiteY37" fmla="*/ 753642 h 3679722"/>
              <a:gd name="connsiteX38" fmla="*/ 1918208 w 2080961"/>
              <a:gd name="connsiteY38" fmla="*/ 879626 h 3679722"/>
              <a:gd name="connsiteX39" fmla="*/ 1845056 w 2080961"/>
              <a:gd name="connsiteY39" fmla="*/ 1034058 h 3679722"/>
              <a:gd name="connsiteX40" fmla="*/ 1763776 w 2080961"/>
              <a:gd name="connsiteY40" fmla="*/ 1176298 h 3679722"/>
              <a:gd name="connsiteX41" fmla="*/ 1666240 w 2080961"/>
              <a:gd name="connsiteY41" fmla="*/ 1355114 h 3679722"/>
              <a:gd name="connsiteX42" fmla="*/ 1552448 w 2080961"/>
              <a:gd name="connsiteY42" fmla="*/ 1517674 h 3679722"/>
              <a:gd name="connsiteX43" fmla="*/ 1381760 w 2080961"/>
              <a:gd name="connsiteY43" fmla="*/ 1781834 h 3679722"/>
              <a:gd name="connsiteX44" fmla="*/ 1247648 w 2080961"/>
              <a:gd name="connsiteY44" fmla="*/ 1960650 h 3679722"/>
              <a:gd name="connsiteX45" fmla="*/ 1060704 w 2080961"/>
              <a:gd name="connsiteY45" fmla="*/ 2200426 h 3679722"/>
              <a:gd name="connsiteX46" fmla="*/ 898144 w 2080961"/>
              <a:gd name="connsiteY46" fmla="*/ 2411754 h 3679722"/>
              <a:gd name="connsiteX47" fmla="*/ 548640 w 2080961"/>
              <a:gd name="connsiteY47" fmla="*/ 2866922 h 3679722"/>
              <a:gd name="connsiteX48" fmla="*/ 308864 w 2080961"/>
              <a:gd name="connsiteY48" fmla="*/ 3179850 h 3679722"/>
              <a:gd name="connsiteX49" fmla="*/ 65024 w 2080961"/>
              <a:gd name="connsiteY49" fmla="*/ 3565930 h 3679722"/>
              <a:gd name="connsiteX50" fmla="*/ 0 w 2080961"/>
              <a:gd name="connsiteY50" fmla="*/ 3679722 h 3679722"/>
              <a:gd name="connsiteX0" fmla="*/ 666496 w 2080772"/>
              <a:gd name="connsiteY0" fmla="*/ 509802 h 3679722"/>
              <a:gd name="connsiteX1" fmla="*/ 743712 w 2080772"/>
              <a:gd name="connsiteY1" fmla="*/ 647978 h 3679722"/>
              <a:gd name="connsiteX2" fmla="*/ 798926 w 2080772"/>
              <a:gd name="connsiteY2" fmla="*/ 755325 h 3679722"/>
              <a:gd name="connsiteX3" fmla="*/ 841248 w 2080772"/>
              <a:gd name="connsiteY3" fmla="*/ 855242 h 3679722"/>
              <a:gd name="connsiteX4" fmla="*/ 853440 w 2080772"/>
              <a:gd name="connsiteY4" fmla="*/ 969034 h 3679722"/>
              <a:gd name="connsiteX5" fmla="*/ 826390 w 2080772"/>
              <a:gd name="connsiteY5" fmla="*/ 1039519 h 3679722"/>
              <a:gd name="connsiteX6" fmla="*/ 776636 w 2080772"/>
              <a:gd name="connsiteY6" fmla="*/ 1081144 h 3679722"/>
              <a:gd name="connsiteX7" fmla="*/ 715264 w 2080772"/>
              <a:gd name="connsiteY7" fmla="*/ 1103146 h 3679722"/>
              <a:gd name="connsiteX8" fmla="*/ 646176 w 2080772"/>
              <a:gd name="connsiteY8" fmla="*/ 1099082 h 3679722"/>
              <a:gd name="connsiteX9" fmla="*/ 593344 w 2080772"/>
              <a:gd name="connsiteY9" fmla="*/ 1074698 h 3679722"/>
              <a:gd name="connsiteX10" fmla="*/ 540512 w 2080772"/>
              <a:gd name="connsiteY10" fmla="*/ 1009674 h 3679722"/>
              <a:gd name="connsiteX11" fmla="*/ 524256 w 2080772"/>
              <a:gd name="connsiteY11" fmla="*/ 948714 h 3679722"/>
              <a:gd name="connsiteX12" fmla="*/ 528320 w 2080772"/>
              <a:gd name="connsiteY12" fmla="*/ 863370 h 3679722"/>
              <a:gd name="connsiteX13" fmla="*/ 556768 w 2080772"/>
              <a:gd name="connsiteY13" fmla="*/ 782090 h 3679722"/>
              <a:gd name="connsiteX14" fmla="*/ 593344 w 2080772"/>
              <a:gd name="connsiteY14" fmla="*/ 729258 h 3679722"/>
              <a:gd name="connsiteX15" fmla="*/ 650240 w 2080772"/>
              <a:gd name="connsiteY15" fmla="*/ 664234 h 3679722"/>
              <a:gd name="connsiteX16" fmla="*/ 703072 w 2080772"/>
              <a:gd name="connsiteY16" fmla="*/ 599210 h 3679722"/>
              <a:gd name="connsiteX17" fmla="*/ 784352 w 2080772"/>
              <a:gd name="connsiteY17" fmla="*/ 521994 h 3679722"/>
              <a:gd name="connsiteX18" fmla="*/ 885952 w 2080772"/>
              <a:gd name="connsiteY18" fmla="*/ 436650 h 3679722"/>
              <a:gd name="connsiteX19" fmla="*/ 999744 w 2080772"/>
              <a:gd name="connsiteY19" fmla="*/ 351306 h 3679722"/>
              <a:gd name="connsiteX20" fmla="*/ 1129792 w 2080772"/>
              <a:gd name="connsiteY20" fmla="*/ 267359 h 3679722"/>
              <a:gd name="connsiteX21" fmla="*/ 1300480 w 2080772"/>
              <a:gd name="connsiteY21" fmla="*/ 156234 h 3679722"/>
              <a:gd name="connsiteX22" fmla="*/ 1442720 w 2080772"/>
              <a:gd name="connsiteY22" fmla="*/ 87146 h 3679722"/>
              <a:gd name="connsiteX23" fmla="*/ 1551750 w 2080772"/>
              <a:gd name="connsiteY23" fmla="*/ 36981 h 3679722"/>
              <a:gd name="connsiteX24" fmla="*/ 1643539 w 2080772"/>
              <a:gd name="connsiteY24" fmla="*/ 14978 h 3679722"/>
              <a:gd name="connsiteX25" fmla="*/ 1717390 w 2080772"/>
              <a:gd name="connsiteY25" fmla="*/ 5167 h 3679722"/>
              <a:gd name="connsiteX26" fmla="*/ 1786192 w 2080772"/>
              <a:gd name="connsiteY26" fmla="*/ 119 h 3679722"/>
              <a:gd name="connsiteX27" fmla="*/ 1845056 w 2080772"/>
              <a:gd name="connsiteY27" fmla="*/ 9930 h 3679722"/>
              <a:gd name="connsiteX28" fmla="*/ 1920304 w 2080772"/>
              <a:gd name="connsiteY28" fmla="*/ 40060 h 3679722"/>
              <a:gd name="connsiteX29" fmla="*/ 1983232 w 2080772"/>
              <a:gd name="connsiteY29" fmla="*/ 95274 h 3679722"/>
              <a:gd name="connsiteX30" fmla="*/ 2015744 w 2080772"/>
              <a:gd name="connsiteY30" fmla="*/ 148106 h 3679722"/>
              <a:gd name="connsiteX31" fmla="*/ 2048256 w 2080772"/>
              <a:gd name="connsiteY31" fmla="*/ 213130 h 3679722"/>
              <a:gd name="connsiteX32" fmla="*/ 2071656 w 2080772"/>
              <a:gd name="connsiteY32" fmla="*/ 275773 h 3679722"/>
              <a:gd name="connsiteX33" fmla="*/ 2080768 w 2080772"/>
              <a:gd name="connsiteY33" fmla="*/ 351306 h 3679722"/>
              <a:gd name="connsiteX34" fmla="*/ 2072640 w 2080772"/>
              <a:gd name="connsiteY34" fmla="*/ 424458 h 3679722"/>
              <a:gd name="connsiteX35" fmla="*/ 2060448 w 2080772"/>
              <a:gd name="connsiteY35" fmla="*/ 501674 h 3679722"/>
              <a:gd name="connsiteX36" fmla="*/ 2027936 w 2080772"/>
              <a:gd name="connsiteY36" fmla="*/ 611402 h 3679722"/>
              <a:gd name="connsiteX37" fmla="*/ 1975104 w 2080772"/>
              <a:gd name="connsiteY37" fmla="*/ 753642 h 3679722"/>
              <a:gd name="connsiteX38" fmla="*/ 1918208 w 2080772"/>
              <a:gd name="connsiteY38" fmla="*/ 879626 h 3679722"/>
              <a:gd name="connsiteX39" fmla="*/ 1845056 w 2080772"/>
              <a:gd name="connsiteY39" fmla="*/ 1034058 h 3679722"/>
              <a:gd name="connsiteX40" fmla="*/ 1763776 w 2080772"/>
              <a:gd name="connsiteY40" fmla="*/ 1176298 h 3679722"/>
              <a:gd name="connsiteX41" fmla="*/ 1666240 w 2080772"/>
              <a:gd name="connsiteY41" fmla="*/ 1355114 h 3679722"/>
              <a:gd name="connsiteX42" fmla="*/ 1552448 w 2080772"/>
              <a:gd name="connsiteY42" fmla="*/ 1517674 h 3679722"/>
              <a:gd name="connsiteX43" fmla="*/ 1381760 w 2080772"/>
              <a:gd name="connsiteY43" fmla="*/ 1781834 h 3679722"/>
              <a:gd name="connsiteX44" fmla="*/ 1247648 w 2080772"/>
              <a:gd name="connsiteY44" fmla="*/ 1960650 h 3679722"/>
              <a:gd name="connsiteX45" fmla="*/ 1060704 w 2080772"/>
              <a:gd name="connsiteY45" fmla="*/ 2200426 h 3679722"/>
              <a:gd name="connsiteX46" fmla="*/ 898144 w 2080772"/>
              <a:gd name="connsiteY46" fmla="*/ 2411754 h 3679722"/>
              <a:gd name="connsiteX47" fmla="*/ 548640 w 2080772"/>
              <a:gd name="connsiteY47" fmla="*/ 2866922 h 3679722"/>
              <a:gd name="connsiteX48" fmla="*/ 308864 w 2080772"/>
              <a:gd name="connsiteY48" fmla="*/ 3179850 h 3679722"/>
              <a:gd name="connsiteX49" fmla="*/ 65024 w 2080772"/>
              <a:gd name="connsiteY49" fmla="*/ 3565930 h 3679722"/>
              <a:gd name="connsiteX50" fmla="*/ 0 w 2080772"/>
              <a:gd name="connsiteY50" fmla="*/ 3679722 h 3679722"/>
              <a:gd name="connsiteX0" fmla="*/ 666496 w 2080772"/>
              <a:gd name="connsiteY0" fmla="*/ 509783 h 3679703"/>
              <a:gd name="connsiteX1" fmla="*/ 743712 w 2080772"/>
              <a:gd name="connsiteY1" fmla="*/ 647959 h 3679703"/>
              <a:gd name="connsiteX2" fmla="*/ 798926 w 2080772"/>
              <a:gd name="connsiteY2" fmla="*/ 755306 h 3679703"/>
              <a:gd name="connsiteX3" fmla="*/ 841248 w 2080772"/>
              <a:gd name="connsiteY3" fmla="*/ 855223 h 3679703"/>
              <a:gd name="connsiteX4" fmla="*/ 853440 w 2080772"/>
              <a:gd name="connsiteY4" fmla="*/ 969015 h 3679703"/>
              <a:gd name="connsiteX5" fmla="*/ 826390 w 2080772"/>
              <a:gd name="connsiteY5" fmla="*/ 1039500 h 3679703"/>
              <a:gd name="connsiteX6" fmla="*/ 776636 w 2080772"/>
              <a:gd name="connsiteY6" fmla="*/ 1081125 h 3679703"/>
              <a:gd name="connsiteX7" fmla="*/ 715264 w 2080772"/>
              <a:gd name="connsiteY7" fmla="*/ 1103127 h 3679703"/>
              <a:gd name="connsiteX8" fmla="*/ 646176 w 2080772"/>
              <a:gd name="connsiteY8" fmla="*/ 1099063 h 3679703"/>
              <a:gd name="connsiteX9" fmla="*/ 593344 w 2080772"/>
              <a:gd name="connsiteY9" fmla="*/ 1074679 h 3679703"/>
              <a:gd name="connsiteX10" fmla="*/ 540512 w 2080772"/>
              <a:gd name="connsiteY10" fmla="*/ 1009655 h 3679703"/>
              <a:gd name="connsiteX11" fmla="*/ 524256 w 2080772"/>
              <a:gd name="connsiteY11" fmla="*/ 948695 h 3679703"/>
              <a:gd name="connsiteX12" fmla="*/ 528320 w 2080772"/>
              <a:gd name="connsiteY12" fmla="*/ 863351 h 3679703"/>
              <a:gd name="connsiteX13" fmla="*/ 556768 w 2080772"/>
              <a:gd name="connsiteY13" fmla="*/ 782071 h 3679703"/>
              <a:gd name="connsiteX14" fmla="*/ 593344 w 2080772"/>
              <a:gd name="connsiteY14" fmla="*/ 729239 h 3679703"/>
              <a:gd name="connsiteX15" fmla="*/ 650240 w 2080772"/>
              <a:gd name="connsiteY15" fmla="*/ 664215 h 3679703"/>
              <a:gd name="connsiteX16" fmla="*/ 703072 w 2080772"/>
              <a:gd name="connsiteY16" fmla="*/ 599191 h 3679703"/>
              <a:gd name="connsiteX17" fmla="*/ 784352 w 2080772"/>
              <a:gd name="connsiteY17" fmla="*/ 521975 h 3679703"/>
              <a:gd name="connsiteX18" fmla="*/ 885952 w 2080772"/>
              <a:gd name="connsiteY18" fmla="*/ 436631 h 3679703"/>
              <a:gd name="connsiteX19" fmla="*/ 999744 w 2080772"/>
              <a:gd name="connsiteY19" fmla="*/ 351287 h 3679703"/>
              <a:gd name="connsiteX20" fmla="*/ 1129792 w 2080772"/>
              <a:gd name="connsiteY20" fmla="*/ 267340 h 3679703"/>
              <a:gd name="connsiteX21" fmla="*/ 1300480 w 2080772"/>
              <a:gd name="connsiteY21" fmla="*/ 156215 h 3679703"/>
              <a:gd name="connsiteX22" fmla="*/ 1442720 w 2080772"/>
              <a:gd name="connsiteY22" fmla="*/ 87127 h 3679703"/>
              <a:gd name="connsiteX23" fmla="*/ 1551750 w 2080772"/>
              <a:gd name="connsiteY23" fmla="*/ 36962 h 3679703"/>
              <a:gd name="connsiteX24" fmla="*/ 1643539 w 2080772"/>
              <a:gd name="connsiteY24" fmla="*/ 10197 h 3679703"/>
              <a:gd name="connsiteX25" fmla="*/ 1717390 w 2080772"/>
              <a:gd name="connsiteY25" fmla="*/ 5148 h 3679703"/>
              <a:gd name="connsiteX26" fmla="*/ 1786192 w 2080772"/>
              <a:gd name="connsiteY26" fmla="*/ 100 h 3679703"/>
              <a:gd name="connsiteX27" fmla="*/ 1845056 w 2080772"/>
              <a:gd name="connsiteY27" fmla="*/ 9911 h 3679703"/>
              <a:gd name="connsiteX28" fmla="*/ 1920304 w 2080772"/>
              <a:gd name="connsiteY28" fmla="*/ 40041 h 3679703"/>
              <a:gd name="connsiteX29" fmla="*/ 1983232 w 2080772"/>
              <a:gd name="connsiteY29" fmla="*/ 95255 h 3679703"/>
              <a:gd name="connsiteX30" fmla="*/ 2015744 w 2080772"/>
              <a:gd name="connsiteY30" fmla="*/ 148087 h 3679703"/>
              <a:gd name="connsiteX31" fmla="*/ 2048256 w 2080772"/>
              <a:gd name="connsiteY31" fmla="*/ 213111 h 3679703"/>
              <a:gd name="connsiteX32" fmla="*/ 2071656 w 2080772"/>
              <a:gd name="connsiteY32" fmla="*/ 275754 h 3679703"/>
              <a:gd name="connsiteX33" fmla="*/ 2080768 w 2080772"/>
              <a:gd name="connsiteY33" fmla="*/ 351287 h 3679703"/>
              <a:gd name="connsiteX34" fmla="*/ 2072640 w 2080772"/>
              <a:gd name="connsiteY34" fmla="*/ 424439 h 3679703"/>
              <a:gd name="connsiteX35" fmla="*/ 2060448 w 2080772"/>
              <a:gd name="connsiteY35" fmla="*/ 501655 h 3679703"/>
              <a:gd name="connsiteX36" fmla="*/ 2027936 w 2080772"/>
              <a:gd name="connsiteY36" fmla="*/ 611383 h 3679703"/>
              <a:gd name="connsiteX37" fmla="*/ 1975104 w 2080772"/>
              <a:gd name="connsiteY37" fmla="*/ 753623 h 3679703"/>
              <a:gd name="connsiteX38" fmla="*/ 1918208 w 2080772"/>
              <a:gd name="connsiteY38" fmla="*/ 879607 h 3679703"/>
              <a:gd name="connsiteX39" fmla="*/ 1845056 w 2080772"/>
              <a:gd name="connsiteY39" fmla="*/ 1034039 h 3679703"/>
              <a:gd name="connsiteX40" fmla="*/ 1763776 w 2080772"/>
              <a:gd name="connsiteY40" fmla="*/ 1176279 h 3679703"/>
              <a:gd name="connsiteX41" fmla="*/ 1666240 w 2080772"/>
              <a:gd name="connsiteY41" fmla="*/ 1355095 h 3679703"/>
              <a:gd name="connsiteX42" fmla="*/ 1552448 w 2080772"/>
              <a:gd name="connsiteY42" fmla="*/ 1517655 h 3679703"/>
              <a:gd name="connsiteX43" fmla="*/ 1381760 w 2080772"/>
              <a:gd name="connsiteY43" fmla="*/ 1781815 h 3679703"/>
              <a:gd name="connsiteX44" fmla="*/ 1247648 w 2080772"/>
              <a:gd name="connsiteY44" fmla="*/ 1960631 h 3679703"/>
              <a:gd name="connsiteX45" fmla="*/ 1060704 w 2080772"/>
              <a:gd name="connsiteY45" fmla="*/ 2200407 h 3679703"/>
              <a:gd name="connsiteX46" fmla="*/ 898144 w 2080772"/>
              <a:gd name="connsiteY46" fmla="*/ 2411735 h 3679703"/>
              <a:gd name="connsiteX47" fmla="*/ 548640 w 2080772"/>
              <a:gd name="connsiteY47" fmla="*/ 2866903 h 3679703"/>
              <a:gd name="connsiteX48" fmla="*/ 308864 w 2080772"/>
              <a:gd name="connsiteY48" fmla="*/ 3179831 h 3679703"/>
              <a:gd name="connsiteX49" fmla="*/ 65024 w 2080772"/>
              <a:gd name="connsiteY49" fmla="*/ 3565911 h 3679703"/>
              <a:gd name="connsiteX50" fmla="*/ 0 w 2080772"/>
              <a:gd name="connsiteY50" fmla="*/ 3679703 h 367970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15744 w 2080772"/>
              <a:gd name="connsiteY30" fmla="*/ 149077 h 3680693"/>
              <a:gd name="connsiteX31" fmla="*/ 2048256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6240 w 2080772"/>
              <a:gd name="connsiteY41" fmla="*/ 1356085 h 3680693"/>
              <a:gd name="connsiteX42" fmla="*/ 1552448 w 2080772"/>
              <a:gd name="connsiteY42" fmla="*/ 1518645 h 3680693"/>
              <a:gd name="connsiteX43" fmla="*/ 1381760 w 2080772"/>
              <a:gd name="connsiteY43" fmla="*/ 1782805 h 3680693"/>
              <a:gd name="connsiteX44" fmla="*/ 1247648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08864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15744 w 2080772"/>
              <a:gd name="connsiteY30" fmla="*/ 149077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6240 w 2080772"/>
              <a:gd name="connsiteY41" fmla="*/ 1356085 h 3680693"/>
              <a:gd name="connsiteX42" fmla="*/ 1552448 w 2080772"/>
              <a:gd name="connsiteY42" fmla="*/ 1518645 h 3680693"/>
              <a:gd name="connsiteX43" fmla="*/ 1381760 w 2080772"/>
              <a:gd name="connsiteY43" fmla="*/ 1782805 h 3680693"/>
              <a:gd name="connsiteX44" fmla="*/ 1247648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08864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20507 w 2080772"/>
              <a:gd name="connsiteY30" fmla="*/ 144314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6240 w 2080772"/>
              <a:gd name="connsiteY41" fmla="*/ 1356085 h 3680693"/>
              <a:gd name="connsiteX42" fmla="*/ 1552448 w 2080772"/>
              <a:gd name="connsiteY42" fmla="*/ 1518645 h 3680693"/>
              <a:gd name="connsiteX43" fmla="*/ 1381760 w 2080772"/>
              <a:gd name="connsiteY43" fmla="*/ 1782805 h 3680693"/>
              <a:gd name="connsiteX44" fmla="*/ 1247648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08864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20507 w 2080772"/>
              <a:gd name="connsiteY30" fmla="*/ 144314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1477 w 2080772"/>
              <a:gd name="connsiteY41" fmla="*/ 1353703 h 3680693"/>
              <a:gd name="connsiteX42" fmla="*/ 1552448 w 2080772"/>
              <a:gd name="connsiteY42" fmla="*/ 1518645 h 3680693"/>
              <a:gd name="connsiteX43" fmla="*/ 1381760 w 2080772"/>
              <a:gd name="connsiteY43" fmla="*/ 1782805 h 3680693"/>
              <a:gd name="connsiteX44" fmla="*/ 1247648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08864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20507 w 2080772"/>
              <a:gd name="connsiteY30" fmla="*/ 144314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1477 w 2080772"/>
              <a:gd name="connsiteY41" fmla="*/ 1353703 h 3680693"/>
              <a:gd name="connsiteX42" fmla="*/ 1552448 w 2080772"/>
              <a:gd name="connsiteY42" fmla="*/ 1518645 h 3680693"/>
              <a:gd name="connsiteX43" fmla="*/ 1372235 w 2080772"/>
              <a:gd name="connsiteY43" fmla="*/ 1782805 h 3680693"/>
              <a:gd name="connsiteX44" fmla="*/ 1247648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08864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20507 w 2080772"/>
              <a:gd name="connsiteY30" fmla="*/ 144314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1477 w 2080772"/>
              <a:gd name="connsiteY41" fmla="*/ 1353703 h 3680693"/>
              <a:gd name="connsiteX42" fmla="*/ 1552448 w 2080772"/>
              <a:gd name="connsiteY42" fmla="*/ 1518645 h 3680693"/>
              <a:gd name="connsiteX43" fmla="*/ 1372235 w 2080772"/>
              <a:gd name="connsiteY43" fmla="*/ 1782805 h 3680693"/>
              <a:gd name="connsiteX44" fmla="*/ 1247648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16008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20507 w 2080772"/>
              <a:gd name="connsiteY30" fmla="*/ 144314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1477 w 2080772"/>
              <a:gd name="connsiteY41" fmla="*/ 1353703 h 3680693"/>
              <a:gd name="connsiteX42" fmla="*/ 1552448 w 2080772"/>
              <a:gd name="connsiteY42" fmla="*/ 1518645 h 3680693"/>
              <a:gd name="connsiteX43" fmla="*/ 1372235 w 2080772"/>
              <a:gd name="connsiteY43" fmla="*/ 1782805 h 3680693"/>
              <a:gd name="connsiteX44" fmla="*/ 1242885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16008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20507 w 2080772"/>
              <a:gd name="connsiteY30" fmla="*/ 144314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7740 h 3680693"/>
              <a:gd name="connsiteX39" fmla="*/ 1845056 w 2080772"/>
              <a:gd name="connsiteY39" fmla="*/ 1035029 h 3680693"/>
              <a:gd name="connsiteX40" fmla="*/ 1763776 w 2080772"/>
              <a:gd name="connsiteY40" fmla="*/ 1177269 h 3680693"/>
              <a:gd name="connsiteX41" fmla="*/ 1661477 w 2080772"/>
              <a:gd name="connsiteY41" fmla="*/ 1353703 h 3680693"/>
              <a:gd name="connsiteX42" fmla="*/ 1552448 w 2080772"/>
              <a:gd name="connsiteY42" fmla="*/ 1518645 h 3680693"/>
              <a:gd name="connsiteX43" fmla="*/ 1372235 w 2080772"/>
              <a:gd name="connsiteY43" fmla="*/ 1782805 h 3680693"/>
              <a:gd name="connsiteX44" fmla="*/ 1242885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16008 w 2080772"/>
              <a:gd name="connsiteY48" fmla="*/ 3180821 h 3680693"/>
              <a:gd name="connsiteX49" fmla="*/ 65024 w 2080772"/>
              <a:gd name="connsiteY49" fmla="*/ 3566901 h 3680693"/>
              <a:gd name="connsiteX50" fmla="*/ 0 w 2080772"/>
              <a:gd name="connsiteY50" fmla="*/ 3680693 h 3680693"/>
              <a:gd name="connsiteX0" fmla="*/ 666496 w 2080837"/>
              <a:gd name="connsiteY0" fmla="*/ 510773 h 3680693"/>
              <a:gd name="connsiteX1" fmla="*/ 743712 w 2080837"/>
              <a:gd name="connsiteY1" fmla="*/ 648949 h 3680693"/>
              <a:gd name="connsiteX2" fmla="*/ 798926 w 2080837"/>
              <a:gd name="connsiteY2" fmla="*/ 756296 h 3680693"/>
              <a:gd name="connsiteX3" fmla="*/ 841248 w 2080837"/>
              <a:gd name="connsiteY3" fmla="*/ 856213 h 3680693"/>
              <a:gd name="connsiteX4" fmla="*/ 853440 w 2080837"/>
              <a:gd name="connsiteY4" fmla="*/ 970005 h 3680693"/>
              <a:gd name="connsiteX5" fmla="*/ 826390 w 2080837"/>
              <a:gd name="connsiteY5" fmla="*/ 1040490 h 3680693"/>
              <a:gd name="connsiteX6" fmla="*/ 776636 w 2080837"/>
              <a:gd name="connsiteY6" fmla="*/ 1082115 h 3680693"/>
              <a:gd name="connsiteX7" fmla="*/ 715264 w 2080837"/>
              <a:gd name="connsiteY7" fmla="*/ 1104117 h 3680693"/>
              <a:gd name="connsiteX8" fmla="*/ 646176 w 2080837"/>
              <a:gd name="connsiteY8" fmla="*/ 1100053 h 3680693"/>
              <a:gd name="connsiteX9" fmla="*/ 593344 w 2080837"/>
              <a:gd name="connsiteY9" fmla="*/ 1075669 h 3680693"/>
              <a:gd name="connsiteX10" fmla="*/ 540512 w 2080837"/>
              <a:gd name="connsiteY10" fmla="*/ 1010645 h 3680693"/>
              <a:gd name="connsiteX11" fmla="*/ 524256 w 2080837"/>
              <a:gd name="connsiteY11" fmla="*/ 949685 h 3680693"/>
              <a:gd name="connsiteX12" fmla="*/ 528320 w 2080837"/>
              <a:gd name="connsiteY12" fmla="*/ 864341 h 3680693"/>
              <a:gd name="connsiteX13" fmla="*/ 556768 w 2080837"/>
              <a:gd name="connsiteY13" fmla="*/ 783061 h 3680693"/>
              <a:gd name="connsiteX14" fmla="*/ 593344 w 2080837"/>
              <a:gd name="connsiteY14" fmla="*/ 730229 h 3680693"/>
              <a:gd name="connsiteX15" fmla="*/ 650240 w 2080837"/>
              <a:gd name="connsiteY15" fmla="*/ 665205 h 3680693"/>
              <a:gd name="connsiteX16" fmla="*/ 703072 w 2080837"/>
              <a:gd name="connsiteY16" fmla="*/ 600181 h 3680693"/>
              <a:gd name="connsiteX17" fmla="*/ 784352 w 2080837"/>
              <a:gd name="connsiteY17" fmla="*/ 522965 h 3680693"/>
              <a:gd name="connsiteX18" fmla="*/ 885952 w 2080837"/>
              <a:gd name="connsiteY18" fmla="*/ 437621 h 3680693"/>
              <a:gd name="connsiteX19" fmla="*/ 999744 w 2080837"/>
              <a:gd name="connsiteY19" fmla="*/ 352277 h 3680693"/>
              <a:gd name="connsiteX20" fmla="*/ 1129792 w 2080837"/>
              <a:gd name="connsiteY20" fmla="*/ 268330 h 3680693"/>
              <a:gd name="connsiteX21" fmla="*/ 1300480 w 2080837"/>
              <a:gd name="connsiteY21" fmla="*/ 157205 h 3680693"/>
              <a:gd name="connsiteX22" fmla="*/ 1442720 w 2080837"/>
              <a:gd name="connsiteY22" fmla="*/ 88117 h 3680693"/>
              <a:gd name="connsiteX23" fmla="*/ 1551750 w 2080837"/>
              <a:gd name="connsiteY23" fmla="*/ 37952 h 3680693"/>
              <a:gd name="connsiteX24" fmla="*/ 1643539 w 2080837"/>
              <a:gd name="connsiteY24" fmla="*/ 11187 h 3680693"/>
              <a:gd name="connsiteX25" fmla="*/ 1717390 w 2080837"/>
              <a:gd name="connsiteY25" fmla="*/ 1375 h 3680693"/>
              <a:gd name="connsiteX26" fmla="*/ 1786192 w 2080837"/>
              <a:gd name="connsiteY26" fmla="*/ 1090 h 3680693"/>
              <a:gd name="connsiteX27" fmla="*/ 1845056 w 2080837"/>
              <a:gd name="connsiteY27" fmla="*/ 10901 h 3680693"/>
              <a:gd name="connsiteX28" fmla="*/ 1920304 w 2080837"/>
              <a:gd name="connsiteY28" fmla="*/ 41031 h 3680693"/>
              <a:gd name="connsiteX29" fmla="*/ 1983232 w 2080837"/>
              <a:gd name="connsiteY29" fmla="*/ 96245 h 3680693"/>
              <a:gd name="connsiteX30" fmla="*/ 2020507 w 2080837"/>
              <a:gd name="connsiteY30" fmla="*/ 144314 h 3680693"/>
              <a:gd name="connsiteX31" fmla="*/ 2053018 w 2080837"/>
              <a:gd name="connsiteY31" fmla="*/ 214101 h 3680693"/>
              <a:gd name="connsiteX32" fmla="*/ 2071656 w 2080837"/>
              <a:gd name="connsiteY32" fmla="*/ 276744 h 3680693"/>
              <a:gd name="connsiteX33" fmla="*/ 2080768 w 2080837"/>
              <a:gd name="connsiteY33" fmla="*/ 352277 h 3680693"/>
              <a:gd name="connsiteX34" fmla="*/ 2075021 w 2080837"/>
              <a:gd name="connsiteY34" fmla="*/ 430191 h 3680693"/>
              <a:gd name="connsiteX35" fmla="*/ 2060448 w 2080837"/>
              <a:gd name="connsiteY35" fmla="*/ 502645 h 3680693"/>
              <a:gd name="connsiteX36" fmla="*/ 2027936 w 2080837"/>
              <a:gd name="connsiteY36" fmla="*/ 612373 h 3680693"/>
              <a:gd name="connsiteX37" fmla="*/ 1975104 w 2080837"/>
              <a:gd name="connsiteY37" fmla="*/ 754613 h 3680693"/>
              <a:gd name="connsiteX38" fmla="*/ 1918208 w 2080837"/>
              <a:gd name="connsiteY38" fmla="*/ 887740 h 3680693"/>
              <a:gd name="connsiteX39" fmla="*/ 1845056 w 2080837"/>
              <a:gd name="connsiteY39" fmla="*/ 1035029 h 3680693"/>
              <a:gd name="connsiteX40" fmla="*/ 1763776 w 2080837"/>
              <a:gd name="connsiteY40" fmla="*/ 1177269 h 3680693"/>
              <a:gd name="connsiteX41" fmla="*/ 1661477 w 2080837"/>
              <a:gd name="connsiteY41" fmla="*/ 1353703 h 3680693"/>
              <a:gd name="connsiteX42" fmla="*/ 1552448 w 2080837"/>
              <a:gd name="connsiteY42" fmla="*/ 1518645 h 3680693"/>
              <a:gd name="connsiteX43" fmla="*/ 1372235 w 2080837"/>
              <a:gd name="connsiteY43" fmla="*/ 1782805 h 3680693"/>
              <a:gd name="connsiteX44" fmla="*/ 1242885 w 2080837"/>
              <a:gd name="connsiteY44" fmla="*/ 1961621 h 3680693"/>
              <a:gd name="connsiteX45" fmla="*/ 1060704 w 2080837"/>
              <a:gd name="connsiteY45" fmla="*/ 2201397 h 3680693"/>
              <a:gd name="connsiteX46" fmla="*/ 898144 w 2080837"/>
              <a:gd name="connsiteY46" fmla="*/ 2412725 h 3680693"/>
              <a:gd name="connsiteX47" fmla="*/ 548640 w 2080837"/>
              <a:gd name="connsiteY47" fmla="*/ 2867893 h 3680693"/>
              <a:gd name="connsiteX48" fmla="*/ 316008 w 2080837"/>
              <a:gd name="connsiteY48" fmla="*/ 3180821 h 3680693"/>
              <a:gd name="connsiteX49" fmla="*/ 65024 w 2080837"/>
              <a:gd name="connsiteY49" fmla="*/ 3566901 h 3680693"/>
              <a:gd name="connsiteX50" fmla="*/ 0 w 2080837"/>
              <a:gd name="connsiteY50" fmla="*/ 3680693 h 3680693"/>
              <a:gd name="connsiteX0" fmla="*/ 666496 w 2080837"/>
              <a:gd name="connsiteY0" fmla="*/ 510773 h 3680693"/>
              <a:gd name="connsiteX1" fmla="*/ 743712 w 2080837"/>
              <a:gd name="connsiteY1" fmla="*/ 648949 h 3680693"/>
              <a:gd name="connsiteX2" fmla="*/ 798926 w 2080837"/>
              <a:gd name="connsiteY2" fmla="*/ 756296 h 3680693"/>
              <a:gd name="connsiteX3" fmla="*/ 841248 w 2080837"/>
              <a:gd name="connsiteY3" fmla="*/ 856213 h 3680693"/>
              <a:gd name="connsiteX4" fmla="*/ 853440 w 2080837"/>
              <a:gd name="connsiteY4" fmla="*/ 970005 h 3680693"/>
              <a:gd name="connsiteX5" fmla="*/ 826390 w 2080837"/>
              <a:gd name="connsiteY5" fmla="*/ 1040490 h 3680693"/>
              <a:gd name="connsiteX6" fmla="*/ 776636 w 2080837"/>
              <a:gd name="connsiteY6" fmla="*/ 1082115 h 3680693"/>
              <a:gd name="connsiteX7" fmla="*/ 715264 w 2080837"/>
              <a:gd name="connsiteY7" fmla="*/ 1104117 h 3680693"/>
              <a:gd name="connsiteX8" fmla="*/ 646176 w 2080837"/>
              <a:gd name="connsiteY8" fmla="*/ 1100053 h 3680693"/>
              <a:gd name="connsiteX9" fmla="*/ 593344 w 2080837"/>
              <a:gd name="connsiteY9" fmla="*/ 1075669 h 3680693"/>
              <a:gd name="connsiteX10" fmla="*/ 540512 w 2080837"/>
              <a:gd name="connsiteY10" fmla="*/ 1010645 h 3680693"/>
              <a:gd name="connsiteX11" fmla="*/ 524256 w 2080837"/>
              <a:gd name="connsiteY11" fmla="*/ 949685 h 3680693"/>
              <a:gd name="connsiteX12" fmla="*/ 528320 w 2080837"/>
              <a:gd name="connsiteY12" fmla="*/ 864341 h 3680693"/>
              <a:gd name="connsiteX13" fmla="*/ 556768 w 2080837"/>
              <a:gd name="connsiteY13" fmla="*/ 783061 h 3680693"/>
              <a:gd name="connsiteX14" fmla="*/ 593344 w 2080837"/>
              <a:gd name="connsiteY14" fmla="*/ 730229 h 3680693"/>
              <a:gd name="connsiteX15" fmla="*/ 650240 w 2080837"/>
              <a:gd name="connsiteY15" fmla="*/ 665205 h 3680693"/>
              <a:gd name="connsiteX16" fmla="*/ 703072 w 2080837"/>
              <a:gd name="connsiteY16" fmla="*/ 600181 h 3680693"/>
              <a:gd name="connsiteX17" fmla="*/ 784352 w 2080837"/>
              <a:gd name="connsiteY17" fmla="*/ 522965 h 3680693"/>
              <a:gd name="connsiteX18" fmla="*/ 885952 w 2080837"/>
              <a:gd name="connsiteY18" fmla="*/ 437621 h 3680693"/>
              <a:gd name="connsiteX19" fmla="*/ 999744 w 2080837"/>
              <a:gd name="connsiteY19" fmla="*/ 352277 h 3680693"/>
              <a:gd name="connsiteX20" fmla="*/ 1129792 w 2080837"/>
              <a:gd name="connsiteY20" fmla="*/ 268330 h 3680693"/>
              <a:gd name="connsiteX21" fmla="*/ 1300480 w 2080837"/>
              <a:gd name="connsiteY21" fmla="*/ 157205 h 3680693"/>
              <a:gd name="connsiteX22" fmla="*/ 1440339 w 2080837"/>
              <a:gd name="connsiteY22" fmla="*/ 85736 h 3680693"/>
              <a:gd name="connsiteX23" fmla="*/ 1551750 w 2080837"/>
              <a:gd name="connsiteY23" fmla="*/ 37952 h 3680693"/>
              <a:gd name="connsiteX24" fmla="*/ 1643539 w 2080837"/>
              <a:gd name="connsiteY24" fmla="*/ 11187 h 3680693"/>
              <a:gd name="connsiteX25" fmla="*/ 1717390 w 2080837"/>
              <a:gd name="connsiteY25" fmla="*/ 1375 h 3680693"/>
              <a:gd name="connsiteX26" fmla="*/ 1786192 w 2080837"/>
              <a:gd name="connsiteY26" fmla="*/ 1090 h 3680693"/>
              <a:gd name="connsiteX27" fmla="*/ 1845056 w 2080837"/>
              <a:gd name="connsiteY27" fmla="*/ 10901 h 3680693"/>
              <a:gd name="connsiteX28" fmla="*/ 1920304 w 2080837"/>
              <a:gd name="connsiteY28" fmla="*/ 41031 h 3680693"/>
              <a:gd name="connsiteX29" fmla="*/ 1983232 w 2080837"/>
              <a:gd name="connsiteY29" fmla="*/ 96245 h 3680693"/>
              <a:gd name="connsiteX30" fmla="*/ 2020507 w 2080837"/>
              <a:gd name="connsiteY30" fmla="*/ 144314 h 3680693"/>
              <a:gd name="connsiteX31" fmla="*/ 2053018 w 2080837"/>
              <a:gd name="connsiteY31" fmla="*/ 214101 h 3680693"/>
              <a:gd name="connsiteX32" fmla="*/ 2071656 w 2080837"/>
              <a:gd name="connsiteY32" fmla="*/ 276744 h 3680693"/>
              <a:gd name="connsiteX33" fmla="*/ 2080768 w 2080837"/>
              <a:gd name="connsiteY33" fmla="*/ 352277 h 3680693"/>
              <a:gd name="connsiteX34" fmla="*/ 2075021 w 2080837"/>
              <a:gd name="connsiteY34" fmla="*/ 430191 h 3680693"/>
              <a:gd name="connsiteX35" fmla="*/ 2060448 w 2080837"/>
              <a:gd name="connsiteY35" fmla="*/ 502645 h 3680693"/>
              <a:gd name="connsiteX36" fmla="*/ 2027936 w 2080837"/>
              <a:gd name="connsiteY36" fmla="*/ 612373 h 3680693"/>
              <a:gd name="connsiteX37" fmla="*/ 1975104 w 2080837"/>
              <a:gd name="connsiteY37" fmla="*/ 754613 h 3680693"/>
              <a:gd name="connsiteX38" fmla="*/ 1918208 w 2080837"/>
              <a:gd name="connsiteY38" fmla="*/ 887740 h 3680693"/>
              <a:gd name="connsiteX39" fmla="*/ 1845056 w 2080837"/>
              <a:gd name="connsiteY39" fmla="*/ 1035029 h 3680693"/>
              <a:gd name="connsiteX40" fmla="*/ 1763776 w 2080837"/>
              <a:gd name="connsiteY40" fmla="*/ 1177269 h 3680693"/>
              <a:gd name="connsiteX41" fmla="*/ 1661477 w 2080837"/>
              <a:gd name="connsiteY41" fmla="*/ 1353703 h 3680693"/>
              <a:gd name="connsiteX42" fmla="*/ 1552448 w 2080837"/>
              <a:gd name="connsiteY42" fmla="*/ 1518645 h 3680693"/>
              <a:gd name="connsiteX43" fmla="*/ 1372235 w 2080837"/>
              <a:gd name="connsiteY43" fmla="*/ 1782805 h 3680693"/>
              <a:gd name="connsiteX44" fmla="*/ 1242885 w 2080837"/>
              <a:gd name="connsiteY44" fmla="*/ 1961621 h 3680693"/>
              <a:gd name="connsiteX45" fmla="*/ 1060704 w 2080837"/>
              <a:gd name="connsiteY45" fmla="*/ 2201397 h 3680693"/>
              <a:gd name="connsiteX46" fmla="*/ 898144 w 2080837"/>
              <a:gd name="connsiteY46" fmla="*/ 2412725 h 3680693"/>
              <a:gd name="connsiteX47" fmla="*/ 548640 w 2080837"/>
              <a:gd name="connsiteY47" fmla="*/ 2867893 h 3680693"/>
              <a:gd name="connsiteX48" fmla="*/ 316008 w 2080837"/>
              <a:gd name="connsiteY48" fmla="*/ 3180821 h 3680693"/>
              <a:gd name="connsiteX49" fmla="*/ 65024 w 2080837"/>
              <a:gd name="connsiteY49" fmla="*/ 3566901 h 3680693"/>
              <a:gd name="connsiteX50" fmla="*/ 0 w 2080837"/>
              <a:gd name="connsiteY50" fmla="*/ 3680693 h 3680693"/>
              <a:gd name="connsiteX0" fmla="*/ 666496 w 2080837"/>
              <a:gd name="connsiteY0" fmla="*/ 510773 h 3680693"/>
              <a:gd name="connsiteX1" fmla="*/ 743712 w 2080837"/>
              <a:gd name="connsiteY1" fmla="*/ 648949 h 3680693"/>
              <a:gd name="connsiteX2" fmla="*/ 798926 w 2080837"/>
              <a:gd name="connsiteY2" fmla="*/ 756296 h 3680693"/>
              <a:gd name="connsiteX3" fmla="*/ 841248 w 2080837"/>
              <a:gd name="connsiteY3" fmla="*/ 856213 h 3680693"/>
              <a:gd name="connsiteX4" fmla="*/ 853440 w 2080837"/>
              <a:gd name="connsiteY4" fmla="*/ 970005 h 3680693"/>
              <a:gd name="connsiteX5" fmla="*/ 826390 w 2080837"/>
              <a:gd name="connsiteY5" fmla="*/ 1040490 h 3680693"/>
              <a:gd name="connsiteX6" fmla="*/ 776636 w 2080837"/>
              <a:gd name="connsiteY6" fmla="*/ 1082115 h 3680693"/>
              <a:gd name="connsiteX7" fmla="*/ 715264 w 2080837"/>
              <a:gd name="connsiteY7" fmla="*/ 1104117 h 3680693"/>
              <a:gd name="connsiteX8" fmla="*/ 646176 w 2080837"/>
              <a:gd name="connsiteY8" fmla="*/ 1100053 h 3680693"/>
              <a:gd name="connsiteX9" fmla="*/ 593344 w 2080837"/>
              <a:gd name="connsiteY9" fmla="*/ 1075669 h 3680693"/>
              <a:gd name="connsiteX10" fmla="*/ 540512 w 2080837"/>
              <a:gd name="connsiteY10" fmla="*/ 1010645 h 3680693"/>
              <a:gd name="connsiteX11" fmla="*/ 524256 w 2080837"/>
              <a:gd name="connsiteY11" fmla="*/ 949685 h 3680693"/>
              <a:gd name="connsiteX12" fmla="*/ 528320 w 2080837"/>
              <a:gd name="connsiteY12" fmla="*/ 864341 h 3680693"/>
              <a:gd name="connsiteX13" fmla="*/ 556768 w 2080837"/>
              <a:gd name="connsiteY13" fmla="*/ 783061 h 3680693"/>
              <a:gd name="connsiteX14" fmla="*/ 593344 w 2080837"/>
              <a:gd name="connsiteY14" fmla="*/ 730229 h 3680693"/>
              <a:gd name="connsiteX15" fmla="*/ 650240 w 2080837"/>
              <a:gd name="connsiteY15" fmla="*/ 665205 h 3680693"/>
              <a:gd name="connsiteX16" fmla="*/ 703072 w 2080837"/>
              <a:gd name="connsiteY16" fmla="*/ 600181 h 3680693"/>
              <a:gd name="connsiteX17" fmla="*/ 784352 w 2080837"/>
              <a:gd name="connsiteY17" fmla="*/ 522965 h 3680693"/>
              <a:gd name="connsiteX18" fmla="*/ 885952 w 2080837"/>
              <a:gd name="connsiteY18" fmla="*/ 437621 h 3680693"/>
              <a:gd name="connsiteX19" fmla="*/ 999744 w 2080837"/>
              <a:gd name="connsiteY19" fmla="*/ 352277 h 3680693"/>
              <a:gd name="connsiteX20" fmla="*/ 1129792 w 2080837"/>
              <a:gd name="connsiteY20" fmla="*/ 268330 h 3680693"/>
              <a:gd name="connsiteX21" fmla="*/ 1300480 w 2080837"/>
              <a:gd name="connsiteY21" fmla="*/ 157205 h 3680693"/>
              <a:gd name="connsiteX22" fmla="*/ 1440339 w 2080837"/>
              <a:gd name="connsiteY22" fmla="*/ 85736 h 3680693"/>
              <a:gd name="connsiteX23" fmla="*/ 1551750 w 2080837"/>
              <a:gd name="connsiteY23" fmla="*/ 37952 h 3680693"/>
              <a:gd name="connsiteX24" fmla="*/ 1643539 w 2080837"/>
              <a:gd name="connsiteY24" fmla="*/ 11187 h 3680693"/>
              <a:gd name="connsiteX25" fmla="*/ 1717390 w 2080837"/>
              <a:gd name="connsiteY25" fmla="*/ 1375 h 3680693"/>
              <a:gd name="connsiteX26" fmla="*/ 1786192 w 2080837"/>
              <a:gd name="connsiteY26" fmla="*/ 1090 h 3680693"/>
              <a:gd name="connsiteX27" fmla="*/ 1845056 w 2080837"/>
              <a:gd name="connsiteY27" fmla="*/ 10901 h 3680693"/>
              <a:gd name="connsiteX28" fmla="*/ 1920304 w 2080837"/>
              <a:gd name="connsiteY28" fmla="*/ 41031 h 3680693"/>
              <a:gd name="connsiteX29" fmla="*/ 1983232 w 2080837"/>
              <a:gd name="connsiteY29" fmla="*/ 96245 h 3680693"/>
              <a:gd name="connsiteX30" fmla="*/ 2020507 w 2080837"/>
              <a:gd name="connsiteY30" fmla="*/ 144314 h 3680693"/>
              <a:gd name="connsiteX31" fmla="*/ 2053018 w 2080837"/>
              <a:gd name="connsiteY31" fmla="*/ 214101 h 3680693"/>
              <a:gd name="connsiteX32" fmla="*/ 2071656 w 2080837"/>
              <a:gd name="connsiteY32" fmla="*/ 276744 h 3680693"/>
              <a:gd name="connsiteX33" fmla="*/ 2080768 w 2080837"/>
              <a:gd name="connsiteY33" fmla="*/ 352277 h 3680693"/>
              <a:gd name="connsiteX34" fmla="*/ 2075021 w 2080837"/>
              <a:gd name="connsiteY34" fmla="*/ 430191 h 3680693"/>
              <a:gd name="connsiteX35" fmla="*/ 2060448 w 2080837"/>
              <a:gd name="connsiteY35" fmla="*/ 502645 h 3680693"/>
              <a:gd name="connsiteX36" fmla="*/ 2027936 w 2080837"/>
              <a:gd name="connsiteY36" fmla="*/ 612373 h 3680693"/>
              <a:gd name="connsiteX37" fmla="*/ 1975104 w 2080837"/>
              <a:gd name="connsiteY37" fmla="*/ 754613 h 3680693"/>
              <a:gd name="connsiteX38" fmla="*/ 1918208 w 2080837"/>
              <a:gd name="connsiteY38" fmla="*/ 887740 h 3680693"/>
              <a:gd name="connsiteX39" fmla="*/ 1845056 w 2080837"/>
              <a:gd name="connsiteY39" fmla="*/ 1035029 h 3680693"/>
              <a:gd name="connsiteX40" fmla="*/ 1763776 w 2080837"/>
              <a:gd name="connsiteY40" fmla="*/ 1177269 h 3680693"/>
              <a:gd name="connsiteX41" fmla="*/ 1661477 w 2080837"/>
              <a:gd name="connsiteY41" fmla="*/ 1353703 h 3680693"/>
              <a:gd name="connsiteX42" fmla="*/ 1552448 w 2080837"/>
              <a:gd name="connsiteY42" fmla="*/ 1518645 h 3680693"/>
              <a:gd name="connsiteX43" fmla="*/ 1372235 w 2080837"/>
              <a:gd name="connsiteY43" fmla="*/ 1782805 h 3680693"/>
              <a:gd name="connsiteX44" fmla="*/ 1242885 w 2080837"/>
              <a:gd name="connsiteY44" fmla="*/ 1961621 h 3680693"/>
              <a:gd name="connsiteX45" fmla="*/ 1060704 w 2080837"/>
              <a:gd name="connsiteY45" fmla="*/ 2201397 h 3680693"/>
              <a:gd name="connsiteX46" fmla="*/ 898144 w 2080837"/>
              <a:gd name="connsiteY46" fmla="*/ 2412725 h 3680693"/>
              <a:gd name="connsiteX47" fmla="*/ 548640 w 2080837"/>
              <a:gd name="connsiteY47" fmla="*/ 2867893 h 3680693"/>
              <a:gd name="connsiteX48" fmla="*/ 316008 w 2080837"/>
              <a:gd name="connsiteY48" fmla="*/ 3180821 h 3680693"/>
              <a:gd name="connsiteX49" fmla="*/ 65024 w 2080837"/>
              <a:gd name="connsiteY49" fmla="*/ 3566901 h 3680693"/>
              <a:gd name="connsiteX50" fmla="*/ 0 w 2080837"/>
              <a:gd name="connsiteY50" fmla="*/ 3680693 h 3680693"/>
              <a:gd name="connsiteX0" fmla="*/ 666496 w 2080837"/>
              <a:gd name="connsiteY0" fmla="*/ 510773 h 3680693"/>
              <a:gd name="connsiteX1" fmla="*/ 743712 w 2080837"/>
              <a:gd name="connsiteY1" fmla="*/ 648949 h 3680693"/>
              <a:gd name="connsiteX2" fmla="*/ 798926 w 2080837"/>
              <a:gd name="connsiteY2" fmla="*/ 756296 h 3680693"/>
              <a:gd name="connsiteX3" fmla="*/ 841248 w 2080837"/>
              <a:gd name="connsiteY3" fmla="*/ 856213 h 3680693"/>
              <a:gd name="connsiteX4" fmla="*/ 853440 w 2080837"/>
              <a:gd name="connsiteY4" fmla="*/ 970005 h 3680693"/>
              <a:gd name="connsiteX5" fmla="*/ 826390 w 2080837"/>
              <a:gd name="connsiteY5" fmla="*/ 1040490 h 3680693"/>
              <a:gd name="connsiteX6" fmla="*/ 776636 w 2080837"/>
              <a:gd name="connsiteY6" fmla="*/ 1082115 h 3680693"/>
              <a:gd name="connsiteX7" fmla="*/ 715264 w 2080837"/>
              <a:gd name="connsiteY7" fmla="*/ 1104117 h 3680693"/>
              <a:gd name="connsiteX8" fmla="*/ 646176 w 2080837"/>
              <a:gd name="connsiteY8" fmla="*/ 1100053 h 3680693"/>
              <a:gd name="connsiteX9" fmla="*/ 593344 w 2080837"/>
              <a:gd name="connsiteY9" fmla="*/ 1075669 h 3680693"/>
              <a:gd name="connsiteX10" fmla="*/ 540512 w 2080837"/>
              <a:gd name="connsiteY10" fmla="*/ 1010645 h 3680693"/>
              <a:gd name="connsiteX11" fmla="*/ 524256 w 2080837"/>
              <a:gd name="connsiteY11" fmla="*/ 949685 h 3680693"/>
              <a:gd name="connsiteX12" fmla="*/ 528320 w 2080837"/>
              <a:gd name="connsiteY12" fmla="*/ 864341 h 3680693"/>
              <a:gd name="connsiteX13" fmla="*/ 556768 w 2080837"/>
              <a:gd name="connsiteY13" fmla="*/ 783061 h 3680693"/>
              <a:gd name="connsiteX14" fmla="*/ 593344 w 2080837"/>
              <a:gd name="connsiteY14" fmla="*/ 730229 h 3680693"/>
              <a:gd name="connsiteX15" fmla="*/ 650240 w 2080837"/>
              <a:gd name="connsiteY15" fmla="*/ 665205 h 3680693"/>
              <a:gd name="connsiteX16" fmla="*/ 703072 w 2080837"/>
              <a:gd name="connsiteY16" fmla="*/ 600181 h 3680693"/>
              <a:gd name="connsiteX17" fmla="*/ 784352 w 2080837"/>
              <a:gd name="connsiteY17" fmla="*/ 522965 h 3680693"/>
              <a:gd name="connsiteX18" fmla="*/ 885952 w 2080837"/>
              <a:gd name="connsiteY18" fmla="*/ 437621 h 3680693"/>
              <a:gd name="connsiteX19" fmla="*/ 999744 w 2080837"/>
              <a:gd name="connsiteY19" fmla="*/ 352277 h 3680693"/>
              <a:gd name="connsiteX20" fmla="*/ 1127411 w 2080837"/>
              <a:gd name="connsiteY20" fmla="*/ 263567 h 3680693"/>
              <a:gd name="connsiteX21" fmla="*/ 1300480 w 2080837"/>
              <a:gd name="connsiteY21" fmla="*/ 157205 h 3680693"/>
              <a:gd name="connsiteX22" fmla="*/ 1440339 w 2080837"/>
              <a:gd name="connsiteY22" fmla="*/ 85736 h 3680693"/>
              <a:gd name="connsiteX23" fmla="*/ 1551750 w 2080837"/>
              <a:gd name="connsiteY23" fmla="*/ 37952 h 3680693"/>
              <a:gd name="connsiteX24" fmla="*/ 1643539 w 2080837"/>
              <a:gd name="connsiteY24" fmla="*/ 11187 h 3680693"/>
              <a:gd name="connsiteX25" fmla="*/ 1717390 w 2080837"/>
              <a:gd name="connsiteY25" fmla="*/ 1375 h 3680693"/>
              <a:gd name="connsiteX26" fmla="*/ 1786192 w 2080837"/>
              <a:gd name="connsiteY26" fmla="*/ 1090 h 3680693"/>
              <a:gd name="connsiteX27" fmla="*/ 1845056 w 2080837"/>
              <a:gd name="connsiteY27" fmla="*/ 10901 h 3680693"/>
              <a:gd name="connsiteX28" fmla="*/ 1920304 w 2080837"/>
              <a:gd name="connsiteY28" fmla="*/ 41031 h 3680693"/>
              <a:gd name="connsiteX29" fmla="*/ 1983232 w 2080837"/>
              <a:gd name="connsiteY29" fmla="*/ 96245 h 3680693"/>
              <a:gd name="connsiteX30" fmla="*/ 2020507 w 2080837"/>
              <a:gd name="connsiteY30" fmla="*/ 144314 h 3680693"/>
              <a:gd name="connsiteX31" fmla="*/ 2053018 w 2080837"/>
              <a:gd name="connsiteY31" fmla="*/ 214101 h 3680693"/>
              <a:gd name="connsiteX32" fmla="*/ 2071656 w 2080837"/>
              <a:gd name="connsiteY32" fmla="*/ 276744 h 3680693"/>
              <a:gd name="connsiteX33" fmla="*/ 2080768 w 2080837"/>
              <a:gd name="connsiteY33" fmla="*/ 352277 h 3680693"/>
              <a:gd name="connsiteX34" fmla="*/ 2075021 w 2080837"/>
              <a:gd name="connsiteY34" fmla="*/ 430191 h 3680693"/>
              <a:gd name="connsiteX35" fmla="*/ 2060448 w 2080837"/>
              <a:gd name="connsiteY35" fmla="*/ 502645 h 3680693"/>
              <a:gd name="connsiteX36" fmla="*/ 2027936 w 2080837"/>
              <a:gd name="connsiteY36" fmla="*/ 612373 h 3680693"/>
              <a:gd name="connsiteX37" fmla="*/ 1975104 w 2080837"/>
              <a:gd name="connsiteY37" fmla="*/ 754613 h 3680693"/>
              <a:gd name="connsiteX38" fmla="*/ 1918208 w 2080837"/>
              <a:gd name="connsiteY38" fmla="*/ 887740 h 3680693"/>
              <a:gd name="connsiteX39" fmla="*/ 1845056 w 2080837"/>
              <a:gd name="connsiteY39" fmla="*/ 1035029 h 3680693"/>
              <a:gd name="connsiteX40" fmla="*/ 1763776 w 2080837"/>
              <a:gd name="connsiteY40" fmla="*/ 1177269 h 3680693"/>
              <a:gd name="connsiteX41" fmla="*/ 1661477 w 2080837"/>
              <a:gd name="connsiteY41" fmla="*/ 1353703 h 3680693"/>
              <a:gd name="connsiteX42" fmla="*/ 1552448 w 2080837"/>
              <a:gd name="connsiteY42" fmla="*/ 1518645 h 3680693"/>
              <a:gd name="connsiteX43" fmla="*/ 1372235 w 2080837"/>
              <a:gd name="connsiteY43" fmla="*/ 1782805 h 3680693"/>
              <a:gd name="connsiteX44" fmla="*/ 1242885 w 2080837"/>
              <a:gd name="connsiteY44" fmla="*/ 1961621 h 3680693"/>
              <a:gd name="connsiteX45" fmla="*/ 1060704 w 2080837"/>
              <a:gd name="connsiteY45" fmla="*/ 2201397 h 3680693"/>
              <a:gd name="connsiteX46" fmla="*/ 898144 w 2080837"/>
              <a:gd name="connsiteY46" fmla="*/ 2412725 h 3680693"/>
              <a:gd name="connsiteX47" fmla="*/ 548640 w 2080837"/>
              <a:gd name="connsiteY47" fmla="*/ 2867893 h 3680693"/>
              <a:gd name="connsiteX48" fmla="*/ 316008 w 2080837"/>
              <a:gd name="connsiteY48" fmla="*/ 3180821 h 3680693"/>
              <a:gd name="connsiteX49" fmla="*/ 65024 w 2080837"/>
              <a:gd name="connsiteY49" fmla="*/ 3566901 h 3680693"/>
              <a:gd name="connsiteX50" fmla="*/ 0 w 2080837"/>
              <a:gd name="connsiteY50" fmla="*/ 3680693 h 3680693"/>
              <a:gd name="connsiteX0" fmla="*/ 666496 w 2080837"/>
              <a:gd name="connsiteY0" fmla="*/ 510773 h 3680693"/>
              <a:gd name="connsiteX1" fmla="*/ 743712 w 2080837"/>
              <a:gd name="connsiteY1" fmla="*/ 648949 h 3680693"/>
              <a:gd name="connsiteX2" fmla="*/ 798926 w 2080837"/>
              <a:gd name="connsiteY2" fmla="*/ 756296 h 3680693"/>
              <a:gd name="connsiteX3" fmla="*/ 841248 w 2080837"/>
              <a:gd name="connsiteY3" fmla="*/ 856213 h 3680693"/>
              <a:gd name="connsiteX4" fmla="*/ 853440 w 2080837"/>
              <a:gd name="connsiteY4" fmla="*/ 970005 h 3680693"/>
              <a:gd name="connsiteX5" fmla="*/ 826390 w 2080837"/>
              <a:gd name="connsiteY5" fmla="*/ 1040490 h 3680693"/>
              <a:gd name="connsiteX6" fmla="*/ 776636 w 2080837"/>
              <a:gd name="connsiteY6" fmla="*/ 1082115 h 3680693"/>
              <a:gd name="connsiteX7" fmla="*/ 715264 w 2080837"/>
              <a:gd name="connsiteY7" fmla="*/ 1104117 h 3680693"/>
              <a:gd name="connsiteX8" fmla="*/ 646176 w 2080837"/>
              <a:gd name="connsiteY8" fmla="*/ 1100053 h 3680693"/>
              <a:gd name="connsiteX9" fmla="*/ 593344 w 2080837"/>
              <a:gd name="connsiteY9" fmla="*/ 1075669 h 3680693"/>
              <a:gd name="connsiteX10" fmla="*/ 540512 w 2080837"/>
              <a:gd name="connsiteY10" fmla="*/ 1010645 h 3680693"/>
              <a:gd name="connsiteX11" fmla="*/ 524256 w 2080837"/>
              <a:gd name="connsiteY11" fmla="*/ 949685 h 3680693"/>
              <a:gd name="connsiteX12" fmla="*/ 528320 w 2080837"/>
              <a:gd name="connsiteY12" fmla="*/ 864341 h 3680693"/>
              <a:gd name="connsiteX13" fmla="*/ 556768 w 2080837"/>
              <a:gd name="connsiteY13" fmla="*/ 783061 h 3680693"/>
              <a:gd name="connsiteX14" fmla="*/ 593344 w 2080837"/>
              <a:gd name="connsiteY14" fmla="*/ 730229 h 3680693"/>
              <a:gd name="connsiteX15" fmla="*/ 650240 w 2080837"/>
              <a:gd name="connsiteY15" fmla="*/ 665205 h 3680693"/>
              <a:gd name="connsiteX16" fmla="*/ 703072 w 2080837"/>
              <a:gd name="connsiteY16" fmla="*/ 600181 h 3680693"/>
              <a:gd name="connsiteX17" fmla="*/ 784352 w 2080837"/>
              <a:gd name="connsiteY17" fmla="*/ 522965 h 3680693"/>
              <a:gd name="connsiteX18" fmla="*/ 885952 w 2080837"/>
              <a:gd name="connsiteY18" fmla="*/ 437621 h 3680693"/>
              <a:gd name="connsiteX19" fmla="*/ 999744 w 2080837"/>
              <a:gd name="connsiteY19" fmla="*/ 352277 h 3680693"/>
              <a:gd name="connsiteX20" fmla="*/ 1127411 w 2080837"/>
              <a:gd name="connsiteY20" fmla="*/ 263567 h 3680693"/>
              <a:gd name="connsiteX21" fmla="*/ 1300480 w 2080837"/>
              <a:gd name="connsiteY21" fmla="*/ 157205 h 3680693"/>
              <a:gd name="connsiteX22" fmla="*/ 1440339 w 2080837"/>
              <a:gd name="connsiteY22" fmla="*/ 85736 h 3680693"/>
              <a:gd name="connsiteX23" fmla="*/ 1551750 w 2080837"/>
              <a:gd name="connsiteY23" fmla="*/ 37952 h 3680693"/>
              <a:gd name="connsiteX24" fmla="*/ 1643539 w 2080837"/>
              <a:gd name="connsiteY24" fmla="*/ 11187 h 3680693"/>
              <a:gd name="connsiteX25" fmla="*/ 1717390 w 2080837"/>
              <a:gd name="connsiteY25" fmla="*/ 1375 h 3680693"/>
              <a:gd name="connsiteX26" fmla="*/ 1786192 w 2080837"/>
              <a:gd name="connsiteY26" fmla="*/ 1090 h 3680693"/>
              <a:gd name="connsiteX27" fmla="*/ 1845056 w 2080837"/>
              <a:gd name="connsiteY27" fmla="*/ 10901 h 3680693"/>
              <a:gd name="connsiteX28" fmla="*/ 1920304 w 2080837"/>
              <a:gd name="connsiteY28" fmla="*/ 41031 h 3680693"/>
              <a:gd name="connsiteX29" fmla="*/ 1983232 w 2080837"/>
              <a:gd name="connsiteY29" fmla="*/ 96245 h 3680693"/>
              <a:gd name="connsiteX30" fmla="*/ 2020507 w 2080837"/>
              <a:gd name="connsiteY30" fmla="*/ 144314 h 3680693"/>
              <a:gd name="connsiteX31" fmla="*/ 2057780 w 2080837"/>
              <a:gd name="connsiteY31" fmla="*/ 214101 h 3680693"/>
              <a:gd name="connsiteX32" fmla="*/ 2071656 w 2080837"/>
              <a:gd name="connsiteY32" fmla="*/ 276744 h 3680693"/>
              <a:gd name="connsiteX33" fmla="*/ 2080768 w 2080837"/>
              <a:gd name="connsiteY33" fmla="*/ 352277 h 3680693"/>
              <a:gd name="connsiteX34" fmla="*/ 2075021 w 2080837"/>
              <a:gd name="connsiteY34" fmla="*/ 430191 h 3680693"/>
              <a:gd name="connsiteX35" fmla="*/ 2060448 w 2080837"/>
              <a:gd name="connsiteY35" fmla="*/ 502645 h 3680693"/>
              <a:gd name="connsiteX36" fmla="*/ 2027936 w 2080837"/>
              <a:gd name="connsiteY36" fmla="*/ 612373 h 3680693"/>
              <a:gd name="connsiteX37" fmla="*/ 1975104 w 2080837"/>
              <a:gd name="connsiteY37" fmla="*/ 754613 h 3680693"/>
              <a:gd name="connsiteX38" fmla="*/ 1918208 w 2080837"/>
              <a:gd name="connsiteY38" fmla="*/ 887740 h 3680693"/>
              <a:gd name="connsiteX39" fmla="*/ 1845056 w 2080837"/>
              <a:gd name="connsiteY39" fmla="*/ 1035029 h 3680693"/>
              <a:gd name="connsiteX40" fmla="*/ 1763776 w 2080837"/>
              <a:gd name="connsiteY40" fmla="*/ 1177269 h 3680693"/>
              <a:gd name="connsiteX41" fmla="*/ 1661477 w 2080837"/>
              <a:gd name="connsiteY41" fmla="*/ 1353703 h 3680693"/>
              <a:gd name="connsiteX42" fmla="*/ 1552448 w 2080837"/>
              <a:gd name="connsiteY42" fmla="*/ 1518645 h 3680693"/>
              <a:gd name="connsiteX43" fmla="*/ 1372235 w 2080837"/>
              <a:gd name="connsiteY43" fmla="*/ 1782805 h 3680693"/>
              <a:gd name="connsiteX44" fmla="*/ 1242885 w 2080837"/>
              <a:gd name="connsiteY44" fmla="*/ 1961621 h 3680693"/>
              <a:gd name="connsiteX45" fmla="*/ 1060704 w 2080837"/>
              <a:gd name="connsiteY45" fmla="*/ 2201397 h 3680693"/>
              <a:gd name="connsiteX46" fmla="*/ 898144 w 2080837"/>
              <a:gd name="connsiteY46" fmla="*/ 2412725 h 3680693"/>
              <a:gd name="connsiteX47" fmla="*/ 548640 w 2080837"/>
              <a:gd name="connsiteY47" fmla="*/ 2867893 h 3680693"/>
              <a:gd name="connsiteX48" fmla="*/ 316008 w 2080837"/>
              <a:gd name="connsiteY48" fmla="*/ 3180821 h 3680693"/>
              <a:gd name="connsiteX49" fmla="*/ 65024 w 2080837"/>
              <a:gd name="connsiteY49" fmla="*/ 3566901 h 3680693"/>
              <a:gd name="connsiteX50" fmla="*/ 0 w 2080837"/>
              <a:gd name="connsiteY50" fmla="*/ 3680693 h 3680693"/>
              <a:gd name="connsiteX0" fmla="*/ 666496 w 2080837"/>
              <a:gd name="connsiteY0" fmla="*/ 510773 h 3680693"/>
              <a:gd name="connsiteX1" fmla="*/ 743712 w 2080837"/>
              <a:gd name="connsiteY1" fmla="*/ 648949 h 3680693"/>
              <a:gd name="connsiteX2" fmla="*/ 798926 w 2080837"/>
              <a:gd name="connsiteY2" fmla="*/ 756296 h 3680693"/>
              <a:gd name="connsiteX3" fmla="*/ 841248 w 2080837"/>
              <a:gd name="connsiteY3" fmla="*/ 856213 h 3680693"/>
              <a:gd name="connsiteX4" fmla="*/ 853440 w 2080837"/>
              <a:gd name="connsiteY4" fmla="*/ 970005 h 3680693"/>
              <a:gd name="connsiteX5" fmla="*/ 826390 w 2080837"/>
              <a:gd name="connsiteY5" fmla="*/ 1040490 h 3680693"/>
              <a:gd name="connsiteX6" fmla="*/ 776636 w 2080837"/>
              <a:gd name="connsiteY6" fmla="*/ 1082115 h 3680693"/>
              <a:gd name="connsiteX7" fmla="*/ 715264 w 2080837"/>
              <a:gd name="connsiteY7" fmla="*/ 1104117 h 3680693"/>
              <a:gd name="connsiteX8" fmla="*/ 646176 w 2080837"/>
              <a:gd name="connsiteY8" fmla="*/ 1100053 h 3680693"/>
              <a:gd name="connsiteX9" fmla="*/ 593344 w 2080837"/>
              <a:gd name="connsiteY9" fmla="*/ 1075669 h 3680693"/>
              <a:gd name="connsiteX10" fmla="*/ 540512 w 2080837"/>
              <a:gd name="connsiteY10" fmla="*/ 1010645 h 3680693"/>
              <a:gd name="connsiteX11" fmla="*/ 524256 w 2080837"/>
              <a:gd name="connsiteY11" fmla="*/ 949685 h 3680693"/>
              <a:gd name="connsiteX12" fmla="*/ 528320 w 2080837"/>
              <a:gd name="connsiteY12" fmla="*/ 864341 h 3680693"/>
              <a:gd name="connsiteX13" fmla="*/ 556768 w 2080837"/>
              <a:gd name="connsiteY13" fmla="*/ 783061 h 3680693"/>
              <a:gd name="connsiteX14" fmla="*/ 593344 w 2080837"/>
              <a:gd name="connsiteY14" fmla="*/ 730229 h 3680693"/>
              <a:gd name="connsiteX15" fmla="*/ 650240 w 2080837"/>
              <a:gd name="connsiteY15" fmla="*/ 665205 h 3680693"/>
              <a:gd name="connsiteX16" fmla="*/ 703072 w 2080837"/>
              <a:gd name="connsiteY16" fmla="*/ 600181 h 3680693"/>
              <a:gd name="connsiteX17" fmla="*/ 784352 w 2080837"/>
              <a:gd name="connsiteY17" fmla="*/ 522965 h 3680693"/>
              <a:gd name="connsiteX18" fmla="*/ 885952 w 2080837"/>
              <a:gd name="connsiteY18" fmla="*/ 437621 h 3680693"/>
              <a:gd name="connsiteX19" fmla="*/ 999744 w 2080837"/>
              <a:gd name="connsiteY19" fmla="*/ 352277 h 3680693"/>
              <a:gd name="connsiteX20" fmla="*/ 1127411 w 2080837"/>
              <a:gd name="connsiteY20" fmla="*/ 263567 h 3680693"/>
              <a:gd name="connsiteX21" fmla="*/ 1300480 w 2080837"/>
              <a:gd name="connsiteY21" fmla="*/ 157205 h 3680693"/>
              <a:gd name="connsiteX22" fmla="*/ 1440339 w 2080837"/>
              <a:gd name="connsiteY22" fmla="*/ 85736 h 3680693"/>
              <a:gd name="connsiteX23" fmla="*/ 1551750 w 2080837"/>
              <a:gd name="connsiteY23" fmla="*/ 37952 h 3680693"/>
              <a:gd name="connsiteX24" fmla="*/ 1643539 w 2080837"/>
              <a:gd name="connsiteY24" fmla="*/ 11187 h 3680693"/>
              <a:gd name="connsiteX25" fmla="*/ 1717390 w 2080837"/>
              <a:gd name="connsiteY25" fmla="*/ 1375 h 3680693"/>
              <a:gd name="connsiteX26" fmla="*/ 1786192 w 2080837"/>
              <a:gd name="connsiteY26" fmla="*/ 1090 h 3680693"/>
              <a:gd name="connsiteX27" fmla="*/ 1845056 w 2080837"/>
              <a:gd name="connsiteY27" fmla="*/ 10901 h 3680693"/>
              <a:gd name="connsiteX28" fmla="*/ 1920304 w 2080837"/>
              <a:gd name="connsiteY28" fmla="*/ 41031 h 3680693"/>
              <a:gd name="connsiteX29" fmla="*/ 1983232 w 2080837"/>
              <a:gd name="connsiteY29" fmla="*/ 96245 h 3680693"/>
              <a:gd name="connsiteX30" fmla="*/ 2020507 w 2080837"/>
              <a:gd name="connsiteY30" fmla="*/ 144314 h 3680693"/>
              <a:gd name="connsiteX31" fmla="*/ 2057780 w 2080837"/>
              <a:gd name="connsiteY31" fmla="*/ 214101 h 3680693"/>
              <a:gd name="connsiteX32" fmla="*/ 2071656 w 2080837"/>
              <a:gd name="connsiteY32" fmla="*/ 276744 h 3680693"/>
              <a:gd name="connsiteX33" fmla="*/ 2080768 w 2080837"/>
              <a:gd name="connsiteY33" fmla="*/ 352277 h 3680693"/>
              <a:gd name="connsiteX34" fmla="*/ 2075021 w 2080837"/>
              <a:gd name="connsiteY34" fmla="*/ 430191 h 3680693"/>
              <a:gd name="connsiteX35" fmla="*/ 2060448 w 2080837"/>
              <a:gd name="connsiteY35" fmla="*/ 502645 h 3680693"/>
              <a:gd name="connsiteX36" fmla="*/ 2027936 w 2080837"/>
              <a:gd name="connsiteY36" fmla="*/ 612373 h 3680693"/>
              <a:gd name="connsiteX37" fmla="*/ 1975104 w 2080837"/>
              <a:gd name="connsiteY37" fmla="*/ 754613 h 3680693"/>
              <a:gd name="connsiteX38" fmla="*/ 1918208 w 2080837"/>
              <a:gd name="connsiteY38" fmla="*/ 887740 h 3680693"/>
              <a:gd name="connsiteX39" fmla="*/ 1845056 w 2080837"/>
              <a:gd name="connsiteY39" fmla="*/ 1035029 h 3680693"/>
              <a:gd name="connsiteX40" fmla="*/ 1763776 w 2080837"/>
              <a:gd name="connsiteY40" fmla="*/ 1177269 h 3680693"/>
              <a:gd name="connsiteX41" fmla="*/ 1661477 w 2080837"/>
              <a:gd name="connsiteY41" fmla="*/ 1353703 h 3680693"/>
              <a:gd name="connsiteX42" fmla="*/ 1552448 w 2080837"/>
              <a:gd name="connsiteY42" fmla="*/ 1518645 h 3680693"/>
              <a:gd name="connsiteX43" fmla="*/ 1372235 w 2080837"/>
              <a:gd name="connsiteY43" fmla="*/ 1782805 h 3680693"/>
              <a:gd name="connsiteX44" fmla="*/ 1242885 w 2080837"/>
              <a:gd name="connsiteY44" fmla="*/ 1961621 h 3680693"/>
              <a:gd name="connsiteX45" fmla="*/ 1060704 w 2080837"/>
              <a:gd name="connsiteY45" fmla="*/ 2201397 h 3680693"/>
              <a:gd name="connsiteX46" fmla="*/ 898144 w 2080837"/>
              <a:gd name="connsiteY46" fmla="*/ 2412725 h 3680693"/>
              <a:gd name="connsiteX47" fmla="*/ 548640 w 2080837"/>
              <a:gd name="connsiteY47" fmla="*/ 2867893 h 3680693"/>
              <a:gd name="connsiteX48" fmla="*/ 316008 w 2080837"/>
              <a:gd name="connsiteY48" fmla="*/ 3180821 h 3680693"/>
              <a:gd name="connsiteX49" fmla="*/ 65024 w 2080837"/>
              <a:gd name="connsiteY49" fmla="*/ 3566901 h 3680693"/>
              <a:gd name="connsiteX50" fmla="*/ 0 w 2080837"/>
              <a:gd name="connsiteY50" fmla="*/ 3680693 h 3680693"/>
              <a:gd name="connsiteX0" fmla="*/ 601472 w 2015813"/>
              <a:gd name="connsiteY0" fmla="*/ 510773 h 3566901"/>
              <a:gd name="connsiteX1" fmla="*/ 678688 w 2015813"/>
              <a:gd name="connsiteY1" fmla="*/ 648949 h 3566901"/>
              <a:gd name="connsiteX2" fmla="*/ 733902 w 2015813"/>
              <a:gd name="connsiteY2" fmla="*/ 756296 h 3566901"/>
              <a:gd name="connsiteX3" fmla="*/ 776224 w 2015813"/>
              <a:gd name="connsiteY3" fmla="*/ 856213 h 3566901"/>
              <a:gd name="connsiteX4" fmla="*/ 788416 w 2015813"/>
              <a:gd name="connsiteY4" fmla="*/ 970005 h 3566901"/>
              <a:gd name="connsiteX5" fmla="*/ 761366 w 2015813"/>
              <a:gd name="connsiteY5" fmla="*/ 1040490 h 3566901"/>
              <a:gd name="connsiteX6" fmla="*/ 711612 w 2015813"/>
              <a:gd name="connsiteY6" fmla="*/ 1082115 h 3566901"/>
              <a:gd name="connsiteX7" fmla="*/ 650240 w 2015813"/>
              <a:gd name="connsiteY7" fmla="*/ 1104117 h 3566901"/>
              <a:gd name="connsiteX8" fmla="*/ 581152 w 2015813"/>
              <a:gd name="connsiteY8" fmla="*/ 1100053 h 3566901"/>
              <a:gd name="connsiteX9" fmla="*/ 528320 w 2015813"/>
              <a:gd name="connsiteY9" fmla="*/ 1075669 h 3566901"/>
              <a:gd name="connsiteX10" fmla="*/ 475488 w 2015813"/>
              <a:gd name="connsiteY10" fmla="*/ 1010645 h 3566901"/>
              <a:gd name="connsiteX11" fmla="*/ 459232 w 2015813"/>
              <a:gd name="connsiteY11" fmla="*/ 949685 h 3566901"/>
              <a:gd name="connsiteX12" fmla="*/ 463296 w 2015813"/>
              <a:gd name="connsiteY12" fmla="*/ 864341 h 3566901"/>
              <a:gd name="connsiteX13" fmla="*/ 491744 w 2015813"/>
              <a:gd name="connsiteY13" fmla="*/ 783061 h 3566901"/>
              <a:gd name="connsiteX14" fmla="*/ 528320 w 2015813"/>
              <a:gd name="connsiteY14" fmla="*/ 730229 h 3566901"/>
              <a:gd name="connsiteX15" fmla="*/ 585216 w 2015813"/>
              <a:gd name="connsiteY15" fmla="*/ 665205 h 3566901"/>
              <a:gd name="connsiteX16" fmla="*/ 638048 w 2015813"/>
              <a:gd name="connsiteY16" fmla="*/ 600181 h 3566901"/>
              <a:gd name="connsiteX17" fmla="*/ 719328 w 2015813"/>
              <a:gd name="connsiteY17" fmla="*/ 522965 h 3566901"/>
              <a:gd name="connsiteX18" fmla="*/ 820928 w 2015813"/>
              <a:gd name="connsiteY18" fmla="*/ 437621 h 3566901"/>
              <a:gd name="connsiteX19" fmla="*/ 934720 w 2015813"/>
              <a:gd name="connsiteY19" fmla="*/ 352277 h 3566901"/>
              <a:gd name="connsiteX20" fmla="*/ 1062387 w 2015813"/>
              <a:gd name="connsiteY20" fmla="*/ 263567 h 3566901"/>
              <a:gd name="connsiteX21" fmla="*/ 1235456 w 2015813"/>
              <a:gd name="connsiteY21" fmla="*/ 157205 h 3566901"/>
              <a:gd name="connsiteX22" fmla="*/ 1375315 w 2015813"/>
              <a:gd name="connsiteY22" fmla="*/ 85736 h 3566901"/>
              <a:gd name="connsiteX23" fmla="*/ 1486726 w 2015813"/>
              <a:gd name="connsiteY23" fmla="*/ 37952 h 3566901"/>
              <a:gd name="connsiteX24" fmla="*/ 1578515 w 2015813"/>
              <a:gd name="connsiteY24" fmla="*/ 11187 h 3566901"/>
              <a:gd name="connsiteX25" fmla="*/ 1652366 w 2015813"/>
              <a:gd name="connsiteY25" fmla="*/ 1375 h 3566901"/>
              <a:gd name="connsiteX26" fmla="*/ 1721168 w 2015813"/>
              <a:gd name="connsiteY26" fmla="*/ 1090 h 3566901"/>
              <a:gd name="connsiteX27" fmla="*/ 1780032 w 2015813"/>
              <a:gd name="connsiteY27" fmla="*/ 10901 h 3566901"/>
              <a:gd name="connsiteX28" fmla="*/ 1855280 w 2015813"/>
              <a:gd name="connsiteY28" fmla="*/ 41031 h 3566901"/>
              <a:gd name="connsiteX29" fmla="*/ 1918208 w 2015813"/>
              <a:gd name="connsiteY29" fmla="*/ 96245 h 3566901"/>
              <a:gd name="connsiteX30" fmla="*/ 1955483 w 2015813"/>
              <a:gd name="connsiteY30" fmla="*/ 144314 h 3566901"/>
              <a:gd name="connsiteX31" fmla="*/ 1992756 w 2015813"/>
              <a:gd name="connsiteY31" fmla="*/ 214101 h 3566901"/>
              <a:gd name="connsiteX32" fmla="*/ 2006632 w 2015813"/>
              <a:gd name="connsiteY32" fmla="*/ 276744 h 3566901"/>
              <a:gd name="connsiteX33" fmla="*/ 2015744 w 2015813"/>
              <a:gd name="connsiteY33" fmla="*/ 352277 h 3566901"/>
              <a:gd name="connsiteX34" fmla="*/ 2009997 w 2015813"/>
              <a:gd name="connsiteY34" fmla="*/ 430191 h 3566901"/>
              <a:gd name="connsiteX35" fmla="*/ 1995424 w 2015813"/>
              <a:gd name="connsiteY35" fmla="*/ 502645 h 3566901"/>
              <a:gd name="connsiteX36" fmla="*/ 1962912 w 2015813"/>
              <a:gd name="connsiteY36" fmla="*/ 612373 h 3566901"/>
              <a:gd name="connsiteX37" fmla="*/ 1910080 w 2015813"/>
              <a:gd name="connsiteY37" fmla="*/ 754613 h 3566901"/>
              <a:gd name="connsiteX38" fmla="*/ 1853184 w 2015813"/>
              <a:gd name="connsiteY38" fmla="*/ 887740 h 3566901"/>
              <a:gd name="connsiteX39" fmla="*/ 1780032 w 2015813"/>
              <a:gd name="connsiteY39" fmla="*/ 1035029 h 3566901"/>
              <a:gd name="connsiteX40" fmla="*/ 1698752 w 2015813"/>
              <a:gd name="connsiteY40" fmla="*/ 1177269 h 3566901"/>
              <a:gd name="connsiteX41" fmla="*/ 1596453 w 2015813"/>
              <a:gd name="connsiteY41" fmla="*/ 1353703 h 3566901"/>
              <a:gd name="connsiteX42" fmla="*/ 1487424 w 2015813"/>
              <a:gd name="connsiteY42" fmla="*/ 1518645 h 3566901"/>
              <a:gd name="connsiteX43" fmla="*/ 1307211 w 2015813"/>
              <a:gd name="connsiteY43" fmla="*/ 1782805 h 3566901"/>
              <a:gd name="connsiteX44" fmla="*/ 1177861 w 2015813"/>
              <a:gd name="connsiteY44" fmla="*/ 1961621 h 3566901"/>
              <a:gd name="connsiteX45" fmla="*/ 995680 w 2015813"/>
              <a:gd name="connsiteY45" fmla="*/ 2201397 h 3566901"/>
              <a:gd name="connsiteX46" fmla="*/ 833120 w 2015813"/>
              <a:gd name="connsiteY46" fmla="*/ 2412725 h 3566901"/>
              <a:gd name="connsiteX47" fmla="*/ 483616 w 2015813"/>
              <a:gd name="connsiteY47" fmla="*/ 2867893 h 3566901"/>
              <a:gd name="connsiteX48" fmla="*/ 250984 w 2015813"/>
              <a:gd name="connsiteY48" fmla="*/ 3180821 h 3566901"/>
              <a:gd name="connsiteX49" fmla="*/ 0 w 2015813"/>
              <a:gd name="connsiteY49" fmla="*/ 3566901 h 3566901"/>
              <a:gd name="connsiteX0" fmla="*/ 651500 w 2065841"/>
              <a:gd name="connsiteY0" fmla="*/ 510773 h 3650283"/>
              <a:gd name="connsiteX1" fmla="*/ 728716 w 2065841"/>
              <a:gd name="connsiteY1" fmla="*/ 648949 h 3650283"/>
              <a:gd name="connsiteX2" fmla="*/ 783930 w 2065841"/>
              <a:gd name="connsiteY2" fmla="*/ 756296 h 3650283"/>
              <a:gd name="connsiteX3" fmla="*/ 826252 w 2065841"/>
              <a:gd name="connsiteY3" fmla="*/ 856213 h 3650283"/>
              <a:gd name="connsiteX4" fmla="*/ 838444 w 2065841"/>
              <a:gd name="connsiteY4" fmla="*/ 970005 h 3650283"/>
              <a:gd name="connsiteX5" fmla="*/ 811394 w 2065841"/>
              <a:gd name="connsiteY5" fmla="*/ 1040490 h 3650283"/>
              <a:gd name="connsiteX6" fmla="*/ 761640 w 2065841"/>
              <a:gd name="connsiteY6" fmla="*/ 1082115 h 3650283"/>
              <a:gd name="connsiteX7" fmla="*/ 700268 w 2065841"/>
              <a:gd name="connsiteY7" fmla="*/ 1104117 h 3650283"/>
              <a:gd name="connsiteX8" fmla="*/ 631180 w 2065841"/>
              <a:gd name="connsiteY8" fmla="*/ 1100053 h 3650283"/>
              <a:gd name="connsiteX9" fmla="*/ 578348 w 2065841"/>
              <a:gd name="connsiteY9" fmla="*/ 1075669 h 3650283"/>
              <a:gd name="connsiteX10" fmla="*/ 525516 w 2065841"/>
              <a:gd name="connsiteY10" fmla="*/ 1010645 h 3650283"/>
              <a:gd name="connsiteX11" fmla="*/ 509260 w 2065841"/>
              <a:gd name="connsiteY11" fmla="*/ 949685 h 3650283"/>
              <a:gd name="connsiteX12" fmla="*/ 513324 w 2065841"/>
              <a:gd name="connsiteY12" fmla="*/ 864341 h 3650283"/>
              <a:gd name="connsiteX13" fmla="*/ 541772 w 2065841"/>
              <a:gd name="connsiteY13" fmla="*/ 783061 h 3650283"/>
              <a:gd name="connsiteX14" fmla="*/ 578348 w 2065841"/>
              <a:gd name="connsiteY14" fmla="*/ 730229 h 3650283"/>
              <a:gd name="connsiteX15" fmla="*/ 635244 w 2065841"/>
              <a:gd name="connsiteY15" fmla="*/ 665205 h 3650283"/>
              <a:gd name="connsiteX16" fmla="*/ 688076 w 2065841"/>
              <a:gd name="connsiteY16" fmla="*/ 600181 h 3650283"/>
              <a:gd name="connsiteX17" fmla="*/ 769356 w 2065841"/>
              <a:gd name="connsiteY17" fmla="*/ 522965 h 3650283"/>
              <a:gd name="connsiteX18" fmla="*/ 870956 w 2065841"/>
              <a:gd name="connsiteY18" fmla="*/ 437621 h 3650283"/>
              <a:gd name="connsiteX19" fmla="*/ 984748 w 2065841"/>
              <a:gd name="connsiteY19" fmla="*/ 352277 h 3650283"/>
              <a:gd name="connsiteX20" fmla="*/ 1112415 w 2065841"/>
              <a:gd name="connsiteY20" fmla="*/ 263567 h 3650283"/>
              <a:gd name="connsiteX21" fmla="*/ 1285484 w 2065841"/>
              <a:gd name="connsiteY21" fmla="*/ 157205 h 3650283"/>
              <a:gd name="connsiteX22" fmla="*/ 1425343 w 2065841"/>
              <a:gd name="connsiteY22" fmla="*/ 85736 h 3650283"/>
              <a:gd name="connsiteX23" fmla="*/ 1536754 w 2065841"/>
              <a:gd name="connsiteY23" fmla="*/ 37952 h 3650283"/>
              <a:gd name="connsiteX24" fmla="*/ 1628543 w 2065841"/>
              <a:gd name="connsiteY24" fmla="*/ 11187 h 3650283"/>
              <a:gd name="connsiteX25" fmla="*/ 1702394 w 2065841"/>
              <a:gd name="connsiteY25" fmla="*/ 1375 h 3650283"/>
              <a:gd name="connsiteX26" fmla="*/ 1771196 w 2065841"/>
              <a:gd name="connsiteY26" fmla="*/ 1090 h 3650283"/>
              <a:gd name="connsiteX27" fmla="*/ 1830060 w 2065841"/>
              <a:gd name="connsiteY27" fmla="*/ 10901 h 3650283"/>
              <a:gd name="connsiteX28" fmla="*/ 1905308 w 2065841"/>
              <a:gd name="connsiteY28" fmla="*/ 41031 h 3650283"/>
              <a:gd name="connsiteX29" fmla="*/ 1968236 w 2065841"/>
              <a:gd name="connsiteY29" fmla="*/ 96245 h 3650283"/>
              <a:gd name="connsiteX30" fmla="*/ 2005511 w 2065841"/>
              <a:gd name="connsiteY30" fmla="*/ 144314 h 3650283"/>
              <a:gd name="connsiteX31" fmla="*/ 2042784 w 2065841"/>
              <a:gd name="connsiteY31" fmla="*/ 214101 h 3650283"/>
              <a:gd name="connsiteX32" fmla="*/ 2056660 w 2065841"/>
              <a:gd name="connsiteY32" fmla="*/ 276744 h 3650283"/>
              <a:gd name="connsiteX33" fmla="*/ 2065772 w 2065841"/>
              <a:gd name="connsiteY33" fmla="*/ 352277 h 3650283"/>
              <a:gd name="connsiteX34" fmla="*/ 2060025 w 2065841"/>
              <a:gd name="connsiteY34" fmla="*/ 430191 h 3650283"/>
              <a:gd name="connsiteX35" fmla="*/ 2045452 w 2065841"/>
              <a:gd name="connsiteY35" fmla="*/ 502645 h 3650283"/>
              <a:gd name="connsiteX36" fmla="*/ 2012940 w 2065841"/>
              <a:gd name="connsiteY36" fmla="*/ 612373 h 3650283"/>
              <a:gd name="connsiteX37" fmla="*/ 1960108 w 2065841"/>
              <a:gd name="connsiteY37" fmla="*/ 754613 h 3650283"/>
              <a:gd name="connsiteX38" fmla="*/ 1903212 w 2065841"/>
              <a:gd name="connsiteY38" fmla="*/ 887740 h 3650283"/>
              <a:gd name="connsiteX39" fmla="*/ 1830060 w 2065841"/>
              <a:gd name="connsiteY39" fmla="*/ 1035029 h 3650283"/>
              <a:gd name="connsiteX40" fmla="*/ 1748780 w 2065841"/>
              <a:gd name="connsiteY40" fmla="*/ 1177269 h 3650283"/>
              <a:gd name="connsiteX41" fmla="*/ 1646481 w 2065841"/>
              <a:gd name="connsiteY41" fmla="*/ 1353703 h 3650283"/>
              <a:gd name="connsiteX42" fmla="*/ 1537452 w 2065841"/>
              <a:gd name="connsiteY42" fmla="*/ 1518645 h 3650283"/>
              <a:gd name="connsiteX43" fmla="*/ 1357239 w 2065841"/>
              <a:gd name="connsiteY43" fmla="*/ 1782805 h 3650283"/>
              <a:gd name="connsiteX44" fmla="*/ 1227889 w 2065841"/>
              <a:gd name="connsiteY44" fmla="*/ 1961621 h 3650283"/>
              <a:gd name="connsiteX45" fmla="*/ 1045708 w 2065841"/>
              <a:gd name="connsiteY45" fmla="*/ 2201397 h 3650283"/>
              <a:gd name="connsiteX46" fmla="*/ 883148 w 2065841"/>
              <a:gd name="connsiteY46" fmla="*/ 2412725 h 3650283"/>
              <a:gd name="connsiteX47" fmla="*/ 533644 w 2065841"/>
              <a:gd name="connsiteY47" fmla="*/ 2867893 h 3650283"/>
              <a:gd name="connsiteX48" fmla="*/ 301012 w 2065841"/>
              <a:gd name="connsiteY48" fmla="*/ 3180821 h 3650283"/>
              <a:gd name="connsiteX49" fmla="*/ 0 w 2065841"/>
              <a:gd name="connsiteY49" fmla="*/ 3650283 h 3650283"/>
              <a:gd name="connsiteX0" fmla="*/ 651500 w 2065841"/>
              <a:gd name="connsiteY0" fmla="*/ 510773 h 3650283"/>
              <a:gd name="connsiteX1" fmla="*/ 728716 w 2065841"/>
              <a:gd name="connsiteY1" fmla="*/ 648949 h 3650283"/>
              <a:gd name="connsiteX2" fmla="*/ 783930 w 2065841"/>
              <a:gd name="connsiteY2" fmla="*/ 756296 h 3650283"/>
              <a:gd name="connsiteX3" fmla="*/ 826252 w 2065841"/>
              <a:gd name="connsiteY3" fmla="*/ 856213 h 3650283"/>
              <a:gd name="connsiteX4" fmla="*/ 838444 w 2065841"/>
              <a:gd name="connsiteY4" fmla="*/ 970005 h 3650283"/>
              <a:gd name="connsiteX5" fmla="*/ 811394 w 2065841"/>
              <a:gd name="connsiteY5" fmla="*/ 1040490 h 3650283"/>
              <a:gd name="connsiteX6" fmla="*/ 761640 w 2065841"/>
              <a:gd name="connsiteY6" fmla="*/ 1082115 h 3650283"/>
              <a:gd name="connsiteX7" fmla="*/ 700268 w 2065841"/>
              <a:gd name="connsiteY7" fmla="*/ 1104117 h 3650283"/>
              <a:gd name="connsiteX8" fmla="*/ 631180 w 2065841"/>
              <a:gd name="connsiteY8" fmla="*/ 1100053 h 3650283"/>
              <a:gd name="connsiteX9" fmla="*/ 578348 w 2065841"/>
              <a:gd name="connsiteY9" fmla="*/ 1075669 h 3650283"/>
              <a:gd name="connsiteX10" fmla="*/ 525516 w 2065841"/>
              <a:gd name="connsiteY10" fmla="*/ 1010645 h 3650283"/>
              <a:gd name="connsiteX11" fmla="*/ 509260 w 2065841"/>
              <a:gd name="connsiteY11" fmla="*/ 949685 h 3650283"/>
              <a:gd name="connsiteX12" fmla="*/ 513324 w 2065841"/>
              <a:gd name="connsiteY12" fmla="*/ 864341 h 3650283"/>
              <a:gd name="connsiteX13" fmla="*/ 541772 w 2065841"/>
              <a:gd name="connsiteY13" fmla="*/ 783061 h 3650283"/>
              <a:gd name="connsiteX14" fmla="*/ 578348 w 2065841"/>
              <a:gd name="connsiteY14" fmla="*/ 730229 h 3650283"/>
              <a:gd name="connsiteX15" fmla="*/ 635244 w 2065841"/>
              <a:gd name="connsiteY15" fmla="*/ 665205 h 3650283"/>
              <a:gd name="connsiteX16" fmla="*/ 688076 w 2065841"/>
              <a:gd name="connsiteY16" fmla="*/ 600181 h 3650283"/>
              <a:gd name="connsiteX17" fmla="*/ 769356 w 2065841"/>
              <a:gd name="connsiteY17" fmla="*/ 522965 h 3650283"/>
              <a:gd name="connsiteX18" fmla="*/ 870956 w 2065841"/>
              <a:gd name="connsiteY18" fmla="*/ 437621 h 3650283"/>
              <a:gd name="connsiteX19" fmla="*/ 984748 w 2065841"/>
              <a:gd name="connsiteY19" fmla="*/ 352277 h 3650283"/>
              <a:gd name="connsiteX20" fmla="*/ 1112415 w 2065841"/>
              <a:gd name="connsiteY20" fmla="*/ 263567 h 3650283"/>
              <a:gd name="connsiteX21" fmla="*/ 1285484 w 2065841"/>
              <a:gd name="connsiteY21" fmla="*/ 157205 h 3650283"/>
              <a:gd name="connsiteX22" fmla="*/ 1425343 w 2065841"/>
              <a:gd name="connsiteY22" fmla="*/ 85736 h 3650283"/>
              <a:gd name="connsiteX23" fmla="*/ 1536754 w 2065841"/>
              <a:gd name="connsiteY23" fmla="*/ 37952 h 3650283"/>
              <a:gd name="connsiteX24" fmla="*/ 1628543 w 2065841"/>
              <a:gd name="connsiteY24" fmla="*/ 11187 h 3650283"/>
              <a:gd name="connsiteX25" fmla="*/ 1702394 w 2065841"/>
              <a:gd name="connsiteY25" fmla="*/ 1375 h 3650283"/>
              <a:gd name="connsiteX26" fmla="*/ 1771196 w 2065841"/>
              <a:gd name="connsiteY26" fmla="*/ 1090 h 3650283"/>
              <a:gd name="connsiteX27" fmla="*/ 1830060 w 2065841"/>
              <a:gd name="connsiteY27" fmla="*/ 10901 h 3650283"/>
              <a:gd name="connsiteX28" fmla="*/ 1905308 w 2065841"/>
              <a:gd name="connsiteY28" fmla="*/ 41031 h 3650283"/>
              <a:gd name="connsiteX29" fmla="*/ 1968236 w 2065841"/>
              <a:gd name="connsiteY29" fmla="*/ 96245 h 3650283"/>
              <a:gd name="connsiteX30" fmla="*/ 2005511 w 2065841"/>
              <a:gd name="connsiteY30" fmla="*/ 144314 h 3650283"/>
              <a:gd name="connsiteX31" fmla="*/ 2042784 w 2065841"/>
              <a:gd name="connsiteY31" fmla="*/ 214101 h 3650283"/>
              <a:gd name="connsiteX32" fmla="*/ 2056660 w 2065841"/>
              <a:gd name="connsiteY32" fmla="*/ 276744 h 3650283"/>
              <a:gd name="connsiteX33" fmla="*/ 2065772 w 2065841"/>
              <a:gd name="connsiteY33" fmla="*/ 352277 h 3650283"/>
              <a:gd name="connsiteX34" fmla="*/ 2060025 w 2065841"/>
              <a:gd name="connsiteY34" fmla="*/ 430191 h 3650283"/>
              <a:gd name="connsiteX35" fmla="*/ 2045452 w 2065841"/>
              <a:gd name="connsiteY35" fmla="*/ 502645 h 3650283"/>
              <a:gd name="connsiteX36" fmla="*/ 2012940 w 2065841"/>
              <a:gd name="connsiteY36" fmla="*/ 612373 h 3650283"/>
              <a:gd name="connsiteX37" fmla="*/ 1960108 w 2065841"/>
              <a:gd name="connsiteY37" fmla="*/ 754613 h 3650283"/>
              <a:gd name="connsiteX38" fmla="*/ 1903212 w 2065841"/>
              <a:gd name="connsiteY38" fmla="*/ 887740 h 3650283"/>
              <a:gd name="connsiteX39" fmla="*/ 1830060 w 2065841"/>
              <a:gd name="connsiteY39" fmla="*/ 1035029 h 3650283"/>
              <a:gd name="connsiteX40" fmla="*/ 1748780 w 2065841"/>
              <a:gd name="connsiteY40" fmla="*/ 1177269 h 3650283"/>
              <a:gd name="connsiteX41" fmla="*/ 1646481 w 2065841"/>
              <a:gd name="connsiteY41" fmla="*/ 1353703 h 3650283"/>
              <a:gd name="connsiteX42" fmla="*/ 1537452 w 2065841"/>
              <a:gd name="connsiteY42" fmla="*/ 1518645 h 3650283"/>
              <a:gd name="connsiteX43" fmla="*/ 1357239 w 2065841"/>
              <a:gd name="connsiteY43" fmla="*/ 1782805 h 3650283"/>
              <a:gd name="connsiteX44" fmla="*/ 1227889 w 2065841"/>
              <a:gd name="connsiteY44" fmla="*/ 1961621 h 3650283"/>
              <a:gd name="connsiteX45" fmla="*/ 1045708 w 2065841"/>
              <a:gd name="connsiteY45" fmla="*/ 2201397 h 3650283"/>
              <a:gd name="connsiteX46" fmla="*/ 883148 w 2065841"/>
              <a:gd name="connsiteY46" fmla="*/ 2412725 h 3650283"/>
              <a:gd name="connsiteX47" fmla="*/ 533644 w 2065841"/>
              <a:gd name="connsiteY47" fmla="*/ 2867893 h 3650283"/>
              <a:gd name="connsiteX48" fmla="*/ 301012 w 2065841"/>
              <a:gd name="connsiteY48" fmla="*/ 3180821 h 3650283"/>
              <a:gd name="connsiteX49" fmla="*/ 0 w 2065841"/>
              <a:gd name="connsiteY49" fmla="*/ 3650283 h 3650283"/>
              <a:gd name="connsiteX0" fmla="*/ 651500 w 2065841"/>
              <a:gd name="connsiteY0" fmla="*/ 510773 h 3650283"/>
              <a:gd name="connsiteX1" fmla="*/ 728716 w 2065841"/>
              <a:gd name="connsiteY1" fmla="*/ 648949 h 3650283"/>
              <a:gd name="connsiteX2" fmla="*/ 783930 w 2065841"/>
              <a:gd name="connsiteY2" fmla="*/ 756296 h 3650283"/>
              <a:gd name="connsiteX3" fmla="*/ 826252 w 2065841"/>
              <a:gd name="connsiteY3" fmla="*/ 856213 h 3650283"/>
              <a:gd name="connsiteX4" fmla="*/ 838444 w 2065841"/>
              <a:gd name="connsiteY4" fmla="*/ 970005 h 3650283"/>
              <a:gd name="connsiteX5" fmla="*/ 811394 w 2065841"/>
              <a:gd name="connsiteY5" fmla="*/ 1040490 h 3650283"/>
              <a:gd name="connsiteX6" fmla="*/ 761640 w 2065841"/>
              <a:gd name="connsiteY6" fmla="*/ 1082115 h 3650283"/>
              <a:gd name="connsiteX7" fmla="*/ 700268 w 2065841"/>
              <a:gd name="connsiteY7" fmla="*/ 1104117 h 3650283"/>
              <a:gd name="connsiteX8" fmla="*/ 631180 w 2065841"/>
              <a:gd name="connsiteY8" fmla="*/ 1100053 h 3650283"/>
              <a:gd name="connsiteX9" fmla="*/ 578348 w 2065841"/>
              <a:gd name="connsiteY9" fmla="*/ 1075669 h 3650283"/>
              <a:gd name="connsiteX10" fmla="*/ 525516 w 2065841"/>
              <a:gd name="connsiteY10" fmla="*/ 1010645 h 3650283"/>
              <a:gd name="connsiteX11" fmla="*/ 509260 w 2065841"/>
              <a:gd name="connsiteY11" fmla="*/ 949685 h 3650283"/>
              <a:gd name="connsiteX12" fmla="*/ 513324 w 2065841"/>
              <a:gd name="connsiteY12" fmla="*/ 864341 h 3650283"/>
              <a:gd name="connsiteX13" fmla="*/ 541772 w 2065841"/>
              <a:gd name="connsiteY13" fmla="*/ 783061 h 3650283"/>
              <a:gd name="connsiteX14" fmla="*/ 578348 w 2065841"/>
              <a:gd name="connsiteY14" fmla="*/ 730229 h 3650283"/>
              <a:gd name="connsiteX15" fmla="*/ 635244 w 2065841"/>
              <a:gd name="connsiteY15" fmla="*/ 665205 h 3650283"/>
              <a:gd name="connsiteX16" fmla="*/ 688076 w 2065841"/>
              <a:gd name="connsiteY16" fmla="*/ 600181 h 3650283"/>
              <a:gd name="connsiteX17" fmla="*/ 769356 w 2065841"/>
              <a:gd name="connsiteY17" fmla="*/ 522965 h 3650283"/>
              <a:gd name="connsiteX18" fmla="*/ 870956 w 2065841"/>
              <a:gd name="connsiteY18" fmla="*/ 437621 h 3650283"/>
              <a:gd name="connsiteX19" fmla="*/ 984748 w 2065841"/>
              <a:gd name="connsiteY19" fmla="*/ 352277 h 3650283"/>
              <a:gd name="connsiteX20" fmla="*/ 1112415 w 2065841"/>
              <a:gd name="connsiteY20" fmla="*/ 263567 h 3650283"/>
              <a:gd name="connsiteX21" fmla="*/ 1285484 w 2065841"/>
              <a:gd name="connsiteY21" fmla="*/ 157205 h 3650283"/>
              <a:gd name="connsiteX22" fmla="*/ 1425343 w 2065841"/>
              <a:gd name="connsiteY22" fmla="*/ 85736 h 3650283"/>
              <a:gd name="connsiteX23" fmla="*/ 1536754 w 2065841"/>
              <a:gd name="connsiteY23" fmla="*/ 37952 h 3650283"/>
              <a:gd name="connsiteX24" fmla="*/ 1628543 w 2065841"/>
              <a:gd name="connsiteY24" fmla="*/ 11187 h 3650283"/>
              <a:gd name="connsiteX25" fmla="*/ 1702394 w 2065841"/>
              <a:gd name="connsiteY25" fmla="*/ 1375 h 3650283"/>
              <a:gd name="connsiteX26" fmla="*/ 1771196 w 2065841"/>
              <a:gd name="connsiteY26" fmla="*/ 1090 h 3650283"/>
              <a:gd name="connsiteX27" fmla="*/ 1830060 w 2065841"/>
              <a:gd name="connsiteY27" fmla="*/ 10901 h 3650283"/>
              <a:gd name="connsiteX28" fmla="*/ 1905308 w 2065841"/>
              <a:gd name="connsiteY28" fmla="*/ 41031 h 3650283"/>
              <a:gd name="connsiteX29" fmla="*/ 1968236 w 2065841"/>
              <a:gd name="connsiteY29" fmla="*/ 96245 h 3650283"/>
              <a:gd name="connsiteX30" fmla="*/ 2005511 w 2065841"/>
              <a:gd name="connsiteY30" fmla="*/ 144314 h 3650283"/>
              <a:gd name="connsiteX31" fmla="*/ 2042784 w 2065841"/>
              <a:gd name="connsiteY31" fmla="*/ 214101 h 3650283"/>
              <a:gd name="connsiteX32" fmla="*/ 2056660 w 2065841"/>
              <a:gd name="connsiteY32" fmla="*/ 276744 h 3650283"/>
              <a:gd name="connsiteX33" fmla="*/ 2065772 w 2065841"/>
              <a:gd name="connsiteY33" fmla="*/ 352277 h 3650283"/>
              <a:gd name="connsiteX34" fmla="*/ 2060025 w 2065841"/>
              <a:gd name="connsiteY34" fmla="*/ 430191 h 3650283"/>
              <a:gd name="connsiteX35" fmla="*/ 2045452 w 2065841"/>
              <a:gd name="connsiteY35" fmla="*/ 502645 h 3650283"/>
              <a:gd name="connsiteX36" fmla="*/ 2012940 w 2065841"/>
              <a:gd name="connsiteY36" fmla="*/ 612373 h 3650283"/>
              <a:gd name="connsiteX37" fmla="*/ 1960108 w 2065841"/>
              <a:gd name="connsiteY37" fmla="*/ 754613 h 3650283"/>
              <a:gd name="connsiteX38" fmla="*/ 1903212 w 2065841"/>
              <a:gd name="connsiteY38" fmla="*/ 887740 h 3650283"/>
              <a:gd name="connsiteX39" fmla="*/ 1830060 w 2065841"/>
              <a:gd name="connsiteY39" fmla="*/ 1035029 h 3650283"/>
              <a:gd name="connsiteX40" fmla="*/ 1748780 w 2065841"/>
              <a:gd name="connsiteY40" fmla="*/ 1177269 h 3650283"/>
              <a:gd name="connsiteX41" fmla="*/ 1646481 w 2065841"/>
              <a:gd name="connsiteY41" fmla="*/ 1353703 h 3650283"/>
              <a:gd name="connsiteX42" fmla="*/ 1537452 w 2065841"/>
              <a:gd name="connsiteY42" fmla="*/ 1518645 h 3650283"/>
              <a:gd name="connsiteX43" fmla="*/ 1357239 w 2065841"/>
              <a:gd name="connsiteY43" fmla="*/ 1782805 h 3650283"/>
              <a:gd name="connsiteX44" fmla="*/ 1227889 w 2065841"/>
              <a:gd name="connsiteY44" fmla="*/ 1961621 h 3650283"/>
              <a:gd name="connsiteX45" fmla="*/ 1045708 w 2065841"/>
              <a:gd name="connsiteY45" fmla="*/ 2201397 h 3650283"/>
              <a:gd name="connsiteX46" fmla="*/ 883148 w 2065841"/>
              <a:gd name="connsiteY46" fmla="*/ 2412725 h 3650283"/>
              <a:gd name="connsiteX47" fmla="*/ 533644 w 2065841"/>
              <a:gd name="connsiteY47" fmla="*/ 2867893 h 3650283"/>
              <a:gd name="connsiteX48" fmla="*/ 301012 w 2065841"/>
              <a:gd name="connsiteY48" fmla="*/ 3180821 h 3650283"/>
              <a:gd name="connsiteX49" fmla="*/ 0 w 2065841"/>
              <a:gd name="connsiteY49" fmla="*/ 3650283 h 3650283"/>
              <a:gd name="connsiteX0" fmla="*/ 640384 w 2054725"/>
              <a:gd name="connsiteY0" fmla="*/ 510773 h 3666960"/>
              <a:gd name="connsiteX1" fmla="*/ 717600 w 2054725"/>
              <a:gd name="connsiteY1" fmla="*/ 648949 h 3666960"/>
              <a:gd name="connsiteX2" fmla="*/ 772814 w 2054725"/>
              <a:gd name="connsiteY2" fmla="*/ 756296 h 3666960"/>
              <a:gd name="connsiteX3" fmla="*/ 815136 w 2054725"/>
              <a:gd name="connsiteY3" fmla="*/ 856213 h 3666960"/>
              <a:gd name="connsiteX4" fmla="*/ 827328 w 2054725"/>
              <a:gd name="connsiteY4" fmla="*/ 970005 h 3666960"/>
              <a:gd name="connsiteX5" fmla="*/ 800278 w 2054725"/>
              <a:gd name="connsiteY5" fmla="*/ 1040490 h 3666960"/>
              <a:gd name="connsiteX6" fmla="*/ 750524 w 2054725"/>
              <a:gd name="connsiteY6" fmla="*/ 1082115 h 3666960"/>
              <a:gd name="connsiteX7" fmla="*/ 689152 w 2054725"/>
              <a:gd name="connsiteY7" fmla="*/ 1104117 h 3666960"/>
              <a:gd name="connsiteX8" fmla="*/ 620064 w 2054725"/>
              <a:gd name="connsiteY8" fmla="*/ 1100053 h 3666960"/>
              <a:gd name="connsiteX9" fmla="*/ 567232 w 2054725"/>
              <a:gd name="connsiteY9" fmla="*/ 1075669 h 3666960"/>
              <a:gd name="connsiteX10" fmla="*/ 514400 w 2054725"/>
              <a:gd name="connsiteY10" fmla="*/ 1010645 h 3666960"/>
              <a:gd name="connsiteX11" fmla="*/ 498144 w 2054725"/>
              <a:gd name="connsiteY11" fmla="*/ 949685 h 3666960"/>
              <a:gd name="connsiteX12" fmla="*/ 502208 w 2054725"/>
              <a:gd name="connsiteY12" fmla="*/ 864341 h 3666960"/>
              <a:gd name="connsiteX13" fmla="*/ 530656 w 2054725"/>
              <a:gd name="connsiteY13" fmla="*/ 783061 h 3666960"/>
              <a:gd name="connsiteX14" fmla="*/ 567232 w 2054725"/>
              <a:gd name="connsiteY14" fmla="*/ 730229 h 3666960"/>
              <a:gd name="connsiteX15" fmla="*/ 624128 w 2054725"/>
              <a:gd name="connsiteY15" fmla="*/ 665205 h 3666960"/>
              <a:gd name="connsiteX16" fmla="*/ 676960 w 2054725"/>
              <a:gd name="connsiteY16" fmla="*/ 600181 h 3666960"/>
              <a:gd name="connsiteX17" fmla="*/ 758240 w 2054725"/>
              <a:gd name="connsiteY17" fmla="*/ 522965 h 3666960"/>
              <a:gd name="connsiteX18" fmla="*/ 859840 w 2054725"/>
              <a:gd name="connsiteY18" fmla="*/ 437621 h 3666960"/>
              <a:gd name="connsiteX19" fmla="*/ 973632 w 2054725"/>
              <a:gd name="connsiteY19" fmla="*/ 352277 h 3666960"/>
              <a:gd name="connsiteX20" fmla="*/ 1101299 w 2054725"/>
              <a:gd name="connsiteY20" fmla="*/ 263567 h 3666960"/>
              <a:gd name="connsiteX21" fmla="*/ 1274368 w 2054725"/>
              <a:gd name="connsiteY21" fmla="*/ 157205 h 3666960"/>
              <a:gd name="connsiteX22" fmla="*/ 1414227 w 2054725"/>
              <a:gd name="connsiteY22" fmla="*/ 85736 h 3666960"/>
              <a:gd name="connsiteX23" fmla="*/ 1525638 w 2054725"/>
              <a:gd name="connsiteY23" fmla="*/ 37952 h 3666960"/>
              <a:gd name="connsiteX24" fmla="*/ 1617427 w 2054725"/>
              <a:gd name="connsiteY24" fmla="*/ 11187 h 3666960"/>
              <a:gd name="connsiteX25" fmla="*/ 1691278 w 2054725"/>
              <a:gd name="connsiteY25" fmla="*/ 1375 h 3666960"/>
              <a:gd name="connsiteX26" fmla="*/ 1760080 w 2054725"/>
              <a:gd name="connsiteY26" fmla="*/ 1090 h 3666960"/>
              <a:gd name="connsiteX27" fmla="*/ 1818944 w 2054725"/>
              <a:gd name="connsiteY27" fmla="*/ 10901 h 3666960"/>
              <a:gd name="connsiteX28" fmla="*/ 1894192 w 2054725"/>
              <a:gd name="connsiteY28" fmla="*/ 41031 h 3666960"/>
              <a:gd name="connsiteX29" fmla="*/ 1957120 w 2054725"/>
              <a:gd name="connsiteY29" fmla="*/ 96245 h 3666960"/>
              <a:gd name="connsiteX30" fmla="*/ 1994395 w 2054725"/>
              <a:gd name="connsiteY30" fmla="*/ 144314 h 3666960"/>
              <a:gd name="connsiteX31" fmla="*/ 2031668 w 2054725"/>
              <a:gd name="connsiteY31" fmla="*/ 214101 h 3666960"/>
              <a:gd name="connsiteX32" fmla="*/ 2045544 w 2054725"/>
              <a:gd name="connsiteY32" fmla="*/ 276744 h 3666960"/>
              <a:gd name="connsiteX33" fmla="*/ 2054656 w 2054725"/>
              <a:gd name="connsiteY33" fmla="*/ 352277 h 3666960"/>
              <a:gd name="connsiteX34" fmla="*/ 2048909 w 2054725"/>
              <a:gd name="connsiteY34" fmla="*/ 430191 h 3666960"/>
              <a:gd name="connsiteX35" fmla="*/ 2034336 w 2054725"/>
              <a:gd name="connsiteY35" fmla="*/ 502645 h 3666960"/>
              <a:gd name="connsiteX36" fmla="*/ 2001824 w 2054725"/>
              <a:gd name="connsiteY36" fmla="*/ 612373 h 3666960"/>
              <a:gd name="connsiteX37" fmla="*/ 1948992 w 2054725"/>
              <a:gd name="connsiteY37" fmla="*/ 754613 h 3666960"/>
              <a:gd name="connsiteX38" fmla="*/ 1892096 w 2054725"/>
              <a:gd name="connsiteY38" fmla="*/ 887740 h 3666960"/>
              <a:gd name="connsiteX39" fmla="*/ 1818944 w 2054725"/>
              <a:gd name="connsiteY39" fmla="*/ 1035029 h 3666960"/>
              <a:gd name="connsiteX40" fmla="*/ 1737664 w 2054725"/>
              <a:gd name="connsiteY40" fmla="*/ 1177269 h 3666960"/>
              <a:gd name="connsiteX41" fmla="*/ 1635365 w 2054725"/>
              <a:gd name="connsiteY41" fmla="*/ 1353703 h 3666960"/>
              <a:gd name="connsiteX42" fmla="*/ 1526336 w 2054725"/>
              <a:gd name="connsiteY42" fmla="*/ 1518645 h 3666960"/>
              <a:gd name="connsiteX43" fmla="*/ 1346123 w 2054725"/>
              <a:gd name="connsiteY43" fmla="*/ 1782805 h 3666960"/>
              <a:gd name="connsiteX44" fmla="*/ 1216773 w 2054725"/>
              <a:gd name="connsiteY44" fmla="*/ 1961621 h 3666960"/>
              <a:gd name="connsiteX45" fmla="*/ 1034592 w 2054725"/>
              <a:gd name="connsiteY45" fmla="*/ 2201397 h 3666960"/>
              <a:gd name="connsiteX46" fmla="*/ 872032 w 2054725"/>
              <a:gd name="connsiteY46" fmla="*/ 2412725 h 3666960"/>
              <a:gd name="connsiteX47" fmla="*/ 522528 w 2054725"/>
              <a:gd name="connsiteY47" fmla="*/ 2867893 h 3666960"/>
              <a:gd name="connsiteX48" fmla="*/ 289896 w 2054725"/>
              <a:gd name="connsiteY48" fmla="*/ 3180821 h 3666960"/>
              <a:gd name="connsiteX49" fmla="*/ 0 w 2054725"/>
              <a:gd name="connsiteY49" fmla="*/ 3666960 h 3666960"/>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79477 w 2088079"/>
              <a:gd name="connsiteY43" fmla="*/ 1782805 h 3661402"/>
              <a:gd name="connsiteX44" fmla="*/ 1250127 w 2088079"/>
              <a:gd name="connsiteY44" fmla="*/ 1961621 h 3661402"/>
              <a:gd name="connsiteX45" fmla="*/ 1067946 w 2088079"/>
              <a:gd name="connsiteY45" fmla="*/ 2201397 h 3661402"/>
              <a:gd name="connsiteX46" fmla="*/ 905386 w 2088079"/>
              <a:gd name="connsiteY46" fmla="*/ 2412725 h 3661402"/>
              <a:gd name="connsiteX47" fmla="*/ 555882 w 2088079"/>
              <a:gd name="connsiteY47" fmla="*/ 2867893 h 3661402"/>
              <a:gd name="connsiteX48" fmla="*/ 323250 w 2088079"/>
              <a:gd name="connsiteY48" fmla="*/ 3180821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79477 w 2088079"/>
              <a:gd name="connsiteY43" fmla="*/ 1782805 h 3661402"/>
              <a:gd name="connsiteX44" fmla="*/ 1250127 w 2088079"/>
              <a:gd name="connsiteY44" fmla="*/ 1961621 h 3661402"/>
              <a:gd name="connsiteX45" fmla="*/ 1067946 w 2088079"/>
              <a:gd name="connsiteY45" fmla="*/ 2201397 h 3661402"/>
              <a:gd name="connsiteX46" fmla="*/ 905386 w 2088079"/>
              <a:gd name="connsiteY46" fmla="*/ 2412725 h 3661402"/>
              <a:gd name="connsiteX47" fmla="*/ 555882 w 2088079"/>
              <a:gd name="connsiteY47" fmla="*/ 2867893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79477 w 2088079"/>
              <a:gd name="connsiteY43" fmla="*/ 1782805 h 3661402"/>
              <a:gd name="connsiteX44" fmla="*/ 1250127 w 2088079"/>
              <a:gd name="connsiteY44" fmla="*/ 1961621 h 3661402"/>
              <a:gd name="connsiteX45" fmla="*/ 1067946 w 2088079"/>
              <a:gd name="connsiteY45" fmla="*/ 2201397 h 3661402"/>
              <a:gd name="connsiteX46" fmla="*/ 905386 w 2088079"/>
              <a:gd name="connsiteY46" fmla="*/ 2412725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79477 w 2088079"/>
              <a:gd name="connsiteY43" fmla="*/ 1782805 h 3661402"/>
              <a:gd name="connsiteX44" fmla="*/ 1250127 w 2088079"/>
              <a:gd name="connsiteY44" fmla="*/ 1961621 h 3661402"/>
              <a:gd name="connsiteX45" fmla="*/ 1067946 w 2088079"/>
              <a:gd name="connsiteY45" fmla="*/ 2201397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79477 w 2088079"/>
              <a:gd name="connsiteY43" fmla="*/ 1782805 h 3661402"/>
              <a:gd name="connsiteX44" fmla="*/ 1250127 w 2088079"/>
              <a:gd name="connsiteY44" fmla="*/ 1961621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79477 w 2088079"/>
              <a:gd name="connsiteY43" fmla="*/ 1782805 h 3661402"/>
              <a:gd name="connsiteX44" fmla="*/ 1266803 w 2088079"/>
              <a:gd name="connsiteY44" fmla="*/ 1933826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62800 w 2088079"/>
              <a:gd name="connsiteY43" fmla="*/ 1755012 h 3661402"/>
              <a:gd name="connsiteX44" fmla="*/ 1266803 w 2088079"/>
              <a:gd name="connsiteY44" fmla="*/ 1933826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62800 w 2088079"/>
              <a:gd name="connsiteY43" fmla="*/ 1755012 h 3661402"/>
              <a:gd name="connsiteX44" fmla="*/ 1239010 w 2088079"/>
              <a:gd name="connsiteY44" fmla="*/ 1933826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48574 w 2088079"/>
              <a:gd name="connsiteY42" fmla="*/ 1507529 h 3661402"/>
              <a:gd name="connsiteX43" fmla="*/ 1362800 w 2088079"/>
              <a:gd name="connsiteY43" fmla="*/ 1755012 h 3661402"/>
              <a:gd name="connsiteX44" fmla="*/ 1239010 w 2088079"/>
              <a:gd name="connsiteY44" fmla="*/ 1933826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52043 w 2088079"/>
              <a:gd name="connsiteY41" fmla="*/ 1348142 h 3661402"/>
              <a:gd name="connsiteX42" fmla="*/ 1548574 w 2088079"/>
              <a:gd name="connsiteY42" fmla="*/ 1507529 h 3661402"/>
              <a:gd name="connsiteX43" fmla="*/ 1362800 w 2088079"/>
              <a:gd name="connsiteY43" fmla="*/ 1755012 h 3661402"/>
              <a:gd name="connsiteX44" fmla="*/ 1239010 w 2088079"/>
              <a:gd name="connsiteY44" fmla="*/ 1933826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65456 w 2088079"/>
              <a:gd name="connsiteY40" fmla="*/ 1171710 h 3661402"/>
              <a:gd name="connsiteX41" fmla="*/ 1652043 w 2088079"/>
              <a:gd name="connsiteY41" fmla="*/ 1348142 h 3661402"/>
              <a:gd name="connsiteX42" fmla="*/ 1548574 w 2088079"/>
              <a:gd name="connsiteY42" fmla="*/ 1507529 h 3661402"/>
              <a:gd name="connsiteX43" fmla="*/ 1362800 w 2088079"/>
              <a:gd name="connsiteY43" fmla="*/ 1755012 h 3661402"/>
              <a:gd name="connsiteX44" fmla="*/ 1239010 w 2088079"/>
              <a:gd name="connsiteY44" fmla="*/ 1933826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00586 w 2088079"/>
              <a:gd name="connsiteY8" fmla="*/ 1075669 h 3661402"/>
              <a:gd name="connsiteX9" fmla="*/ 547754 w 2088079"/>
              <a:gd name="connsiteY9" fmla="*/ 1010645 h 3661402"/>
              <a:gd name="connsiteX10" fmla="*/ 531498 w 2088079"/>
              <a:gd name="connsiteY10" fmla="*/ 949685 h 3661402"/>
              <a:gd name="connsiteX11" fmla="*/ 535562 w 2088079"/>
              <a:gd name="connsiteY11" fmla="*/ 864341 h 3661402"/>
              <a:gd name="connsiteX12" fmla="*/ 564010 w 2088079"/>
              <a:gd name="connsiteY12" fmla="*/ 783061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28382 w 2088079"/>
              <a:gd name="connsiteY8" fmla="*/ 1075669 h 3661402"/>
              <a:gd name="connsiteX9" fmla="*/ 547754 w 2088079"/>
              <a:gd name="connsiteY9" fmla="*/ 1010645 h 3661402"/>
              <a:gd name="connsiteX10" fmla="*/ 531498 w 2088079"/>
              <a:gd name="connsiteY10" fmla="*/ 949685 h 3661402"/>
              <a:gd name="connsiteX11" fmla="*/ 535562 w 2088079"/>
              <a:gd name="connsiteY11" fmla="*/ 864341 h 3661402"/>
              <a:gd name="connsiteX12" fmla="*/ 564010 w 2088079"/>
              <a:gd name="connsiteY12" fmla="*/ 783061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28382 w 2088079"/>
              <a:gd name="connsiteY8" fmla="*/ 1075669 h 3661402"/>
              <a:gd name="connsiteX9" fmla="*/ 553313 w 2088079"/>
              <a:gd name="connsiteY9" fmla="*/ 993968 h 3661402"/>
              <a:gd name="connsiteX10" fmla="*/ 531498 w 2088079"/>
              <a:gd name="connsiteY10" fmla="*/ 949685 h 3661402"/>
              <a:gd name="connsiteX11" fmla="*/ 535562 w 2088079"/>
              <a:gd name="connsiteY11" fmla="*/ 864341 h 3661402"/>
              <a:gd name="connsiteX12" fmla="*/ 564010 w 2088079"/>
              <a:gd name="connsiteY12" fmla="*/ 783061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28382 w 2088079"/>
              <a:gd name="connsiteY8" fmla="*/ 1075669 h 3661402"/>
              <a:gd name="connsiteX9" fmla="*/ 553313 w 2088079"/>
              <a:gd name="connsiteY9" fmla="*/ 993968 h 3661402"/>
              <a:gd name="connsiteX10" fmla="*/ 542617 w 2088079"/>
              <a:gd name="connsiteY10" fmla="*/ 938566 h 3661402"/>
              <a:gd name="connsiteX11" fmla="*/ 535562 w 2088079"/>
              <a:gd name="connsiteY11" fmla="*/ 864341 h 3661402"/>
              <a:gd name="connsiteX12" fmla="*/ 564010 w 2088079"/>
              <a:gd name="connsiteY12" fmla="*/ 783061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28382 w 2088079"/>
              <a:gd name="connsiteY8" fmla="*/ 1075669 h 3661402"/>
              <a:gd name="connsiteX9" fmla="*/ 553313 w 2088079"/>
              <a:gd name="connsiteY9" fmla="*/ 993968 h 3661402"/>
              <a:gd name="connsiteX10" fmla="*/ 542617 w 2088079"/>
              <a:gd name="connsiteY10" fmla="*/ 938566 h 3661402"/>
              <a:gd name="connsiteX11" fmla="*/ 546681 w 2088079"/>
              <a:gd name="connsiteY11" fmla="*/ 864340 h 3661402"/>
              <a:gd name="connsiteX12" fmla="*/ 564010 w 2088079"/>
              <a:gd name="connsiteY12" fmla="*/ 783061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28382 w 2088079"/>
              <a:gd name="connsiteY8" fmla="*/ 1075669 h 3661402"/>
              <a:gd name="connsiteX9" fmla="*/ 553313 w 2088079"/>
              <a:gd name="connsiteY9" fmla="*/ 993968 h 3661402"/>
              <a:gd name="connsiteX10" fmla="*/ 542617 w 2088079"/>
              <a:gd name="connsiteY10" fmla="*/ 938566 h 3661402"/>
              <a:gd name="connsiteX11" fmla="*/ 546681 w 2088079"/>
              <a:gd name="connsiteY11" fmla="*/ 864340 h 3661402"/>
              <a:gd name="connsiteX12" fmla="*/ 575130 w 2088079"/>
              <a:gd name="connsiteY12" fmla="*/ 783062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28382 w 2088079"/>
              <a:gd name="connsiteY8" fmla="*/ 1075669 h 3661402"/>
              <a:gd name="connsiteX9" fmla="*/ 558871 w 2088079"/>
              <a:gd name="connsiteY9" fmla="*/ 993968 h 3661402"/>
              <a:gd name="connsiteX10" fmla="*/ 542617 w 2088079"/>
              <a:gd name="connsiteY10" fmla="*/ 938566 h 3661402"/>
              <a:gd name="connsiteX11" fmla="*/ 546681 w 2088079"/>
              <a:gd name="connsiteY11" fmla="*/ 864340 h 3661402"/>
              <a:gd name="connsiteX12" fmla="*/ 575130 w 2088079"/>
              <a:gd name="connsiteY12" fmla="*/ 783062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22506 w 2088079"/>
              <a:gd name="connsiteY6" fmla="*/ 1104117 h 3661402"/>
              <a:gd name="connsiteX7" fmla="*/ 628382 w 2088079"/>
              <a:gd name="connsiteY7" fmla="*/ 1075669 h 3661402"/>
              <a:gd name="connsiteX8" fmla="*/ 558871 w 2088079"/>
              <a:gd name="connsiteY8" fmla="*/ 993968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22506 w 2088079"/>
              <a:gd name="connsiteY6" fmla="*/ 1104117 h 3661402"/>
              <a:gd name="connsiteX7" fmla="*/ 628382 w 2088079"/>
              <a:gd name="connsiteY7" fmla="*/ 1075669 h 3661402"/>
              <a:gd name="connsiteX8" fmla="*/ 558871 w 2088079"/>
              <a:gd name="connsiteY8" fmla="*/ 993968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22506 w 2088079"/>
              <a:gd name="connsiteY6" fmla="*/ 1087441 h 3661402"/>
              <a:gd name="connsiteX7" fmla="*/ 628382 w 2088079"/>
              <a:gd name="connsiteY7" fmla="*/ 1075669 h 3661402"/>
              <a:gd name="connsiteX8" fmla="*/ 558871 w 2088079"/>
              <a:gd name="connsiteY8" fmla="*/ 993968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22506 w 2088079"/>
              <a:gd name="connsiteY6" fmla="*/ 1087441 h 3661402"/>
              <a:gd name="connsiteX7" fmla="*/ 650616 w 2088079"/>
              <a:gd name="connsiteY7" fmla="*/ 1064553 h 3661402"/>
              <a:gd name="connsiteX8" fmla="*/ 558871 w 2088079"/>
              <a:gd name="connsiteY8" fmla="*/ 993968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22506 w 2088079"/>
              <a:gd name="connsiteY6" fmla="*/ 1087441 h 3661402"/>
              <a:gd name="connsiteX7" fmla="*/ 633940 w 2088079"/>
              <a:gd name="connsiteY7" fmla="*/ 1075671 h 3661402"/>
              <a:gd name="connsiteX8" fmla="*/ 558871 w 2088079"/>
              <a:gd name="connsiteY8" fmla="*/ 993968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39183 w 2088079"/>
              <a:gd name="connsiteY6" fmla="*/ 1087441 h 3661402"/>
              <a:gd name="connsiteX7" fmla="*/ 633940 w 2088079"/>
              <a:gd name="connsiteY7" fmla="*/ 1075671 h 3661402"/>
              <a:gd name="connsiteX8" fmla="*/ 558871 w 2088079"/>
              <a:gd name="connsiteY8" fmla="*/ 993968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39183 w 2088079"/>
              <a:gd name="connsiteY6" fmla="*/ 1087441 h 3661402"/>
              <a:gd name="connsiteX7" fmla="*/ 633940 w 2088079"/>
              <a:gd name="connsiteY7" fmla="*/ 1075671 h 3661402"/>
              <a:gd name="connsiteX8" fmla="*/ 569987 w 2088079"/>
              <a:gd name="connsiteY8" fmla="*/ 1005087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39183 w 2088079"/>
              <a:gd name="connsiteY6" fmla="*/ 1087441 h 3661402"/>
              <a:gd name="connsiteX7" fmla="*/ 633940 w 2088079"/>
              <a:gd name="connsiteY7" fmla="*/ 1075671 h 3661402"/>
              <a:gd name="connsiteX8" fmla="*/ 569987 w 2088079"/>
              <a:gd name="connsiteY8" fmla="*/ 1005087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7 w 2088079"/>
              <a:gd name="connsiteY34" fmla="*/ 634607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39183 w 2088079"/>
              <a:gd name="connsiteY6" fmla="*/ 1087441 h 3661402"/>
              <a:gd name="connsiteX7" fmla="*/ 633940 w 2088079"/>
              <a:gd name="connsiteY7" fmla="*/ 1075671 h 3661402"/>
              <a:gd name="connsiteX8" fmla="*/ 569987 w 2088079"/>
              <a:gd name="connsiteY8" fmla="*/ 1005087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7 w 2088079"/>
              <a:gd name="connsiteY34" fmla="*/ 634607 h 3661402"/>
              <a:gd name="connsiteX35" fmla="*/ 1993462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39183 w 2088079"/>
              <a:gd name="connsiteY6" fmla="*/ 1087441 h 3661402"/>
              <a:gd name="connsiteX7" fmla="*/ 633940 w 2088079"/>
              <a:gd name="connsiteY7" fmla="*/ 1075671 h 3661402"/>
              <a:gd name="connsiteX8" fmla="*/ 569987 w 2088079"/>
              <a:gd name="connsiteY8" fmla="*/ 1005087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7 w 2088079"/>
              <a:gd name="connsiteY34" fmla="*/ 634607 h 3661402"/>
              <a:gd name="connsiteX35" fmla="*/ 1993462 w 2088079"/>
              <a:gd name="connsiteY35" fmla="*/ 754613 h 3661402"/>
              <a:gd name="connsiteX36" fmla="*/ 1931008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088079" h="3661402">
                <a:moveTo>
                  <a:pt x="673738" y="510773"/>
                </a:moveTo>
                <a:lnTo>
                  <a:pt x="750954" y="648949"/>
                </a:lnTo>
                <a:lnTo>
                  <a:pt x="806168" y="756296"/>
                </a:lnTo>
                <a:cubicBezTo>
                  <a:pt x="822424" y="794904"/>
                  <a:pt x="839404" y="820595"/>
                  <a:pt x="848490" y="856213"/>
                </a:cubicBezTo>
                <a:cubicBezTo>
                  <a:pt x="857576" y="891831"/>
                  <a:pt x="864085" y="940219"/>
                  <a:pt x="860682" y="970005"/>
                </a:cubicBezTo>
                <a:cubicBezTo>
                  <a:pt x="857279" y="999792"/>
                  <a:pt x="848323" y="1015359"/>
                  <a:pt x="828073" y="1034932"/>
                </a:cubicBezTo>
                <a:cubicBezTo>
                  <a:pt x="807823" y="1054505"/>
                  <a:pt x="771539" y="1080651"/>
                  <a:pt x="739183" y="1087441"/>
                </a:cubicBezTo>
                <a:cubicBezTo>
                  <a:pt x="706828" y="1094231"/>
                  <a:pt x="663065" y="1091250"/>
                  <a:pt x="633940" y="1075671"/>
                </a:cubicBezTo>
                <a:cubicBezTo>
                  <a:pt x="604815" y="1060092"/>
                  <a:pt x="585207" y="1027938"/>
                  <a:pt x="569987" y="1005087"/>
                </a:cubicBezTo>
                <a:cubicBezTo>
                  <a:pt x="554767" y="982236"/>
                  <a:pt x="546501" y="962024"/>
                  <a:pt x="542617" y="938566"/>
                </a:cubicBezTo>
                <a:cubicBezTo>
                  <a:pt x="538733" y="915108"/>
                  <a:pt x="541262" y="890257"/>
                  <a:pt x="546681" y="864340"/>
                </a:cubicBezTo>
                <a:cubicBezTo>
                  <a:pt x="552100" y="838423"/>
                  <a:pt x="564293" y="805414"/>
                  <a:pt x="575130" y="783062"/>
                </a:cubicBezTo>
                <a:lnTo>
                  <a:pt x="600586" y="730229"/>
                </a:lnTo>
                <a:lnTo>
                  <a:pt x="657482" y="665205"/>
                </a:lnTo>
                <a:lnTo>
                  <a:pt x="710314" y="600181"/>
                </a:lnTo>
                <a:lnTo>
                  <a:pt x="791594" y="522965"/>
                </a:lnTo>
                <a:lnTo>
                  <a:pt x="893194" y="437621"/>
                </a:lnTo>
                <a:lnTo>
                  <a:pt x="1006986" y="352277"/>
                </a:lnTo>
                <a:lnTo>
                  <a:pt x="1134653" y="263567"/>
                </a:lnTo>
                <a:lnTo>
                  <a:pt x="1307722" y="157205"/>
                </a:lnTo>
                <a:lnTo>
                  <a:pt x="1447581" y="85736"/>
                </a:lnTo>
                <a:lnTo>
                  <a:pt x="1558992" y="37952"/>
                </a:lnTo>
                <a:cubicBezTo>
                  <a:pt x="1592462" y="25924"/>
                  <a:pt x="1623174" y="17283"/>
                  <a:pt x="1650781" y="11187"/>
                </a:cubicBezTo>
                <a:cubicBezTo>
                  <a:pt x="1678388" y="5091"/>
                  <a:pt x="1700857" y="3058"/>
                  <a:pt x="1724632" y="1375"/>
                </a:cubicBezTo>
                <a:cubicBezTo>
                  <a:pt x="1748407" y="-308"/>
                  <a:pt x="1772156" y="-498"/>
                  <a:pt x="1793434" y="1090"/>
                </a:cubicBezTo>
                <a:cubicBezTo>
                  <a:pt x="1814712" y="2678"/>
                  <a:pt x="1829946" y="3450"/>
                  <a:pt x="1852298" y="10901"/>
                </a:cubicBezTo>
                <a:cubicBezTo>
                  <a:pt x="1877381" y="20944"/>
                  <a:pt x="1909607" y="26225"/>
                  <a:pt x="1927546" y="41031"/>
                </a:cubicBezTo>
                <a:cubicBezTo>
                  <a:pt x="1945485" y="55837"/>
                  <a:pt x="1973774" y="79031"/>
                  <a:pt x="1990474" y="96245"/>
                </a:cubicBezTo>
                <a:cubicBezTo>
                  <a:pt x="2007174" y="113459"/>
                  <a:pt x="2016912" y="124671"/>
                  <a:pt x="2027749" y="144314"/>
                </a:cubicBezTo>
                <a:lnTo>
                  <a:pt x="2065022" y="214101"/>
                </a:lnTo>
                <a:lnTo>
                  <a:pt x="2078898" y="276744"/>
                </a:lnTo>
                <a:cubicBezTo>
                  <a:pt x="2084317" y="299773"/>
                  <a:pt x="2087449" y="326703"/>
                  <a:pt x="2088010" y="352277"/>
                </a:cubicBezTo>
                <a:cubicBezTo>
                  <a:pt x="2088571" y="377851"/>
                  <a:pt x="2085650" y="405130"/>
                  <a:pt x="2082263" y="430191"/>
                </a:cubicBezTo>
                <a:lnTo>
                  <a:pt x="2067690" y="502645"/>
                </a:lnTo>
                <a:lnTo>
                  <a:pt x="2035177" y="634607"/>
                </a:lnTo>
                <a:lnTo>
                  <a:pt x="1993462" y="754613"/>
                </a:lnTo>
                <a:lnTo>
                  <a:pt x="1931008" y="887740"/>
                </a:lnTo>
                <a:lnTo>
                  <a:pt x="1852298" y="1035029"/>
                </a:lnTo>
                <a:lnTo>
                  <a:pt x="1765456" y="1171710"/>
                </a:lnTo>
                <a:lnTo>
                  <a:pt x="1652043" y="1348142"/>
                </a:lnTo>
                <a:lnTo>
                  <a:pt x="1548574" y="1507529"/>
                </a:lnTo>
                <a:lnTo>
                  <a:pt x="1362800" y="1755012"/>
                </a:lnTo>
                <a:lnTo>
                  <a:pt x="1239010" y="1933826"/>
                </a:lnTo>
                <a:cubicBezTo>
                  <a:pt x="1178283" y="2013751"/>
                  <a:pt x="1117993" y="2098419"/>
                  <a:pt x="1062389" y="2173603"/>
                </a:cubicBezTo>
                <a:cubicBezTo>
                  <a:pt x="1006785" y="2248787"/>
                  <a:pt x="991657" y="2274776"/>
                  <a:pt x="905386" y="2384932"/>
                </a:cubicBezTo>
                <a:cubicBezTo>
                  <a:pt x="819115" y="2495088"/>
                  <a:pt x="645492" y="2703747"/>
                  <a:pt x="544764" y="2834542"/>
                </a:cubicBezTo>
                <a:cubicBezTo>
                  <a:pt x="444036" y="2965337"/>
                  <a:pt x="378560" y="3065394"/>
                  <a:pt x="301016" y="3169703"/>
                </a:cubicBezTo>
                <a:cubicBezTo>
                  <a:pt x="200679" y="3326190"/>
                  <a:pt x="72541" y="3499357"/>
                  <a:pt x="0" y="3661402"/>
                </a:cubicBezTo>
              </a:path>
            </a:pathLst>
          </a:custGeom>
          <a:noFill/>
          <a:ln w="88900" cap="rnd"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p:cNvSpPr txBox="1"/>
          <p:nvPr/>
        </p:nvSpPr>
        <p:spPr>
          <a:xfrm>
            <a:off x="4350439" y="3430276"/>
            <a:ext cx="1830925" cy="7010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14286">
              <a:defRPr/>
            </a:pPr>
            <a:r>
              <a:rPr lang="en-US" sz="2100" dirty="0">
                <a:solidFill>
                  <a:srgbClr val="29BA74"/>
                </a:solidFill>
                <a:sym typeface="Trebuchet MS" panose="020B0603020202020204" pitchFamily="34" charset="0"/>
              </a:rPr>
              <a:t>INSPIRE AND EMPOWER YOUR</a:t>
            </a:r>
            <a:br>
              <a:rPr lang="en-US" sz="2100" dirty="0">
                <a:solidFill>
                  <a:srgbClr val="29BA74"/>
                </a:solidFill>
                <a:sym typeface="Trebuchet MS" panose="020B0603020202020204" pitchFamily="34" charset="0"/>
              </a:rPr>
            </a:br>
            <a:r>
              <a:rPr lang="en-US" sz="2100" dirty="0">
                <a:solidFill>
                  <a:srgbClr val="29BA74"/>
                </a:solidFill>
                <a:sym typeface="Trebuchet MS" panose="020B0603020202020204" pitchFamily="34" charset="0"/>
              </a:rPr>
              <a:t>PEOPLE</a:t>
            </a:r>
          </a:p>
        </p:txBody>
      </p:sp>
      <p:sp>
        <p:nvSpPr>
          <p:cNvPr id="45" name="Rectangle 44"/>
          <p:cNvSpPr/>
          <p:nvPr/>
        </p:nvSpPr>
        <p:spPr>
          <a:xfrm>
            <a:off x="6357749" y="3166427"/>
            <a:ext cx="1684420" cy="923330"/>
          </a:xfrm>
          <a:prstGeom prst="rect">
            <a:avLst/>
          </a:prstGeom>
          <a:solidFill>
            <a:srgbClr val="F2F2F2"/>
          </a:solidFill>
        </p:spPr>
        <p:txBody>
          <a:bodyPr vert="horz" wrap="square" lIns="45720" tIns="45720" rIns="45720" bIns="45720">
            <a:spAutoFit/>
          </a:bodyPr>
          <a:lstStyle/>
          <a:p>
            <a:pPr marL="108000" lvl="1" algn="ctr" defTabSz="914286">
              <a:buClr>
                <a:schemeClr val="tx2">
                  <a:lumMod val="100000"/>
                </a:schemeClr>
              </a:buClr>
              <a:buSzPct val="100000"/>
              <a:defRPr/>
            </a:pPr>
            <a:r>
              <a:rPr lang="en-US" dirty="0">
                <a:solidFill>
                  <a:schemeClr val="tx1">
                    <a:lumMod val="100000"/>
                  </a:schemeClr>
                </a:solidFill>
                <a:latin typeface="Trebuchet MS" panose="020B0603020202020204" pitchFamily="34" charset="0"/>
                <a:ea typeface="+mj-ea"/>
                <a:cs typeface="+mj-cs"/>
                <a:sym typeface="Trebuchet MS" panose="020B0603020202020204" pitchFamily="34" charset="0"/>
              </a:rPr>
              <a:t>Lead with head, heart, and hands </a:t>
            </a:r>
          </a:p>
        </p:txBody>
      </p:sp>
      <p:sp>
        <p:nvSpPr>
          <p:cNvPr id="46" name="TextBox 45"/>
          <p:cNvSpPr txBox="1"/>
          <p:nvPr/>
        </p:nvSpPr>
        <p:spPr>
          <a:xfrm>
            <a:off x="8105611" y="5205848"/>
            <a:ext cx="2389416" cy="1200329"/>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108000" lvl="1" algn="ctr" defTabSz="914286">
              <a:buClr>
                <a:schemeClr val="tx2">
                  <a:lumMod val="100000"/>
                </a:schemeClr>
              </a:buClr>
              <a:buSzPct val="100000"/>
              <a:defRPr/>
            </a:pPr>
            <a:r>
              <a:rPr lang="en-US" dirty="0">
                <a:solidFill>
                  <a:schemeClr val="tx1">
                    <a:lumMod val="100000"/>
                  </a:schemeClr>
                </a:solidFill>
                <a:latin typeface="Trebuchet MS" panose="020B0603020202020204" pitchFamily="34" charset="0"/>
                <a:sym typeface="Trebuchet MS" panose="020B0603020202020204" pitchFamily="34" charset="0"/>
              </a:rPr>
              <a:t>Demonstrate care for people whose lives are being disrupted</a:t>
            </a:r>
          </a:p>
        </p:txBody>
      </p:sp>
      <p:sp>
        <p:nvSpPr>
          <p:cNvPr id="47" name="TextBox 46"/>
          <p:cNvSpPr txBox="1"/>
          <p:nvPr/>
        </p:nvSpPr>
        <p:spPr>
          <a:xfrm>
            <a:off x="10180320" y="2959933"/>
            <a:ext cx="2011680" cy="1477328"/>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108000" lvl="1" algn="ctr" defTabSz="914286">
              <a:buClr>
                <a:schemeClr val="tx2">
                  <a:lumMod val="100000"/>
                </a:schemeClr>
              </a:buClr>
              <a:buSzPct val="100000"/>
              <a:defRPr/>
            </a:pPr>
            <a:r>
              <a:rPr lang="en-US" dirty="0">
                <a:solidFill>
                  <a:schemeClr val="tx1">
                    <a:lumMod val="100000"/>
                  </a:schemeClr>
                </a:solidFill>
                <a:latin typeface="Trebuchet MS" panose="020B0603020202020204" pitchFamily="34" charset="0"/>
                <a:sym typeface="Trebuchet MS" panose="020B0603020202020204" pitchFamily="34" charset="0"/>
              </a:rPr>
              <a:t>Create an empowering culture where people can do their best work </a:t>
            </a:r>
          </a:p>
        </p:txBody>
      </p:sp>
      <p:sp>
        <p:nvSpPr>
          <p:cNvPr id="48" name="TextBox 47"/>
          <p:cNvSpPr txBox="1"/>
          <p:nvPr/>
        </p:nvSpPr>
        <p:spPr>
          <a:xfrm>
            <a:off x="8038995" y="1296930"/>
            <a:ext cx="2405718" cy="1200329"/>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108000" lvl="1" algn="ctr" defTabSz="914286">
              <a:buClr>
                <a:schemeClr val="tx2">
                  <a:lumMod val="100000"/>
                </a:schemeClr>
              </a:buClr>
              <a:buSzPct val="100000"/>
              <a:defRPr/>
            </a:pPr>
            <a:r>
              <a:rPr lang="en-US" dirty="0">
                <a:solidFill>
                  <a:srgbClr val="575757"/>
                </a:solidFill>
              </a:rPr>
              <a:t>Activate purpose to </a:t>
            </a:r>
            <a:br>
              <a:rPr lang="en-US" dirty="0">
                <a:solidFill>
                  <a:srgbClr val="575757"/>
                </a:solidFill>
              </a:rPr>
            </a:br>
            <a:r>
              <a:rPr lang="en-US" dirty="0">
                <a:solidFill>
                  <a:srgbClr val="575757"/>
                </a:solidFill>
              </a:rPr>
              <a:t>inspire employees and change the world</a:t>
            </a:r>
          </a:p>
        </p:txBody>
      </p:sp>
      <p:grpSp>
        <p:nvGrpSpPr>
          <p:cNvPr id="49" name="Group 48"/>
          <p:cNvGrpSpPr>
            <a:grpSpLocks noChangeAspect="1"/>
          </p:cNvGrpSpPr>
          <p:nvPr/>
        </p:nvGrpSpPr>
        <p:grpSpPr>
          <a:xfrm>
            <a:off x="8813393" y="4374324"/>
            <a:ext cx="975344" cy="974400"/>
            <a:chOff x="5273675" y="2606675"/>
            <a:chExt cx="1646238" cy="1644650"/>
          </a:xfrm>
        </p:grpSpPr>
        <p:sp>
          <p:nvSpPr>
            <p:cNvPr id="50"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1" name="Group 50"/>
            <p:cNvGrpSpPr/>
            <p:nvPr/>
          </p:nvGrpSpPr>
          <p:grpSpPr>
            <a:xfrm>
              <a:off x="5540375" y="2873375"/>
              <a:ext cx="1112973" cy="1103313"/>
              <a:chOff x="5540375" y="2873375"/>
              <a:chExt cx="1112973" cy="1103313"/>
            </a:xfrm>
          </p:grpSpPr>
          <p:sp>
            <p:nvSpPr>
              <p:cNvPr id="52" name="Freeform 5"/>
              <p:cNvSpPr>
                <a:spLocks/>
              </p:cNvSpPr>
              <p:nvPr/>
            </p:nvSpPr>
            <p:spPr bwMode="auto">
              <a:xfrm>
                <a:off x="5889625" y="2873375"/>
                <a:ext cx="709613" cy="584200"/>
              </a:xfrm>
              <a:custGeom>
                <a:avLst/>
                <a:gdLst>
                  <a:gd name="T0" fmla="*/ 560 w 992"/>
                  <a:gd name="T1" fmla="*/ 819 h 819"/>
                  <a:gd name="T2" fmla="*/ 553 w 992"/>
                  <a:gd name="T3" fmla="*/ 681 h 819"/>
                  <a:gd name="T4" fmla="*/ 554 w 992"/>
                  <a:gd name="T5" fmla="*/ 525 h 819"/>
                  <a:gd name="T6" fmla="*/ 577 w 992"/>
                  <a:gd name="T7" fmla="*/ 392 h 819"/>
                  <a:gd name="T8" fmla="*/ 679 w 992"/>
                  <a:gd name="T9" fmla="*/ 228 h 819"/>
                  <a:gd name="T10" fmla="*/ 744 w 992"/>
                  <a:gd name="T11" fmla="*/ 181 h 819"/>
                  <a:gd name="T12" fmla="*/ 754 w 992"/>
                  <a:gd name="T13" fmla="*/ 194 h 819"/>
                  <a:gd name="T14" fmla="*/ 622 w 992"/>
                  <a:gd name="T15" fmla="*/ 478 h 819"/>
                  <a:gd name="T16" fmla="*/ 632 w 992"/>
                  <a:gd name="T17" fmla="*/ 487 h 819"/>
                  <a:gd name="T18" fmla="*/ 992 w 992"/>
                  <a:gd name="T19" fmla="*/ 9 h 819"/>
                  <a:gd name="T20" fmla="*/ 982 w 992"/>
                  <a:gd name="T21" fmla="*/ 0 h 819"/>
                  <a:gd name="T22" fmla="*/ 485 w 992"/>
                  <a:gd name="T23" fmla="*/ 430 h 819"/>
                  <a:gd name="T24" fmla="*/ 469 w 992"/>
                  <a:gd name="T25" fmla="*/ 434 h 819"/>
                  <a:gd name="T26" fmla="*/ 8 w 992"/>
                  <a:gd name="T27" fmla="*/ 255 h 819"/>
                  <a:gd name="T28" fmla="*/ 0 w 992"/>
                  <a:gd name="T29" fmla="*/ 265 h 819"/>
                  <a:gd name="T30" fmla="*/ 384 w 992"/>
                  <a:gd name="T31" fmla="*/ 650 h 819"/>
                  <a:gd name="T32" fmla="*/ 392 w 992"/>
                  <a:gd name="T33" fmla="*/ 642 h 819"/>
                  <a:gd name="T34" fmla="*/ 283 w 992"/>
                  <a:gd name="T35" fmla="*/ 427 h 819"/>
                  <a:gd name="T36" fmla="*/ 293 w 992"/>
                  <a:gd name="T37" fmla="*/ 413 h 819"/>
                  <a:gd name="T38" fmla="*/ 460 w 992"/>
                  <a:gd name="T39" fmla="*/ 767 h 819"/>
                  <a:gd name="T40" fmla="*/ 460 w 992"/>
                  <a:gd name="T41" fmla="*/ 803 h 819"/>
                  <a:gd name="T42" fmla="*/ 508 w 992"/>
                  <a:gd name="T43" fmla="*/ 806 h 819"/>
                  <a:gd name="T44" fmla="*/ 560 w 992"/>
                  <a:gd name="T45" fmla="*/ 819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2" h="819">
                    <a:moveTo>
                      <a:pt x="560" y="819"/>
                    </a:moveTo>
                    <a:cubicBezTo>
                      <a:pt x="566" y="775"/>
                      <a:pt x="556" y="714"/>
                      <a:pt x="553" y="681"/>
                    </a:cubicBezTo>
                    <a:cubicBezTo>
                      <a:pt x="550" y="629"/>
                      <a:pt x="551" y="577"/>
                      <a:pt x="554" y="525"/>
                    </a:cubicBezTo>
                    <a:cubicBezTo>
                      <a:pt x="556" y="480"/>
                      <a:pt x="563" y="435"/>
                      <a:pt x="577" y="392"/>
                    </a:cubicBezTo>
                    <a:cubicBezTo>
                      <a:pt x="597" y="330"/>
                      <a:pt x="631" y="272"/>
                      <a:pt x="679" y="228"/>
                    </a:cubicBezTo>
                    <a:cubicBezTo>
                      <a:pt x="698" y="210"/>
                      <a:pt x="721" y="194"/>
                      <a:pt x="744" y="181"/>
                    </a:cubicBezTo>
                    <a:cubicBezTo>
                      <a:pt x="752" y="176"/>
                      <a:pt x="760" y="187"/>
                      <a:pt x="754" y="194"/>
                    </a:cubicBezTo>
                    <a:cubicBezTo>
                      <a:pt x="642" y="323"/>
                      <a:pt x="625" y="444"/>
                      <a:pt x="622" y="478"/>
                    </a:cubicBezTo>
                    <a:cubicBezTo>
                      <a:pt x="622" y="483"/>
                      <a:pt x="627" y="487"/>
                      <a:pt x="632" y="487"/>
                    </a:cubicBezTo>
                    <a:cubicBezTo>
                      <a:pt x="983" y="481"/>
                      <a:pt x="992" y="73"/>
                      <a:pt x="992" y="9"/>
                    </a:cubicBezTo>
                    <a:cubicBezTo>
                      <a:pt x="991" y="4"/>
                      <a:pt x="987" y="0"/>
                      <a:pt x="982" y="0"/>
                    </a:cubicBezTo>
                    <a:cubicBezTo>
                      <a:pt x="558" y="4"/>
                      <a:pt x="494" y="260"/>
                      <a:pt x="485" y="430"/>
                    </a:cubicBezTo>
                    <a:cubicBezTo>
                      <a:pt x="485" y="439"/>
                      <a:pt x="473" y="441"/>
                      <a:pt x="469" y="434"/>
                    </a:cubicBezTo>
                    <a:cubicBezTo>
                      <a:pt x="416" y="328"/>
                      <a:pt x="292" y="242"/>
                      <a:pt x="8" y="255"/>
                    </a:cubicBezTo>
                    <a:cubicBezTo>
                      <a:pt x="3" y="255"/>
                      <a:pt x="0" y="260"/>
                      <a:pt x="0" y="265"/>
                    </a:cubicBezTo>
                    <a:cubicBezTo>
                      <a:pt x="2" y="322"/>
                      <a:pt x="34" y="646"/>
                      <a:pt x="384" y="650"/>
                    </a:cubicBezTo>
                    <a:cubicBezTo>
                      <a:pt x="388" y="650"/>
                      <a:pt x="392" y="646"/>
                      <a:pt x="392" y="642"/>
                    </a:cubicBezTo>
                    <a:cubicBezTo>
                      <a:pt x="395" y="615"/>
                      <a:pt x="391" y="524"/>
                      <a:pt x="283" y="427"/>
                    </a:cubicBezTo>
                    <a:cubicBezTo>
                      <a:pt x="276" y="421"/>
                      <a:pt x="284" y="408"/>
                      <a:pt x="293" y="413"/>
                    </a:cubicBezTo>
                    <a:cubicBezTo>
                      <a:pt x="426" y="476"/>
                      <a:pt x="466" y="630"/>
                      <a:pt x="460" y="767"/>
                    </a:cubicBezTo>
                    <a:cubicBezTo>
                      <a:pt x="460" y="774"/>
                      <a:pt x="460" y="788"/>
                      <a:pt x="460" y="803"/>
                    </a:cubicBezTo>
                    <a:cubicBezTo>
                      <a:pt x="508" y="806"/>
                      <a:pt x="508" y="806"/>
                      <a:pt x="508" y="806"/>
                    </a:cubicBezTo>
                    <a:cubicBezTo>
                      <a:pt x="527" y="807"/>
                      <a:pt x="544" y="811"/>
                      <a:pt x="560" y="81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Freeform 52"/>
              <p:cNvSpPr>
                <a:spLocks/>
              </p:cNvSpPr>
              <p:nvPr/>
            </p:nvSpPr>
            <p:spPr bwMode="auto">
              <a:xfrm>
                <a:off x="5540375" y="3463925"/>
                <a:ext cx="1112973" cy="512763"/>
              </a:xfrm>
              <a:custGeom>
                <a:avLst/>
                <a:gdLst>
                  <a:gd name="connsiteX0" fmla="*/ 393605 w 1112973"/>
                  <a:gd name="connsiteY0" fmla="*/ 31750 h 512763"/>
                  <a:gd name="connsiteX1" fmla="*/ 323523 w 1112973"/>
                  <a:gd name="connsiteY1" fmla="*/ 49603 h 512763"/>
                  <a:gd name="connsiteX2" fmla="*/ 31750 w 1112973"/>
                  <a:gd name="connsiteY2" fmla="*/ 215278 h 512763"/>
                  <a:gd name="connsiteX3" fmla="*/ 31750 w 1112973"/>
                  <a:gd name="connsiteY3" fmla="*/ 473075 h 512763"/>
                  <a:gd name="connsiteX4" fmla="*/ 332820 w 1112973"/>
                  <a:gd name="connsiteY4" fmla="*/ 357388 h 512763"/>
                  <a:gd name="connsiteX5" fmla="*/ 417920 w 1112973"/>
                  <a:gd name="connsiteY5" fmla="*/ 340963 h 512763"/>
                  <a:gd name="connsiteX6" fmla="*/ 435083 w 1112973"/>
                  <a:gd name="connsiteY6" fmla="*/ 341677 h 512763"/>
                  <a:gd name="connsiteX7" fmla="*/ 555225 w 1112973"/>
                  <a:gd name="connsiteY7" fmla="*/ 350247 h 512763"/>
                  <a:gd name="connsiteX8" fmla="*/ 602423 w 1112973"/>
                  <a:gd name="connsiteY8" fmla="*/ 352389 h 512763"/>
                  <a:gd name="connsiteX9" fmla="*/ 799799 w 1112973"/>
                  <a:gd name="connsiteY9" fmla="*/ 322396 h 512763"/>
                  <a:gd name="connsiteX10" fmla="*/ 812671 w 1112973"/>
                  <a:gd name="connsiteY10" fmla="*/ 318112 h 512763"/>
                  <a:gd name="connsiteX11" fmla="*/ 1025779 w 1112973"/>
                  <a:gd name="connsiteY11" fmla="*/ 177430 h 512763"/>
                  <a:gd name="connsiteX12" fmla="*/ 1072263 w 1112973"/>
                  <a:gd name="connsiteY12" fmla="*/ 122443 h 512763"/>
                  <a:gd name="connsiteX13" fmla="*/ 1068687 w 1112973"/>
                  <a:gd name="connsiteY13" fmla="*/ 68170 h 512763"/>
                  <a:gd name="connsiteX14" fmla="*/ 1042942 w 1112973"/>
                  <a:gd name="connsiteY14" fmla="*/ 58172 h 512763"/>
                  <a:gd name="connsiteX15" fmla="*/ 1013622 w 1112973"/>
                  <a:gd name="connsiteY15" fmla="*/ 71741 h 512763"/>
                  <a:gd name="connsiteX16" fmla="*/ 964993 w 1112973"/>
                  <a:gd name="connsiteY16" fmla="*/ 126014 h 512763"/>
                  <a:gd name="connsiteX17" fmla="*/ 808380 w 1112973"/>
                  <a:gd name="connsiteY17" fmla="*/ 223848 h 512763"/>
                  <a:gd name="connsiteX18" fmla="*/ 801944 w 1112973"/>
                  <a:gd name="connsiteY18" fmla="*/ 225990 h 512763"/>
                  <a:gd name="connsiteX19" fmla="*/ 718989 w 1112973"/>
                  <a:gd name="connsiteY19" fmla="*/ 236702 h 512763"/>
                  <a:gd name="connsiteX20" fmla="*/ 604568 w 1112973"/>
                  <a:gd name="connsiteY20" fmla="*/ 214564 h 512763"/>
                  <a:gd name="connsiteX21" fmla="*/ 579539 w 1112973"/>
                  <a:gd name="connsiteY21" fmla="*/ 204567 h 512763"/>
                  <a:gd name="connsiteX22" fmla="*/ 553794 w 1112973"/>
                  <a:gd name="connsiteY22" fmla="*/ 160291 h 512763"/>
                  <a:gd name="connsiteX23" fmla="*/ 590981 w 1112973"/>
                  <a:gd name="connsiteY23" fmla="*/ 125300 h 512763"/>
                  <a:gd name="connsiteX24" fmla="*/ 711838 w 1112973"/>
                  <a:gd name="connsiteY24" fmla="*/ 113874 h 512763"/>
                  <a:gd name="connsiteX25" fmla="*/ 741873 w 1112973"/>
                  <a:gd name="connsiteY25" fmla="*/ 80310 h 512763"/>
                  <a:gd name="connsiteX26" fmla="*/ 710408 w 1112973"/>
                  <a:gd name="connsiteY26" fmla="*/ 47461 h 512763"/>
                  <a:gd name="connsiteX27" fmla="*/ 400757 w 1112973"/>
                  <a:gd name="connsiteY27" fmla="*/ 31750 h 512763"/>
                  <a:gd name="connsiteX28" fmla="*/ 393605 w 1112973"/>
                  <a:gd name="connsiteY28" fmla="*/ 31750 h 512763"/>
                  <a:gd name="connsiteX29" fmla="*/ 393380 w 1112973"/>
                  <a:gd name="connsiteY29" fmla="*/ 0 h 512763"/>
                  <a:gd name="connsiteX30" fmla="*/ 401963 w 1112973"/>
                  <a:gd name="connsiteY30" fmla="*/ 0 h 512763"/>
                  <a:gd name="connsiteX31" fmla="*/ 683051 w 1112973"/>
                  <a:gd name="connsiteY31" fmla="*/ 14303 h 512763"/>
                  <a:gd name="connsiteX32" fmla="*/ 711660 w 1112973"/>
                  <a:gd name="connsiteY32" fmla="*/ 15733 h 512763"/>
                  <a:gd name="connsiteX33" fmla="*/ 738839 w 1112973"/>
                  <a:gd name="connsiteY33" fmla="*/ 23600 h 512763"/>
                  <a:gd name="connsiteX34" fmla="*/ 773170 w 1112973"/>
                  <a:gd name="connsiteY34" fmla="*/ 80097 h 512763"/>
                  <a:gd name="connsiteX35" fmla="*/ 714521 w 1112973"/>
                  <a:gd name="connsiteY35" fmla="*/ 144461 h 512763"/>
                  <a:gd name="connsiteX36" fmla="*/ 593646 w 1112973"/>
                  <a:gd name="connsiteY36" fmla="*/ 156618 h 512763"/>
                  <a:gd name="connsiteX37" fmla="*/ 590785 w 1112973"/>
                  <a:gd name="connsiteY37" fmla="*/ 175212 h 512763"/>
                  <a:gd name="connsiteX38" fmla="*/ 616534 w 1112973"/>
                  <a:gd name="connsiteY38" fmla="*/ 185939 h 512763"/>
                  <a:gd name="connsiteX39" fmla="*/ 718813 w 1112973"/>
                  <a:gd name="connsiteY39" fmla="*/ 205248 h 512763"/>
                  <a:gd name="connsiteX40" fmla="*/ 793197 w 1112973"/>
                  <a:gd name="connsiteY40" fmla="*/ 195236 h 512763"/>
                  <a:gd name="connsiteX41" fmla="*/ 799634 w 1112973"/>
                  <a:gd name="connsiteY41" fmla="*/ 193806 h 512763"/>
                  <a:gd name="connsiteX42" fmla="*/ 941251 w 1112973"/>
                  <a:gd name="connsiteY42" fmla="*/ 105127 h 512763"/>
                  <a:gd name="connsiteX43" fmla="*/ 989887 w 1112973"/>
                  <a:gd name="connsiteY43" fmla="*/ 50061 h 512763"/>
                  <a:gd name="connsiteX44" fmla="*/ 1042814 w 1112973"/>
                  <a:gd name="connsiteY44" fmla="*/ 26461 h 512763"/>
                  <a:gd name="connsiteX45" fmla="*/ 1090020 w 1112973"/>
                  <a:gd name="connsiteY45" fmla="*/ 45055 h 512763"/>
                  <a:gd name="connsiteX46" fmla="*/ 1096457 w 1112973"/>
                  <a:gd name="connsiteY46" fmla="*/ 142315 h 512763"/>
                  <a:gd name="connsiteX47" fmla="*/ 1049252 w 1112973"/>
                  <a:gd name="connsiteY47" fmla="*/ 197382 h 512763"/>
                  <a:gd name="connsiteX48" fmla="*/ 821807 w 1112973"/>
                  <a:gd name="connsiteY48" fmla="*/ 348278 h 512763"/>
                  <a:gd name="connsiteX49" fmla="*/ 808932 w 1112973"/>
                  <a:gd name="connsiteY49" fmla="*/ 352569 h 512763"/>
                  <a:gd name="connsiteX50" fmla="*/ 602229 w 1112973"/>
                  <a:gd name="connsiteY50" fmla="*/ 384036 h 512763"/>
                  <a:gd name="connsiteX51" fmla="*/ 552878 w 1112973"/>
                  <a:gd name="connsiteY51" fmla="*/ 381891 h 512763"/>
                  <a:gd name="connsiteX52" fmla="*/ 432003 w 1112973"/>
                  <a:gd name="connsiteY52" fmla="*/ 373309 h 512763"/>
                  <a:gd name="connsiteX53" fmla="*/ 417698 w 1112973"/>
                  <a:gd name="connsiteY53" fmla="*/ 372594 h 512763"/>
                  <a:gd name="connsiteX54" fmla="*/ 344029 w 1112973"/>
                  <a:gd name="connsiteY54" fmla="*/ 386897 h 512763"/>
                  <a:gd name="connsiteX55" fmla="*/ 21457 w 1112973"/>
                  <a:gd name="connsiteY55" fmla="*/ 511333 h 512763"/>
                  <a:gd name="connsiteX56" fmla="*/ 15735 w 1112973"/>
                  <a:gd name="connsiteY56" fmla="*/ 512763 h 512763"/>
                  <a:gd name="connsiteX57" fmla="*/ 0 w 1112973"/>
                  <a:gd name="connsiteY57" fmla="*/ 496315 h 512763"/>
                  <a:gd name="connsiteX58" fmla="*/ 0 w 1112973"/>
                  <a:gd name="connsiteY58" fmla="*/ 206679 h 512763"/>
                  <a:gd name="connsiteX59" fmla="*/ 7868 w 1112973"/>
                  <a:gd name="connsiteY59" fmla="*/ 193091 h 512763"/>
                  <a:gd name="connsiteX60" fmla="*/ 307552 w 1112973"/>
                  <a:gd name="connsiteY60" fmla="*/ 22170 h 512763"/>
                  <a:gd name="connsiteX61" fmla="*/ 393380 w 1112973"/>
                  <a:gd name="connsiteY61" fmla="*/ 0 h 51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112973" h="512763">
                    <a:moveTo>
                      <a:pt x="393605" y="31750"/>
                    </a:moveTo>
                    <a:cubicBezTo>
                      <a:pt x="368576" y="31750"/>
                      <a:pt x="344977" y="37463"/>
                      <a:pt x="323523" y="49603"/>
                    </a:cubicBezTo>
                    <a:cubicBezTo>
                      <a:pt x="323523" y="49603"/>
                      <a:pt x="323523" y="49603"/>
                      <a:pt x="31750" y="215278"/>
                    </a:cubicBezTo>
                    <a:cubicBezTo>
                      <a:pt x="31750" y="215278"/>
                      <a:pt x="31750" y="215278"/>
                      <a:pt x="31750" y="473075"/>
                    </a:cubicBezTo>
                    <a:cubicBezTo>
                      <a:pt x="31750" y="473075"/>
                      <a:pt x="31750" y="473075"/>
                      <a:pt x="332820" y="357388"/>
                    </a:cubicBezTo>
                    <a:cubicBezTo>
                      <a:pt x="359994" y="346676"/>
                      <a:pt x="388600" y="340963"/>
                      <a:pt x="417920" y="340963"/>
                    </a:cubicBezTo>
                    <a:cubicBezTo>
                      <a:pt x="423641" y="340963"/>
                      <a:pt x="429362" y="341677"/>
                      <a:pt x="435083" y="341677"/>
                    </a:cubicBezTo>
                    <a:cubicBezTo>
                      <a:pt x="435083" y="341677"/>
                      <a:pt x="435083" y="341677"/>
                      <a:pt x="555225" y="350247"/>
                    </a:cubicBezTo>
                    <a:cubicBezTo>
                      <a:pt x="570957" y="351675"/>
                      <a:pt x="586690" y="352389"/>
                      <a:pt x="602423" y="352389"/>
                    </a:cubicBezTo>
                    <a:cubicBezTo>
                      <a:pt x="669645" y="352389"/>
                      <a:pt x="736152" y="342392"/>
                      <a:pt x="799799" y="322396"/>
                    </a:cubicBezTo>
                    <a:cubicBezTo>
                      <a:pt x="799799" y="322396"/>
                      <a:pt x="799799" y="322396"/>
                      <a:pt x="812671" y="318112"/>
                    </a:cubicBezTo>
                    <a:cubicBezTo>
                      <a:pt x="895626" y="292403"/>
                      <a:pt x="969284" y="243843"/>
                      <a:pt x="1025779" y="177430"/>
                    </a:cubicBezTo>
                    <a:cubicBezTo>
                      <a:pt x="1025779" y="177430"/>
                      <a:pt x="1025779" y="177430"/>
                      <a:pt x="1072263" y="122443"/>
                    </a:cubicBezTo>
                    <a:cubicBezTo>
                      <a:pt x="1085850" y="106018"/>
                      <a:pt x="1084420" y="82453"/>
                      <a:pt x="1068687" y="68170"/>
                    </a:cubicBezTo>
                    <a:cubicBezTo>
                      <a:pt x="1061536" y="61743"/>
                      <a:pt x="1052239" y="58172"/>
                      <a:pt x="1042942" y="58172"/>
                    </a:cubicBezTo>
                    <a:cubicBezTo>
                      <a:pt x="1031500" y="58172"/>
                      <a:pt x="1021489" y="63171"/>
                      <a:pt x="1013622" y="71741"/>
                    </a:cubicBezTo>
                    <a:cubicBezTo>
                      <a:pt x="1013622" y="71741"/>
                      <a:pt x="1013622" y="71741"/>
                      <a:pt x="964993" y="126014"/>
                    </a:cubicBezTo>
                    <a:cubicBezTo>
                      <a:pt x="923516" y="173146"/>
                      <a:pt x="869166" y="206709"/>
                      <a:pt x="808380" y="223848"/>
                    </a:cubicBezTo>
                    <a:cubicBezTo>
                      <a:pt x="808380" y="223848"/>
                      <a:pt x="808380" y="223848"/>
                      <a:pt x="801944" y="225990"/>
                    </a:cubicBezTo>
                    <a:cubicBezTo>
                      <a:pt x="774769" y="233131"/>
                      <a:pt x="747594" y="236702"/>
                      <a:pt x="718989" y="236702"/>
                    </a:cubicBezTo>
                    <a:cubicBezTo>
                      <a:pt x="679657" y="236702"/>
                      <a:pt x="641040" y="229561"/>
                      <a:pt x="604568" y="214564"/>
                    </a:cubicBezTo>
                    <a:cubicBezTo>
                      <a:pt x="604568" y="214564"/>
                      <a:pt x="604568" y="214564"/>
                      <a:pt x="579539" y="204567"/>
                    </a:cubicBezTo>
                    <a:cubicBezTo>
                      <a:pt x="561661" y="197426"/>
                      <a:pt x="550934" y="179573"/>
                      <a:pt x="553794" y="160291"/>
                    </a:cubicBezTo>
                    <a:cubicBezTo>
                      <a:pt x="556655" y="141724"/>
                      <a:pt x="571673" y="127442"/>
                      <a:pt x="590981" y="125300"/>
                    </a:cubicBezTo>
                    <a:cubicBezTo>
                      <a:pt x="590981" y="125300"/>
                      <a:pt x="590981" y="125300"/>
                      <a:pt x="711838" y="113874"/>
                    </a:cubicBezTo>
                    <a:cubicBezTo>
                      <a:pt x="729001" y="111731"/>
                      <a:pt x="741873" y="97449"/>
                      <a:pt x="741873" y="80310"/>
                    </a:cubicBezTo>
                    <a:cubicBezTo>
                      <a:pt x="741873" y="63171"/>
                      <a:pt x="728286" y="48175"/>
                      <a:pt x="710408" y="47461"/>
                    </a:cubicBezTo>
                    <a:cubicBezTo>
                      <a:pt x="710408" y="47461"/>
                      <a:pt x="710408" y="47461"/>
                      <a:pt x="400757" y="31750"/>
                    </a:cubicBezTo>
                    <a:cubicBezTo>
                      <a:pt x="397896" y="31750"/>
                      <a:pt x="395751" y="31750"/>
                      <a:pt x="393605" y="31750"/>
                    </a:cubicBezTo>
                    <a:close/>
                    <a:moveTo>
                      <a:pt x="393380" y="0"/>
                    </a:moveTo>
                    <a:cubicBezTo>
                      <a:pt x="396241" y="0"/>
                      <a:pt x="399102" y="0"/>
                      <a:pt x="401963" y="0"/>
                    </a:cubicBezTo>
                    <a:cubicBezTo>
                      <a:pt x="401963" y="0"/>
                      <a:pt x="401963" y="0"/>
                      <a:pt x="683051" y="14303"/>
                    </a:cubicBezTo>
                    <a:cubicBezTo>
                      <a:pt x="683051" y="14303"/>
                      <a:pt x="683051" y="14303"/>
                      <a:pt x="711660" y="15733"/>
                    </a:cubicBezTo>
                    <a:cubicBezTo>
                      <a:pt x="721673" y="16449"/>
                      <a:pt x="730972" y="19309"/>
                      <a:pt x="738839" y="23600"/>
                    </a:cubicBezTo>
                    <a:cubicBezTo>
                      <a:pt x="758866" y="34327"/>
                      <a:pt x="773170" y="55782"/>
                      <a:pt x="773170" y="80097"/>
                    </a:cubicBezTo>
                    <a:cubicBezTo>
                      <a:pt x="773170" y="113709"/>
                      <a:pt x="748137" y="141600"/>
                      <a:pt x="714521" y="144461"/>
                    </a:cubicBezTo>
                    <a:cubicBezTo>
                      <a:pt x="714521" y="144461"/>
                      <a:pt x="714521" y="144461"/>
                      <a:pt x="593646" y="156618"/>
                    </a:cubicBezTo>
                    <a:cubicBezTo>
                      <a:pt x="583633" y="157333"/>
                      <a:pt x="581487" y="171636"/>
                      <a:pt x="590785" y="175212"/>
                    </a:cubicBezTo>
                    <a:cubicBezTo>
                      <a:pt x="590785" y="175212"/>
                      <a:pt x="590785" y="175212"/>
                      <a:pt x="616534" y="185939"/>
                    </a:cubicBezTo>
                    <a:cubicBezTo>
                      <a:pt x="649435" y="198812"/>
                      <a:pt x="684481" y="205248"/>
                      <a:pt x="718813" y="205248"/>
                    </a:cubicBezTo>
                    <a:cubicBezTo>
                      <a:pt x="743846" y="205248"/>
                      <a:pt x="768879" y="202388"/>
                      <a:pt x="793197" y="195236"/>
                    </a:cubicBezTo>
                    <a:cubicBezTo>
                      <a:pt x="793197" y="195236"/>
                      <a:pt x="793197" y="195236"/>
                      <a:pt x="799634" y="193806"/>
                    </a:cubicBezTo>
                    <a:cubicBezTo>
                      <a:pt x="854707" y="178073"/>
                      <a:pt x="904059" y="147321"/>
                      <a:pt x="941251" y="105127"/>
                    </a:cubicBezTo>
                    <a:cubicBezTo>
                      <a:pt x="941251" y="105127"/>
                      <a:pt x="941251" y="105127"/>
                      <a:pt x="989887" y="50061"/>
                    </a:cubicBezTo>
                    <a:cubicBezTo>
                      <a:pt x="1004192" y="35043"/>
                      <a:pt x="1023503" y="26461"/>
                      <a:pt x="1042814" y="26461"/>
                    </a:cubicBezTo>
                    <a:cubicBezTo>
                      <a:pt x="1059265" y="26461"/>
                      <a:pt x="1076431" y="32897"/>
                      <a:pt x="1090020" y="45055"/>
                    </a:cubicBezTo>
                    <a:cubicBezTo>
                      <a:pt x="1117914" y="70085"/>
                      <a:pt x="1120775" y="113709"/>
                      <a:pt x="1096457" y="142315"/>
                    </a:cubicBezTo>
                    <a:cubicBezTo>
                      <a:pt x="1096457" y="142315"/>
                      <a:pt x="1096457" y="142315"/>
                      <a:pt x="1049252" y="197382"/>
                    </a:cubicBezTo>
                    <a:cubicBezTo>
                      <a:pt x="989172" y="268182"/>
                      <a:pt x="910496" y="321103"/>
                      <a:pt x="821807" y="348278"/>
                    </a:cubicBezTo>
                    <a:cubicBezTo>
                      <a:pt x="821807" y="348278"/>
                      <a:pt x="821807" y="348278"/>
                      <a:pt x="808932" y="352569"/>
                    </a:cubicBezTo>
                    <a:cubicBezTo>
                      <a:pt x="741700" y="373309"/>
                      <a:pt x="672322" y="384036"/>
                      <a:pt x="602229" y="384036"/>
                    </a:cubicBezTo>
                    <a:cubicBezTo>
                      <a:pt x="585779" y="384036"/>
                      <a:pt x="569328" y="383321"/>
                      <a:pt x="552878" y="381891"/>
                    </a:cubicBezTo>
                    <a:cubicBezTo>
                      <a:pt x="552878" y="381891"/>
                      <a:pt x="552878" y="381891"/>
                      <a:pt x="432003" y="373309"/>
                    </a:cubicBezTo>
                    <a:cubicBezTo>
                      <a:pt x="427711" y="373309"/>
                      <a:pt x="422705" y="372594"/>
                      <a:pt x="417698" y="372594"/>
                    </a:cubicBezTo>
                    <a:cubicBezTo>
                      <a:pt x="392665" y="372594"/>
                      <a:pt x="367632" y="377600"/>
                      <a:pt x="344029" y="386897"/>
                    </a:cubicBezTo>
                    <a:cubicBezTo>
                      <a:pt x="344029" y="386897"/>
                      <a:pt x="344029" y="386897"/>
                      <a:pt x="21457" y="511333"/>
                    </a:cubicBezTo>
                    <a:cubicBezTo>
                      <a:pt x="20027" y="512048"/>
                      <a:pt x="17881" y="512763"/>
                      <a:pt x="15735" y="512763"/>
                    </a:cubicBezTo>
                    <a:cubicBezTo>
                      <a:pt x="7153" y="512763"/>
                      <a:pt x="0" y="505612"/>
                      <a:pt x="0" y="496315"/>
                    </a:cubicBezTo>
                    <a:cubicBezTo>
                      <a:pt x="0" y="496315"/>
                      <a:pt x="0" y="496315"/>
                      <a:pt x="0" y="206679"/>
                    </a:cubicBezTo>
                    <a:cubicBezTo>
                      <a:pt x="0" y="200957"/>
                      <a:pt x="2861" y="195236"/>
                      <a:pt x="7868" y="193091"/>
                    </a:cubicBezTo>
                    <a:cubicBezTo>
                      <a:pt x="7868" y="193091"/>
                      <a:pt x="7868" y="193091"/>
                      <a:pt x="307552" y="22170"/>
                    </a:cubicBezTo>
                    <a:cubicBezTo>
                      <a:pt x="334016" y="7152"/>
                      <a:pt x="363340" y="0"/>
                      <a:pt x="393380"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54" name="bcgIcons_Sun">
            <a:extLst>
              <a:ext uri="{FF2B5EF4-FFF2-40B4-BE49-F238E27FC236}">
                <a16:creationId xmlns:a16="http://schemas.microsoft.com/office/drawing/2014/main" id="{C470AB95-79FC-40F5-96D7-5A18837E8DA0}"/>
              </a:ext>
            </a:extLst>
          </p:cNvPr>
          <p:cNvGrpSpPr>
            <a:grpSpLocks noChangeAspect="1"/>
          </p:cNvGrpSpPr>
          <p:nvPr/>
        </p:nvGrpSpPr>
        <p:grpSpPr bwMode="auto">
          <a:xfrm>
            <a:off x="11001009" y="2297682"/>
            <a:ext cx="822200" cy="822960"/>
            <a:chOff x="1682" y="0"/>
            <a:chExt cx="4316" cy="4320"/>
          </a:xfrm>
        </p:grpSpPr>
        <p:sp>
          <p:nvSpPr>
            <p:cNvPr id="55" name="AutoShape 8">
              <a:extLst>
                <a:ext uri="{FF2B5EF4-FFF2-40B4-BE49-F238E27FC236}">
                  <a16:creationId xmlns:a16="http://schemas.microsoft.com/office/drawing/2014/main" id="{62A9E8BE-6E23-4131-9403-FCE9922E78D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0">
              <a:extLst>
                <a:ext uri="{FF2B5EF4-FFF2-40B4-BE49-F238E27FC236}">
                  <a16:creationId xmlns:a16="http://schemas.microsoft.com/office/drawing/2014/main" id="{F9FEB324-64D1-4D2B-8B1D-8CFF90AE2F79}"/>
                </a:ext>
              </a:extLst>
            </p:cNvPr>
            <p:cNvSpPr>
              <a:spLocks noEditPoints="1"/>
            </p:cNvSpPr>
            <p:nvPr/>
          </p:nvSpPr>
          <p:spPr bwMode="auto">
            <a:xfrm>
              <a:off x="2122" y="443"/>
              <a:ext cx="3432" cy="3438"/>
            </a:xfrm>
            <a:custGeom>
              <a:avLst/>
              <a:gdLst>
                <a:gd name="T0" fmla="*/ 284 w 1832"/>
                <a:gd name="T1" fmla="*/ 269 h 1834"/>
                <a:gd name="T2" fmla="*/ 421 w 1832"/>
                <a:gd name="T3" fmla="*/ 550 h 1834"/>
                <a:gd name="T4" fmla="*/ 600 w 1832"/>
                <a:gd name="T5" fmla="*/ 391 h 1834"/>
                <a:gd name="T6" fmla="*/ 580 w 1832"/>
                <a:gd name="T7" fmla="*/ 76 h 1834"/>
                <a:gd name="T8" fmla="*/ 600 w 1832"/>
                <a:gd name="T9" fmla="*/ 391 h 1834"/>
                <a:gd name="T10" fmla="*/ 305 w 1832"/>
                <a:gd name="T11" fmla="*/ 827 h 1834"/>
                <a:gd name="T12" fmla="*/ 11 w 1832"/>
                <a:gd name="T13" fmla="*/ 928 h 1834"/>
                <a:gd name="T14" fmla="*/ 298 w 1832"/>
                <a:gd name="T15" fmla="*/ 918 h 1834"/>
                <a:gd name="T16" fmla="*/ 1008 w 1832"/>
                <a:gd name="T17" fmla="*/ 314 h 1834"/>
                <a:gd name="T18" fmla="*/ 905 w 1832"/>
                <a:gd name="T19" fmla="*/ 11 h 1834"/>
                <a:gd name="T20" fmla="*/ 911 w 1832"/>
                <a:gd name="T21" fmla="*/ 306 h 1834"/>
                <a:gd name="T22" fmla="*/ 317 w 1832"/>
                <a:gd name="T23" fmla="*/ 766 h 1834"/>
                <a:gd name="T24" fmla="*/ 84 w 1832"/>
                <a:gd name="T25" fmla="*/ 560 h 1834"/>
                <a:gd name="T26" fmla="*/ 1506 w 1832"/>
                <a:gd name="T27" fmla="*/ 773 h 1834"/>
                <a:gd name="T28" fmla="*/ 1748 w 1832"/>
                <a:gd name="T29" fmla="*/ 560 h 1834"/>
                <a:gd name="T30" fmla="*/ 1506 w 1832"/>
                <a:gd name="T31" fmla="*/ 773 h 1834"/>
                <a:gd name="T32" fmla="*/ 1272 w 1832"/>
                <a:gd name="T33" fmla="*/ 84 h 1834"/>
                <a:gd name="T34" fmla="*/ 1061 w 1832"/>
                <a:gd name="T35" fmla="*/ 325 h 1834"/>
                <a:gd name="T36" fmla="*/ 1406 w 1832"/>
                <a:gd name="T37" fmla="*/ 558 h 1834"/>
                <a:gd name="T38" fmla="*/ 1548 w 1832"/>
                <a:gd name="T39" fmla="*/ 269 h 1834"/>
                <a:gd name="T40" fmla="*/ 1406 w 1832"/>
                <a:gd name="T41" fmla="*/ 558 h 1834"/>
                <a:gd name="T42" fmla="*/ 1506 w 1832"/>
                <a:gd name="T43" fmla="*/ 1061 h 1834"/>
                <a:gd name="T44" fmla="*/ 1748 w 1832"/>
                <a:gd name="T45" fmla="*/ 1274 h 1834"/>
                <a:gd name="T46" fmla="*/ 1407 w 1832"/>
                <a:gd name="T47" fmla="*/ 1277 h 1834"/>
                <a:gd name="T48" fmla="*/ 1548 w 1832"/>
                <a:gd name="T49" fmla="*/ 1565 h 1834"/>
                <a:gd name="T50" fmla="*/ 1407 w 1832"/>
                <a:gd name="T51" fmla="*/ 1277 h 1834"/>
                <a:gd name="T52" fmla="*/ 1516 w 1832"/>
                <a:gd name="T53" fmla="*/ 824 h 1834"/>
                <a:gd name="T54" fmla="*/ 1516 w 1832"/>
                <a:gd name="T55" fmla="*/ 1010 h 1834"/>
                <a:gd name="T56" fmla="*/ 1821 w 1832"/>
                <a:gd name="T57" fmla="*/ 906 h 1834"/>
                <a:gd name="T58" fmla="*/ 1063 w 1832"/>
                <a:gd name="T59" fmla="*/ 1512 h 1834"/>
                <a:gd name="T60" fmla="*/ 1272 w 1832"/>
                <a:gd name="T61" fmla="*/ 1750 h 1834"/>
                <a:gd name="T62" fmla="*/ 599 w 1832"/>
                <a:gd name="T63" fmla="*/ 1446 h 1834"/>
                <a:gd name="T64" fmla="*/ 580 w 1832"/>
                <a:gd name="T65" fmla="*/ 1758 h 1834"/>
                <a:gd name="T66" fmla="*/ 599 w 1832"/>
                <a:gd name="T67" fmla="*/ 1446 h 1834"/>
                <a:gd name="T68" fmla="*/ 825 w 1832"/>
                <a:gd name="T69" fmla="*/ 1525 h 1834"/>
                <a:gd name="T70" fmla="*/ 927 w 1832"/>
                <a:gd name="T71" fmla="*/ 1823 h 1834"/>
                <a:gd name="T72" fmla="*/ 911 w 1832"/>
                <a:gd name="T73" fmla="*/ 1531 h 1834"/>
                <a:gd name="T74" fmla="*/ 268 w 1832"/>
                <a:gd name="T75" fmla="*/ 1550 h 1834"/>
                <a:gd name="T76" fmla="*/ 549 w 1832"/>
                <a:gd name="T77" fmla="*/ 1413 h 1834"/>
                <a:gd name="T78" fmla="*/ 317 w 1832"/>
                <a:gd name="T79" fmla="*/ 1068 h 1834"/>
                <a:gd name="T80" fmla="*/ 84 w 1832"/>
                <a:gd name="T81" fmla="*/ 1274 h 1834"/>
                <a:gd name="T82" fmla="*/ 317 w 1832"/>
                <a:gd name="T83" fmla="*/ 1068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32" h="1834">
                  <a:moveTo>
                    <a:pt x="268" y="284"/>
                  </a:moveTo>
                  <a:cubicBezTo>
                    <a:pt x="263" y="274"/>
                    <a:pt x="274" y="263"/>
                    <a:pt x="284" y="269"/>
                  </a:cubicBezTo>
                  <a:cubicBezTo>
                    <a:pt x="551" y="423"/>
                    <a:pt x="551" y="423"/>
                    <a:pt x="551" y="423"/>
                  </a:cubicBezTo>
                  <a:cubicBezTo>
                    <a:pt x="502" y="459"/>
                    <a:pt x="458" y="501"/>
                    <a:pt x="421" y="550"/>
                  </a:cubicBezTo>
                  <a:lnTo>
                    <a:pt x="268" y="284"/>
                  </a:lnTo>
                  <a:close/>
                  <a:moveTo>
                    <a:pt x="600" y="391"/>
                  </a:moveTo>
                  <a:cubicBezTo>
                    <a:pt x="652" y="360"/>
                    <a:pt x="709" y="337"/>
                    <a:pt x="769" y="322"/>
                  </a:cubicBezTo>
                  <a:cubicBezTo>
                    <a:pt x="580" y="76"/>
                    <a:pt x="580" y="76"/>
                    <a:pt x="580" y="76"/>
                  </a:cubicBezTo>
                  <a:cubicBezTo>
                    <a:pt x="573" y="67"/>
                    <a:pt x="558" y="73"/>
                    <a:pt x="560" y="84"/>
                  </a:cubicBezTo>
                  <a:lnTo>
                    <a:pt x="600" y="391"/>
                  </a:lnTo>
                  <a:close/>
                  <a:moveTo>
                    <a:pt x="298" y="918"/>
                  </a:moveTo>
                  <a:cubicBezTo>
                    <a:pt x="298" y="887"/>
                    <a:pt x="300" y="857"/>
                    <a:pt x="305" y="827"/>
                  </a:cubicBezTo>
                  <a:cubicBezTo>
                    <a:pt x="11" y="906"/>
                    <a:pt x="11" y="906"/>
                    <a:pt x="11" y="906"/>
                  </a:cubicBezTo>
                  <a:cubicBezTo>
                    <a:pt x="0" y="909"/>
                    <a:pt x="0" y="925"/>
                    <a:pt x="11" y="928"/>
                  </a:cubicBezTo>
                  <a:cubicBezTo>
                    <a:pt x="304" y="1007"/>
                    <a:pt x="304" y="1007"/>
                    <a:pt x="304" y="1007"/>
                  </a:cubicBezTo>
                  <a:cubicBezTo>
                    <a:pt x="300" y="978"/>
                    <a:pt x="298" y="948"/>
                    <a:pt x="298" y="918"/>
                  </a:cubicBezTo>
                  <a:close/>
                  <a:moveTo>
                    <a:pt x="911" y="306"/>
                  </a:moveTo>
                  <a:cubicBezTo>
                    <a:pt x="944" y="306"/>
                    <a:pt x="976" y="309"/>
                    <a:pt x="1008" y="314"/>
                  </a:cubicBezTo>
                  <a:cubicBezTo>
                    <a:pt x="927" y="11"/>
                    <a:pt x="927" y="11"/>
                    <a:pt x="927" y="11"/>
                  </a:cubicBezTo>
                  <a:cubicBezTo>
                    <a:pt x="924" y="0"/>
                    <a:pt x="908" y="0"/>
                    <a:pt x="905" y="11"/>
                  </a:cubicBezTo>
                  <a:cubicBezTo>
                    <a:pt x="824" y="312"/>
                    <a:pt x="824" y="312"/>
                    <a:pt x="824" y="312"/>
                  </a:cubicBezTo>
                  <a:cubicBezTo>
                    <a:pt x="852" y="308"/>
                    <a:pt x="881" y="306"/>
                    <a:pt x="911" y="306"/>
                  </a:cubicBezTo>
                  <a:close/>
                  <a:moveTo>
                    <a:pt x="76" y="580"/>
                  </a:moveTo>
                  <a:cubicBezTo>
                    <a:pt x="317" y="766"/>
                    <a:pt x="317" y="766"/>
                    <a:pt x="317" y="766"/>
                  </a:cubicBezTo>
                  <a:cubicBezTo>
                    <a:pt x="332" y="707"/>
                    <a:pt x="356" y="651"/>
                    <a:pt x="387" y="600"/>
                  </a:cubicBezTo>
                  <a:cubicBezTo>
                    <a:pt x="84" y="560"/>
                    <a:pt x="84" y="560"/>
                    <a:pt x="84" y="560"/>
                  </a:cubicBezTo>
                  <a:cubicBezTo>
                    <a:pt x="73" y="559"/>
                    <a:pt x="67" y="573"/>
                    <a:pt x="76" y="580"/>
                  </a:cubicBezTo>
                  <a:close/>
                  <a:moveTo>
                    <a:pt x="1506" y="773"/>
                  </a:moveTo>
                  <a:cubicBezTo>
                    <a:pt x="1756" y="580"/>
                    <a:pt x="1756" y="580"/>
                    <a:pt x="1756" y="580"/>
                  </a:cubicBezTo>
                  <a:cubicBezTo>
                    <a:pt x="1765" y="573"/>
                    <a:pt x="1759" y="559"/>
                    <a:pt x="1748" y="560"/>
                  </a:cubicBezTo>
                  <a:cubicBezTo>
                    <a:pt x="1435" y="601"/>
                    <a:pt x="1435" y="601"/>
                    <a:pt x="1435" y="601"/>
                  </a:cubicBezTo>
                  <a:cubicBezTo>
                    <a:pt x="1467" y="654"/>
                    <a:pt x="1491" y="712"/>
                    <a:pt x="1506" y="773"/>
                  </a:cubicBezTo>
                  <a:close/>
                  <a:moveTo>
                    <a:pt x="1232" y="397"/>
                  </a:moveTo>
                  <a:cubicBezTo>
                    <a:pt x="1272" y="84"/>
                    <a:pt x="1272" y="84"/>
                    <a:pt x="1272" y="84"/>
                  </a:cubicBezTo>
                  <a:cubicBezTo>
                    <a:pt x="1274" y="73"/>
                    <a:pt x="1259" y="67"/>
                    <a:pt x="1252" y="76"/>
                  </a:cubicBezTo>
                  <a:cubicBezTo>
                    <a:pt x="1061" y="325"/>
                    <a:pt x="1061" y="325"/>
                    <a:pt x="1061" y="325"/>
                  </a:cubicBezTo>
                  <a:cubicBezTo>
                    <a:pt x="1122" y="340"/>
                    <a:pt x="1180" y="365"/>
                    <a:pt x="1232" y="397"/>
                  </a:cubicBezTo>
                  <a:close/>
                  <a:moveTo>
                    <a:pt x="1406" y="558"/>
                  </a:moveTo>
                  <a:cubicBezTo>
                    <a:pt x="1564" y="284"/>
                    <a:pt x="1564" y="284"/>
                    <a:pt x="1564" y="284"/>
                  </a:cubicBezTo>
                  <a:cubicBezTo>
                    <a:pt x="1569" y="274"/>
                    <a:pt x="1558" y="263"/>
                    <a:pt x="1548" y="269"/>
                  </a:cubicBezTo>
                  <a:cubicBezTo>
                    <a:pt x="1275" y="426"/>
                    <a:pt x="1275" y="426"/>
                    <a:pt x="1275" y="426"/>
                  </a:cubicBezTo>
                  <a:cubicBezTo>
                    <a:pt x="1325" y="463"/>
                    <a:pt x="1369" y="508"/>
                    <a:pt x="1406" y="558"/>
                  </a:cubicBezTo>
                  <a:close/>
                  <a:moveTo>
                    <a:pt x="1756" y="1254"/>
                  </a:moveTo>
                  <a:cubicBezTo>
                    <a:pt x="1506" y="1061"/>
                    <a:pt x="1506" y="1061"/>
                    <a:pt x="1506" y="1061"/>
                  </a:cubicBezTo>
                  <a:cubicBezTo>
                    <a:pt x="1492" y="1123"/>
                    <a:pt x="1468" y="1180"/>
                    <a:pt x="1436" y="1233"/>
                  </a:cubicBezTo>
                  <a:cubicBezTo>
                    <a:pt x="1748" y="1274"/>
                    <a:pt x="1748" y="1274"/>
                    <a:pt x="1748" y="1274"/>
                  </a:cubicBezTo>
                  <a:cubicBezTo>
                    <a:pt x="1759" y="1275"/>
                    <a:pt x="1765" y="1261"/>
                    <a:pt x="1756" y="1254"/>
                  </a:cubicBezTo>
                  <a:close/>
                  <a:moveTo>
                    <a:pt x="1407" y="1277"/>
                  </a:moveTo>
                  <a:cubicBezTo>
                    <a:pt x="1371" y="1328"/>
                    <a:pt x="1327" y="1372"/>
                    <a:pt x="1277" y="1409"/>
                  </a:cubicBezTo>
                  <a:cubicBezTo>
                    <a:pt x="1548" y="1565"/>
                    <a:pt x="1548" y="1565"/>
                    <a:pt x="1548" y="1565"/>
                  </a:cubicBezTo>
                  <a:cubicBezTo>
                    <a:pt x="1558" y="1571"/>
                    <a:pt x="1569" y="1560"/>
                    <a:pt x="1564" y="1550"/>
                  </a:cubicBezTo>
                  <a:lnTo>
                    <a:pt x="1407" y="1277"/>
                  </a:lnTo>
                  <a:close/>
                  <a:moveTo>
                    <a:pt x="1821" y="906"/>
                  </a:moveTo>
                  <a:cubicBezTo>
                    <a:pt x="1516" y="824"/>
                    <a:pt x="1516" y="824"/>
                    <a:pt x="1516" y="824"/>
                  </a:cubicBezTo>
                  <a:cubicBezTo>
                    <a:pt x="1521" y="855"/>
                    <a:pt x="1523" y="886"/>
                    <a:pt x="1523" y="918"/>
                  </a:cubicBezTo>
                  <a:cubicBezTo>
                    <a:pt x="1523" y="950"/>
                    <a:pt x="1521" y="980"/>
                    <a:pt x="1516" y="1010"/>
                  </a:cubicBezTo>
                  <a:cubicBezTo>
                    <a:pt x="1821" y="928"/>
                    <a:pt x="1821" y="928"/>
                    <a:pt x="1821" y="928"/>
                  </a:cubicBezTo>
                  <a:cubicBezTo>
                    <a:pt x="1832" y="925"/>
                    <a:pt x="1832" y="909"/>
                    <a:pt x="1821" y="906"/>
                  </a:cubicBezTo>
                  <a:close/>
                  <a:moveTo>
                    <a:pt x="1232" y="1440"/>
                  </a:moveTo>
                  <a:cubicBezTo>
                    <a:pt x="1180" y="1472"/>
                    <a:pt x="1124" y="1496"/>
                    <a:pt x="1063" y="1512"/>
                  </a:cubicBezTo>
                  <a:cubicBezTo>
                    <a:pt x="1252" y="1758"/>
                    <a:pt x="1252" y="1758"/>
                    <a:pt x="1252" y="1758"/>
                  </a:cubicBezTo>
                  <a:cubicBezTo>
                    <a:pt x="1259" y="1767"/>
                    <a:pt x="1274" y="1761"/>
                    <a:pt x="1272" y="1750"/>
                  </a:cubicBezTo>
                  <a:lnTo>
                    <a:pt x="1232" y="1440"/>
                  </a:lnTo>
                  <a:close/>
                  <a:moveTo>
                    <a:pt x="599" y="1446"/>
                  </a:moveTo>
                  <a:cubicBezTo>
                    <a:pt x="560" y="1750"/>
                    <a:pt x="560" y="1750"/>
                    <a:pt x="560" y="1750"/>
                  </a:cubicBezTo>
                  <a:cubicBezTo>
                    <a:pt x="558" y="1761"/>
                    <a:pt x="573" y="1767"/>
                    <a:pt x="580" y="1758"/>
                  </a:cubicBezTo>
                  <a:cubicBezTo>
                    <a:pt x="767" y="1514"/>
                    <a:pt x="767" y="1514"/>
                    <a:pt x="767" y="1514"/>
                  </a:cubicBezTo>
                  <a:cubicBezTo>
                    <a:pt x="707" y="1500"/>
                    <a:pt x="651" y="1476"/>
                    <a:pt x="599" y="1446"/>
                  </a:cubicBezTo>
                  <a:close/>
                  <a:moveTo>
                    <a:pt x="911" y="1531"/>
                  </a:moveTo>
                  <a:cubicBezTo>
                    <a:pt x="882" y="1531"/>
                    <a:pt x="853" y="1529"/>
                    <a:pt x="825" y="1525"/>
                  </a:cubicBezTo>
                  <a:cubicBezTo>
                    <a:pt x="905" y="1823"/>
                    <a:pt x="905" y="1823"/>
                    <a:pt x="905" y="1823"/>
                  </a:cubicBezTo>
                  <a:cubicBezTo>
                    <a:pt x="908" y="1834"/>
                    <a:pt x="924" y="1834"/>
                    <a:pt x="927" y="1823"/>
                  </a:cubicBezTo>
                  <a:cubicBezTo>
                    <a:pt x="1007" y="1523"/>
                    <a:pt x="1007" y="1523"/>
                    <a:pt x="1007" y="1523"/>
                  </a:cubicBezTo>
                  <a:cubicBezTo>
                    <a:pt x="976" y="1528"/>
                    <a:pt x="944" y="1531"/>
                    <a:pt x="911" y="1531"/>
                  </a:cubicBezTo>
                  <a:close/>
                  <a:moveTo>
                    <a:pt x="420" y="1286"/>
                  </a:moveTo>
                  <a:cubicBezTo>
                    <a:pt x="268" y="1550"/>
                    <a:pt x="268" y="1550"/>
                    <a:pt x="268" y="1550"/>
                  </a:cubicBezTo>
                  <a:cubicBezTo>
                    <a:pt x="263" y="1560"/>
                    <a:pt x="274" y="1571"/>
                    <a:pt x="284" y="1565"/>
                  </a:cubicBezTo>
                  <a:cubicBezTo>
                    <a:pt x="549" y="1413"/>
                    <a:pt x="549" y="1413"/>
                    <a:pt x="549" y="1413"/>
                  </a:cubicBezTo>
                  <a:cubicBezTo>
                    <a:pt x="500" y="1377"/>
                    <a:pt x="457" y="1334"/>
                    <a:pt x="420" y="1286"/>
                  </a:cubicBezTo>
                  <a:close/>
                  <a:moveTo>
                    <a:pt x="317" y="1068"/>
                  </a:moveTo>
                  <a:cubicBezTo>
                    <a:pt x="76" y="1254"/>
                    <a:pt x="76" y="1254"/>
                    <a:pt x="76" y="1254"/>
                  </a:cubicBezTo>
                  <a:cubicBezTo>
                    <a:pt x="67" y="1261"/>
                    <a:pt x="73" y="1275"/>
                    <a:pt x="84" y="1274"/>
                  </a:cubicBezTo>
                  <a:cubicBezTo>
                    <a:pt x="386" y="1234"/>
                    <a:pt x="386" y="1234"/>
                    <a:pt x="386" y="1234"/>
                  </a:cubicBezTo>
                  <a:cubicBezTo>
                    <a:pt x="355" y="1183"/>
                    <a:pt x="331" y="1127"/>
                    <a:pt x="317" y="10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1">
              <a:extLst>
                <a:ext uri="{FF2B5EF4-FFF2-40B4-BE49-F238E27FC236}">
                  <a16:creationId xmlns:a16="http://schemas.microsoft.com/office/drawing/2014/main" id="{A87770A8-E7C5-404B-8751-52E36C8C78F8}"/>
                </a:ext>
              </a:extLst>
            </p:cNvPr>
            <p:cNvSpPr>
              <a:spLocks noEditPoints="1"/>
            </p:cNvSpPr>
            <p:nvPr/>
          </p:nvSpPr>
          <p:spPr bwMode="auto">
            <a:xfrm>
              <a:off x="2843" y="1166"/>
              <a:ext cx="1990" cy="1992"/>
            </a:xfrm>
            <a:custGeom>
              <a:avLst/>
              <a:gdLst>
                <a:gd name="T0" fmla="*/ 531 w 1062"/>
                <a:gd name="T1" fmla="*/ 1062 h 1062"/>
                <a:gd name="T2" fmla="*/ 0 w 1062"/>
                <a:gd name="T3" fmla="*/ 531 h 1062"/>
                <a:gd name="T4" fmla="*/ 531 w 1062"/>
                <a:gd name="T5" fmla="*/ 0 h 1062"/>
                <a:gd name="T6" fmla="*/ 1062 w 1062"/>
                <a:gd name="T7" fmla="*/ 531 h 1062"/>
                <a:gd name="T8" fmla="*/ 531 w 1062"/>
                <a:gd name="T9" fmla="*/ 1062 h 1062"/>
                <a:gd name="T10" fmla="*/ 531 w 1062"/>
                <a:gd name="T11" fmla="*/ 44 h 1062"/>
                <a:gd name="T12" fmla="*/ 44 w 1062"/>
                <a:gd name="T13" fmla="*/ 531 h 1062"/>
                <a:gd name="T14" fmla="*/ 531 w 1062"/>
                <a:gd name="T15" fmla="*/ 1018 h 1062"/>
                <a:gd name="T16" fmla="*/ 1018 w 1062"/>
                <a:gd name="T17" fmla="*/ 531 h 1062"/>
                <a:gd name="T18" fmla="*/ 531 w 1062"/>
                <a:gd name="T19" fmla="*/ 44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2" h="1062">
                  <a:moveTo>
                    <a:pt x="531" y="1062"/>
                  </a:moveTo>
                  <a:cubicBezTo>
                    <a:pt x="238" y="1062"/>
                    <a:pt x="0" y="824"/>
                    <a:pt x="0" y="531"/>
                  </a:cubicBezTo>
                  <a:cubicBezTo>
                    <a:pt x="0" y="238"/>
                    <a:pt x="238" y="0"/>
                    <a:pt x="531" y="0"/>
                  </a:cubicBezTo>
                  <a:cubicBezTo>
                    <a:pt x="824" y="0"/>
                    <a:pt x="1062" y="238"/>
                    <a:pt x="1062" y="531"/>
                  </a:cubicBezTo>
                  <a:cubicBezTo>
                    <a:pt x="1062" y="824"/>
                    <a:pt x="824" y="1062"/>
                    <a:pt x="531" y="1062"/>
                  </a:cubicBezTo>
                  <a:close/>
                  <a:moveTo>
                    <a:pt x="531" y="44"/>
                  </a:moveTo>
                  <a:cubicBezTo>
                    <a:pt x="262" y="44"/>
                    <a:pt x="44" y="262"/>
                    <a:pt x="44" y="531"/>
                  </a:cubicBezTo>
                  <a:cubicBezTo>
                    <a:pt x="44" y="800"/>
                    <a:pt x="262" y="1018"/>
                    <a:pt x="531" y="1018"/>
                  </a:cubicBezTo>
                  <a:cubicBezTo>
                    <a:pt x="800" y="1018"/>
                    <a:pt x="1018" y="800"/>
                    <a:pt x="1018" y="531"/>
                  </a:cubicBezTo>
                  <a:cubicBezTo>
                    <a:pt x="1018" y="262"/>
                    <a:pt x="800" y="44"/>
                    <a:pt x="531"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1" name="Group 60"/>
          <p:cNvGrpSpPr>
            <a:grpSpLocks noChangeAspect="1"/>
          </p:cNvGrpSpPr>
          <p:nvPr/>
        </p:nvGrpSpPr>
        <p:grpSpPr>
          <a:xfrm>
            <a:off x="9127218" y="857023"/>
            <a:ext cx="526902" cy="526902"/>
            <a:chOff x="5292430" y="2613965"/>
            <a:chExt cx="1645920" cy="1645920"/>
          </a:xfrm>
        </p:grpSpPr>
        <p:sp>
          <p:nvSpPr>
            <p:cNvPr id="62" name="Rectangle 61"/>
            <p:cNvSpPr/>
            <p:nvPr/>
          </p:nvSpPr>
          <p:spPr>
            <a:xfrm>
              <a:off x="5292430" y="2613965"/>
              <a:ext cx="1645920" cy="1645920"/>
            </a:xfrm>
            <a:prstGeom prst="rect">
              <a:avLst/>
            </a:prstGeom>
            <a:noFill/>
            <a:ln w="9525" cap="rnd">
              <a:noFill/>
              <a:prstDash val="sysDot"/>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grpSp>
          <p:nvGrpSpPr>
            <p:cNvPr id="63" name="Group 62"/>
            <p:cNvGrpSpPr/>
            <p:nvPr/>
          </p:nvGrpSpPr>
          <p:grpSpPr>
            <a:xfrm>
              <a:off x="5392149" y="2697974"/>
              <a:ext cx="1446482" cy="1477901"/>
              <a:chOff x="5392149" y="2697974"/>
              <a:chExt cx="1446482" cy="1477901"/>
            </a:xfrm>
          </p:grpSpPr>
          <p:sp>
            <p:nvSpPr>
              <p:cNvPr id="64" name="Freeform 10"/>
              <p:cNvSpPr>
                <a:spLocks noEditPoints="1"/>
              </p:cNvSpPr>
              <p:nvPr/>
            </p:nvSpPr>
            <p:spPr bwMode="auto">
              <a:xfrm>
                <a:off x="5392149" y="2697974"/>
                <a:ext cx="1446482" cy="1477901"/>
              </a:xfrm>
              <a:custGeom>
                <a:avLst/>
                <a:gdLst>
                  <a:gd name="T0" fmla="*/ 1519 w 1900"/>
                  <a:gd name="T1" fmla="*/ 1024 h 1943"/>
                  <a:gd name="T2" fmla="*/ 1900 w 1900"/>
                  <a:gd name="T3" fmla="*/ 1002 h 1943"/>
                  <a:gd name="T4" fmla="*/ 1519 w 1900"/>
                  <a:gd name="T5" fmla="*/ 980 h 1943"/>
                  <a:gd name="T6" fmla="*/ 1164 w 1900"/>
                  <a:gd name="T7" fmla="*/ 690 h 1943"/>
                  <a:gd name="T8" fmla="*/ 1356 w 1900"/>
                  <a:gd name="T9" fmla="*/ 354 h 1943"/>
                  <a:gd name="T10" fmla="*/ 1356 w 1900"/>
                  <a:gd name="T11" fmla="*/ 44 h 1943"/>
                  <a:gd name="T12" fmla="*/ 1274 w 1900"/>
                  <a:gd name="T13" fmla="*/ 330 h 1943"/>
                  <a:gd name="T14" fmla="*/ 1003 w 1900"/>
                  <a:gd name="T15" fmla="*/ 651 h 1943"/>
                  <a:gd name="T16" fmla="*/ 445 w 1900"/>
                  <a:gd name="T17" fmla="*/ 413 h 1943"/>
                  <a:gd name="T18" fmla="*/ 252 w 1900"/>
                  <a:gd name="T19" fmla="*/ 0 h 1943"/>
                  <a:gd name="T20" fmla="*/ 252 w 1900"/>
                  <a:gd name="T21" fmla="*/ 504 h 1943"/>
                  <a:gd name="T22" fmla="*/ 739 w 1900"/>
                  <a:gd name="T23" fmla="*/ 770 h 1943"/>
                  <a:gd name="T24" fmla="*/ 736 w 1900"/>
                  <a:gd name="T25" fmla="*/ 1230 h 1943"/>
                  <a:gd name="T26" fmla="*/ 359 w 1900"/>
                  <a:gd name="T27" fmla="*/ 1314 h 1943"/>
                  <a:gd name="T28" fmla="*/ 359 w 1900"/>
                  <a:gd name="T29" fmla="*/ 1943 h 1943"/>
                  <a:gd name="T30" fmla="*/ 599 w 1900"/>
                  <a:gd name="T31" fmla="*/ 1426 h 1943"/>
                  <a:gd name="T32" fmla="*/ 1003 w 1900"/>
                  <a:gd name="T33" fmla="*/ 1353 h 1943"/>
                  <a:gd name="T34" fmla="*/ 1343 w 1900"/>
                  <a:gd name="T35" fmla="*/ 1449 h 1943"/>
                  <a:gd name="T36" fmla="*/ 1519 w 1900"/>
                  <a:gd name="T37" fmla="*/ 1880 h 1943"/>
                  <a:gd name="T38" fmla="*/ 1519 w 1900"/>
                  <a:gd name="T39" fmla="*/ 1377 h 1943"/>
                  <a:gd name="T40" fmla="*/ 1242 w 1900"/>
                  <a:gd name="T41" fmla="*/ 1258 h 1943"/>
                  <a:gd name="T42" fmla="*/ 1563 w 1900"/>
                  <a:gd name="T43" fmla="*/ 980 h 1943"/>
                  <a:gd name="T44" fmla="*/ 1856 w 1900"/>
                  <a:gd name="T45" fmla="*/ 1002 h 1943"/>
                  <a:gd name="T46" fmla="*/ 1563 w 1900"/>
                  <a:gd name="T47" fmla="*/ 1024 h 1943"/>
                  <a:gd name="T48" fmla="*/ 1563 w 1900"/>
                  <a:gd name="T49" fmla="*/ 980 h 1943"/>
                  <a:gd name="T50" fmla="*/ 1356 w 1900"/>
                  <a:gd name="T51" fmla="*/ 88 h 1943"/>
                  <a:gd name="T52" fmla="*/ 1356 w 1900"/>
                  <a:gd name="T53" fmla="*/ 310 h 1943"/>
                  <a:gd name="T54" fmla="*/ 1292 w 1900"/>
                  <a:gd name="T55" fmla="*/ 289 h 1943"/>
                  <a:gd name="T56" fmla="*/ 252 w 1900"/>
                  <a:gd name="T57" fmla="*/ 460 h 1943"/>
                  <a:gd name="T58" fmla="*/ 252 w 1900"/>
                  <a:gd name="T59" fmla="*/ 44 h 1943"/>
                  <a:gd name="T60" fmla="*/ 414 w 1900"/>
                  <a:gd name="T61" fmla="*/ 382 h 1943"/>
                  <a:gd name="T62" fmla="*/ 252 w 1900"/>
                  <a:gd name="T63" fmla="*/ 460 h 1943"/>
                  <a:gd name="T64" fmla="*/ 359 w 1900"/>
                  <a:gd name="T65" fmla="*/ 1899 h 1943"/>
                  <a:gd name="T66" fmla="*/ 359 w 1900"/>
                  <a:gd name="T67" fmla="*/ 1358 h 1943"/>
                  <a:gd name="T68" fmla="*/ 567 w 1900"/>
                  <a:gd name="T69" fmla="*/ 1456 h 1943"/>
                  <a:gd name="T70" fmla="*/ 1405 w 1900"/>
                  <a:gd name="T71" fmla="*/ 1455 h 1943"/>
                  <a:gd name="T72" fmla="*/ 1727 w 1900"/>
                  <a:gd name="T73" fmla="*/ 1629 h 1943"/>
                  <a:gd name="T74" fmla="*/ 1311 w 1900"/>
                  <a:gd name="T75" fmla="*/ 1629 h 1943"/>
                  <a:gd name="T76" fmla="*/ 1405 w 1900"/>
                  <a:gd name="T77" fmla="*/ 1455 h 1943"/>
                  <a:gd name="T78" fmla="*/ 1180 w 1900"/>
                  <a:gd name="T79" fmla="*/ 1252 h 1943"/>
                  <a:gd name="T80" fmla="*/ 798 w 1900"/>
                  <a:gd name="T81" fmla="*/ 1231 h 1943"/>
                  <a:gd name="T82" fmla="*/ 695 w 1900"/>
                  <a:gd name="T83" fmla="*/ 1002 h 1943"/>
                  <a:gd name="T84" fmla="*/ 802 w 1900"/>
                  <a:gd name="T85" fmla="*/ 770 h 1943"/>
                  <a:gd name="T86" fmla="*/ 1106 w 1900"/>
                  <a:gd name="T87" fmla="*/ 713 h 1943"/>
                  <a:gd name="T88" fmla="*/ 1309 w 1900"/>
                  <a:gd name="T89" fmla="*/ 980 h 1943"/>
                  <a:gd name="T90" fmla="*/ 1309 w 1900"/>
                  <a:gd name="T91" fmla="*/ 1024 h 1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00" h="1943">
                    <a:moveTo>
                      <a:pt x="1353" y="1024"/>
                    </a:moveTo>
                    <a:cubicBezTo>
                      <a:pt x="1519" y="1024"/>
                      <a:pt x="1519" y="1024"/>
                      <a:pt x="1519" y="1024"/>
                    </a:cubicBezTo>
                    <a:cubicBezTo>
                      <a:pt x="1530" y="1119"/>
                      <a:pt x="1611" y="1193"/>
                      <a:pt x="1709" y="1193"/>
                    </a:cubicBezTo>
                    <a:cubicBezTo>
                      <a:pt x="1814" y="1193"/>
                      <a:pt x="1900" y="1107"/>
                      <a:pt x="1900" y="1002"/>
                    </a:cubicBezTo>
                    <a:cubicBezTo>
                      <a:pt x="1900" y="897"/>
                      <a:pt x="1814" y="811"/>
                      <a:pt x="1709" y="811"/>
                    </a:cubicBezTo>
                    <a:cubicBezTo>
                      <a:pt x="1611" y="811"/>
                      <a:pt x="1530" y="885"/>
                      <a:pt x="1519" y="980"/>
                    </a:cubicBezTo>
                    <a:cubicBezTo>
                      <a:pt x="1353" y="980"/>
                      <a:pt x="1353" y="980"/>
                      <a:pt x="1353" y="980"/>
                    </a:cubicBezTo>
                    <a:cubicBezTo>
                      <a:pt x="1345" y="854"/>
                      <a:pt x="1270" y="745"/>
                      <a:pt x="1164" y="690"/>
                    </a:cubicBezTo>
                    <a:cubicBezTo>
                      <a:pt x="1314" y="348"/>
                      <a:pt x="1314" y="348"/>
                      <a:pt x="1314" y="348"/>
                    </a:cubicBezTo>
                    <a:cubicBezTo>
                      <a:pt x="1327" y="352"/>
                      <a:pt x="1341" y="354"/>
                      <a:pt x="1356" y="354"/>
                    </a:cubicBezTo>
                    <a:cubicBezTo>
                      <a:pt x="1441" y="354"/>
                      <a:pt x="1511" y="284"/>
                      <a:pt x="1511" y="199"/>
                    </a:cubicBezTo>
                    <a:cubicBezTo>
                      <a:pt x="1511" y="113"/>
                      <a:pt x="1441" y="44"/>
                      <a:pt x="1356" y="44"/>
                    </a:cubicBezTo>
                    <a:cubicBezTo>
                      <a:pt x="1270" y="44"/>
                      <a:pt x="1201" y="113"/>
                      <a:pt x="1201" y="199"/>
                    </a:cubicBezTo>
                    <a:cubicBezTo>
                      <a:pt x="1201" y="254"/>
                      <a:pt x="1230" y="303"/>
                      <a:pt x="1274" y="330"/>
                    </a:cubicBezTo>
                    <a:cubicBezTo>
                      <a:pt x="1123" y="672"/>
                      <a:pt x="1123" y="672"/>
                      <a:pt x="1123" y="672"/>
                    </a:cubicBezTo>
                    <a:cubicBezTo>
                      <a:pt x="1086" y="659"/>
                      <a:pt x="1045" y="651"/>
                      <a:pt x="1003" y="651"/>
                    </a:cubicBezTo>
                    <a:cubicBezTo>
                      <a:pt x="914" y="651"/>
                      <a:pt x="832" y="684"/>
                      <a:pt x="770" y="739"/>
                    </a:cubicBezTo>
                    <a:cubicBezTo>
                      <a:pt x="445" y="413"/>
                      <a:pt x="445" y="413"/>
                      <a:pt x="445" y="413"/>
                    </a:cubicBezTo>
                    <a:cubicBezTo>
                      <a:pt x="482" y="370"/>
                      <a:pt x="504" y="313"/>
                      <a:pt x="504" y="252"/>
                    </a:cubicBezTo>
                    <a:cubicBezTo>
                      <a:pt x="504" y="113"/>
                      <a:pt x="391" y="0"/>
                      <a:pt x="252" y="0"/>
                    </a:cubicBezTo>
                    <a:cubicBezTo>
                      <a:pt x="113" y="0"/>
                      <a:pt x="0" y="113"/>
                      <a:pt x="0" y="252"/>
                    </a:cubicBezTo>
                    <a:cubicBezTo>
                      <a:pt x="0" y="391"/>
                      <a:pt x="113" y="504"/>
                      <a:pt x="252" y="504"/>
                    </a:cubicBezTo>
                    <a:cubicBezTo>
                      <a:pt x="314" y="504"/>
                      <a:pt x="370" y="481"/>
                      <a:pt x="414" y="445"/>
                    </a:cubicBezTo>
                    <a:cubicBezTo>
                      <a:pt x="739" y="770"/>
                      <a:pt x="739" y="770"/>
                      <a:pt x="739" y="770"/>
                    </a:cubicBezTo>
                    <a:cubicBezTo>
                      <a:pt x="685" y="832"/>
                      <a:pt x="651" y="913"/>
                      <a:pt x="651" y="1002"/>
                    </a:cubicBezTo>
                    <a:cubicBezTo>
                      <a:pt x="651" y="1089"/>
                      <a:pt x="683" y="1169"/>
                      <a:pt x="736" y="1230"/>
                    </a:cubicBezTo>
                    <a:cubicBezTo>
                      <a:pt x="568" y="1394"/>
                      <a:pt x="568" y="1394"/>
                      <a:pt x="568" y="1394"/>
                    </a:cubicBezTo>
                    <a:cubicBezTo>
                      <a:pt x="512" y="1345"/>
                      <a:pt x="439" y="1314"/>
                      <a:pt x="359" y="1314"/>
                    </a:cubicBezTo>
                    <a:cubicBezTo>
                      <a:pt x="186" y="1314"/>
                      <a:pt x="45" y="1455"/>
                      <a:pt x="45" y="1629"/>
                    </a:cubicBezTo>
                    <a:cubicBezTo>
                      <a:pt x="45" y="1802"/>
                      <a:pt x="186" y="1943"/>
                      <a:pt x="359" y="1943"/>
                    </a:cubicBezTo>
                    <a:cubicBezTo>
                      <a:pt x="532" y="1943"/>
                      <a:pt x="673" y="1802"/>
                      <a:pt x="673" y="1629"/>
                    </a:cubicBezTo>
                    <a:cubicBezTo>
                      <a:pt x="673" y="1551"/>
                      <a:pt x="645" y="1481"/>
                      <a:pt x="599" y="1426"/>
                    </a:cubicBezTo>
                    <a:cubicBezTo>
                      <a:pt x="767" y="1262"/>
                      <a:pt x="767" y="1262"/>
                      <a:pt x="767" y="1262"/>
                    </a:cubicBezTo>
                    <a:cubicBezTo>
                      <a:pt x="829" y="1319"/>
                      <a:pt x="912" y="1353"/>
                      <a:pt x="1003" y="1353"/>
                    </a:cubicBezTo>
                    <a:cubicBezTo>
                      <a:pt x="1079" y="1353"/>
                      <a:pt x="1151" y="1328"/>
                      <a:pt x="1208" y="1286"/>
                    </a:cubicBezTo>
                    <a:cubicBezTo>
                      <a:pt x="1343" y="1449"/>
                      <a:pt x="1343" y="1449"/>
                      <a:pt x="1343" y="1449"/>
                    </a:cubicBezTo>
                    <a:cubicBezTo>
                      <a:pt x="1296" y="1495"/>
                      <a:pt x="1267" y="1558"/>
                      <a:pt x="1267" y="1629"/>
                    </a:cubicBezTo>
                    <a:cubicBezTo>
                      <a:pt x="1267" y="1767"/>
                      <a:pt x="1380" y="1880"/>
                      <a:pt x="1519" y="1880"/>
                    </a:cubicBezTo>
                    <a:cubicBezTo>
                      <a:pt x="1658" y="1880"/>
                      <a:pt x="1771" y="1767"/>
                      <a:pt x="1771" y="1629"/>
                    </a:cubicBezTo>
                    <a:cubicBezTo>
                      <a:pt x="1771" y="1490"/>
                      <a:pt x="1658" y="1377"/>
                      <a:pt x="1519" y="1377"/>
                    </a:cubicBezTo>
                    <a:cubicBezTo>
                      <a:pt x="1466" y="1377"/>
                      <a:pt x="1417" y="1393"/>
                      <a:pt x="1377" y="1421"/>
                    </a:cubicBezTo>
                    <a:cubicBezTo>
                      <a:pt x="1242" y="1258"/>
                      <a:pt x="1242" y="1258"/>
                      <a:pt x="1242" y="1258"/>
                    </a:cubicBezTo>
                    <a:cubicBezTo>
                      <a:pt x="1306" y="1199"/>
                      <a:pt x="1347" y="1116"/>
                      <a:pt x="1353" y="1024"/>
                    </a:cubicBezTo>
                    <a:close/>
                    <a:moveTo>
                      <a:pt x="1563" y="980"/>
                    </a:moveTo>
                    <a:cubicBezTo>
                      <a:pt x="1574" y="909"/>
                      <a:pt x="1635" y="855"/>
                      <a:pt x="1709" y="855"/>
                    </a:cubicBezTo>
                    <a:cubicBezTo>
                      <a:pt x="1790" y="855"/>
                      <a:pt x="1856" y="921"/>
                      <a:pt x="1856" y="1002"/>
                    </a:cubicBezTo>
                    <a:cubicBezTo>
                      <a:pt x="1856" y="1083"/>
                      <a:pt x="1790" y="1149"/>
                      <a:pt x="1709" y="1149"/>
                    </a:cubicBezTo>
                    <a:cubicBezTo>
                      <a:pt x="1635" y="1149"/>
                      <a:pt x="1574" y="1095"/>
                      <a:pt x="1563" y="1024"/>
                    </a:cubicBezTo>
                    <a:cubicBezTo>
                      <a:pt x="1562" y="1017"/>
                      <a:pt x="1562" y="1009"/>
                      <a:pt x="1562" y="1002"/>
                    </a:cubicBezTo>
                    <a:cubicBezTo>
                      <a:pt x="1562" y="995"/>
                      <a:pt x="1562" y="987"/>
                      <a:pt x="1563" y="980"/>
                    </a:cubicBezTo>
                    <a:close/>
                    <a:moveTo>
                      <a:pt x="1245" y="199"/>
                    </a:moveTo>
                    <a:cubicBezTo>
                      <a:pt x="1245" y="138"/>
                      <a:pt x="1294" y="88"/>
                      <a:pt x="1356" y="88"/>
                    </a:cubicBezTo>
                    <a:cubicBezTo>
                      <a:pt x="1417" y="88"/>
                      <a:pt x="1467" y="138"/>
                      <a:pt x="1467" y="199"/>
                    </a:cubicBezTo>
                    <a:cubicBezTo>
                      <a:pt x="1467" y="260"/>
                      <a:pt x="1417" y="310"/>
                      <a:pt x="1356" y="310"/>
                    </a:cubicBezTo>
                    <a:cubicBezTo>
                      <a:pt x="1348" y="310"/>
                      <a:pt x="1340" y="309"/>
                      <a:pt x="1332" y="307"/>
                    </a:cubicBezTo>
                    <a:cubicBezTo>
                      <a:pt x="1317" y="304"/>
                      <a:pt x="1304" y="298"/>
                      <a:pt x="1292" y="289"/>
                    </a:cubicBezTo>
                    <a:cubicBezTo>
                      <a:pt x="1263" y="269"/>
                      <a:pt x="1245" y="236"/>
                      <a:pt x="1245" y="199"/>
                    </a:cubicBezTo>
                    <a:close/>
                    <a:moveTo>
                      <a:pt x="252" y="460"/>
                    </a:moveTo>
                    <a:cubicBezTo>
                      <a:pt x="138" y="460"/>
                      <a:pt x="44" y="367"/>
                      <a:pt x="44" y="252"/>
                    </a:cubicBezTo>
                    <a:cubicBezTo>
                      <a:pt x="44" y="137"/>
                      <a:pt x="138" y="44"/>
                      <a:pt x="252" y="44"/>
                    </a:cubicBezTo>
                    <a:cubicBezTo>
                      <a:pt x="367" y="44"/>
                      <a:pt x="460" y="137"/>
                      <a:pt x="460" y="252"/>
                    </a:cubicBezTo>
                    <a:cubicBezTo>
                      <a:pt x="460" y="301"/>
                      <a:pt x="443" y="347"/>
                      <a:pt x="414" y="382"/>
                    </a:cubicBezTo>
                    <a:cubicBezTo>
                      <a:pt x="405" y="394"/>
                      <a:pt x="394" y="404"/>
                      <a:pt x="383" y="413"/>
                    </a:cubicBezTo>
                    <a:cubicBezTo>
                      <a:pt x="347" y="442"/>
                      <a:pt x="302" y="460"/>
                      <a:pt x="252" y="460"/>
                    </a:cubicBezTo>
                    <a:close/>
                    <a:moveTo>
                      <a:pt x="629" y="1629"/>
                    </a:moveTo>
                    <a:cubicBezTo>
                      <a:pt x="629" y="1778"/>
                      <a:pt x="508" y="1899"/>
                      <a:pt x="359" y="1899"/>
                    </a:cubicBezTo>
                    <a:cubicBezTo>
                      <a:pt x="210" y="1899"/>
                      <a:pt x="89" y="1778"/>
                      <a:pt x="89" y="1629"/>
                    </a:cubicBezTo>
                    <a:cubicBezTo>
                      <a:pt x="89" y="1479"/>
                      <a:pt x="210" y="1358"/>
                      <a:pt x="359" y="1358"/>
                    </a:cubicBezTo>
                    <a:cubicBezTo>
                      <a:pt x="427" y="1358"/>
                      <a:pt x="489" y="1383"/>
                      <a:pt x="536" y="1425"/>
                    </a:cubicBezTo>
                    <a:cubicBezTo>
                      <a:pt x="547" y="1435"/>
                      <a:pt x="558" y="1445"/>
                      <a:pt x="567" y="1456"/>
                    </a:cubicBezTo>
                    <a:cubicBezTo>
                      <a:pt x="606" y="1503"/>
                      <a:pt x="629" y="1563"/>
                      <a:pt x="629" y="1629"/>
                    </a:cubicBezTo>
                    <a:close/>
                    <a:moveTo>
                      <a:pt x="1405" y="1455"/>
                    </a:moveTo>
                    <a:cubicBezTo>
                      <a:pt x="1437" y="1433"/>
                      <a:pt x="1477" y="1421"/>
                      <a:pt x="1519" y="1421"/>
                    </a:cubicBezTo>
                    <a:cubicBezTo>
                      <a:pt x="1634" y="1421"/>
                      <a:pt x="1727" y="1514"/>
                      <a:pt x="1727" y="1629"/>
                    </a:cubicBezTo>
                    <a:cubicBezTo>
                      <a:pt x="1727" y="1743"/>
                      <a:pt x="1634" y="1836"/>
                      <a:pt x="1519" y="1836"/>
                    </a:cubicBezTo>
                    <a:cubicBezTo>
                      <a:pt x="1404" y="1836"/>
                      <a:pt x="1311" y="1743"/>
                      <a:pt x="1311" y="1629"/>
                    </a:cubicBezTo>
                    <a:cubicBezTo>
                      <a:pt x="1311" y="1572"/>
                      <a:pt x="1334" y="1521"/>
                      <a:pt x="1371" y="1483"/>
                    </a:cubicBezTo>
                    <a:cubicBezTo>
                      <a:pt x="1381" y="1473"/>
                      <a:pt x="1392" y="1463"/>
                      <a:pt x="1405" y="1455"/>
                    </a:cubicBezTo>
                    <a:close/>
                    <a:moveTo>
                      <a:pt x="1214" y="1224"/>
                    </a:moveTo>
                    <a:cubicBezTo>
                      <a:pt x="1204" y="1234"/>
                      <a:pt x="1192" y="1244"/>
                      <a:pt x="1180" y="1252"/>
                    </a:cubicBezTo>
                    <a:cubicBezTo>
                      <a:pt x="1130" y="1288"/>
                      <a:pt x="1069" y="1309"/>
                      <a:pt x="1003" y="1309"/>
                    </a:cubicBezTo>
                    <a:cubicBezTo>
                      <a:pt x="924" y="1309"/>
                      <a:pt x="853" y="1280"/>
                      <a:pt x="798" y="1231"/>
                    </a:cubicBezTo>
                    <a:cubicBezTo>
                      <a:pt x="787" y="1222"/>
                      <a:pt x="777" y="1211"/>
                      <a:pt x="768" y="1200"/>
                    </a:cubicBezTo>
                    <a:cubicBezTo>
                      <a:pt x="723" y="1146"/>
                      <a:pt x="695" y="1077"/>
                      <a:pt x="695" y="1002"/>
                    </a:cubicBezTo>
                    <a:cubicBezTo>
                      <a:pt x="695" y="925"/>
                      <a:pt x="724" y="855"/>
                      <a:pt x="770" y="801"/>
                    </a:cubicBezTo>
                    <a:cubicBezTo>
                      <a:pt x="780" y="790"/>
                      <a:pt x="790" y="780"/>
                      <a:pt x="802" y="770"/>
                    </a:cubicBezTo>
                    <a:cubicBezTo>
                      <a:pt x="855" y="723"/>
                      <a:pt x="926" y="695"/>
                      <a:pt x="1003" y="695"/>
                    </a:cubicBezTo>
                    <a:cubicBezTo>
                      <a:pt x="1039" y="695"/>
                      <a:pt x="1073" y="701"/>
                      <a:pt x="1106" y="713"/>
                    </a:cubicBezTo>
                    <a:cubicBezTo>
                      <a:pt x="1120" y="718"/>
                      <a:pt x="1133" y="724"/>
                      <a:pt x="1146" y="730"/>
                    </a:cubicBezTo>
                    <a:cubicBezTo>
                      <a:pt x="1237" y="779"/>
                      <a:pt x="1301" y="872"/>
                      <a:pt x="1309" y="980"/>
                    </a:cubicBezTo>
                    <a:cubicBezTo>
                      <a:pt x="1309" y="987"/>
                      <a:pt x="1310" y="995"/>
                      <a:pt x="1310" y="1002"/>
                    </a:cubicBezTo>
                    <a:cubicBezTo>
                      <a:pt x="1310" y="1009"/>
                      <a:pt x="1309" y="1017"/>
                      <a:pt x="1309" y="1024"/>
                    </a:cubicBezTo>
                    <a:cubicBezTo>
                      <a:pt x="1303" y="1103"/>
                      <a:pt x="1268" y="1173"/>
                      <a:pt x="1214" y="122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5" name="Freeform 64"/>
              <p:cNvSpPr>
                <a:spLocks noChangeArrowheads="1"/>
              </p:cNvSpPr>
              <p:nvPr/>
            </p:nvSpPr>
            <p:spPr bwMode="auto">
              <a:xfrm>
                <a:off x="5459504" y="2764424"/>
                <a:ext cx="1312612" cy="1345000"/>
              </a:xfrm>
              <a:custGeom>
                <a:avLst/>
                <a:gdLst>
                  <a:gd name="connsiteX0" fmla="*/ 1089071 w 1312612"/>
                  <a:gd name="connsiteY0" fmla="*/ 1048073 h 1345000"/>
                  <a:gd name="connsiteX1" fmla="*/ 1214102 w 1312612"/>
                  <a:gd name="connsiteY1" fmla="*/ 1172563 h 1345000"/>
                  <a:gd name="connsiteX2" fmla="*/ 1089071 w 1312612"/>
                  <a:gd name="connsiteY2" fmla="*/ 1297053 h 1345000"/>
                  <a:gd name="connsiteX3" fmla="*/ 964040 w 1312612"/>
                  <a:gd name="connsiteY3" fmla="*/ 1172563 h 1345000"/>
                  <a:gd name="connsiteX4" fmla="*/ 1089071 w 1312612"/>
                  <a:gd name="connsiteY4" fmla="*/ 1048073 h 1345000"/>
                  <a:gd name="connsiteX5" fmla="*/ 205860 w 1312612"/>
                  <a:gd name="connsiteY5" fmla="*/ 1000128 h 1345000"/>
                  <a:gd name="connsiteX6" fmla="*/ 378041 w 1312612"/>
                  <a:gd name="connsiteY6" fmla="*/ 1172564 h 1345000"/>
                  <a:gd name="connsiteX7" fmla="*/ 205860 w 1312612"/>
                  <a:gd name="connsiteY7" fmla="*/ 1345000 h 1345000"/>
                  <a:gd name="connsiteX8" fmla="*/ 33679 w 1312612"/>
                  <a:gd name="connsiteY8" fmla="*/ 1172564 h 1345000"/>
                  <a:gd name="connsiteX9" fmla="*/ 205860 w 1312612"/>
                  <a:gd name="connsiteY9" fmla="*/ 1000128 h 1345000"/>
                  <a:gd name="connsiteX10" fmla="*/ 1233888 w 1312612"/>
                  <a:gd name="connsiteY10" fmla="*/ 617404 h 1345000"/>
                  <a:gd name="connsiteX11" fmla="*/ 1312612 w 1312612"/>
                  <a:gd name="connsiteY11" fmla="*/ 695631 h 1345000"/>
                  <a:gd name="connsiteX12" fmla="*/ 1233888 w 1312612"/>
                  <a:gd name="connsiteY12" fmla="*/ 773858 h 1345000"/>
                  <a:gd name="connsiteX13" fmla="*/ 1155164 w 1312612"/>
                  <a:gd name="connsiteY13" fmla="*/ 695631 h 1345000"/>
                  <a:gd name="connsiteX14" fmla="*/ 1233888 w 1312612"/>
                  <a:gd name="connsiteY14" fmla="*/ 617404 h 1345000"/>
                  <a:gd name="connsiteX15" fmla="*/ 695878 w 1312612"/>
                  <a:gd name="connsiteY15" fmla="*/ 495438 h 1345000"/>
                  <a:gd name="connsiteX16" fmla="*/ 896685 w 1312612"/>
                  <a:gd name="connsiteY16" fmla="*/ 695632 h 1345000"/>
                  <a:gd name="connsiteX17" fmla="*/ 695878 w 1312612"/>
                  <a:gd name="connsiteY17" fmla="*/ 895826 h 1345000"/>
                  <a:gd name="connsiteX18" fmla="*/ 495071 w 1312612"/>
                  <a:gd name="connsiteY18" fmla="*/ 695632 h 1345000"/>
                  <a:gd name="connsiteX19" fmla="*/ 695878 w 1312612"/>
                  <a:gd name="connsiteY19" fmla="*/ 495438 h 1345000"/>
                  <a:gd name="connsiteX20" fmla="*/ 965304 w 1312612"/>
                  <a:gd name="connsiteY20" fmla="*/ 33646 h 1345000"/>
                  <a:gd name="connsiteX21" fmla="*/ 1016243 w 1312612"/>
                  <a:gd name="connsiteY21" fmla="*/ 84536 h 1345000"/>
                  <a:gd name="connsiteX22" fmla="*/ 965304 w 1312612"/>
                  <a:gd name="connsiteY22" fmla="*/ 135426 h 1345000"/>
                  <a:gd name="connsiteX23" fmla="*/ 914365 w 1312612"/>
                  <a:gd name="connsiteY23" fmla="*/ 84536 h 1345000"/>
                  <a:gd name="connsiteX24" fmla="*/ 965304 w 1312612"/>
                  <a:gd name="connsiteY24" fmla="*/ 33646 h 1345000"/>
                  <a:gd name="connsiteX25" fmla="*/ 124610 w 1312612"/>
                  <a:gd name="connsiteY25" fmla="*/ 0 h 1345000"/>
                  <a:gd name="connsiteX26" fmla="*/ 249220 w 1312612"/>
                  <a:gd name="connsiteY26" fmla="*/ 124911 h 1345000"/>
                  <a:gd name="connsiteX27" fmla="*/ 124610 w 1312612"/>
                  <a:gd name="connsiteY27" fmla="*/ 249822 h 1345000"/>
                  <a:gd name="connsiteX28" fmla="*/ 0 w 1312612"/>
                  <a:gd name="connsiteY28" fmla="*/ 124911 h 1345000"/>
                  <a:gd name="connsiteX29" fmla="*/ 124610 w 1312612"/>
                  <a:gd name="connsiteY29" fmla="*/ 0 h 134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12612" h="1345000">
                    <a:moveTo>
                      <a:pt x="1089071" y="1048073"/>
                    </a:moveTo>
                    <a:cubicBezTo>
                      <a:pt x="1158124" y="1048073"/>
                      <a:pt x="1214102" y="1103809"/>
                      <a:pt x="1214102" y="1172563"/>
                    </a:cubicBezTo>
                    <a:cubicBezTo>
                      <a:pt x="1214102" y="1241317"/>
                      <a:pt x="1158124" y="1297053"/>
                      <a:pt x="1089071" y="1297053"/>
                    </a:cubicBezTo>
                    <a:cubicBezTo>
                      <a:pt x="1020018" y="1297053"/>
                      <a:pt x="964040" y="1241317"/>
                      <a:pt x="964040" y="1172563"/>
                    </a:cubicBezTo>
                    <a:cubicBezTo>
                      <a:pt x="964040" y="1103809"/>
                      <a:pt x="1020018" y="1048073"/>
                      <a:pt x="1089071" y="1048073"/>
                    </a:cubicBezTo>
                    <a:close/>
                    <a:moveTo>
                      <a:pt x="205860" y="1000128"/>
                    </a:moveTo>
                    <a:cubicBezTo>
                      <a:pt x="300953" y="1000128"/>
                      <a:pt x="378041" y="1077330"/>
                      <a:pt x="378041" y="1172564"/>
                    </a:cubicBezTo>
                    <a:cubicBezTo>
                      <a:pt x="378041" y="1267798"/>
                      <a:pt x="300953" y="1345000"/>
                      <a:pt x="205860" y="1345000"/>
                    </a:cubicBezTo>
                    <a:cubicBezTo>
                      <a:pt x="110767" y="1345000"/>
                      <a:pt x="33679" y="1267798"/>
                      <a:pt x="33679" y="1172564"/>
                    </a:cubicBezTo>
                    <a:cubicBezTo>
                      <a:pt x="33679" y="1077330"/>
                      <a:pt x="110767" y="1000128"/>
                      <a:pt x="205860" y="1000128"/>
                    </a:cubicBezTo>
                    <a:close/>
                    <a:moveTo>
                      <a:pt x="1233888" y="617404"/>
                    </a:moveTo>
                    <a:cubicBezTo>
                      <a:pt x="1277366" y="617404"/>
                      <a:pt x="1312612" y="652427"/>
                      <a:pt x="1312612" y="695631"/>
                    </a:cubicBezTo>
                    <a:cubicBezTo>
                      <a:pt x="1312612" y="738835"/>
                      <a:pt x="1277366" y="773858"/>
                      <a:pt x="1233888" y="773858"/>
                    </a:cubicBezTo>
                    <a:cubicBezTo>
                      <a:pt x="1190410" y="773858"/>
                      <a:pt x="1155164" y="738835"/>
                      <a:pt x="1155164" y="695631"/>
                    </a:cubicBezTo>
                    <a:cubicBezTo>
                      <a:pt x="1155164" y="652427"/>
                      <a:pt x="1190410" y="617404"/>
                      <a:pt x="1233888" y="617404"/>
                    </a:cubicBezTo>
                    <a:close/>
                    <a:moveTo>
                      <a:pt x="695878" y="495438"/>
                    </a:moveTo>
                    <a:cubicBezTo>
                      <a:pt x="806781" y="495438"/>
                      <a:pt x="896685" y="585068"/>
                      <a:pt x="896685" y="695632"/>
                    </a:cubicBezTo>
                    <a:cubicBezTo>
                      <a:pt x="896685" y="806196"/>
                      <a:pt x="806781" y="895826"/>
                      <a:pt x="695878" y="895826"/>
                    </a:cubicBezTo>
                    <a:cubicBezTo>
                      <a:pt x="584975" y="895826"/>
                      <a:pt x="495071" y="806196"/>
                      <a:pt x="495071" y="695632"/>
                    </a:cubicBezTo>
                    <a:cubicBezTo>
                      <a:pt x="495071" y="585068"/>
                      <a:pt x="584975" y="495438"/>
                      <a:pt x="695878" y="495438"/>
                    </a:cubicBezTo>
                    <a:close/>
                    <a:moveTo>
                      <a:pt x="965304" y="33646"/>
                    </a:moveTo>
                    <a:cubicBezTo>
                      <a:pt x="993437" y="33646"/>
                      <a:pt x="1016243" y="56430"/>
                      <a:pt x="1016243" y="84536"/>
                    </a:cubicBezTo>
                    <a:cubicBezTo>
                      <a:pt x="1016243" y="112642"/>
                      <a:pt x="993437" y="135426"/>
                      <a:pt x="965304" y="135426"/>
                    </a:cubicBezTo>
                    <a:cubicBezTo>
                      <a:pt x="937171" y="135426"/>
                      <a:pt x="914365" y="112642"/>
                      <a:pt x="914365" y="84536"/>
                    </a:cubicBezTo>
                    <a:cubicBezTo>
                      <a:pt x="914365" y="56430"/>
                      <a:pt x="937171" y="33646"/>
                      <a:pt x="965304" y="33646"/>
                    </a:cubicBezTo>
                    <a:close/>
                    <a:moveTo>
                      <a:pt x="124610" y="0"/>
                    </a:moveTo>
                    <a:cubicBezTo>
                      <a:pt x="193430" y="0"/>
                      <a:pt x="249220" y="55925"/>
                      <a:pt x="249220" y="124911"/>
                    </a:cubicBezTo>
                    <a:cubicBezTo>
                      <a:pt x="249220" y="193897"/>
                      <a:pt x="193430" y="249822"/>
                      <a:pt x="124610" y="249822"/>
                    </a:cubicBezTo>
                    <a:cubicBezTo>
                      <a:pt x="55790" y="249822"/>
                      <a:pt x="0" y="193897"/>
                      <a:pt x="0" y="124911"/>
                    </a:cubicBezTo>
                    <a:cubicBezTo>
                      <a:pt x="0" y="55925"/>
                      <a:pt x="55790" y="0"/>
                      <a:pt x="12461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66" name="Group 65"/>
          <p:cNvGrpSpPr>
            <a:grpSpLocks noChangeAspect="1"/>
          </p:cNvGrpSpPr>
          <p:nvPr/>
        </p:nvGrpSpPr>
        <p:grpSpPr>
          <a:xfrm>
            <a:off x="6624051" y="2403342"/>
            <a:ext cx="822837" cy="822039"/>
            <a:chOff x="5273675" y="2606675"/>
            <a:chExt cx="1646238" cy="1644650"/>
          </a:xfrm>
        </p:grpSpPr>
        <p:sp>
          <p:nvSpPr>
            <p:cNvPr id="67"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8" name="Group 67"/>
            <p:cNvGrpSpPr/>
            <p:nvPr/>
          </p:nvGrpSpPr>
          <p:grpSpPr>
            <a:xfrm>
              <a:off x="5562600" y="2774950"/>
              <a:ext cx="1109818" cy="1266824"/>
              <a:chOff x="5562600" y="2774950"/>
              <a:chExt cx="1109818" cy="1266824"/>
            </a:xfrm>
          </p:grpSpPr>
          <p:sp>
            <p:nvSpPr>
              <p:cNvPr id="69" name="Freeform 68"/>
              <p:cNvSpPr>
                <a:spLocks/>
              </p:cNvSpPr>
              <p:nvPr/>
            </p:nvSpPr>
            <p:spPr bwMode="auto">
              <a:xfrm>
                <a:off x="5562600" y="3103562"/>
                <a:ext cx="1065213" cy="938212"/>
              </a:xfrm>
              <a:custGeom>
                <a:avLst/>
                <a:gdLst>
                  <a:gd name="connsiteX0" fmla="*/ 906333 w 1065213"/>
                  <a:gd name="connsiteY0" fmla="*/ 763587 h 938212"/>
                  <a:gd name="connsiteX1" fmla="*/ 1025135 w 1065213"/>
                  <a:gd name="connsiteY1" fmla="*/ 763587 h 938212"/>
                  <a:gd name="connsiteX2" fmla="*/ 993646 w 1065213"/>
                  <a:gd name="connsiteY2" fmla="*/ 795077 h 938212"/>
                  <a:gd name="connsiteX3" fmla="*/ 922078 w 1065213"/>
                  <a:gd name="connsiteY3" fmla="*/ 795077 h 938212"/>
                  <a:gd name="connsiteX4" fmla="*/ 922078 w 1065213"/>
                  <a:gd name="connsiteY4" fmla="*/ 906722 h 938212"/>
                  <a:gd name="connsiteX5" fmla="*/ 1033723 w 1065213"/>
                  <a:gd name="connsiteY5" fmla="*/ 906722 h 938212"/>
                  <a:gd name="connsiteX6" fmla="*/ 1033723 w 1065213"/>
                  <a:gd name="connsiteY6" fmla="*/ 888830 h 938212"/>
                  <a:gd name="connsiteX7" fmla="*/ 1065213 w 1065213"/>
                  <a:gd name="connsiteY7" fmla="*/ 857341 h 938212"/>
                  <a:gd name="connsiteX8" fmla="*/ 1065213 w 1065213"/>
                  <a:gd name="connsiteY8" fmla="*/ 922467 h 938212"/>
                  <a:gd name="connsiteX9" fmla="*/ 1049468 w 1065213"/>
                  <a:gd name="connsiteY9" fmla="*/ 938212 h 938212"/>
                  <a:gd name="connsiteX10" fmla="*/ 906333 w 1065213"/>
                  <a:gd name="connsiteY10" fmla="*/ 938212 h 938212"/>
                  <a:gd name="connsiteX11" fmla="*/ 890588 w 1065213"/>
                  <a:gd name="connsiteY11" fmla="*/ 922467 h 938212"/>
                  <a:gd name="connsiteX12" fmla="*/ 890588 w 1065213"/>
                  <a:gd name="connsiteY12" fmla="*/ 779332 h 938212"/>
                  <a:gd name="connsiteX13" fmla="*/ 906333 w 1065213"/>
                  <a:gd name="connsiteY13" fmla="*/ 763587 h 938212"/>
                  <a:gd name="connsiteX14" fmla="*/ 461833 w 1065213"/>
                  <a:gd name="connsiteY14" fmla="*/ 763587 h 938212"/>
                  <a:gd name="connsiteX15" fmla="*/ 580635 w 1065213"/>
                  <a:gd name="connsiteY15" fmla="*/ 763587 h 938212"/>
                  <a:gd name="connsiteX16" fmla="*/ 549146 w 1065213"/>
                  <a:gd name="connsiteY16" fmla="*/ 795077 h 938212"/>
                  <a:gd name="connsiteX17" fmla="*/ 477578 w 1065213"/>
                  <a:gd name="connsiteY17" fmla="*/ 795077 h 938212"/>
                  <a:gd name="connsiteX18" fmla="*/ 477578 w 1065213"/>
                  <a:gd name="connsiteY18" fmla="*/ 906722 h 938212"/>
                  <a:gd name="connsiteX19" fmla="*/ 589223 w 1065213"/>
                  <a:gd name="connsiteY19" fmla="*/ 906722 h 938212"/>
                  <a:gd name="connsiteX20" fmla="*/ 589223 w 1065213"/>
                  <a:gd name="connsiteY20" fmla="*/ 888830 h 938212"/>
                  <a:gd name="connsiteX21" fmla="*/ 620713 w 1065213"/>
                  <a:gd name="connsiteY21" fmla="*/ 857341 h 938212"/>
                  <a:gd name="connsiteX22" fmla="*/ 620713 w 1065213"/>
                  <a:gd name="connsiteY22" fmla="*/ 922467 h 938212"/>
                  <a:gd name="connsiteX23" fmla="*/ 604968 w 1065213"/>
                  <a:gd name="connsiteY23" fmla="*/ 938212 h 938212"/>
                  <a:gd name="connsiteX24" fmla="*/ 461833 w 1065213"/>
                  <a:gd name="connsiteY24" fmla="*/ 938212 h 938212"/>
                  <a:gd name="connsiteX25" fmla="*/ 446088 w 1065213"/>
                  <a:gd name="connsiteY25" fmla="*/ 922467 h 938212"/>
                  <a:gd name="connsiteX26" fmla="*/ 446088 w 1065213"/>
                  <a:gd name="connsiteY26" fmla="*/ 779332 h 938212"/>
                  <a:gd name="connsiteX27" fmla="*/ 461833 w 1065213"/>
                  <a:gd name="connsiteY27" fmla="*/ 763587 h 938212"/>
                  <a:gd name="connsiteX28" fmla="*/ 15809 w 1065213"/>
                  <a:gd name="connsiteY28" fmla="*/ 763587 h 938212"/>
                  <a:gd name="connsiteX29" fmla="*/ 135101 w 1065213"/>
                  <a:gd name="connsiteY29" fmla="*/ 763587 h 938212"/>
                  <a:gd name="connsiteX30" fmla="*/ 103481 w 1065213"/>
                  <a:gd name="connsiteY30" fmla="*/ 795077 h 938212"/>
                  <a:gd name="connsiteX31" fmla="*/ 31619 w 1065213"/>
                  <a:gd name="connsiteY31" fmla="*/ 795077 h 938212"/>
                  <a:gd name="connsiteX32" fmla="*/ 31619 w 1065213"/>
                  <a:gd name="connsiteY32" fmla="*/ 906722 h 938212"/>
                  <a:gd name="connsiteX33" fmla="*/ 143724 w 1065213"/>
                  <a:gd name="connsiteY33" fmla="*/ 906722 h 938212"/>
                  <a:gd name="connsiteX34" fmla="*/ 143724 w 1065213"/>
                  <a:gd name="connsiteY34" fmla="*/ 888830 h 938212"/>
                  <a:gd name="connsiteX35" fmla="*/ 174625 w 1065213"/>
                  <a:gd name="connsiteY35" fmla="*/ 857341 h 938212"/>
                  <a:gd name="connsiteX36" fmla="*/ 174625 w 1065213"/>
                  <a:gd name="connsiteY36" fmla="*/ 922467 h 938212"/>
                  <a:gd name="connsiteX37" fmla="*/ 158815 w 1065213"/>
                  <a:gd name="connsiteY37" fmla="*/ 938212 h 938212"/>
                  <a:gd name="connsiteX38" fmla="*/ 15809 w 1065213"/>
                  <a:gd name="connsiteY38" fmla="*/ 938212 h 938212"/>
                  <a:gd name="connsiteX39" fmla="*/ 0 w 1065213"/>
                  <a:gd name="connsiteY39" fmla="*/ 922467 h 938212"/>
                  <a:gd name="connsiteX40" fmla="*/ 0 w 1065213"/>
                  <a:gd name="connsiteY40" fmla="*/ 779332 h 938212"/>
                  <a:gd name="connsiteX41" fmla="*/ 15809 w 1065213"/>
                  <a:gd name="connsiteY41" fmla="*/ 763587 h 938212"/>
                  <a:gd name="connsiteX42" fmla="*/ 514137 w 1065213"/>
                  <a:gd name="connsiteY42" fmla="*/ 466725 h 938212"/>
                  <a:gd name="connsiteX43" fmla="*/ 545599 w 1065213"/>
                  <a:gd name="connsiteY43" fmla="*/ 466725 h 938212"/>
                  <a:gd name="connsiteX44" fmla="*/ 545599 w 1065213"/>
                  <a:gd name="connsiteY44" fmla="*/ 605696 h 938212"/>
                  <a:gd name="connsiteX45" fmla="*/ 979632 w 1065213"/>
                  <a:gd name="connsiteY45" fmla="*/ 605696 h 938212"/>
                  <a:gd name="connsiteX46" fmla="*/ 995363 w 1065213"/>
                  <a:gd name="connsiteY46" fmla="*/ 621374 h 938212"/>
                  <a:gd name="connsiteX47" fmla="*/ 995363 w 1065213"/>
                  <a:gd name="connsiteY47" fmla="*/ 731838 h 938212"/>
                  <a:gd name="connsiteX48" fmla="*/ 963901 w 1065213"/>
                  <a:gd name="connsiteY48" fmla="*/ 731838 h 938212"/>
                  <a:gd name="connsiteX49" fmla="*/ 963901 w 1065213"/>
                  <a:gd name="connsiteY49" fmla="*/ 637053 h 938212"/>
                  <a:gd name="connsiteX50" fmla="*/ 545599 w 1065213"/>
                  <a:gd name="connsiteY50" fmla="*/ 637053 h 938212"/>
                  <a:gd name="connsiteX51" fmla="*/ 545599 w 1065213"/>
                  <a:gd name="connsiteY51" fmla="*/ 731838 h 938212"/>
                  <a:gd name="connsiteX52" fmla="*/ 514137 w 1065213"/>
                  <a:gd name="connsiteY52" fmla="*/ 731838 h 938212"/>
                  <a:gd name="connsiteX53" fmla="*/ 514137 w 1065213"/>
                  <a:gd name="connsiteY53" fmla="*/ 637053 h 938212"/>
                  <a:gd name="connsiteX54" fmla="*/ 96550 w 1065213"/>
                  <a:gd name="connsiteY54" fmla="*/ 637053 h 938212"/>
                  <a:gd name="connsiteX55" fmla="*/ 96550 w 1065213"/>
                  <a:gd name="connsiteY55" fmla="*/ 731838 h 938212"/>
                  <a:gd name="connsiteX56" fmla="*/ 65088 w 1065213"/>
                  <a:gd name="connsiteY56" fmla="*/ 731838 h 938212"/>
                  <a:gd name="connsiteX57" fmla="*/ 65088 w 1065213"/>
                  <a:gd name="connsiteY57" fmla="*/ 621374 h 938212"/>
                  <a:gd name="connsiteX58" fmla="*/ 80819 w 1065213"/>
                  <a:gd name="connsiteY58" fmla="*/ 605696 h 938212"/>
                  <a:gd name="connsiteX59" fmla="*/ 514137 w 1065213"/>
                  <a:gd name="connsiteY59" fmla="*/ 605696 h 938212"/>
                  <a:gd name="connsiteX60" fmla="*/ 514137 w 1065213"/>
                  <a:gd name="connsiteY60" fmla="*/ 466725 h 938212"/>
                  <a:gd name="connsiteX61" fmla="*/ 359172 w 1065213"/>
                  <a:gd name="connsiteY61" fmla="*/ 0 h 938212"/>
                  <a:gd name="connsiteX62" fmla="*/ 373460 w 1065213"/>
                  <a:gd name="connsiteY62" fmla="*/ 19335 h 938212"/>
                  <a:gd name="connsiteX63" fmla="*/ 382746 w 1065213"/>
                  <a:gd name="connsiteY63" fmla="*/ 28644 h 938212"/>
                  <a:gd name="connsiteX64" fmla="*/ 440611 w 1065213"/>
                  <a:gd name="connsiteY64" fmla="*/ 151097 h 938212"/>
                  <a:gd name="connsiteX65" fmla="*/ 460613 w 1065213"/>
                  <a:gd name="connsiteY65" fmla="*/ 166852 h 938212"/>
                  <a:gd name="connsiteX66" fmla="*/ 529908 w 1065213"/>
                  <a:gd name="connsiteY66" fmla="*/ 197644 h 938212"/>
                  <a:gd name="connsiteX67" fmla="*/ 619205 w 1065213"/>
                  <a:gd name="connsiteY67" fmla="*/ 151097 h 938212"/>
                  <a:gd name="connsiteX68" fmla="*/ 677069 w 1065213"/>
                  <a:gd name="connsiteY68" fmla="*/ 28644 h 938212"/>
                  <a:gd name="connsiteX69" fmla="*/ 684213 w 1065213"/>
                  <a:gd name="connsiteY69" fmla="*/ 20051 h 938212"/>
                  <a:gd name="connsiteX70" fmla="*/ 684927 w 1065213"/>
                  <a:gd name="connsiteY70" fmla="*/ 20051 h 938212"/>
                  <a:gd name="connsiteX71" fmla="*/ 702786 w 1065213"/>
                  <a:gd name="connsiteY71" fmla="*/ 22199 h 938212"/>
                  <a:gd name="connsiteX72" fmla="*/ 727075 w 1065213"/>
                  <a:gd name="connsiteY72" fmla="*/ 18619 h 938212"/>
                  <a:gd name="connsiteX73" fmla="*/ 704215 w 1065213"/>
                  <a:gd name="connsiteY73" fmla="*/ 45114 h 938212"/>
                  <a:gd name="connsiteX74" fmla="*/ 639921 w 1065213"/>
                  <a:gd name="connsiteY74" fmla="*/ 175445 h 938212"/>
                  <a:gd name="connsiteX75" fmla="*/ 637778 w 1065213"/>
                  <a:gd name="connsiteY75" fmla="*/ 176877 h 938212"/>
                  <a:gd name="connsiteX76" fmla="*/ 637778 w 1065213"/>
                  <a:gd name="connsiteY76" fmla="*/ 236313 h 938212"/>
                  <a:gd name="connsiteX77" fmla="*/ 633492 w 1065213"/>
                  <a:gd name="connsiteY77" fmla="*/ 240610 h 938212"/>
                  <a:gd name="connsiteX78" fmla="*/ 606346 w 1065213"/>
                  <a:gd name="connsiteY78" fmla="*/ 262093 h 938212"/>
                  <a:gd name="connsiteX79" fmla="*/ 606346 w 1065213"/>
                  <a:gd name="connsiteY79" fmla="*/ 199792 h 938212"/>
                  <a:gd name="connsiteX80" fmla="*/ 529908 w 1065213"/>
                  <a:gd name="connsiteY80" fmla="*/ 229152 h 938212"/>
                  <a:gd name="connsiteX81" fmla="*/ 460613 w 1065213"/>
                  <a:gd name="connsiteY81" fmla="*/ 204089 h 938212"/>
                  <a:gd name="connsiteX82" fmla="*/ 460613 w 1065213"/>
                  <a:gd name="connsiteY82" fmla="*/ 263525 h 938212"/>
                  <a:gd name="connsiteX83" fmla="*/ 458470 w 1065213"/>
                  <a:gd name="connsiteY83" fmla="*/ 263525 h 938212"/>
                  <a:gd name="connsiteX84" fmla="*/ 430610 w 1065213"/>
                  <a:gd name="connsiteY84" fmla="*/ 240610 h 938212"/>
                  <a:gd name="connsiteX85" fmla="*/ 429181 w 1065213"/>
                  <a:gd name="connsiteY85" fmla="*/ 239178 h 938212"/>
                  <a:gd name="connsiteX86" fmla="*/ 429181 w 1065213"/>
                  <a:gd name="connsiteY86" fmla="*/ 183322 h 938212"/>
                  <a:gd name="connsiteX87" fmla="*/ 419894 w 1065213"/>
                  <a:gd name="connsiteY87" fmla="*/ 175445 h 938212"/>
                  <a:gd name="connsiteX88" fmla="*/ 355600 w 1065213"/>
                  <a:gd name="connsiteY88" fmla="*/ 45831 h 938212"/>
                  <a:gd name="connsiteX89" fmla="*/ 327025 w 1065213"/>
                  <a:gd name="connsiteY89" fmla="*/ 2148 h 938212"/>
                  <a:gd name="connsiteX90" fmla="*/ 340598 w 1065213"/>
                  <a:gd name="connsiteY90" fmla="*/ 4297 h 938212"/>
                  <a:gd name="connsiteX91" fmla="*/ 359172 w 1065213"/>
                  <a:gd name="connsiteY91" fmla="*/ 0 h 938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65213" h="938212">
                    <a:moveTo>
                      <a:pt x="906333" y="763587"/>
                    </a:moveTo>
                    <a:cubicBezTo>
                      <a:pt x="906333" y="763587"/>
                      <a:pt x="906333" y="763587"/>
                      <a:pt x="1025135" y="763587"/>
                    </a:cubicBezTo>
                    <a:cubicBezTo>
                      <a:pt x="1025135" y="763587"/>
                      <a:pt x="1025135" y="763587"/>
                      <a:pt x="993646" y="795077"/>
                    </a:cubicBezTo>
                    <a:cubicBezTo>
                      <a:pt x="993646" y="795077"/>
                      <a:pt x="993646" y="795077"/>
                      <a:pt x="922078" y="795077"/>
                    </a:cubicBezTo>
                    <a:cubicBezTo>
                      <a:pt x="922078" y="795077"/>
                      <a:pt x="922078" y="795077"/>
                      <a:pt x="922078" y="906722"/>
                    </a:cubicBezTo>
                    <a:cubicBezTo>
                      <a:pt x="922078" y="906722"/>
                      <a:pt x="922078" y="906722"/>
                      <a:pt x="1033723" y="906722"/>
                    </a:cubicBezTo>
                    <a:cubicBezTo>
                      <a:pt x="1033723" y="906722"/>
                      <a:pt x="1033723" y="906722"/>
                      <a:pt x="1033723" y="888830"/>
                    </a:cubicBezTo>
                    <a:lnTo>
                      <a:pt x="1065213" y="857341"/>
                    </a:lnTo>
                    <a:cubicBezTo>
                      <a:pt x="1065213" y="857341"/>
                      <a:pt x="1065213" y="857341"/>
                      <a:pt x="1065213" y="922467"/>
                    </a:cubicBezTo>
                    <a:cubicBezTo>
                      <a:pt x="1065213" y="931771"/>
                      <a:pt x="1058056" y="938212"/>
                      <a:pt x="1049468" y="938212"/>
                    </a:cubicBezTo>
                    <a:cubicBezTo>
                      <a:pt x="1049468" y="938212"/>
                      <a:pt x="1049468" y="938212"/>
                      <a:pt x="906333" y="938212"/>
                    </a:cubicBezTo>
                    <a:cubicBezTo>
                      <a:pt x="897745" y="938212"/>
                      <a:pt x="890588" y="931771"/>
                      <a:pt x="890588" y="922467"/>
                    </a:cubicBezTo>
                    <a:cubicBezTo>
                      <a:pt x="890588" y="922467"/>
                      <a:pt x="890588" y="922467"/>
                      <a:pt x="890588" y="779332"/>
                    </a:cubicBezTo>
                    <a:cubicBezTo>
                      <a:pt x="890588" y="770744"/>
                      <a:pt x="897745" y="763587"/>
                      <a:pt x="906333" y="763587"/>
                    </a:cubicBezTo>
                    <a:close/>
                    <a:moveTo>
                      <a:pt x="461833" y="763587"/>
                    </a:moveTo>
                    <a:cubicBezTo>
                      <a:pt x="461833" y="763587"/>
                      <a:pt x="461833" y="763587"/>
                      <a:pt x="580635" y="763587"/>
                    </a:cubicBezTo>
                    <a:cubicBezTo>
                      <a:pt x="580635" y="763587"/>
                      <a:pt x="580635" y="763587"/>
                      <a:pt x="549146" y="795077"/>
                    </a:cubicBezTo>
                    <a:cubicBezTo>
                      <a:pt x="549146" y="795077"/>
                      <a:pt x="549146" y="795077"/>
                      <a:pt x="477578" y="795077"/>
                    </a:cubicBezTo>
                    <a:cubicBezTo>
                      <a:pt x="477578" y="795077"/>
                      <a:pt x="477578" y="795077"/>
                      <a:pt x="477578" y="906722"/>
                    </a:cubicBezTo>
                    <a:cubicBezTo>
                      <a:pt x="477578" y="906722"/>
                      <a:pt x="477578" y="906722"/>
                      <a:pt x="589223" y="906722"/>
                    </a:cubicBezTo>
                    <a:cubicBezTo>
                      <a:pt x="589223" y="906722"/>
                      <a:pt x="589223" y="906722"/>
                      <a:pt x="589223" y="888830"/>
                    </a:cubicBezTo>
                    <a:cubicBezTo>
                      <a:pt x="589223" y="888830"/>
                      <a:pt x="589223" y="888830"/>
                      <a:pt x="620713" y="857341"/>
                    </a:cubicBezTo>
                    <a:cubicBezTo>
                      <a:pt x="620713" y="857341"/>
                      <a:pt x="620713" y="857341"/>
                      <a:pt x="620713" y="922467"/>
                    </a:cubicBezTo>
                    <a:cubicBezTo>
                      <a:pt x="620713" y="931771"/>
                      <a:pt x="613556" y="938212"/>
                      <a:pt x="604968" y="938212"/>
                    </a:cubicBezTo>
                    <a:cubicBezTo>
                      <a:pt x="604968" y="938212"/>
                      <a:pt x="604968" y="938212"/>
                      <a:pt x="461833" y="938212"/>
                    </a:cubicBezTo>
                    <a:cubicBezTo>
                      <a:pt x="453245" y="938212"/>
                      <a:pt x="446088" y="931771"/>
                      <a:pt x="446088" y="922467"/>
                    </a:cubicBezTo>
                    <a:cubicBezTo>
                      <a:pt x="446088" y="922467"/>
                      <a:pt x="446088" y="922467"/>
                      <a:pt x="446088" y="779332"/>
                    </a:cubicBezTo>
                    <a:cubicBezTo>
                      <a:pt x="446088" y="770744"/>
                      <a:pt x="453245" y="763587"/>
                      <a:pt x="461833" y="763587"/>
                    </a:cubicBezTo>
                    <a:close/>
                    <a:moveTo>
                      <a:pt x="15809" y="763587"/>
                    </a:moveTo>
                    <a:cubicBezTo>
                      <a:pt x="15809" y="763587"/>
                      <a:pt x="15809" y="763587"/>
                      <a:pt x="135101" y="763587"/>
                    </a:cubicBezTo>
                    <a:cubicBezTo>
                      <a:pt x="135101" y="763587"/>
                      <a:pt x="135101" y="763587"/>
                      <a:pt x="103481" y="795077"/>
                    </a:cubicBezTo>
                    <a:cubicBezTo>
                      <a:pt x="103481" y="795077"/>
                      <a:pt x="103481" y="795077"/>
                      <a:pt x="31619" y="795077"/>
                    </a:cubicBezTo>
                    <a:cubicBezTo>
                      <a:pt x="31619" y="795077"/>
                      <a:pt x="31619" y="795077"/>
                      <a:pt x="31619" y="906722"/>
                    </a:cubicBezTo>
                    <a:cubicBezTo>
                      <a:pt x="31619" y="906722"/>
                      <a:pt x="31619" y="906722"/>
                      <a:pt x="143724" y="906722"/>
                    </a:cubicBezTo>
                    <a:cubicBezTo>
                      <a:pt x="143724" y="906722"/>
                      <a:pt x="143724" y="906722"/>
                      <a:pt x="143724" y="888830"/>
                    </a:cubicBezTo>
                    <a:cubicBezTo>
                      <a:pt x="143724" y="888830"/>
                      <a:pt x="143724" y="888830"/>
                      <a:pt x="174625" y="857341"/>
                    </a:cubicBezTo>
                    <a:cubicBezTo>
                      <a:pt x="174625" y="857341"/>
                      <a:pt x="174625" y="857341"/>
                      <a:pt x="174625" y="922467"/>
                    </a:cubicBezTo>
                    <a:cubicBezTo>
                      <a:pt x="174625" y="931771"/>
                      <a:pt x="167439" y="938212"/>
                      <a:pt x="158815" y="938212"/>
                    </a:cubicBezTo>
                    <a:cubicBezTo>
                      <a:pt x="158815" y="938212"/>
                      <a:pt x="158815" y="938212"/>
                      <a:pt x="15809" y="938212"/>
                    </a:cubicBezTo>
                    <a:cubicBezTo>
                      <a:pt x="7186" y="938212"/>
                      <a:pt x="0" y="931771"/>
                      <a:pt x="0" y="922467"/>
                    </a:cubicBezTo>
                    <a:cubicBezTo>
                      <a:pt x="0" y="922467"/>
                      <a:pt x="0" y="922467"/>
                      <a:pt x="0" y="779332"/>
                    </a:cubicBezTo>
                    <a:cubicBezTo>
                      <a:pt x="0" y="770744"/>
                      <a:pt x="7186" y="763587"/>
                      <a:pt x="15809" y="763587"/>
                    </a:cubicBezTo>
                    <a:close/>
                    <a:moveTo>
                      <a:pt x="514137" y="466725"/>
                    </a:moveTo>
                    <a:cubicBezTo>
                      <a:pt x="514137" y="466725"/>
                      <a:pt x="514137" y="466725"/>
                      <a:pt x="545599" y="466725"/>
                    </a:cubicBezTo>
                    <a:cubicBezTo>
                      <a:pt x="545599" y="466725"/>
                      <a:pt x="545599" y="466725"/>
                      <a:pt x="545599" y="605696"/>
                    </a:cubicBezTo>
                    <a:cubicBezTo>
                      <a:pt x="545599" y="605696"/>
                      <a:pt x="545599" y="605696"/>
                      <a:pt x="979632" y="605696"/>
                    </a:cubicBezTo>
                    <a:cubicBezTo>
                      <a:pt x="988213" y="605696"/>
                      <a:pt x="995363" y="612822"/>
                      <a:pt x="995363" y="621374"/>
                    </a:cubicBezTo>
                    <a:cubicBezTo>
                      <a:pt x="995363" y="621374"/>
                      <a:pt x="995363" y="621374"/>
                      <a:pt x="995363" y="731838"/>
                    </a:cubicBezTo>
                    <a:cubicBezTo>
                      <a:pt x="995363" y="731838"/>
                      <a:pt x="995363" y="731838"/>
                      <a:pt x="963901" y="731838"/>
                    </a:cubicBezTo>
                    <a:cubicBezTo>
                      <a:pt x="963901" y="731838"/>
                      <a:pt x="963901" y="731838"/>
                      <a:pt x="963901" y="637053"/>
                    </a:cubicBezTo>
                    <a:cubicBezTo>
                      <a:pt x="963901" y="637053"/>
                      <a:pt x="963901" y="637053"/>
                      <a:pt x="545599" y="637053"/>
                    </a:cubicBezTo>
                    <a:cubicBezTo>
                      <a:pt x="545599" y="637053"/>
                      <a:pt x="545599" y="637053"/>
                      <a:pt x="545599" y="731838"/>
                    </a:cubicBezTo>
                    <a:cubicBezTo>
                      <a:pt x="545599" y="731838"/>
                      <a:pt x="545599" y="731838"/>
                      <a:pt x="514137" y="731838"/>
                    </a:cubicBezTo>
                    <a:cubicBezTo>
                      <a:pt x="514137" y="731838"/>
                      <a:pt x="514137" y="731838"/>
                      <a:pt x="514137" y="637053"/>
                    </a:cubicBezTo>
                    <a:cubicBezTo>
                      <a:pt x="514137" y="637053"/>
                      <a:pt x="514137" y="637053"/>
                      <a:pt x="96550" y="637053"/>
                    </a:cubicBezTo>
                    <a:cubicBezTo>
                      <a:pt x="96550" y="637053"/>
                      <a:pt x="96550" y="637053"/>
                      <a:pt x="96550" y="731838"/>
                    </a:cubicBezTo>
                    <a:cubicBezTo>
                      <a:pt x="96550" y="731838"/>
                      <a:pt x="96550" y="731838"/>
                      <a:pt x="65088" y="731838"/>
                    </a:cubicBezTo>
                    <a:cubicBezTo>
                      <a:pt x="65088" y="731838"/>
                      <a:pt x="65088" y="731838"/>
                      <a:pt x="65088" y="621374"/>
                    </a:cubicBezTo>
                    <a:cubicBezTo>
                      <a:pt x="65088" y="612822"/>
                      <a:pt x="72238" y="605696"/>
                      <a:pt x="80819" y="605696"/>
                    </a:cubicBezTo>
                    <a:cubicBezTo>
                      <a:pt x="80819" y="605696"/>
                      <a:pt x="80819" y="605696"/>
                      <a:pt x="514137" y="605696"/>
                    </a:cubicBezTo>
                    <a:cubicBezTo>
                      <a:pt x="514137" y="605696"/>
                      <a:pt x="514137" y="605696"/>
                      <a:pt x="514137" y="466725"/>
                    </a:cubicBezTo>
                    <a:close/>
                    <a:moveTo>
                      <a:pt x="359172" y="0"/>
                    </a:moveTo>
                    <a:cubicBezTo>
                      <a:pt x="362030" y="8593"/>
                      <a:pt x="366316" y="16470"/>
                      <a:pt x="373460" y="19335"/>
                    </a:cubicBezTo>
                    <a:cubicBezTo>
                      <a:pt x="377746" y="20767"/>
                      <a:pt x="380603" y="24348"/>
                      <a:pt x="382746" y="28644"/>
                    </a:cubicBezTo>
                    <a:cubicBezTo>
                      <a:pt x="403463" y="80919"/>
                      <a:pt x="431324" y="143220"/>
                      <a:pt x="440611" y="151097"/>
                    </a:cubicBezTo>
                    <a:cubicBezTo>
                      <a:pt x="445611" y="155394"/>
                      <a:pt x="452041" y="161839"/>
                      <a:pt x="460613" y="166852"/>
                    </a:cubicBezTo>
                    <a:cubicBezTo>
                      <a:pt x="482045" y="181890"/>
                      <a:pt x="512048" y="197644"/>
                      <a:pt x="529908" y="197644"/>
                    </a:cubicBezTo>
                    <a:cubicBezTo>
                      <a:pt x="553482" y="197644"/>
                      <a:pt x="600631" y="168284"/>
                      <a:pt x="619205" y="151097"/>
                    </a:cubicBezTo>
                    <a:cubicBezTo>
                      <a:pt x="628491" y="143220"/>
                      <a:pt x="656352" y="80919"/>
                      <a:pt x="677069" y="28644"/>
                    </a:cubicBezTo>
                    <a:cubicBezTo>
                      <a:pt x="678498" y="25064"/>
                      <a:pt x="680641" y="21483"/>
                      <a:pt x="684213" y="20051"/>
                    </a:cubicBezTo>
                    <a:cubicBezTo>
                      <a:pt x="684213" y="20051"/>
                      <a:pt x="684213" y="20051"/>
                      <a:pt x="684927" y="20051"/>
                    </a:cubicBezTo>
                    <a:cubicBezTo>
                      <a:pt x="690642" y="21483"/>
                      <a:pt x="696357" y="22199"/>
                      <a:pt x="702786" y="22199"/>
                    </a:cubicBezTo>
                    <a:cubicBezTo>
                      <a:pt x="710645" y="22199"/>
                      <a:pt x="719217" y="20767"/>
                      <a:pt x="727075" y="18619"/>
                    </a:cubicBezTo>
                    <a:cubicBezTo>
                      <a:pt x="722789" y="27928"/>
                      <a:pt x="715645" y="37953"/>
                      <a:pt x="704215" y="45114"/>
                    </a:cubicBezTo>
                    <a:cubicBezTo>
                      <a:pt x="691356" y="77339"/>
                      <a:pt x="657781" y="158258"/>
                      <a:pt x="639921" y="175445"/>
                    </a:cubicBezTo>
                    <a:cubicBezTo>
                      <a:pt x="639207" y="176161"/>
                      <a:pt x="638493" y="176161"/>
                      <a:pt x="637778" y="176877"/>
                    </a:cubicBezTo>
                    <a:cubicBezTo>
                      <a:pt x="637778" y="236313"/>
                      <a:pt x="637778" y="236313"/>
                      <a:pt x="637778" y="236313"/>
                    </a:cubicBezTo>
                    <a:cubicBezTo>
                      <a:pt x="633492" y="240610"/>
                      <a:pt x="633492" y="240610"/>
                      <a:pt x="633492" y="240610"/>
                    </a:cubicBezTo>
                    <a:cubicBezTo>
                      <a:pt x="632778" y="240610"/>
                      <a:pt x="622776" y="249203"/>
                      <a:pt x="606346" y="262093"/>
                    </a:cubicBezTo>
                    <a:cubicBezTo>
                      <a:pt x="606346" y="199792"/>
                      <a:pt x="606346" y="199792"/>
                      <a:pt x="606346" y="199792"/>
                    </a:cubicBezTo>
                    <a:cubicBezTo>
                      <a:pt x="583486" y="214114"/>
                      <a:pt x="553482" y="229152"/>
                      <a:pt x="529908" y="229152"/>
                    </a:cubicBezTo>
                    <a:cubicBezTo>
                      <a:pt x="508476" y="229152"/>
                      <a:pt x="482759" y="216979"/>
                      <a:pt x="460613" y="204089"/>
                    </a:cubicBezTo>
                    <a:cubicBezTo>
                      <a:pt x="460613" y="263525"/>
                      <a:pt x="460613" y="263525"/>
                      <a:pt x="460613" y="263525"/>
                    </a:cubicBezTo>
                    <a:cubicBezTo>
                      <a:pt x="458470" y="263525"/>
                      <a:pt x="458470" y="263525"/>
                      <a:pt x="458470" y="263525"/>
                    </a:cubicBezTo>
                    <a:cubicBezTo>
                      <a:pt x="442754" y="249919"/>
                      <a:pt x="431324" y="240610"/>
                      <a:pt x="430610" y="240610"/>
                    </a:cubicBezTo>
                    <a:cubicBezTo>
                      <a:pt x="429181" y="239178"/>
                      <a:pt x="429181" y="239178"/>
                      <a:pt x="429181" y="239178"/>
                    </a:cubicBezTo>
                    <a:cubicBezTo>
                      <a:pt x="429181" y="183322"/>
                      <a:pt x="429181" y="183322"/>
                      <a:pt x="429181" y="183322"/>
                    </a:cubicBezTo>
                    <a:cubicBezTo>
                      <a:pt x="424895" y="180457"/>
                      <a:pt x="422037" y="177593"/>
                      <a:pt x="419894" y="175445"/>
                    </a:cubicBezTo>
                    <a:cubicBezTo>
                      <a:pt x="401320" y="158974"/>
                      <a:pt x="368459" y="78055"/>
                      <a:pt x="355600" y="45831"/>
                    </a:cubicBezTo>
                    <a:cubicBezTo>
                      <a:pt x="339170" y="36521"/>
                      <a:pt x="330597" y="17903"/>
                      <a:pt x="327025" y="2148"/>
                    </a:cubicBezTo>
                    <a:cubicBezTo>
                      <a:pt x="332026" y="4297"/>
                      <a:pt x="337026" y="4297"/>
                      <a:pt x="340598" y="4297"/>
                    </a:cubicBezTo>
                    <a:cubicBezTo>
                      <a:pt x="347742" y="4297"/>
                      <a:pt x="354171" y="2865"/>
                      <a:pt x="359172"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0" name="Freeform 69"/>
              <p:cNvSpPr>
                <a:spLocks/>
              </p:cNvSpPr>
              <p:nvPr/>
            </p:nvSpPr>
            <p:spPr bwMode="auto">
              <a:xfrm>
                <a:off x="5616420" y="2774950"/>
                <a:ext cx="1055998" cy="1208088"/>
              </a:xfrm>
              <a:custGeom>
                <a:avLst/>
                <a:gdLst>
                  <a:gd name="connsiteX0" fmla="*/ 1040245 w 1055998"/>
                  <a:gd name="connsiteY0" fmla="*/ 1074738 h 1208088"/>
                  <a:gd name="connsiteX1" fmla="*/ 1051702 w 1055998"/>
                  <a:gd name="connsiteY1" fmla="*/ 1079017 h 1208088"/>
                  <a:gd name="connsiteX2" fmla="*/ 1051702 w 1055998"/>
                  <a:gd name="connsiteY2" fmla="*/ 1101123 h 1208088"/>
                  <a:gd name="connsiteX3" fmla="*/ 950021 w 1055998"/>
                  <a:gd name="connsiteY3" fmla="*/ 1203096 h 1208088"/>
                  <a:gd name="connsiteX4" fmla="*/ 938564 w 1055998"/>
                  <a:gd name="connsiteY4" fmla="*/ 1208088 h 1208088"/>
                  <a:gd name="connsiteX5" fmla="*/ 927823 w 1055998"/>
                  <a:gd name="connsiteY5" fmla="*/ 1203096 h 1208088"/>
                  <a:gd name="connsiteX6" fmla="*/ 895600 w 1055998"/>
                  <a:gd name="connsiteY6" fmla="*/ 1171720 h 1208088"/>
                  <a:gd name="connsiteX7" fmla="*/ 895600 w 1055998"/>
                  <a:gd name="connsiteY7" fmla="*/ 1148901 h 1208088"/>
                  <a:gd name="connsiteX8" fmla="*/ 906341 w 1055998"/>
                  <a:gd name="connsiteY8" fmla="*/ 1143909 h 1208088"/>
                  <a:gd name="connsiteX9" fmla="*/ 917798 w 1055998"/>
                  <a:gd name="connsiteY9" fmla="*/ 1148901 h 1208088"/>
                  <a:gd name="connsiteX10" fmla="*/ 938564 w 1055998"/>
                  <a:gd name="connsiteY10" fmla="*/ 1170294 h 1208088"/>
                  <a:gd name="connsiteX11" fmla="*/ 1029504 w 1055998"/>
                  <a:gd name="connsiteY11" fmla="*/ 1079017 h 1208088"/>
                  <a:gd name="connsiteX12" fmla="*/ 1040245 w 1055998"/>
                  <a:gd name="connsiteY12" fmla="*/ 1074738 h 1208088"/>
                  <a:gd name="connsiteX13" fmla="*/ 594320 w 1055998"/>
                  <a:gd name="connsiteY13" fmla="*/ 1074738 h 1208088"/>
                  <a:gd name="connsiteX14" fmla="*/ 604959 w 1055998"/>
                  <a:gd name="connsiteY14" fmla="*/ 1079017 h 1208088"/>
                  <a:gd name="connsiteX15" fmla="*/ 604959 w 1055998"/>
                  <a:gd name="connsiteY15" fmla="*/ 1101123 h 1208088"/>
                  <a:gd name="connsiteX16" fmla="*/ 565947 w 1055998"/>
                  <a:gd name="connsiteY16" fmla="*/ 1141057 h 1208088"/>
                  <a:gd name="connsiteX17" fmla="*/ 534738 w 1055998"/>
                  <a:gd name="connsiteY17" fmla="*/ 1173146 h 1208088"/>
                  <a:gd name="connsiteX18" fmla="*/ 504237 w 1055998"/>
                  <a:gd name="connsiteY18" fmla="*/ 1203096 h 1208088"/>
                  <a:gd name="connsiteX19" fmla="*/ 493598 w 1055998"/>
                  <a:gd name="connsiteY19" fmla="*/ 1208088 h 1208088"/>
                  <a:gd name="connsiteX20" fmla="*/ 482249 w 1055998"/>
                  <a:gd name="connsiteY20" fmla="*/ 1203096 h 1208088"/>
                  <a:gd name="connsiteX21" fmla="*/ 450330 w 1055998"/>
                  <a:gd name="connsiteY21" fmla="*/ 1171720 h 1208088"/>
                  <a:gd name="connsiteX22" fmla="*/ 450330 w 1055998"/>
                  <a:gd name="connsiteY22" fmla="*/ 1148901 h 1208088"/>
                  <a:gd name="connsiteX23" fmla="*/ 461679 w 1055998"/>
                  <a:gd name="connsiteY23" fmla="*/ 1143909 h 1208088"/>
                  <a:gd name="connsiteX24" fmla="*/ 472318 w 1055998"/>
                  <a:gd name="connsiteY24" fmla="*/ 1148901 h 1208088"/>
                  <a:gd name="connsiteX25" fmla="*/ 493598 w 1055998"/>
                  <a:gd name="connsiteY25" fmla="*/ 1170294 h 1208088"/>
                  <a:gd name="connsiteX26" fmla="*/ 563110 w 1055998"/>
                  <a:gd name="connsiteY26" fmla="*/ 1098984 h 1208088"/>
                  <a:gd name="connsiteX27" fmla="*/ 582971 w 1055998"/>
                  <a:gd name="connsiteY27" fmla="*/ 1079017 h 1208088"/>
                  <a:gd name="connsiteX28" fmla="*/ 594320 w 1055998"/>
                  <a:gd name="connsiteY28" fmla="*/ 1074738 h 1208088"/>
                  <a:gd name="connsiteX29" fmla="*/ 149657 w 1055998"/>
                  <a:gd name="connsiteY29" fmla="*/ 1074738 h 1208088"/>
                  <a:gd name="connsiteX30" fmla="*/ 160398 w 1055998"/>
                  <a:gd name="connsiteY30" fmla="*/ 1079017 h 1208088"/>
                  <a:gd name="connsiteX31" fmla="*/ 160398 w 1055998"/>
                  <a:gd name="connsiteY31" fmla="*/ 1101123 h 1208088"/>
                  <a:gd name="connsiteX32" fmla="*/ 121015 w 1055998"/>
                  <a:gd name="connsiteY32" fmla="*/ 1141057 h 1208088"/>
                  <a:gd name="connsiteX33" fmla="*/ 89508 w 1055998"/>
                  <a:gd name="connsiteY33" fmla="*/ 1173146 h 1208088"/>
                  <a:gd name="connsiteX34" fmla="*/ 58717 w 1055998"/>
                  <a:gd name="connsiteY34" fmla="*/ 1203096 h 1208088"/>
                  <a:gd name="connsiteX35" fmla="*/ 47976 w 1055998"/>
                  <a:gd name="connsiteY35" fmla="*/ 1208088 h 1208088"/>
                  <a:gd name="connsiteX36" fmla="*/ 36519 w 1055998"/>
                  <a:gd name="connsiteY36" fmla="*/ 1203096 h 1208088"/>
                  <a:gd name="connsiteX37" fmla="*/ 4296 w 1055998"/>
                  <a:gd name="connsiteY37" fmla="*/ 1171720 h 1208088"/>
                  <a:gd name="connsiteX38" fmla="*/ 4296 w 1055998"/>
                  <a:gd name="connsiteY38" fmla="*/ 1148901 h 1208088"/>
                  <a:gd name="connsiteX39" fmla="*/ 15753 w 1055998"/>
                  <a:gd name="connsiteY39" fmla="*/ 1143909 h 1208088"/>
                  <a:gd name="connsiteX40" fmla="*/ 26494 w 1055998"/>
                  <a:gd name="connsiteY40" fmla="*/ 1148901 h 1208088"/>
                  <a:gd name="connsiteX41" fmla="*/ 47976 w 1055998"/>
                  <a:gd name="connsiteY41" fmla="*/ 1170294 h 1208088"/>
                  <a:gd name="connsiteX42" fmla="*/ 118150 w 1055998"/>
                  <a:gd name="connsiteY42" fmla="*/ 1098984 h 1208088"/>
                  <a:gd name="connsiteX43" fmla="*/ 138200 w 1055998"/>
                  <a:gd name="connsiteY43" fmla="*/ 1079017 h 1208088"/>
                  <a:gd name="connsiteX44" fmla="*/ 149657 w 1055998"/>
                  <a:gd name="connsiteY44" fmla="*/ 1074738 h 1208088"/>
                  <a:gd name="connsiteX45" fmla="*/ 356446 w 1055998"/>
                  <a:gd name="connsiteY45" fmla="*/ 593725 h 1208088"/>
                  <a:gd name="connsiteX46" fmla="*/ 475133 w 1055998"/>
                  <a:gd name="connsiteY46" fmla="*/ 690569 h 1208088"/>
                  <a:gd name="connsiteX47" fmla="*/ 480853 w 1055998"/>
                  <a:gd name="connsiteY47" fmla="*/ 690569 h 1208088"/>
                  <a:gd name="connsiteX48" fmla="*/ 559501 w 1055998"/>
                  <a:gd name="connsiteY48" fmla="*/ 626724 h 1208088"/>
                  <a:gd name="connsiteX49" fmla="*/ 599540 w 1055998"/>
                  <a:gd name="connsiteY49" fmla="*/ 593725 h 1208088"/>
                  <a:gd name="connsiteX50" fmla="*/ 760411 w 1055998"/>
                  <a:gd name="connsiteY50" fmla="*/ 620985 h 1208088"/>
                  <a:gd name="connsiteX51" fmla="*/ 850498 w 1055998"/>
                  <a:gd name="connsiteY51" fmla="*/ 752980 h 1208088"/>
                  <a:gd name="connsiteX52" fmla="*/ 841919 w 1055998"/>
                  <a:gd name="connsiteY52" fmla="*/ 765175 h 1208088"/>
                  <a:gd name="connsiteX53" fmla="*/ 114067 w 1055998"/>
                  <a:gd name="connsiteY53" fmla="*/ 765175 h 1208088"/>
                  <a:gd name="connsiteX54" fmla="*/ 105488 w 1055998"/>
                  <a:gd name="connsiteY54" fmla="*/ 752980 h 1208088"/>
                  <a:gd name="connsiteX55" fmla="*/ 195575 w 1055998"/>
                  <a:gd name="connsiteY55" fmla="*/ 620985 h 1208088"/>
                  <a:gd name="connsiteX56" fmla="*/ 297103 w 1055998"/>
                  <a:gd name="connsiteY56" fmla="*/ 597312 h 1208088"/>
                  <a:gd name="connsiteX57" fmla="*/ 356446 w 1055998"/>
                  <a:gd name="connsiteY57" fmla="*/ 593725 h 1208088"/>
                  <a:gd name="connsiteX58" fmla="*/ 478781 w 1055998"/>
                  <a:gd name="connsiteY58" fmla="*/ 0 h 1208088"/>
                  <a:gd name="connsiteX59" fmla="*/ 687532 w 1055998"/>
                  <a:gd name="connsiteY59" fmla="*/ 211298 h 1208088"/>
                  <a:gd name="connsiteX60" fmla="*/ 686817 w 1055998"/>
                  <a:gd name="connsiteY60" fmla="*/ 251273 h 1208088"/>
                  <a:gd name="connsiteX61" fmla="*/ 701830 w 1055998"/>
                  <a:gd name="connsiteY61" fmla="*/ 296959 h 1208088"/>
                  <a:gd name="connsiteX62" fmla="*/ 675379 w 1055998"/>
                  <a:gd name="connsiteY62" fmla="*/ 311950 h 1208088"/>
                  <a:gd name="connsiteX63" fmla="*/ 649642 w 1055998"/>
                  <a:gd name="connsiteY63" fmla="*/ 319088 h 1208088"/>
                  <a:gd name="connsiteX64" fmla="*/ 637489 w 1055998"/>
                  <a:gd name="connsiteY64" fmla="*/ 316233 h 1208088"/>
                  <a:gd name="connsiteX65" fmla="*/ 384414 w 1055998"/>
                  <a:gd name="connsiteY65" fmla="*/ 165612 h 1208088"/>
                  <a:gd name="connsiteX66" fmla="*/ 363682 w 1055998"/>
                  <a:gd name="connsiteY66" fmla="*/ 177747 h 1208088"/>
                  <a:gd name="connsiteX67" fmla="*/ 292907 w 1055998"/>
                  <a:gd name="connsiteY67" fmla="*/ 295531 h 1208088"/>
                  <a:gd name="connsiteX68" fmla="*/ 281469 w 1055998"/>
                  <a:gd name="connsiteY68" fmla="*/ 298387 h 1208088"/>
                  <a:gd name="connsiteX69" fmla="*/ 279324 w 1055998"/>
                  <a:gd name="connsiteY69" fmla="*/ 295531 h 1208088"/>
                  <a:gd name="connsiteX70" fmla="*/ 270030 w 1055998"/>
                  <a:gd name="connsiteY70" fmla="*/ 211298 h 1208088"/>
                  <a:gd name="connsiteX71" fmla="*/ 478781 w 1055998"/>
                  <a:gd name="connsiteY71" fmla="*/ 0 h 1208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055998" h="1208088">
                    <a:moveTo>
                      <a:pt x="1040245" y="1074738"/>
                    </a:moveTo>
                    <a:cubicBezTo>
                      <a:pt x="1044541" y="1074738"/>
                      <a:pt x="1048121" y="1076164"/>
                      <a:pt x="1051702" y="1079017"/>
                    </a:cubicBezTo>
                    <a:cubicBezTo>
                      <a:pt x="1057430" y="1085435"/>
                      <a:pt x="1057430" y="1095418"/>
                      <a:pt x="1051702" y="1101123"/>
                    </a:cubicBezTo>
                    <a:cubicBezTo>
                      <a:pt x="1051702" y="1101123"/>
                      <a:pt x="1051702" y="1101123"/>
                      <a:pt x="950021" y="1203096"/>
                    </a:cubicBezTo>
                    <a:cubicBezTo>
                      <a:pt x="947156" y="1206662"/>
                      <a:pt x="942860" y="1208088"/>
                      <a:pt x="938564" y="1208088"/>
                    </a:cubicBezTo>
                    <a:cubicBezTo>
                      <a:pt x="934267" y="1208088"/>
                      <a:pt x="930687" y="1206662"/>
                      <a:pt x="927823" y="1203096"/>
                    </a:cubicBezTo>
                    <a:cubicBezTo>
                      <a:pt x="927823" y="1203096"/>
                      <a:pt x="927823" y="1203096"/>
                      <a:pt x="895600" y="1171720"/>
                    </a:cubicBezTo>
                    <a:cubicBezTo>
                      <a:pt x="889155" y="1165302"/>
                      <a:pt x="889155" y="1155319"/>
                      <a:pt x="895600" y="1148901"/>
                    </a:cubicBezTo>
                    <a:cubicBezTo>
                      <a:pt x="898464" y="1145335"/>
                      <a:pt x="902760" y="1143909"/>
                      <a:pt x="906341" y="1143909"/>
                    </a:cubicBezTo>
                    <a:cubicBezTo>
                      <a:pt x="910637" y="1143909"/>
                      <a:pt x="914934" y="1145335"/>
                      <a:pt x="917798" y="1148901"/>
                    </a:cubicBezTo>
                    <a:cubicBezTo>
                      <a:pt x="917798" y="1148901"/>
                      <a:pt x="917798" y="1148901"/>
                      <a:pt x="938564" y="1170294"/>
                    </a:cubicBezTo>
                    <a:cubicBezTo>
                      <a:pt x="938564" y="1170294"/>
                      <a:pt x="938564" y="1170294"/>
                      <a:pt x="1029504" y="1079017"/>
                    </a:cubicBezTo>
                    <a:cubicBezTo>
                      <a:pt x="1032368" y="1076164"/>
                      <a:pt x="1036664" y="1074738"/>
                      <a:pt x="1040245" y="1074738"/>
                    </a:cubicBezTo>
                    <a:close/>
                    <a:moveTo>
                      <a:pt x="594320" y="1074738"/>
                    </a:moveTo>
                    <a:cubicBezTo>
                      <a:pt x="597866" y="1074738"/>
                      <a:pt x="602122" y="1076164"/>
                      <a:pt x="604959" y="1079017"/>
                    </a:cubicBezTo>
                    <a:cubicBezTo>
                      <a:pt x="611343" y="1085435"/>
                      <a:pt x="611343" y="1095418"/>
                      <a:pt x="604959" y="1101123"/>
                    </a:cubicBezTo>
                    <a:cubicBezTo>
                      <a:pt x="604959" y="1101123"/>
                      <a:pt x="604959" y="1101123"/>
                      <a:pt x="565947" y="1141057"/>
                    </a:cubicBezTo>
                    <a:cubicBezTo>
                      <a:pt x="565947" y="1141057"/>
                      <a:pt x="565947" y="1141057"/>
                      <a:pt x="534738" y="1173146"/>
                    </a:cubicBezTo>
                    <a:cubicBezTo>
                      <a:pt x="534738" y="1173146"/>
                      <a:pt x="534738" y="1173146"/>
                      <a:pt x="504237" y="1203096"/>
                    </a:cubicBezTo>
                    <a:cubicBezTo>
                      <a:pt x="501400" y="1206662"/>
                      <a:pt x="497854" y="1208088"/>
                      <a:pt x="493598" y="1208088"/>
                    </a:cubicBezTo>
                    <a:cubicBezTo>
                      <a:pt x="489342" y="1208088"/>
                      <a:pt x="485086" y="1206662"/>
                      <a:pt x="482249" y="1203096"/>
                    </a:cubicBezTo>
                    <a:cubicBezTo>
                      <a:pt x="482249" y="1203096"/>
                      <a:pt x="482249" y="1203096"/>
                      <a:pt x="450330" y="1171720"/>
                    </a:cubicBezTo>
                    <a:cubicBezTo>
                      <a:pt x="444655" y="1165302"/>
                      <a:pt x="444655" y="1155319"/>
                      <a:pt x="450330" y="1148901"/>
                    </a:cubicBezTo>
                    <a:cubicBezTo>
                      <a:pt x="453876" y="1145335"/>
                      <a:pt x="457423" y="1143909"/>
                      <a:pt x="461679" y="1143909"/>
                    </a:cubicBezTo>
                    <a:cubicBezTo>
                      <a:pt x="465225" y="1143909"/>
                      <a:pt x="469481" y="1145335"/>
                      <a:pt x="472318" y="1148901"/>
                    </a:cubicBezTo>
                    <a:cubicBezTo>
                      <a:pt x="472318" y="1148901"/>
                      <a:pt x="472318" y="1148901"/>
                      <a:pt x="493598" y="1170294"/>
                    </a:cubicBezTo>
                    <a:cubicBezTo>
                      <a:pt x="493598" y="1170294"/>
                      <a:pt x="493598" y="1170294"/>
                      <a:pt x="563110" y="1098984"/>
                    </a:cubicBezTo>
                    <a:cubicBezTo>
                      <a:pt x="563110" y="1098984"/>
                      <a:pt x="563110" y="1098984"/>
                      <a:pt x="582971" y="1079017"/>
                    </a:cubicBezTo>
                    <a:cubicBezTo>
                      <a:pt x="585808" y="1076164"/>
                      <a:pt x="590064" y="1074738"/>
                      <a:pt x="594320" y="1074738"/>
                    </a:cubicBezTo>
                    <a:close/>
                    <a:moveTo>
                      <a:pt x="149657" y="1074738"/>
                    </a:moveTo>
                    <a:cubicBezTo>
                      <a:pt x="153238" y="1074738"/>
                      <a:pt x="157534" y="1076164"/>
                      <a:pt x="160398" y="1079017"/>
                    </a:cubicBezTo>
                    <a:cubicBezTo>
                      <a:pt x="166843" y="1085435"/>
                      <a:pt x="166843" y="1095418"/>
                      <a:pt x="160398" y="1101123"/>
                    </a:cubicBezTo>
                    <a:cubicBezTo>
                      <a:pt x="121015" y="1141057"/>
                      <a:pt x="121015" y="1141057"/>
                      <a:pt x="121015" y="1141057"/>
                    </a:cubicBezTo>
                    <a:cubicBezTo>
                      <a:pt x="89508" y="1173146"/>
                      <a:pt x="89508" y="1173146"/>
                      <a:pt x="89508" y="1173146"/>
                    </a:cubicBezTo>
                    <a:cubicBezTo>
                      <a:pt x="58717" y="1203096"/>
                      <a:pt x="58717" y="1203096"/>
                      <a:pt x="58717" y="1203096"/>
                    </a:cubicBezTo>
                    <a:cubicBezTo>
                      <a:pt x="55853" y="1206662"/>
                      <a:pt x="52273" y="1208088"/>
                      <a:pt x="47976" y="1208088"/>
                    </a:cubicBezTo>
                    <a:cubicBezTo>
                      <a:pt x="43680" y="1208088"/>
                      <a:pt x="39383" y="1206662"/>
                      <a:pt x="36519" y="1203096"/>
                    </a:cubicBezTo>
                    <a:cubicBezTo>
                      <a:pt x="4296" y="1171720"/>
                      <a:pt x="4296" y="1171720"/>
                      <a:pt x="4296" y="1171720"/>
                    </a:cubicBezTo>
                    <a:cubicBezTo>
                      <a:pt x="-1432" y="1165302"/>
                      <a:pt x="-1432" y="1155319"/>
                      <a:pt x="4296" y="1148901"/>
                    </a:cubicBezTo>
                    <a:cubicBezTo>
                      <a:pt x="7877" y="1145335"/>
                      <a:pt x="11457" y="1143909"/>
                      <a:pt x="15753" y="1143909"/>
                    </a:cubicBezTo>
                    <a:cubicBezTo>
                      <a:pt x="19334" y="1143909"/>
                      <a:pt x="23630" y="1145335"/>
                      <a:pt x="26494" y="1148901"/>
                    </a:cubicBezTo>
                    <a:cubicBezTo>
                      <a:pt x="47976" y="1170294"/>
                      <a:pt x="47976" y="1170294"/>
                      <a:pt x="47976" y="1170294"/>
                    </a:cubicBezTo>
                    <a:cubicBezTo>
                      <a:pt x="118150" y="1098984"/>
                      <a:pt x="118150" y="1098984"/>
                      <a:pt x="118150" y="1098984"/>
                    </a:cubicBezTo>
                    <a:cubicBezTo>
                      <a:pt x="138200" y="1079017"/>
                      <a:pt x="138200" y="1079017"/>
                      <a:pt x="138200" y="1079017"/>
                    </a:cubicBezTo>
                    <a:cubicBezTo>
                      <a:pt x="141064" y="1076164"/>
                      <a:pt x="145361" y="1074738"/>
                      <a:pt x="149657" y="1074738"/>
                    </a:cubicBezTo>
                    <a:close/>
                    <a:moveTo>
                      <a:pt x="356446" y="593725"/>
                    </a:moveTo>
                    <a:cubicBezTo>
                      <a:pt x="356446" y="593725"/>
                      <a:pt x="437239" y="660440"/>
                      <a:pt x="475133" y="690569"/>
                    </a:cubicBezTo>
                    <a:cubicBezTo>
                      <a:pt x="477278" y="692004"/>
                      <a:pt x="479423" y="692004"/>
                      <a:pt x="480853" y="690569"/>
                    </a:cubicBezTo>
                    <a:cubicBezTo>
                      <a:pt x="506592" y="669766"/>
                      <a:pt x="535907" y="645375"/>
                      <a:pt x="559501" y="626724"/>
                    </a:cubicBezTo>
                    <a:cubicBezTo>
                      <a:pt x="582380" y="607355"/>
                      <a:pt x="599540" y="593725"/>
                      <a:pt x="599540" y="593725"/>
                    </a:cubicBezTo>
                    <a:cubicBezTo>
                      <a:pt x="599540" y="593725"/>
                      <a:pt x="703927" y="594442"/>
                      <a:pt x="760411" y="620985"/>
                    </a:cubicBezTo>
                    <a:cubicBezTo>
                      <a:pt x="806169" y="641789"/>
                      <a:pt x="839059" y="722133"/>
                      <a:pt x="850498" y="752980"/>
                    </a:cubicBezTo>
                    <a:cubicBezTo>
                      <a:pt x="852643" y="759436"/>
                      <a:pt x="848353" y="765175"/>
                      <a:pt x="841919" y="765175"/>
                    </a:cubicBezTo>
                    <a:cubicBezTo>
                      <a:pt x="841919" y="765175"/>
                      <a:pt x="841919" y="765175"/>
                      <a:pt x="114067" y="765175"/>
                    </a:cubicBezTo>
                    <a:cubicBezTo>
                      <a:pt x="107633" y="765175"/>
                      <a:pt x="103343" y="759436"/>
                      <a:pt x="105488" y="752980"/>
                    </a:cubicBezTo>
                    <a:cubicBezTo>
                      <a:pt x="116927" y="722133"/>
                      <a:pt x="149817" y="641789"/>
                      <a:pt x="195575" y="620985"/>
                    </a:cubicBezTo>
                    <a:cubicBezTo>
                      <a:pt x="224175" y="608072"/>
                      <a:pt x="264213" y="600899"/>
                      <a:pt x="297103" y="597312"/>
                    </a:cubicBezTo>
                    <a:cubicBezTo>
                      <a:pt x="330707" y="593725"/>
                      <a:pt x="356446" y="593725"/>
                      <a:pt x="356446" y="593725"/>
                    </a:cubicBezTo>
                    <a:close/>
                    <a:moveTo>
                      <a:pt x="478781" y="0"/>
                    </a:moveTo>
                    <a:cubicBezTo>
                      <a:pt x="596740" y="0"/>
                      <a:pt x="687532" y="94941"/>
                      <a:pt x="687532" y="211298"/>
                    </a:cubicBezTo>
                    <a:cubicBezTo>
                      <a:pt x="687532" y="225575"/>
                      <a:pt x="687532" y="238424"/>
                      <a:pt x="686817" y="251273"/>
                    </a:cubicBezTo>
                    <a:cubicBezTo>
                      <a:pt x="685388" y="262695"/>
                      <a:pt x="689677" y="279827"/>
                      <a:pt x="701830" y="296959"/>
                    </a:cubicBezTo>
                    <a:cubicBezTo>
                      <a:pt x="701830" y="296959"/>
                      <a:pt x="689677" y="305525"/>
                      <a:pt x="675379" y="311950"/>
                    </a:cubicBezTo>
                    <a:cubicBezTo>
                      <a:pt x="666800" y="315519"/>
                      <a:pt x="657506" y="318374"/>
                      <a:pt x="649642" y="319088"/>
                    </a:cubicBezTo>
                    <a:cubicBezTo>
                      <a:pt x="645353" y="319088"/>
                      <a:pt x="641064" y="318374"/>
                      <a:pt x="637489" y="316233"/>
                    </a:cubicBezTo>
                    <a:cubicBezTo>
                      <a:pt x="613897" y="302670"/>
                      <a:pt x="514526" y="165612"/>
                      <a:pt x="384414" y="165612"/>
                    </a:cubicBezTo>
                    <a:cubicBezTo>
                      <a:pt x="384414" y="165612"/>
                      <a:pt x="370116" y="173464"/>
                      <a:pt x="363682" y="177747"/>
                    </a:cubicBezTo>
                    <a:cubicBezTo>
                      <a:pt x="317214" y="209156"/>
                      <a:pt x="305775" y="276258"/>
                      <a:pt x="292907" y="295531"/>
                    </a:cubicBezTo>
                    <a:cubicBezTo>
                      <a:pt x="289333" y="301242"/>
                      <a:pt x="285758" y="302670"/>
                      <a:pt x="281469" y="298387"/>
                    </a:cubicBezTo>
                    <a:cubicBezTo>
                      <a:pt x="280754" y="297673"/>
                      <a:pt x="280039" y="296959"/>
                      <a:pt x="279324" y="295531"/>
                    </a:cubicBezTo>
                    <a:cubicBezTo>
                      <a:pt x="273605" y="281254"/>
                      <a:pt x="270030" y="235568"/>
                      <a:pt x="270030" y="211298"/>
                    </a:cubicBezTo>
                    <a:cubicBezTo>
                      <a:pt x="270030" y="94941"/>
                      <a:pt x="360823" y="0"/>
                      <a:pt x="478781"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35" name="Rectangle 34"/>
          <p:cNvSpPr/>
          <p:nvPr/>
        </p:nvSpPr>
        <p:spPr>
          <a:xfrm>
            <a:off x="4085639" y="6520933"/>
            <a:ext cx="1420582" cy="246221"/>
          </a:xfrm>
          <a:prstGeom prst="rect">
            <a:avLst/>
          </a:prstGeom>
        </p:spPr>
        <p:txBody>
          <a:bodyPr wrap="none">
            <a:spAutoFit/>
          </a:bodyPr>
          <a:lstStyle/>
          <a:p>
            <a:r>
              <a:rPr lang="en-US" sz="1000" dirty="0">
                <a:solidFill>
                  <a:schemeClr val="bg1">
                    <a:lumMod val="50000"/>
                  </a:schemeClr>
                </a:solidFill>
                <a:latin typeface="Trebuchet MS" panose="020B0603020202020204" pitchFamily="34" charset="0"/>
                <a:cs typeface="Arial" pitchFamily="34" charset="0"/>
              </a:rPr>
              <a:t>Source: BCG analysis.</a:t>
            </a:r>
          </a:p>
        </p:txBody>
      </p:sp>
      <p:cxnSp>
        <p:nvCxnSpPr>
          <p:cNvPr id="59" name="Straight Connector 58"/>
          <p:cNvCxnSpPr/>
          <p:nvPr/>
        </p:nvCxnSpPr>
        <p:spPr>
          <a:xfrm>
            <a:off x="6374895" y="1958232"/>
            <a:ext cx="0" cy="3645127"/>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610921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a:xfrm>
            <a:off x="711708" y="696849"/>
            <a:ext cx="10860026" cy="349300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5400" dirty="0">
                <a:solidFill>
                  <a:srgbClr val="FFFFFF"/>
                </a:solidFill>
              </a:rPr>
              <a:t>To empower every person and every organization on the planet to </a:t>
            </a:r>
            <a:r>
              <a:rPr lang="en-US" sz="5400" dirty="0">
                <a:solidFill>
                  <a:schemeClr val="bg1"/>
                </a:solidFill>
              </a:rPr>
              <a:t>achieve more</a:t>
            </a:r>
            <a:r>
              <a:rPr lang="en-US" sz="5400" dirty="0">
                <a:solidFill>
                  <a:srgbClr val="FFFFFF"/>
                </a:solidFill>
              </a:rPr>
              <a:t>.</a:t>
            </a:r>
          </a:p>
        </p:txBody>
      </p:sp>
      <p:sp>
        <p:nvSpPr>
          <p:cNvPr id="6" name="TextBox 5"/>
          <p:cNvSpPr txBox="1"/>
          <p:nvPr/>
        </p:nvSpPr>
        <p:spPr>
          <a:xfrm>
            <a:off x="521208" y="5932932"/>
            <a:ext cx="10670667" cy="5943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400" dirty="0">
                <a:solidFill>
                  <a:schemeClr val="tx2"/>
                </a:solidFill>
                <a:ea typeface="Times New Roman" panose="02020603050405020304" pitchFamily="18" charset="0"/>
              </a:rPr>
              <a:t>"…Everything that we do, every product that we build, every technology that we incubate … all has to be driven by a deep sense of this mission.” </a:t>
            </a:r>
          </a:p>
          <a:p>
            <a:r>
              <a:rPr lang="en-US" sz="2000" dirty="0">
                <a:solidFill>
                  <a:srgbClr val="FFFFFF"/>
                </a:solidFill>
              </a:rPr>
              <a:t>Satya Nadella, Microsoft CEO</a:t>
            </a:r>
          </a:p>
        </p:txBody>
      </p:sp>
    </p:spTree>
    <p:extLst>
      <p:ext uri="{BB962C8B-B14F-4D97-AF65-F5344CB8AC3E}">
        <p14:creationId xmlns:p14="http://schemas.microsoft.com/office/powerpoint/2010/main" val="3739284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532453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400"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8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sz="2800" dirty="0"/>
              <a:t>Microsoft has gone well beyond 'surface purpose' to purpose with the power to transform</a:t>
            </a:r>
            <a:br>
              <a:rPr lang="en-US" dirty="0"/>
            </a:br>
            <a:br>
              <a:rPr lang="en-US" dirty="0"/>
            </a:br>
            <a:br>
              <a:rPr lang="en-US" dirty="0"/>
            </a:br>
            <a:endParaRPr lang="en-US" i="1" dirty="0"/>
          </a:p>
        </p:txBody>
      </p:sp>
      <p:sp>
        <p:nvSpPr>
          <p:cNvPr id="3" name="Title 2"/>
          <p:cNvSpPr txBox="1">
            <a:spLocks/>
          </p:cNvSpPr>
          <p:nvPr/>
        </p:nvSpPr>
        <p:spPr>
          <a:xfrm>
            <a:off x="4869454" y="1811471"/>
            <a:ext cx="6693745" cy="3808279"/>
          </a:xfrm>
          <a:prstGeom prst="rect">
            <a:avLst/>
          </a:prstGeom>
          <a:ln cap="rnd">
            <a:noFill/>
          </a:ln>
        </p:spPr>
        <p:txBody>
          <a:bodyPr vert="horz" wrap="square" lIns="0" tIns="0" rIns="0" bIns="0" rtlCol="0" anchor="ctr">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pPr>
              <a:lnSpc>
                <a:spcPts val="4500"/>
              </a:lnSpc>
              <a:spcAft>
                <a:spcPts val="5400"/>
              </a:spcAft>
            </a:pPr>
            <a:endParaRPr lang="en-US" sz="2000" dirty="0">
              <a:solidFill>
                <a:schemeClr val="tx2"/>
              </a:solidFill>
              <a:ea typeface="Times New Roman" panose="02020603050405020304" pitchFamily="18" charset="0"/>
            </a:endParaRPr>
          </a:p>
          <a:p>
            <a:pPr marL="324000" lvl="1" indent="-216000">
              <a:spcAft>
                <a:spcPts val="800"/>
              </a:spcAft>
              <a:buClr>
                <a:schemeClr val="tx2">
                  <a:lumMod val="100000"/>
                </a:schemeClr>
              </a:buClr>
              <a:buSzPct val="100000"/>
              <a:buFont typeface="Trebuchet MS" panose="020B0603020202020204" pitchFamily="34" charset="0"/>
              <a:buChar char="•"/>
            </a:pPr>
            <a:r>
              <a:rPr lang="en-US" sz="2000" dirty="0">
                <a:solidFill>
                  <a:schemeClr val="tx2"/>
                </a:solidFill>
                <a:latin typeface="+mj-lt"/>
                <a:ea typeface="Times New Roman" panose="02020603050405020304" pitchFamily="18" charset="0"/>
                <a:cs typeface="+mj-cs"/>
              </a:rPr>
              <a:t>Launched Purpose at a Senior leadership team offsite</a:t>
            </a:r>
          </a:p>
          <a:p>
            <a:pPr marL="324000" lvl="1" indent="-216000">
              <a:spcAft>
                <a:spcPts val="800"/>
              </a:spcAft>
              <a:buClr>
                <a:schemeClr val="tx2">
                  <a:lumMod val="100000"/>
                </a:schemeClr>
              </a:buClr>
              <a:buSzPct val="100000"/>
              <a:buFont typeface="Trebuchet MS" panose="020B0603020202020204" pitchFamily="34" charset="0"/>
              <a:buChar char="•"/>
            </a:pPr>
            <a:r>
              <a:rPr lang="en-US" sz="2000" dirty="0">
                <a:solidFill>
                  <a:schemeClr val="tx2"/>
                </a:solidFill>
                <a:latin typeface="+mj-lt"/>
                <a:ea typeface="Times New Roman" panose="02020603050405020304" pitchFamily="18" charset="0"/>
                <a:cs typeface="+mj-cs"/>
              </a:rPr>
              <a:t>Informal employee initiatives to document &amp; share purposeful actions</a:t>
            </a:r>
          </a:p>
          <a:p>
            <a:pPr marL="324000" lvl="1" indent="-216000">
              <a:spcAft>
                <a:spcPts val="800"/>
              </a:spcAft>
              <a:buClr>
                <a:schemeClr val="tx2">
                  <a:lumMod val="100000"/>
                </a:schemeClr>
              </a:buClr>
              <a:buSzPct val="100000"/>
              <a:buFont typeface="Trebuchet MS" panose="020B0603020202020204" pitchFamily="34" charset="0"/>
              <a:buChar char="•"/>
            </a:pPr>
            <a:r>
              <a:rPr lang="en-AU" sz="2000" dirty="0">
                <a:solidFill>
                  <a:schemeClr val="tx2"/>
                </a:solidFill>
                <a:latin typeface="+mj-lt"/>
                <a:ea typeface="Times New Roman" panose="02020603050405020304" pitchFamily="18" charset="0"/>
                <a:cs typeface="+mj-cs"/>
                <a:sym typeface="Trebuchet MS" panose="020B0603020202020204" pitchFamily="34" charset="0"/>
              </a:rPr>
              <a:t>Launched Hackathons – expanded from engineering to all employees and external partners; 2017 winning team partnered with </a:t>
            </a:r>
            <a:r>
              <a:rPr lang="en-AU" sz="2000" dirty="0" err="1">
                <a:solidFill>
                  <a:schemeClr val="tx2"/>
                </a:solidFill>
                <a:latin typeface="+mj-lt"/>
                <a:ea typeface="Times New Roman" panose="02020603050405020304" pitchFamily="18" charset="0"/>
                <a:cs typeface="+mj-cs"/>
                <a:sym typeface="Trebuchet MS" panose="020B0603020202020204" pitchFamily="34" charset="0"/>
              </a:rPr>
              <a:t>Yuwa</a:t>
            </a:r>
            <a:r>
              <a:rPr lang="en-AU" sz="2000" dirty="0">
                <a:solidFill>
                  <a:schemeClr val="tx2"/>
                </a:solidFill>
                <a:latin typeface="+mj-lt"/>
                <a:ea typeface="Times New Roman" panose="02020603050405020304" pitchFamily="18" charset="0"/>
                <a:cs typeface="+mj-cs"/>
                <a:sym typeface="Trebuchet MS" panose="020B0603020202020204" pitchFamily="34" charset="0"/>
              </a:rPr>
              <a:t> </a:t>
            </a:r>
          </a:p>
          <a:p>
            <a:pPr marL="324000" lvl="1" indent="-216000">
              <a:spcAft>
                <a:spcPts val="800"/>
              </a:spcAft>
              <a:buClr>
                <a:schemeClr val="tx2">
                  <a:lumMod val="100000"/>
                </a:schemeClr>
              </a:buClr>
              <a:buSzPct val="100000"/>
              <a:buFont typeface="Trebuchet MS" panose="020B0603020202020204" pitchFamily="34" charset="0"/>
              <a:buChar char="•"/>
            </a:pPr>
            <a:r>
              <a:rPr lang="en-AU" sz="2000" dirty="0">
                <a:solidFill>
                  <a:schemeClr val="tx2"/>
                </a:solidFill>
                <a:latin typeface="+mj-lt"/>
                <a:ea typeface="Times New Roman" panose="02020603050405020304" pitchFamily="18" charset="0"/>
                <a:cs typeface="+mj-cs"/>
                <a:sym typeface="Trebuchet MS" panose="020B0603020202020204" pitchFamily="34" charset="0"/>
              </a:rPr>
              <a:t>Boys and Girls Club partnership to promote STEM education</a:t>
            </a:r>
          </a:p>
          <a:p>
            <a:pPr marL="324000" lvl="1" indent="-216000">
              <a:spcAft>
                <a:spcPts val="800"/>
              </a:spcAft>
              <a:buClr>
                <a:schemeClr val="tx2">
                  <a:lumMod val="100000"/>
                </a:schemeClr>
              </a:buClr>
              <a:buSzPct val="100000"/>
              <a:buFont typeface="Trebuchet MS" panose="020B0603020202020204" pitchFamily="34" charset="0"/>
              <a:buChar char="•"/>
            </a:pPr>
            <a:r>
              <a:rPr lang="en-AU" sz="2000" dirty="0">
                <a:solidFill>
                  <a:schemeClr val="tx2"/>
                </a:solidFill>
                <a:latin typeface="+mj-lt"/>
                <a:ea typeface="Times New Roman" panose="02020603050405020304" pitchFamily="18" charset="0"/>
                <a:cs typeface="+mj-cs"/>
                <a:sym typeface="Trebuchet MS" panose="020B0603020202020204" pitchFamily="34" charset="0"/>
              </a:rPr>
              <a:t>Developed AI for Accessibility - $25 M to improve the lives of 1B people with disabilities </a:t>
            </a:r>
          </a:p>
          <a:p>
            <a:pPr marL="324000" lvl="1" indent="-216000">
              <a:spcAft>
                <a:spcPts val="800"/>
              </a:spcAft>
              <a:buClr>
                <a:schemeClr val="tx2">
                  <a:lumMod val="100000"/>
                </a:schemeClr>
              </a:buClr>
              <a:buSzPct val="100000"/>
              <a:buFont typeface="Trebuchet MS" panose="020B0603020202020204" pitchFamily="34" charset="0"/>
              <a:buChar char="•"/>
            </a:pPr>
            <a:r>
              <a:rPr lang="en-AU" sz="2000" dirty="0">
                <a:solidFill>
                  <a:schemeClr val="tx2"/>
                </a:solidFill>
                <a:latin typeface="+mj-lt"/>
                <a:ea typeface="Times New Roman" panose="02020603050405020304" pitchFamily="18" charset="0"/>
                <a:cs typeface="+mj-cs"/>
                <a:sym typeface="Trebuchet MS" panose="020B0603020202020204" pitchFamily="34" charset="0"/>
              </a:rPr>
              <a:t>Leveraging Data &amp; Analytics and deep learning capabilities to support government and </a:t>
            </a:r>
            <a:r>
              <a:rPr lang="en-AU" sz="2000" dirty="0" err="1">
                <a:solidFill>
                  <a:schemeClr val="tx2"/>
                </a:solidFill>
                <a:latin typeface="+mj-lt"/>
                <a:ea typeface="Times New Roman" panose="02020603050405020304" pitchFamily="18" charset="0"/>
                <a:cs typeface="+mj-cs"/>
                <a:sym typeface="Trebuchet MS" panose="020B0603020202020204" pitchFamily="34" charset="0"/>
              </a:rPr>
              <a:t>NPOs</a:t>
            </a:r>
            <a:endParaRPr lang="en-AU" sz="2000" dirty="0">
              <a:solidFill>
                <a:schemeClr val="tx2"/>
              </a:solidFill>
              <a:latin typeface="+mj-lt"/>
              <a:ea typeface="Times New Roman" panose="02020603050405020304" pitchFamily="18" charset="0"/>
              <a:cs typeface="+mj-cs"/>
              <a:sym typeface="Trebuchet MS" panose="020B0603020202020204" pitchFamily="34" charset="0"/>
            </a:endParaRPr>
          </a:p>
          <a:p>
            <a:pPr marL="324000" lvl="1" indent="-216000">
              <a:spcAft>
                <a:spcPts val="800"/>
              </a:spcAft>
              <a:buClr>
                <a:schemeClr val="tx2">
                  <a:lumMod val="100000"/>
                </a:schemeClr>
              </a:buClr>
              <a:buSzPct val="100000"/>
              <a:buFont typeface="Trebuchet MS" panose="020B0603020202020204" pitchFamily="34" charset="0"/>
              <a:buChar char="•"/>
            </a:pPr>
            <a:r>
              <a:rPr lang="en-AU" sz="2000" dirty="0">
                <a:solidFill>
                  <a:schemeClr val="tx2"/>
                </a:solidFill>
                <a:latin typeface="+mj-lt"/>
                <a:ea typeface="Times New Roman" panose="02020603050405020304" pitchFamily="18" charset="0"/>
                <a:cs typeface="+mj-cs"/>
                <a:sym typeface="Trebuchet MS" panose="020B0603020202020204" pitchFamily="34" charset="0"/>
              </a:rPr>
              <a:t>Microsoft </a:t>
            </a:r>
            <a:r>
              <a:rPr lang="en-AU" sz="2000" dirty="0" err="1">
                <a:solidFill>
                  <a:schemeClr val="tx2"/>
                </a:solidFill>
                <a:latin typeface="+mj-lt"/>
                <a:ea typeface="Times New Roman" panose="02020603050405020304" pitchFamily="18" charset="0"/>
                <a:cs typeface="+mj-cs"/>
                <a:sym typeface="Trebuchet MS" panose="020B0603020202020204" pitchFamily="34" charset="0"/>
              </a:rPr>
              <a:t>Airband</a:t>
            </a:r>
            <a:r>
              <a:rPr lang="en-AU" sz="2000" dirty="0">
                <a:solidFill>
                  <a:schemeClr val="tx2"/>
                </a:solidFill>
                <a:latin typeface="+mj-lt"/>
                <a:ea typeface="Times New Roman" panose="02020603050405020304" pitchFamily="18" charset="0"/>
                <a:cs typeface="+mj-cs"/>
                <a:sym typeface="Trebuchet MS" panose="020B0603020202020204" pitchFamily="34" charset="0"/>
              </a:rPr>
              <a:t> initiative to bring access to 52% of world's population not yet online </a:t>
            </a:r>
          </a:p>
          <a:p>
            <a:pPr>
              <a:lnSpc>
                <a:spcPct val="100000"/>
              </a:lnSpc>
              <a:spcAft>
                <a:spcPts val="5400"/>
              </a:spcAft>
            </a:pPr>
            <a:endParaRPr lang="en-US" sz="2800" dirty="0">
              <a:solidFill>
                <a:schemeClr val="tx2"/>
              </a:solidFill>
              <a:ea typeface="Times New Roman" panose="02020603050405020304" pitchFamily="18" charset="0"/>
            </a:endParaRPr>
          </a:p>
          <a:p>
            <a:pPr>
              <a:lnSpc>
                <a:spcPts val="4500"/>
              </a:lnSpc>
              <a:spcAft>
                <a:spcPts val="5400"/>
              </a:spcAft>
            </a:pPr>
            <a:r>
              <a:rPr lang="en-US" sz="2800" dirty="0">
                <a:solidFill>
                  <a:schemeClr val="tx2"/>
                </a:solidFill>
                <a:ea typeface="Times New Roman" panose="02020603050405020304" pitchFamily="18" charset="0"/>
              </a:rPr>
              <a:t> </a:t>
            </a:r>
          </a:p>
        </p:txBody>
      </p:sp>
    </p:spTree>
    <p:extLst>
      <p:ext uri="{BB962C8B-B14F-4D97-AF65-F5344CB8AC3E}">
        <p14:creationId xmlns:p14="http://schemas.microsoft.com/office/powerpoint/2010/main" val="1615186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9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2838734" y="1228299"/>
            <a:ext cx="6209732" cy="5459104"/>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2" name="Title 1"/>
          <p:cNvSpPr>
            <a:spLocks noGrp="1"/>
          </p:cNvSpPr>
          <p:nvPr>
            <p:ph type="title"/>
          </p:nvPr>
        </p:nvSpPr>
        <p:spPr>
          <a:xfrm>
            <a:off x="630000" y="622800"/>
            <a:ext cx="10933200" cy="470898"/>
          </a:xfrm>
        </p:spPr>
        <p:txBody>
          <a:bodyPr/>
          <a:lstStyle/>
          <a:p>
            <a:r>
              <a:rPr lang="en-US" dirty="0"/>
              <a:t>Challenging starting point for culture</a:t>
            </a:r>
          </a:p>
        </p:txBody>
      </p:sp>
      <p:pic>
        <p:nvPicPr>
          <p:cNvPr id="3" name="Picture 2"/>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3411940" y="1439539"/>
            <a:ext cx="5177050" cy="5043448"/>
          </a:xfrm>
          <a:prstGeom prst="rect">
            <a:avLst/>
          </a:prstGeom>
        </p:spPr>
      </p:pic>
    </p:spTree>
    <p:custDataLst>
      <p:tags r:id="rId2"/>
    </p:custDataLst>
    <p:extLst>
      <p:ext uri="{BB962C8B-B14F-4D97-AF65-F5344CB8AC3E}">
        <p14:creationId xmlns:p14="http://schemas.microsoft.com/office/powerpoint/2010/main" val="3308857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30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29BA74"/>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Microsoft's Five People Priorities reinforce the emphasis on empowering people </a:t>
            </a:r>
          </a:p>
        </p:txBody>
      </p:sp>
      <p:sp>
        <p:nvSpPr>
          <p:cNvPr id="5" name="Title 2"/>
          <p:cNvSpPr txBox="1">
            <a:spLocks/>
          </p:cNvSpPr>
          <p:nvPr/>
        </p:nvSpPr>
        <p:spPr>
          <a:xfrm>
            <a:off x="5498256" y="904973"/>
            <a:ext cx="6405878" cy="4048111"/>
          </a:xfrm>
          <a:prstGeom prst="rect">
            <a:avLst/>
          </a:prstGeom>
          <a:ln cap="rnd">
            <a:noFill/>
          </a:ln>
        </p:spPr>
        <p:txBody>
          <a:bodyPr vert="horz" wrap="square" lIns="0" tIns="0" rIns="0" bIns="0" rtlCol="0" anchor="t">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pPr>
              <a:lnSpc>
                <a:spcPct val="100000"/>
              </a:lnSpc>
              <a:spcAft>
                <a:spcPts val="5400"/>
              </a:spcAft>
            </a:pPr>
            <a:endParaRPr lang="en-US" sz="2000" dirty="0">
              <a:solidFill>
                <a:srgbClr val="575757"/>
              </a:solidFill>
              <a:ea typeface="Times New Roman" panose="02020603050405020304" pitchFamily="18" charset="0"/>
            </a:endParaRPr>
          </a:p>
        </p:txBody>
      </p:sp>
      <p:sp>
        <p:nvSpPr>
          <p:cNvPr id="6" name="Title 2"/>
          <p:cNvSpPr txBox="1">
            <a:spLocks/>
          </p:cNvSpPr>
          <p:nvPr/>
        </p:nvSpPr>
        <p:spPr>
          <a:xfrm>
            <a:off x="4534293" y="678727"/>
            <a:ext cx="7369841" cy="4274354"/>
          </a:xfrm>
          <a:prstGeom prst="rect">
            <a:avLst/>
          </a:prstGeom>
          <a:ln cap="rnd">
            <a:noFill/>
          </a:ln>
        </p:spPr>
        <p:txBody>
          <a:bodyPr vert="horz" wrap="square" lIns="0" tIns="0" rIns="0" bIns="0" rtlCol="0" anchor="t">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pPr>
              <a:lnSpc>
                <a:spcPct val="100000"/>
              </a:lnSpc>
              <a:spcAft>
                <a:spcPts val="3000"/>
              </a:spcAft>
            </a:pPr>
            <a:r>
              <a:rPr lang="en-US" sz="1800" b="1" dirty="0">
                <a:solidFill>
                  <a:srgbClr val="575757"/>
                </a:solidFill>
                <a:ea typeface="Times New Roman" panose="02020603050405020304" pitchFamily="18" charset="0"/>
              </a:rPr>
              <a:t>An evolving culture with a growth mindset</a:t>
            </a:r>
            <a:r>
              <a:rPr lang="en-US" sz="1800" dirty="0">
                <a:solidFill>
                  <a:srgbClr val="575757"/>
                </a:solidFill>
                <a:ea typeface="Times New Roman" panose="02020603050405020304" pitchFamily="18" charset="0"/>
              </a:rPr>
              <a:t>: "Our culture is grounded in a growth mindset, which starts with a belief that potential in nurtured, not predetermined…"</a:t>
            </a:r>
          </a:p>
          <a:p>
            <a:pPr>
              <a:lnSpc>
                <a:spcPct val="100000"/>
              </a:lnSpc>
              <a:spcAft>
                <a:spcPts val="3000"/>
              </a:spcAft>
            </a:pPr>
            <a:r>
              <a:rPr lang="en-US" sz="1800" b="1" dirty="0">
                <a:solidFill>
                  <a:srgbClr val="575757"/>
                </a:solidFill>
                <a:ea typeface="Times New Roman" panose="02020603050405020304" pitchFamily="18" charset="0"/>
              </a:rPr>
              <a:t>An exceptional place to work</a:t>
            </a:r>
            <a:r>
              <a:rPr lang="en-US" sz="1800" dirty="0">
                <a:solidFill>
                  <a:srgbClr val="575757"/>
                </a:solidFill>
                <a:ea typeface="Times New Roman" panose="02020603050405020304" pitchFamily="18" charset="0"/>
              </a:rPr>
              <a:t>: "We believe it is our responsibility to create an environment where people can do their best work…"</a:t>
            </a:r>
          </a:p>
          <a:p>
            <a:pPr>
              <a:lnSpc>
                <a:spcPct val="100000"/>
              </a:lnSpc>
              <a:spcAft>
                <a:spcPts val="3000"/>
              </a:spcAft>
            </a:pPr>
            <a:r>
              <a:rPr lang="en-US" sz="1800" b="1" dirty="0">
                <a:solidFill>
                  <a:srgbClr val="575757"/>
                </a:solidFill>
                <a:ea typeface="Times New Roman" panose="02020603050405020304" pitchFamily="18" charset="0"/>
              </a:rPr>
              <a:t>Talent that can change the world</a:t>
            </a:r>
            <a:r>
              <a:rPr lang="en-US" sz="1800" dirty="0">
                <a:solidFill>
                  <a:srgbClr val="575757"/>
                </a:solidFill>
                <a:ea typeface="Times New Roman" panose="02020603050405020304" pitchFamily="18" charset="0"/>
              </a:rPr>
              <a:t>: "Our aim is to recruit, develop, and retain world-changing and diverse talent…"</a:t>
            </a:r>
          </a:p>
          <a:p>
            <a:pPr>
              <a:lnSpc>
                <a:spcPct val="100000"/>
              </a:lnSpc>
              <a:spcAft>
                <a:spcPts val="3000"/>
              </a:spcAft>
            </a:pPr>
            <a:r>
              <a:rPr lang="en-US" sz="1800" b="1" dirty="0">
                <a:solidFill>
                  <a:srgbClr val="575757"/>
                </a:solidFill>
                <a:ea typeface="Times New Roman" panose="02020603050405020304" pitchFamily="18" charset="0"/>
              </a:rPr>
              <a:t>Transformational leadership</a:t>
            </a:r>
            <a:r>
              <a:rPr lang="en-US" sz="1800" dirty="0">
                <a:solidFill>
                  <a:srgbClr val="575757"/>
                </a:solidFill>
                <a:ea typeface="Times New Roman" panose="02020603050405020304" pitchFamily="18" charset="0"/>
              </a:rPr>
              <a:t>: "We believe our leaders should empower our employees, customers, and partners to achieve more…"</a:t>
            </a:r>
          </a:p>
          <a:p>
            <a:pPr>
              <a:lnSpc>
                <a:spcPct val="100000"/>
              </a:lnSpc>
              <a:spcAft>
                <a:spcPts val="3000"/>
              </a:spcAft>
            </a:pPr>
            <a:r>
              <a:rPr lang="en-US" sz="1800" b="1" dirty="0">
                <a:solidFill>
                  <a:srgbClr val="575757"/>
                </a:solidFill>
                <a:ea typeface="Times New Roman" panose="02020603050405020304" pitchFamily="18" charset="0"/>
              </a:rPr>
              <a:t>Empowering at scale</a:t>
            </a:r>
            <a:r>
              <a:rPr lang="en-US" sz="1800" dirty="0">
                <a:solidFill>
                  <a:srgbClr val="575757"/>
                </a:solidFill>
                <a:ea typeface="Times New Roman" panose="02020603050405020304" pitchFamily="18" charset="0"/>
              </a:rPr>
              <a:t>:  "The priority is about unleashing people to come together and perform at a global scale.  One way we do this is by providing technology tools that afford our employees greater connectivity, collaboration, and communication across every team…"</a:t>
            </a:r>
          </a:p>
        </p:txBody>
      </p:sp>
    </p:spTree>
    <p:extLst>
      <p:ext uri="{BB962C8B-B14F-4D97-AF65-F5344CB8AC3E}">
        <p14:creationId xmlns:p14="http://schemas.microsoft.com/office/powerpoint/2010/main" val="1121861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17" name="think-cell Slide" r:id="rId6" imgW="352" imgH="355" progId="TCLayout.ActiveDocument.1">
                  <p:embed/>
                </p:oleObj>
              </mc:Choice>
              <mc:Fallback>
                <p:oleObj name="think-cell Slide" r:id="rId6" imgW="352" imgH="35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350" cy="443198"/>
          </a:xfrm>
        </p:spPr>
        <p:txBody>
          <a:bodyPr/>
          <a:lstStyle/>
          <a:p>
            <a:r>
              <a:rPr lang="en-US" sz="3200" dirty="0"/>
              <a:t>A high performance culture has three characteristics</a:t>
            </a:r>
          </a:p>
        </p:txBody>
      </p:sp>
      <p:sp>
        <p:nvSpPr>
          <p:cNvPr id="8" name="ee4pHeader1"/>
          <p:cNvSpPr txBox="1"/>
          <p:nvPr/>
        </p:nvSpPr>
        <p:spPr>
          <a:xfrm>
            <a:off x="630151" y="3852154"/>
            <a:ext cx="3123862" cy="658368"/>
          </a:xfrm>
          <a:prstGeom prst="rect">
            <a:avLst/>
          </a:prstGeom>
          <a:noFill/>
          <a:ln cap="rnd">
            <a:noFill/>
          </a:ln>
        </p:spPr>
        <p:txBody>
          <a:bodyPr wrap="square" lIns="0" tIns="0" rIns="0" bIns="0" rtlCol="0" anchor="ctr" anchorCtr="0">
            <a:noAutofit/>
          </a:bodyPr>
          <a:lstStyle/>
          <a:p>
            <a:pPr marL="0" lvl="3" algn="ctr"/>
            <a:r>
              <a:rPr lang="en-US" sz="1600" dirty="0">
                <a:solidFill>
                  <a:schemeClr val="tx2"/>
                </a:solidFill>
              </a:rPr>
              <a:t>Articulate </a:t>
            </a:r>
            <a:r>
              <a:rPr lang="en-US" sz="1600" dirty="0">
                <a:solidFill>
                  <a:srgbClr val="575757"/>
                </a:solidFill>
              </a:rPr>
              <a:t>culture in line with purpose and strategy</a:t>
            </a:r>
          </a:p>
        </p:txBody>
      </p:sp>
      <p:sp>
        <p:nvSpPr>
          <p:cNvPr id="9" name="ee4pHeader2"/>
          <p:cNvSpPr txBox="1"/>
          <p:nvPr/>
        </p:nvSpPr>
        <p:spPr>
          <a:xfrm>
            <a:off x="4533181" y="3852154"/>
            <a:ext cx="3125941" cy="658368"/>
          </a:xfrm>
          <a:prstGeom prst="rect">
            <a:avLst/>
          </a:prstGeom>
          <a:noFill/>
          <a:ln cap="rnd">
            <a:noFill/>
          </a:ln>
        </p:spPr>
        <p:txBody>
          <a:bodyPr wrap="square" lIns="0" tIns="0" rIns="0" bIns="0" rtlCol="0" anchor="ctr" anchorCtr="0">
            <a:noAutofit/>
          </a:bodyPr>
          <a:lstStyle/>
          <a:p>
            <a:pPr marL="0" lvl="3" algn="ctr"/>
            <a:r>
              <a:rPr lang="en-US" sz="1600" dirty="0">
                <a:solidFill>
                  <a:schemeClr val="tx2"/>
                </a:solidFill>
              </a:rPr>
              <a:t>Activate </a:t>
            </a:r>
            <a:r>
              <a:rPr lang="en-US" sz="1600" dirty="0">
                <a:solidFill>
                  <a:srgbClr val="575757"/>
                </a:solidFill>
              </a:rPr>
              <a:t>culture through leaders who walk the talk</a:t>
            </a:r>
          </a:p>
        </p:txBody>
      </p:sp>
      <p:sp>
        <p:nvSpPr>
          <p:cNvPr id="10" name="ee4pHeader3"/>
          <p:cNvSpPr txBox="1"/>
          <p:nvPr/>
        </p:nvSpPr>
        <p:spPr>
          <a:xfrm>
            <a:off x="8437409" y="3852154"/>
            <a:ext cx="3125941" cy="658368"/>
          </a:xfrm>
          <a:prstGeom prst="rect">
            <a:avLst/>
          </a:prstGeom>
          <a:noFill/>
          <a:ln cap="rnd">
            <a:noFill/>
          </a:ln>
        </p:spPr>
        <p:txBody>
          <a:bodyPr wrap="square" lIns="0" tIns="0" rIns="0" bIns="0" rtlCol="0" anchor="ctr" anchorCtr="0">
            <a:noAutofit/>
          </a:bodyPr>
          <a:lstStyle/>
          <a:p>
            <a:pPr marL="0" lvl="3" algn="ctr"/>
            <a:r>
              <a:rPr lang="en-US" sz="1600" dirty="0">
                <a:solidFill>
                  <a:schemeClr val="tx2"/>
                </a:solidFill>
              </a:rPr>
              <a:t>Embed </a:t>
            </a:r>
            <a:r>
              <a:rPr lang="en-US" sz="1600" dirty="0">
                <a:solidFill>
                  <a:srgbClr val="575757"/>
                </a:solidFill>
              </a:rPr>
              <a:t>culture in org context</a:t>
            </a:r>
            <a:br>
              <a:rPr lang="en-US" sz="1600" dirty="0">
                <a:solidFill>
                  <a:srgbClr val="575757"/>
                </a:solidFill>
              </a:rPr>
            </a:br>
            <a:r>
              <a:rPr lang="en-US" sz="1600" dirty="0">
                <a:solidFill>
                  <a:srgbClr val="575757"/>
                </a:solidFill>
              </a:rPr>
              <a:t>to sustain the change</a:t>
            </a:r>
          </a:p>
        </p:txBody>
      </p:sp>
      <p:sp>
        <p:nvSpPr>
          <p:cNvPr id="12" name="Oval 11"/>
          <p:cNvSpPr/>
          <p:nvPr/>
        </p:nvSpPr>
        <p:spPr>
          <a:xfrm>
            <a:off x="1254077" y="1877491"/>
            <a:ext cx="1875708" cy="1875706"/>
          </a:xfrm>
          <a:prstGeom prst="ellipse">
            <a:avLst/>
          </a:prstGeom>
          <a:grpFill/>
          <a:ln w="762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13" name="bcgIcons_Target">
            <a:extLst>
              <a:ext uri="{FF2B5EF4-FFF2-40B4-BE49-F238E27FC236}">
                <a16:creationId xmlns:a16="http://schemas.microsoft.com/office/drawing/2014/main" id="{02916922-81B1-4399-BF36-3FC0C6969C4A}"/>
              </a:ext>
            </a:extLst>
          </p:cNvPr>
          <p:cNvGrpSpPr>
            <a:grpSpLocks noChangeAspect="1"/>
          </p:cNvGrpSpPr>
          <p:nvPr/>
        </p:nvGrpSpPr>
        <p:grpSpPr bwMode="auto">
          <a:xfrm>
            <a:off x="1506191" y="2128970"/>
            <a:ext cx="1371480" cy="1372750"/>
            <a:chOff x="1682" y="0"/>
            <a:chExt cx="4316" cy="4320"/>
          </a:xfrm>
        </p:grpSpPr>
        <p:sp>
          <p:nvSpPr>
            <p:cNvPr id="14" name="AutoShape 23">
              <a:extLst>
                <a:ext uri="{FF2B5EF4-FFF2-40B4-BE49-F238E27FC236}">
                  <a16:creationId xmlns:a16="http://schemas.microsoft.com/office/drawing/2014/main" id="{89F4D31F-87B6-4E69-917E-65E2F97982B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5" name="Freeform 14">
              <a:extLst>
                <a:ext uri="{FF2B5EF4-FFF2-40B4-BE49-F238E27FC236}">
                  <a16:creationId xmlns:a16="http://schemas.microsoft.com/office/drawing/2014/main" id="{FA0FD38E-7CA9-4ECE-9013-798D4E40C551}"/>
                </a:ext>
              </a:extLst>
            </p:cNvPr>
            <p:cNvSpPr>
              <a:spLocks noEditPoints="1"/>
            </p:cNvSpPr>
            <p:nvPr/>
          </p:nvSpPr>
          <p:spPr bwMode="auto">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6" name="Freeform 15">
              <a:extLst>
                <a:ext uri="{FF2B5EF4-FFF2-40B4-BE49-F238E27FC236}">
                  <a16:creationId xmlns:a16="http://schemas.microsoft.com/office/drawing/2014/main" id="{F562C458-32E3-43E7-BAF7-B4773D3C4A71}"/>
                </a:ext>
              </a:extLst>
            </p:cNvPr>
            <p:cNvSpPr>
              <a:spLocks noEditPoints="1"/>
            </p:cNvSpPr>
            <p:nvPr/>
          </p:nvSpPr>
          <p:spPr bwMode="auto">
            <a:xfrm>
              <a:off x="2422" y="756"/>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8" name="Oval 17"/>
          <p:cNvSpPr/>
          <p:nvPr/>
        </p:nvSpPr>
        <p:spPr>
          <a:xfrm>
            <a:off x="5158147" y="1877491"/>
            <a:ext cx="1875708" cy="1875706"/>
          </a:xfrm>
          <a:prstGeom prst="ellipse">
            <a:avLst/>
          </a:prstGeom>
          <a:grpFill/>
          <a:ln w="762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19" name="Group 18"/>
          <p:cNvGrpSpPr/>
          <p:nvPr/>
        </p:nvGrpSpPr>
        <p:grpSpPr>
          <a:xfrm>
            <a:off x="5410262" y="2128969"/>
            <a:ext cx="1371480" cy="1372750"/>
            <a:chOff x="5273803" y="2606040"/>
            <a:chExt cx="1644396" cy="1645920"/>
          </a:xfrm>
        </p:grpSpPr>
        <p:sp>
          <p:nvSpPr>
            <p:cNvPr id="20" name="AutoShape 18">
              <a:extLst>
                <a:ext uri="{FF2B5EF4-FFF2-40B4-BE49-F238E27FC236}">
                  <a16:creationId xmlns:a16="http://schemas.microsoft.com/office/drawing/2014/main" id="{575286B9-FCC8-4EFB-9834-BD5493C559C3}"/>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nvGrpSpPr>
            <p:cNvPr id="21" name="Group 20"/>
            <p:cNvGrpSpPr/>
            <p:nvPr/>
          </p:nvGrpSpPr>
          <p:grpSpPr>
            <a:xfrm>
              <a:off x="5336668" y="2770251"/>
              <a:ext cx="1515999" cy="1311783"/>
              <a:chOff x="5336668" y="2770251"/>
              <a:chExt cx="1515999" cy="1311783"/>
            </a:xfrm>
          </p:grpSpPr>
          <p:sp>
            <p:nvSpPr>
              <p:cNvPr id="22" name="Freeform 21">
                <a:extLst>
                  <a:ext uri="{FF2B5EF4-FFF2-40B4-BE49-F238E27FC236}">
                    <a16:creationId xmlns:a16="http://schemas.microsoft.com/office/drawing/2014/main" id="{CEF9E0BC-00B7-4B29-B377-3473BD5B2EB2}"/>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3" name="Freeform 22">
                <a:extLst>
                  <a:ext uri="{FF2B5EF4-FFF2-40B4-BE49-F238E27FC236}">
                    <a16:creationId xmlns:a16="http://schemas.microsoft.com/office/drawing/2014/main" id="{9A32768F-1F7B-41E4-AD1E-05F5E20985B3}"/>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sp>
        <p:nvSpPr>
          <p:cNvPr id="25" name="Oval 24"/>
          <p:cNvSpPr/>
          <p:nvPr/>
        </p:nvSpPr>
        <p:spPr>
          <a:xfrm>
            <a:off x="9062374" y="1877491"/>
            <a:ext cx="1875708" cy="1875706"/>
          </a:xfrm>
          <a:prstGeom prst="ellipse">
            <a:avLst/>
          </a:prstGeom>
          <a:grpFill/>
          <a:ln w="762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31" name="Group 30"/>
          <p:cNvGrpSpPr>
            <a:grpSpLocks noChangeAspect="1"/>
          </p:cNvGrpSpPr>
          <p:nvPr/>
        </p:nvGrpSpPr>
        <p:grpSpPr>
          <a:xfrm>
            <a:off x="3919363" y="2590741"/>
            <a:ext cx="449206" cy="449206"/>
            <a:chOff x="628650" y="1443038"/>
            <a:chExt cx="269875" cy="269875"/>
          </a:xfrm>
        </p:grpSpPr>
        <p:sp>
          <p:nvSpPr>
            <p:cNvPr id="32" name="Oval 31"/>
            <p:cNvSpPr>
              <a:spLocks noChangeArrowheads="1"/>
            </p:cNvSpPr>
            <p:nvPr/>
          </p:nvSpPr>
          <p:spPr bwMode="auto">
            <a:xfrm>
              <a:off x="628650" y="14430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3" name="Freeform 32"/>
            <p:cNvSpPr>
              <a:spLocks/>
            </p:cNvSpPr>
            <p:nvPr/>
          </p:nvSpPr>
          <p:spPr bwMode="auto">
            <a:xfrm>
              <a:off x="690562" y="1504950"/>
              <a:ext cx="146050" cy="146050"/>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34" name="Group 33"/>
          <p:cNvGrpSpPr>
            <a:grpSpLocks noChangeAspect="1"/>
          </p:cNvGrpSpPr>
          <p:nvPr/>
        </p:nvGrpSpPr>
        <p:grpSpPr>
          <a:xfrm>
            <a:off x="7823512" y="2590741"/>
            <a:ext cx="449206" cy="449206"/>
            <a:chOff x="628650" y="1443038"/>
            <a:chExt cx="269875" cy="269875"/>
          </a:xfrm>
        </p:grpSpPr>
        <p:sp>
          <p:nvSpPr>
            <p:cNvPr id="35" name="Oval 34"/>
            <p:cNvSpPr>
              <a:spLocks noChangeArrowheads="1"/>
            </p:cNvSpPr>
            <p:nvPr/>
          </p:nvSpPr>
          <p:spPr bwMode="auto">
            <a:xfrm>
              <a:off x="628650" y="14430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36" name="Freeform 35"/>
            <p:cNvSpPr>
              <a:spLocks/>
            </p:cNvSpPr>
            <p:nvPr/>
          </p:nvSpPr>
          <p:spPr bwMode="auto">
            <a:xfrm>
              <a:off x="690562" y="1504950"/>
              <a:ext cx="146050" cy="146050"/>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0" name="bcgIcons_TwoSpeedWorld">
            <a:extLst>
              <a:ext uri="{FF2B5EF4-FFF2-40B4-BE49-F238E27FC236}">
                <a16:creationId xmlns:a16="http://schemas.microsoft.com/office/drawing/2014/main" id="{66E21A1F-BF72-4A2B-A9B1-C0A8C081FFF7}"/>
              </a:ext>
            </a:extLst>
          </p:cNvPr>
          <p:cNvGrpSpPr>
            <a:grpSpLocks noChangeAspect="1"/>
          </p:cNvGrpSpPr>
          <p:nvPr/>
        </p:nvGrpSpPr>
        <p:grpSpPr bwMode="auto">
          <a:xfrm>
            <a:off x="9419090" y="2233668"/>
            <a:ext cx="1162276" cy="1163352"/>
            <a:chOff x="1682" y="0"/>
            <a:chExt cx="4316" cy="4320"/>
          </a:xfrm>
        </p:grpSpPr>
        <p:sp>
          <p:nvSpPr>
            <p:cNvPr id="41" name="AutoShape 9">
              <a:extLst>
                <a:ext uri="{FF2B5EF4-FFF2-40B4-BE49-F238E27FC236}">
                  <a16:creationId xmlns:a16="http://schemas.microsoft.com/office/drawing/2014/main" id="{1CBD72B5-162B-4744-9181-988FD1B7A1F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0584" tIns="50292" rIns="100584" bIns="50292" numCol="1" anchor="t" anchorCtr="0" compatLnSpc="1">
              <a:prstTxWarp prst="textNoShape">
                <a:avLst/>
              </a:prstTxWarp>
            </a:bodyPr>
            <a:lstStyle/>
            <a:p>
              <a:endParaRPr lang="en-US" dirty="0"/>
            </a:p>
          </p:txBody>
        </p:sp>
        <p:sp>
          <p:nvSpPr>
            <p:cNvPr id="42" name="Freeform 11">
              <a:extLst>
                <a:ext uri="{FF2B5EF4-FFF2-40B4-BE49-F238E27FC236}">
                  <a16:creationId xmlns:a16="http://schemas.microsoft.com/office/drawing/2014/main" id="{BD939792-90DE-44AE-808E-2B5B325B51BA}"/>
                </a:ext>
              </a:extLst>
            </p:cNvPr>
            <p:cNvSpPr>
              <a:spLocks/>
            </p:cNvSpPr>
            <p:nvPr/>
          </p:nvSpPr>
          <p:spPr bwMode="auto">
            <a:xfrm>
              <a:off x="2293" y="609"/>
              <a:ext cx="2948" cy="2301"/>
            </a:xfrm>
            <a:custGeom>
              <a:avLst/>
              <a:gdLst>
                <a:gd name="T0" fmla="*/ 826 w 1574"/>
                <a:gd name="T1" fmla="*/ 0 h 1227"/>
                <a:gd name="T2" fmla="*/ 0 w 1574"/>
                <a:gd name="T3" fmla="*/ 826 h 1227"/>
                <a:gd name="T4" fmla="*/ 3 w 1574"/>
                <a:gd name="T5" fmla="*/ 902 h 1227"/>
                <a:gd name="T6" fmla="*/ 10 w 1574"/>
                <a:gd name="T7" fmla="*/ 902 h 1227"/>
                <a:gd name="T8" fmla="*/ 398 w 1574"/>
                <a:gd name="T9" fmla="*/ 886 h 1227"/>
                <a:gd name="T10" fmla="*/ 986 w 1574"/>
                <a:gd name="T11" fmla="*/ 653 h 1227"/>
                <a:gd name="T12" fmla="*/ 870 w 1574"/>
                <a:gd name="T13" fmla="*/ 645 h 1227"/>
                <a:gd name="T14" fmla="*/ 832 w 1574"/>
                <a:gd name="T15" fmla="*/ 603 h 1227"/>
                <a:gd name="T16" fmla="*/ 875 w 1574"/>
                <a:gd name="T17" fmla="*/ 566 h 1227"/>
                <a:gd name="T18" fmla="*/ 1085 w 1574"/>
                <a:gd name="T19" fmla="*/ 579 h 1227"/>
                <a:gd name="T20" fmla="*/ 1112 w 1574"/>
                <a:gd name="T21" fmla="*/ 592 h 1227"/>
                <a:gd name="T22" fmla="*/ 1122 w 1574"/>
                <a:gd name="T23" fmla="*/ 621 h 1227"/>
                <a:gd name="T24" fmla="*/ 1110 w 1574"/>
                <a:gd name="T25" fmla="*/ 829 h 1227"/>
                <a:gd name="T26" fmla="*/ 1070 w 1574"/>
                <a:gd name="T27" fmla="*/ 866 h 1227"/>
                <a:gd name="T28" fmla="*/ 1067 w 1574"/>
                <a:gd name="T29" fmla="*/ 866 h 1227"/>
                <a:gd name="T30" fmla="*/ 1030 w 1574"/>
                <a:gd name="T31" fmla="*/ 824 h 1227"/>
                <a:gd name="T32" fmla="*/ 1036 w 1574"/>
                <a:gd name="T33" fmla="*/ 715 h 1227"/>
                <a:gd name="T34" fmla="*/ 768 w 1574"/>
                <a:gd name="T35" fmla="*/ 872 h 1227"/>
                <a:gd name="T36" fmla="*/ 407 w 1574"/>
                <a:gd name="T37" fmla="*/ 966 h 1227"/>
                <a:gd name="T38" fmla="*/ 124 w 1574"/>
                <a:gd name="T39" fmla="*/ 986 h 1227"/>
                <a:gd name="T40" fmla="*/ 15 w 1574"/>
                <a:gd name="T41" fmla="*/ 982 h 1227"/>
                <a:gd name="T42" fmla="*/ 90 w 1574"/>
                <a:gd name="T43" fmla="*/ 1200 h 1227"/>
                <a:gd name="T44" fmla="*/ 358 w 1574"/>
                <a:gd name="T45" fmla="*/ 1227 h 1227"/>
                <a:gd name="T46" fmla="*/ 1574 w 1574"/>
                <a:gd name="T47" fmla="*/ 475 h 1227"/>
                <a:gd name="T48" fmla="*/ 826 w 1574"/>
                <a:gd name="T49" fmla="*/ 0 h 1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74" h="1227">
                  <a:moveTo>
                    <a:pt x="826" y="0"/>
                  </a:moveTo>
                  <a:cubicBezTo>
                    <a:pt x="371" y="0"/>
                    <a:pt x="0" y="371"/>
                    <a:pt x="0" y="826"/>
                  </a:cubicBezTo>
                  <a:cubicBezTo>
                    <a:pt x="0" y="852"/>
                    <a:pt x="1" y="877"/>
                    <a:pt x="3" y="902"/>
                  </a:cubicBezTo>
                  <a:cubicBezTo>
                    <a:pt x="5" y="902"/>
                    <a:pt x="8" y="902"/>
                    <a:pt x="10" y="902"/>
                  </a:cubicBezTo>
                  <a:cubicBezTo>
                    <a:pt x="11" y="902"/>
                    <a:pt x="183" y="917"/>
                    <a:pt x="398" y="886"/>
                  </a:cubicBezTo>
                  <a:cubicBezTo>
                    <a:pt x="571" y="861"/>
                    <a:pt x="806" y="800"/>
                    <a:pt x="986" y="653"/>
                  </a:cubicBezTo>
                  <a:cubicBezTo>
                    <a:pt x="870" y="645"/>
                    <a:pt x="870" y="645"/>
                    <a:pt x="870" y="645"/>
                  </a:cubicBezTo>
                  <a:cubicBezTo>
                    <a:pt x="848" y="644"/>
                    <a:pt x="831" y="625"/>
                    <a:pt x="832" y="603"/>
                  </a:cubicBezTo>
                  <a:cubicBezTo>
                    <a:pt x="834" y="581"/>
                    <a:pt x="853" y="564"/>
                    <a:pt x="875" y="566"/>
                  </a:cubicBezTo>
                  <a:cubicBezTo>
                    <a:pt x="1085" y="579"/>
                    <a:pt x="1085" y="579"/>
                    <a:pt x="1085" y="579"/>
                  </a:cubicBezTo>
                  <a:cubicBezTo>
                    <a:pt x="1096" y="579"/>
                    <a:pt x="1105" y="584"/>
                    <a:pt x="1112" y="592"/>
                  </a:cubicBezTo>
                  <a:cubicBezTo>
                    <a:pt x="1120" y="600"/>
                    <a:pt x="1123" y="610"/>
                    <a:pt x="1122" y="621"/>
                  </a:cubicBezTo>
                  <a:cubicBezTo>
                    <a:pt x="1110" y="829"/>
                    <a:pt x="1110" y="829"/>
                    <a:pt x="1110" y="829"/>
                  </a:cubicBezTo>
                  <a:cubicBezTo>
                    <a:pt x="1108" y="850"/>
                    <a:pt x="1091" y="866"/>
                    <a:pt x="1070" y="866"/>
                  </a:cubicBezTo>
                  <a:cubicBezTo>
                    <a:pt x="1069" y="866"/>
                    <a:pt x="1068" y="866"/>
                    <a:pt x="1067" y="866"/>
                  </a:cubicBezTo>
                  <a:cubicBezTo>
                    <a:pt x="1045" y="865"/>
                    <a:pt x="1028" y="846"/>
                    <a:pt x="1030" y="824"/>
                  </a:cubicBezTo>
                  <a:cubicBezTo>
                    <a:pt x="1036" y="715"/>
                    <a:pt x="1036" y="715"/>
                    <a:pt x="1036" y="715"/>
                  </a:cubicBezTo>
                  <a:cubicBezTo>
                    <a:pt x="960" y="778"/>
                    <a:pt x="870" y="830"/>
                    <a:pt x="768" y="872"/>
                  </a:cubicBezTo>
                  <a:cubicBezTo>
                    <a:pt x="660" y="915"/>
                    <a:pt x="539" y="947"/>
                    <a:pt x="407" y="966"/>
                  </a:cubicBezTo>
                  <a:cubicBezTo>
                    <a:pt x="296" y="982"/>
                    <a:pt x="197" y="986"/>
                    <a:pt x="124" y="986"/>
                  </a:cubicBezTo>
                  <a:cubicBezTo>
                    <a:pt x="72" y="986"/>
                    <a:pt x="34" y="984"/>
                    <a:pt x="15" y="982"/>
                  </a:cubicBezTo>
                  <a:cubicBezTo>
                    <a:pt x="30" y="1059"/>
                    <a:pt x="55" y="1133"/>
                    <a:pt x="90" y="1200"/>
                  </a:cubicBezTo>
                  <a:cubicBezTo>
                    <a:pt x="176" y="1218"/>
                    <a:pt x="266" y="1227"/>
                    <a:pt x="358" y="1227"/>
                  </a:cubicBezTo>
                  <a:cubicBezTo>
                    <a:pt x="889" y="1227"/>
                    <a:pt x="1350" y="920"/>
                    <a:pt x="1574" y="475"/>
                  </a:cubicBezTo>
                  <a:cubicBezTo>
                    <a:pt x="1441" y="195"/>
                    <a:pt x="1156" y="0"/>
                    <a:pt x="82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584" tIns="50292" rIns="100584" bIns="50292" numCol="1" anchor="t" anchorCtr="0" compatLnSpc="1">
              <a:prstTxWarp prst="textNoShape">
                <a:avLst/>
              </a:prstTxWarp>
            </a:bodyPr>
            <a:lstStyle/>
            <a:p>
              <a:endParaRPr lang="en-US" dirty="0"/>
            </a:p>
          </p:txBody>
        </p:sp>
        <p:sp>
          <p:nvSpPr>
            <p:cNvPr id="43" name="Freeform 12">
              <a:extLst>
                <a:ext uri="{FF2B5EF4-FFF2-40B4-BE49-F238E27FC236}">
                  <a16:creationId xmlns:a16="http://schemas.microsoft.com/office/drawing/2014/main" id="{9DB8F604-8CAB-486A-B805-00F40BB514C1}"/>
                </a:ext>
              </a:extLst>
            </p:cNvPr>
            <p:cNvSpPr>
              <a:spLocks noEditPoints="1"/>
            </p:cNvSpPr>
            <p:nvPr/>
          </p:nvSpPr>
          <p:spPr bwMode="auto">
            <a:xfrm>
              <a:off x="2128" y="444"/>
              <a:ext cx="3424" cy="3428"/>
            </a:xfrm>
            <a:custGeom>
              <a:avLst/>
              <a:gdLst>
                <a:gd name="T0" fmla="*/ 1736 w 1828"/>
                <a:gd name="T1" fmla="*/ 997 h 1828"/>
                <a:gd name="T2" fmla="*/ 914 w 1828"/>
                <a:gd name="T3" fmla="*/ 1740 h 1828"/>
                <a:gd name="T4" fmla="*/ 206 w 1828"/>
                <a:gd name="T5" fmla="*/ 1338 h 1828"/>
                <a:gd name="T6" fmla="*/ 446 w 1828"/>
                <a:gd name="T7" fmla="*/ 1359 h 1828"/>
                <a:gd name="T8" fmla="*/ 1193 w 1828"/>
                <a:gd name="T9" fmla="*/ 1143 h 1828"/>
                <a:gd name="T10" fmla="*/ 1684 w 1828"/>
                <a:gd name="T11" fmla="*/ 615 h 1828"/>
                <a:gd name="T12" fmla="*/ 1737 w 1828"/>
                <a:gd name="T13" fmla="*/ 849 h 1828"/>
                <a:gd name="T14" fmla="*/ 1666 w 1828"/>
                <a:gd name="T15" fmla="*/ 958 h 1828"/>
                <a:gd name="T16" fmla="*/ 1189 w 1828"/>
                <a:gd name="T17" fmla="*/ 1375 h 1828"/>
                <a:gd name="T18" fmla="*/ 1236 w 1828"/>
                <a:gd name="T19" fmla="*/ 1268 h 1828"/>
                <a:gd name="T20" fmla="*/ 1215 w 1828"/>
                <a:gd name="T21" fmla="*/ 1216 h 1828"/>
                <a:gd name="T22" fmla="*/ 1162 w 1828"/>
                <a:gd name="T23" fmla="*/ 1236 h 1828"/>
                <a:gd name="T24" fmla="*/ 1078 w 1828"/>
                <a:gd name="T25" fmla="*/ 1429 h 1828"/>
                <a:gd name="T26" fmla="*/ 1078 w 1828"/>
                <a:gd name="T27" fmla="*/ 1460 h 1828"/>
                <a:gd name="T28" fmla="*/ 1099 w 1828"/>
                <a:gd name="T29" fmla="*/ 1482 h 1828"/>
                <a:gd name="T30" fmla="*/ 1290 w 1828"/>
                <a:gd name="T31" fmla="*/ 1566 h 1828"/>
                <a:gd name="T32" fmla="*/ 1306 w 1828"/>
                <a:gd name="T33" fmla="*/ 1569 h 1828"/>
                <a:gd name="T34" fmla="*/ 1342 w 1828"/>
                <a:gd name="T35" fmla="*/ 1545 h 1828"/>
                <a:gd name="T36" fmla="*/ 1322 w 1828"/>
                <a:gd name="T37" fmla="*/ 1492 h 1828"/>
                <a:gd name="T38" fmla="*/ 1222 w 1828"/>
                <a:gd name="T39" fmla="*/ 1449 h 1828"/>
                <a:gd name="T40" fmla="*/ 1484 w 1828"/>
                <a:gd name="T41" fmla="*/ 1281 h 1828"/>
                <a:gd name="T42" fmla="*/ 1732 w 1828"/>
                <a:gd name="T43" fmla="*/ 1003 h 1828"/>
                <a:gd name="T44" fmla="*/ 1736 w 1828"/>
                <a:gd name="T45" fmla="*/ 997 h 1828"/>
                <a:gd name="T46" fmla="*/ 1560 w 1828"/>
                <a:gd name="T47" fmla="*/ 1560 h 1828"/>
                <a:gd name="T48" fmla="*/ 1828 w 1828"/>
                <a:gd name="T49" fmla="*/ 914 h 1828"/>
                <a:gd name="T50" fmla="*/ 1560 w 1828"/>
                <a:gd name="T51" fmla="*/ 268 h 1828"/>
                <a:gd name="T52" fmla="*/ 914 w 1828"/>
                <a:gd name="T53" fmla="*/ 0 h 1828"/>
                <a:gd name="T54" fmla="*/ 268 w 1828"/>
                <a:gd name="T55" fmla="*/ 268 h 1828"/>
                <a:gd name="T56" fmla="*/ 0 w 1828"/>
                <a:gd name="T57" fmla="*/ 914 h 1828"/>
                <a:gd name="T58" fmla="*/ 268 w 1828"/>
                <a:gd name="T59" fmla="*/ 1560 h 1828"/>
                <a:gd name="T60" fmla="*/ 914 w 1828"/>
                <a:gd name="T61" fmla="*/ 1828 h 1828"/>
                <a:gd name="T62" fmla="*/ 1560 w 1828"/>
                <a:gd name="T63" fmla="*/ 1560 h 1828"/>
                <a:gd name="T64" fmla="*/ 1784 w 1828"/>
                <a:gd name="T65" fmla="*/ 914 h 1828"/>
                <a:gd name="T66" fmla="*/ 914 w 1828"/>
                <a:gd name="T67" fmla="*/ 1784 h 1828"/>
                <a:gd name="T68" fmla="*/ 44 w 1828"/>
                <a:gd name="T69" fmla="*/ 914 h 1828"/>
                <a:gd name="T70" fmla="*/ 914 w 1828"/>
                <a:gd name="T71" fmla="*/ 44 h 1828"/>
                <a:gd name="T72" fmla="*/ 1784 w 1828"/>
                <a:gd name="T73" fmla="*/ 914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28" h="1828">
                  <a:moveTo>
                    <a:pt x="1736" y="997"/>
                  </a:moveTo>
                  <a:cubicBezTo>
                    <a:pt x="1694" y="1414"/>
                    <a:pt x="1341" y="1740"/>
                    <a:pt x="914" y="1740"/>
                  </a:cubicBezTo>
                  <a:cubicBezTo>
                    <a:pt x="614" y="1740"/>
                    <a:pt x="350" y="1579"/>
                    <a:pt x="206" y="1338"/>
                  </a:cubicBezTo>
                  <a:cubicBezTo>
                    <a:pt x="285" y="1352"/>
                    <a:pt x="365" y="1359"/>
                    <a:pt x="446" y="1359"/>
                  </a:cubicBezTo>
                  <a:cubicBezTo>
                    <a:pt x="711" y="1359"/>
                    <a:pt x="969" y="1284"/>
                    <a:pt x="1193" y="1143"/>
                  </a:cubicBezTo>
                  <a:cubicBezTo>
                    <a:pt x="1400" y="1012"/>
                    <a:pt x="1569" y="830"/>
                    <a:pt x="1684" y="615"/>
                  </a:cubicBezTo>
                  <a:cubicBezTo>
                    <a:pt x="1713" y="689"/>
                    <a:pt x="1731" y="767"/>
                    <a:pt x="1737" y="849"/>
                  </a:cubicBezTo>
                  <a:cubicBezTo>
                    <a:pt x="1716" y="883"/>
                    <a:pt x="1692" y="920"/>
                    <a:pt x="1666" y="958"/>
                  </a:cubicBezTo>
                  <a:cubicBezTo>
                    <a:pt x="1564" y="1101"/>
                    <a:pt x="1403" y="1282"/>
                    <a:pt x="1189" y="1375"/>
                  </a:cubicBezTo>
                  <a:cubicBezTo>
                    <a:pt x="1236" y="1268"/>
                    <a:pt x="1236" y="1268"/>
                    <a:pt x="1236" y="1268"/>
                  </a:cubicBezTo>
                  <a:cubicBezTo>
                    <a:pt x="1245" y="1248"/>
                    <a:pt x="1235" y="1225"/>
                    <a:pt x="1215" y="1216"/>
                  </a:cubicBezTo>
                  <a:cubicBezTo>
                    <a:pt x="1195" y="1207"/>
                    <a:pt x="1171" y="1216"/>
                    <a:pt x="1162" y="1236"/>
                  </a:cubicBezTo>
                  <a:cubicBezTo>
                    <a:pt x="1078" y="1429"/>
                    <a:pt x="1078" y="1429"/>
                    <a:pt x="1078" y="1429"/>
                  </a:cubicBezTo>
                  <a:cubicBezTo>
                    <a:pt x="1074" y="1439"/>
                    <a:pt x="1074" y="1450"/>
                    <a:pt x="1078" y="1460"/>
                  </a:cubicBezTo>
                  <a:cubicBezTo>
                    <a:pt x="1081" y="1470"/>
                    <a:pt x="1089" y="1478"/>
                    <a:pt x="1099" y="1482"/>
                  </a:cubicBezTo>
                  <a:cubicBezTo>
                    <a:pt x="1290" y="1566"/>
                    <a:pt x="1290" y="1566"/>
                    <a:pt x="1290" y="1566"/>
                  </a:cubicBezTo>
                  <a:cubicBezTo>
                    <a:pt x="1295" y="1568"/>
                    <a:pt x="1300" y="1569"/>
                    <a:pt x="1306" y="1569"/>
                  </a:cubicBezTo>
                  <a:cubicBezTo>
                    <a:pt x="1321" y="1569"/>
                    <a:pt x="1336" y="1560"/>
                    <a:pt x="1342" y="1545"/>
                  </a:cubicBezTo>
                  <a:cubicBezTo>
                    <a:pt x="1351" y="1525"/>
                    <a:pt x="1342" y="1501"/>
                    <a:pt x="1322" y="1492"/>
                  </a:cubicBezTo>
                  <a:cubicBezTo>
                    <a:pt x="1222" y="1449"/>
                    <a:pt x="1222" y="1449"/>
                    <a:pt x="1222" y="1449"/>
                  </a:cubicBezTo>
                  <a:cubicBezTo>
                    <a:pt x="1312" y="1409"/>
                    <a:pt x="1400" y="1353"/>
                    <a:pt x="1484" y="1281"/>
                  </a:cubicBezTo>
                  <a:cubicBezTo>
                    <a:pt x="1572" y="1205"/>
                    <a:pt x="1655" y="1111"/>
                    <a:pt x="1732" y="1003"/>
                  </a:cubicBezTo>
                  <a:cubicBezTo>
                    <a:pt x="1733" y="1001"/>
                    <a:pt x="1735" y="999"/>
                    <a:pt x="1736" y="997"/>
                  </a:cubicBezTo>
                  <a:close/>
                  <a:moveTo>
                    <a:pt x="1560" y="1560"/>
                  </a:moveTo>
                  <a:cubicBezTo>
                    <a:pt x="1733" y="1388"/>
                    <a:pt x="1828" y="1158"/>
                    <a:pt x="1828" y="914"/>
                  </a:cubicBezTo>
                  <a:cubicBezTo>
                    <a:pt x="1828" y="670"/>
                    <a:pt x="1733" y="440"/>
                    <a:pt x="1560" y="268"/>
                  </a:cubicBezTo>
                  <a:cubicBezTo>
                    <a:pt x="1388" y="95"/>
                    <a:pt x="1158" y="0"/>
                    <a:pt x="914" y="0"/>
                  </a:cubicBezTo>
                  <a:cubicBezTo>
                    <a:pt x="670" y="0"/>
                    <a:pt x="440" y="95"/>
                    <a:pt x="268" y="268"/>
                  </a:cubicBezTo>
                  <a:cubicBezTo>
                    <a:pt x="95" y="440"/>
                    <a:pt x="0" y="670"/>
                    <a:pt x="0" y="914"/>
                  </a:cubicBezTo>
                  <a:cubicBezTo>
                    <a:pt x="0" y="1158"/>
                    <a:pt x="95" y="1388"/>
                    <a:pt x="268" y="1560"/>
                  </a:cubicBezTo>
                  <a:cubicBezTo>
                    <a:pt x="440" y="1733"/>
                    <a:pt x="670" y="1828"/>
                    <a:pt x="914" y="1828"/>
                  </a:cubicBezTo>
                  <a:cubicBezTo>
                    <a:pt x="1158" y="1828"/>
                    <a:pt x="1388" y="1733"/>
                    <a:pt x="1560" y="1560"/>
                  </a:cubicBezTo>
                  <a:close/>
                  <a:moveTo>
                    <a:pt x="1784" y="914"/>
                  </a:moveTo>
                  <a:cubicBezTo>
                    <a:pt x="1784" y="1394"/>
                    <a:pt x="1394" y="1784"/>
                    <a:pt x="914" y="1784"/>
                  </a:cubicBezTo>
                  <a:cubicBezTo>
                    <a:pt x="434" y="1784"/>
                    <a:pt x="44" y="1394"/>
                    <a:pt x="44" y="914"/>
                  </a:cubicBezTo>
                  <a:cubicBezTo>
                    <a:pt x="44" y="434"/>
                    <a:pt x="434" y="44"/>
                    <a:pt x="914" y="44"/>
                  </a:cubicBezTo>
                  <a:cubicBezTo>
                    <a:pt x="1394" y="44"/>
                    <a:pt x="1784" y="434"/>
                    <a:pt x="1784" y="91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584" tIns="50292" rIns="100584" bIns="50292" numCol="1" anchor="t" anchorCtr="0" compatLnSpc="1">
              <a:prstTxWarp prst="textNoShape">
                <a:avLst/>
              </a:prstTxWarp>
            </a:bodyPr>
            <a:lstStyle/>
            <a:p>
              <a:endParaRPr lang="en-US" dirty="0"/>
            </a:p>
          </p:txBody>
        </p:sp>
      </p:grpSp>
      <p:sp>
        <p:nvSpPr>
          <p:cNvPr id="46" name="ee4pContent1"/>
          <p:cNvSpPr txBox="1"/>
          <p:nvPr/>
        </p:nvSpPr>
        <p:spPr>
          <a:xfrm>
            <a:off x="1077262" y="4698048"/>
            <a:ext cx="2229337" cy="738664"/>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buSzPct val="100000"/>
              <a:buFont typeface="Trebuchet MS" panose="020B0603020202020204" pitchFamily="34" charset="0"/>
              <a:buChar char="​"/>
            </a:pPr>
            <a:r>
              <a:rPr lang="en-US" dirty="0">
                <a:solidFill>
                  <a:srgbClr val="29BA74"/>
                </a:solidFill>
              </a:rPr>
              <a:t>What does great look like?</a:t>
            </a:r>
          </a:p>
        </p:txBody>
      </p:sp>
      <p:sp>
        <p:nvSpPr>
          <p:cNvPr id="47" name="ee4pContent2"/>
          <p:cNvSpPr txBox="1"/>
          <p:nvPr/>
        </p:nvSpPr>
        <p:spPr>
          <a:xfrm>
            <a:off x="4981334" y="4698048"/>
            <a:ext cx="2229337" cy="738664"/>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buSzPct val="100000"/>
              <a:buFont typeface="Trebuchet MS" panose="020B0603020202020204" pitchFamily="34" charset="0"/>
              <a:buChar char="​"/>
            </a:pPr>
            <a:r>
              <a:rPr lang="en-US" dirty="0">
                <a:solidFill>
                  <a:srgbClr val="29BA74"/>
                </a:solidFill>
              </a:rPr>
              <a:t>How do we make it real?</a:t>
            </a:r>
          </a:p>
        </p:txBody>
      </p:sp>
      <p:sp>
        <p:nvSpPr>
          <p:cNvPr id="48" name="ee4pContent2"/>
          <p:cNvSpPr txBox="1"/>
          <p:nvPr/>
        </p:nvSpPr>
        <p:spPr>
          <a:xfrm>
            <a:off x="8885560" y="4698048"/>
            <a:ext cx="2229337" cy="738664"/>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buSzPct val="100000"/>
              <a:buFont typeface="Trebuchet MS" panose="020B0603020202020204" pitchFamily="34" charset="0"/>
              <a:buChar char="​"/>
            </a:pPr>
            <a:r>
              <a:rPr lang="en-US" dirty="0">
                <a:solidFill>
                  <a:srgbClr val="29BA74"/>
                </a:solidFill>
              </a:rPr>
              <a:t>How do we make it stick? </a:t>
            </a:r>
          </a:p>
        </p:txBody>
      </p:sp>
    </p:spTree>
    <p:extLst>
      <p:ext uri="{BB962C8B-B14F-4D97-AF65-F5344CB8AC3E}">
        <p14:creationId xmlns:p14="http://schemas.microsoft.com/office/powerpoint/2010/main" val="2692810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41" name="think-cell Slide" r:id="rId6" imgW="180" imgH="180" progId="TCLayout.ActiveDocument.1">
                  <p:embed/>
                </p:oleObj>
              </mc:Choice>
              <mc:Fallback>
                <p:oleObj name="think-cell Slide" r:id="rId6" imgW="180" imgH="18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D5D5D5"/>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chemeClr val="tx1"/>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sz="3200" dirty="0"/>
              <a:t>Defined target culture based on five key attributes</a:t>
            </a:r>
            <a:r>
              <a:rPr lang="en-US" dirty="0"/>
              <a:t> </a:t>
            </a:r>
          </a:p>
        </p:txBody>
      </p:sp>
      <p:sp>
        <p:nvSpPr>
          <p:cNvPr id="36" name="Oval 35"/>
          <p:cNvSpPr/>
          <p:nvPr/>
        </p:nvSpPr>
        <p:spPr bwMode="auto">
          <a:xfrm>
            <a:off x="3553968" y="1425973"/>
            <a:ext cx="5084064" cy="5086096"/>
          </a:xfrm>
          <a:prstGeom prst="ellipse">
            <a:avLst/>
          </a:prstGeom>
          <a:gradFill flip="none" rotWithShape="1">
            <a:gsLst>
              <a:gs pos="0">
                <a:schemeClr val="accent4"/>
              </a:gs>
              <a:gs pos="100000">
                <a:schemeClr val="accent1"/>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solidFill>
            </a:endParaRPr>
          </a:p>
        </p:txBody>
      </p:sp>
      <p:sp>
        <p:nvSpPr>
          <p:cNvPr id="54" name="Freeform 53"/>
          <p:cNvSpPr/>
          <p:nvPr/>
        </p:nvSpPr>
        <p:spPr bwMode="auto">
          <a:xfrm>
            <a:off x="4041086" y="1914257"/>
            <a:ext cx="4109828" cy="4109531"/>
          </a:xfrm>
          <a:custGeom>
            <a:avLst/>
            <a:gdLst>
              <a:gd name="connsiteX0" fmla="*/ 2107086 w 4109828"/>
              <a:gd name="connsiteY0" fmla="*/ 2107270 h 4109531"/>
              <a:gd name="connsiteX1" fmla="*/ 4109828 w 4109828"/>
              <a:gd name="connsiteY1" fmla="*/ 2107270 h 4109531"/>
              <a:gd name="connsiteX2" fmla="*/ 4102969 w 4109828"/>
              <a:gd name="connsiteY2" fmla="*/ 2252142 h 4109531"/>
              <a:gd name="connsiteX3" fmla="*/ 2265272 w 4109828"/>
              <a:gd name="connsiteY3" fmla="*/ 4101543 h 4109531"/>
              <a:gd name="connsiteX4" fmla="*/ 2107086 w 4109828"/>
              <a:gd name="connsiteY4" fmla="*/ 4109531 h 4109531"/>
              <a:gd name="connsiteX5" fmla="*/ 0 w 4109828"/>
              <a:gd name="connsiteY5" fmla="*/ 2107270 h 4109531"/>
              <a:gd name="connsiteX6" fmla="*/ 2002742 w 4109828"/>
              <a:gd name="connsiteY6" fmla="*/ 2107270 h 4109531"/>
              <a:gd name="connsiteX7" fmla="*/ 2002742 w 4109828"/>
              <a:gd name="connsiteY7" fmla="*/ 4109531 h 4109531"/>
              <a:gd name="connsiteX8" fmla="*/ 1844557 w 4109828"/>
              <a:gd name="connsiteY8" fmla="*/ 4101543 h 4109531"/>
              <a:gd name="connsiteX9" fmla="*/ 6859 w 4109828"/>
              <a:gd name="connsiteY9" fmla="*/ 2252142 h 4109531"/>
              <a:gd name="connsiteX10" fmla="*/ 2107086 w 4109828"/>
              <a:gd name="connsiteY10" fmla="*/ 0 h 4109531"/>
              <a:gd name="connsiteX11" fmla="*/ 2265272 w 4109828"/>
              <a:gd name="connsiteY11" fmla="*/ 7987 h 4109531"/>
              <a:gd name="connsiteX12" fmla="*/ 4102969 w 4109828"/>
              <a:gd name="connsiteY12" fmla="*/ 1857388 h 4109531"/>
              <a:gd name="connsiteX13" fmla="*/ 4109828 w 4109828"/>
              <a:gd name="connsiteY13" fmla="*/ 2002257 h 4109531"/>
              <a:gd name="connsiteX14" fmla="*/ 2107086 w 4109828"/>
              <a:gd name="connsiteY14" fmla="*/ 2002257 h 4109531"/>
              <a:gd name="connsiteX15" fmla="*/ 2002742 w 4109828"/>
              <a:gd name="connsiteY15" fmla="*/ 0 h 4109531"/>
              <a:gd name="connsiteX16" fmla="*/ 2002742 w 4109828"/>
              <a:gd name="connsiteY16" fmla="*/ 2002257 h 4109531"/>
              <a:gd name="connsiteX17" fmla="*/ 0 w 4109828"/>
              <a:gd name="connsiteY17" fmla="*/ 2002257 h 4109531"/>
              <a:gd name="connsiteX18" fmla="*/ 6859 w 4109828"/>
              <a:gd name="connsiteY18" fmla="*/ 1857388 h 4109531"/>
              <a:gd name="connsiteX19" fmla="*/ 1844557 w 4109828"/>
              <a:gd name="connsiteY19" fmla="*/ 7987 h 4109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09828" h="4109531">
                <a:moveTo>
                  <a:pt x="2107086" y="2107270"/>
                </a:moveTo>
                <a:lnTo>
                  <a:pt x="4109828" y="2107270"/>
                </a:lnTo>
                <a:lnTo>
                  <a:pt x="4102969" y="2252142"/>
                </a:lnTo>
                <a:cubicBezTo>
                  <a:pt x="4010226" y="3226529"/>
                  <a:pt x="3237887" y="4002769"/>
                  <a:pt x="2265272" y="4101543"/>
                </a:cubicBezTo>
                <a:lnTo>
                  <a:pt x="2107086" y="4109531"/>
                </a:lnTo>
                <a:close/>
                <a:moveTo>
                  <a:pt x="0" y="2107270"/>
                </a:moveTo>
                <a:lnTo>
                  <a:pt x="2002742" y="2107270"/>
                </a:lnTo>
                <a:lnTo>
                  <a:pt x="2002742" y="4109531"/>
                </a:lnTo>
                <a:lnTo>
                  <a:pt x="1844557" y="4101543"/>
                </a:lnTo>
                <a:cubicBezTo>
                  <a:pt x="871941" y="4002769"/>
                  <a:pt x="99603" y="3226529"/>
                  <a:pt x="6859" y="2252142"/>
                </a:cubicBezTo>
                <a:close/>
                <a:moveTo>
                  <a:pt x="2107086" y="0"/>
                </a:moveTo>
                <a:lnTo>
                  <a:pt x="2265272" y="7987"/>
                </a:lnTo>
                <a:cubicBezTo>
                  <a:pt x="3237887" y="106762"/>
                  <a:pt x="4010226" y="883002"/>
                  <a:pt x="4102969" y="1857388"/>
                </a:cubicBezTo>
                <a:lnTo>
                  <a:pt x="4109828" y="2002257"/>
                </a:lnTo>
                <a:lnTo>
                  <a:pt x="2107086" y="2002257"/>
                </a:lnTo>
                <a:close/>
                <a:moveTo>
                  <a:pt x="2002742" y="0"/>
                </a:moveTo>
                <a:lnTo>
                  <a:pt x="2002742" y="2002257"/>
                </a:lnTo>
                <a:lnTo>
                  <a:pt x="0" y="2002257"/>
                </a:lnTo>
                <a:lnTo>
                  <a:pt x="6859" y="1857388"/>
                </a:lnTo>
                <a:cubicBezTo>
                  <a:pt x="99603" y="883002"/>
                  <a:pt x="871941" y="106762"/>
                  <a:pt x="1844557" y="7987"/>
                </a:cubicBezTo>
                <a:close/>
              </a:path>
            </a:pathLst>
          </a:custGeom>
          <a:solidFill>
            <a:srgbClr val="FFFFFF">
              <a:lumMod val="95000"/>
            </a:srgbClr>
          </a:solidFill>
          <a:ln w="9525" cap="flat" cmpd="sng" algn="ctr">
            <a:noFill/>
            <a:prstDash val="solid"/>
            <a:headEnd type="none" w="med" len="med"/>
            <a:tailEnd type="none" w="med" len="med"/>
          </a:ln>
          <a:effectLst/>
        </p:spPr>
        <p:txBody>
          <a:bodyPr rot="0" spcFirstLastPara="0" vert="horz" wrap="square" lIns="179285" tIns="143428" rIns="179285" bIns="14342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74336" fontAlgn="base">
              <a:lnSpc>
                <a:spcPct val="90000"/>
              </a:lnSpc>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Oval 39"/>
          <p:cNvSpPr/>
          <p:nvPr/>
        </p:nvSpPr>
        <p:spPr bwMode="auto">
          <a:xfrm>
            <a:off x="5298608" y="3166516"/>
            <a:ext cx="1594784" cy="1605011"/>
          </a:xfrm>
          <a:prstGeom prst="ellipse">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solidFill>
            </a:endParaRPr>
          </a:p>
        </p:txBody>
      </p:sp>
      <p:sp>
        <p:nvSpPr>
          <p:cNvPr id="41" name="Rectangle 40"/>
          <p:cNvSpPr/>
          <p:nvPr/>
        </p:nvSpPr>
        <p:spPr>
          <a:xfrm>
            <a:off x="5333488" y="3570452"/>
            <a:ext cx="1525024" cy="797139"/>
          </a:xfrm>
          <a:prstGeom prst="rect">
            <a:avLst/>
          </a:prstGeom>
        </p:spPr>
        <p:txBody>
          <a:bodyPr wrap="square" lIns="118871" tIns="59435" rIns="118871" bIns="59435">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74588">
              <a:defRPr/>
            </a:pPr>
            <a:r>
              <a:rPr lang="en-US" sz="2200" b="1" dirty="0">
                <a:gradFill>
                  <a:gsLst>
                    <a:gs pos="0">
                      <a:srgbClr val="FFFFFF"/>
                    </a:gs>
                    <a:gs pos="100000">
                      <a:srgbClr val="FFFFFF"/>
                    </a:gs>
                  </a:gsLst>
                  <a:lin ang="5400000" scaled="1"/>
                </a:gradFill>
                <a:cs typeface="Segoe UI Semibold" panose="020B0702040204020203" pitchFamily="34" charset="0"/>
                <a:sym typeface="Segoe UI"/>
              </a:rPr>
              <a:t>Growth Mindset</a:t>
            </a:r>
          </a:p>
        </p:txBody>
      </p:sp>
      <p:sp>
        <p:nvSpPr>
          <p:cNvPr id="42" name="TextBox 54"/>
          <p:cNvSpPr txBox="1"/>
          <p:nvPr/>
        </p:nvSpPr>
        <p:spPr bwMode="gray">
          <a:xfrm>
            <a:off x="553100" y="2481078"/>
            <a:ext cx="2346731" cy="866256"/>
          </a:xfrm>
          <a:prstGeom prst="rect">
            <a:avLst/>
          </a:prstGeom>
          <a:noFill/>
        </p:spPr>
        <p:txBody>
          <a:bodyPr wrap="square" lIns="126362" tIns="63179" rIns="126362" bIns="63179"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774588" fontAlgn="base">
              <a:defRPr/>
            </a:pPr>
            <a:r>
              <a:rPr lang="en-US" sz="2400" dirty="0">
                <a:gradFill>
                  <a:gsLst>
                    <a:gs pos="0">
                      <a:srgbClr val="505050">
                        <a:lumMod val="75000"/>
                      </a:srgbClr>
                    </a:gs>
                    <a:gs pos="100000">
                      <a:srgbClr val="505050">
                        <a:lumMod val="75000"/>
                      </a:srgbClr>
                    </a:gs>
                  </a:gsLst>
                  <a:lin ang="5400000" scaled="1"/>
                </a:gradFill>
                <a:cs typeface="Segoe UI Semibold" panose="020B0702040204020203" pitchFamily="34" charset="0"/>
              </a:rPr>
              <a:t>Customer obsessed</a:t>
            </a:r>
          </a:p>
        </p:txBody>
      </p:sp>
      <p:sp>
        <p:nvSpPr>
          <p:cNvPr id="43" name="TextBox 55"/>
          <p:cNvSpPr txBox="1"/>
          <p:nvPr/>
        </p:nvSpPr>
        <p:spPr bwMode="gray">
          <a:xfrm>
            <a:off x="9287539" y="2481078"/>
            <a:ext cx="2402993" cy="866256"/>
          </a:xfrm>
          <a:prstGeom prst="rect">
            <a:avLst/>
          </a:prstGeom>
          <a:noFill/>
        </p:spPr>
        <p:txBody>
          <a:bodyPr wrap="square" lIns="126362" tIns="63179" rIns="126362" bIns="63179"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74588" fontAlgn="base">
              <a:defRPr/>
            </a:pPr>
            <a:r>
              <a:rPr lang="en-US" sz="2400" dirty="0">
                <a:gradFill>
                  <a:gsLst>
                    <a:gs pos="0">
                      <a:srgbClr val="505050">
                        <a:lumMod val="75000"/>
                      </a:srgbClr>
                    </a:gs>
                    <a:gs pos="100000">
                      <a:srgbClr val="505050">
                        <a:lumMod val="75000"/>
                      </a:srgbClr>
                    </a:gs>
                  </a:gsLst>
                  <a:lin ang="5400000" scaled="1"/>
                </a:gradFill>
                <a:cs typeface="Segoe UI Semibold" panose="020B0702040204020203" pitchFamily="34" charset="0"/>
              </a:rPr>
              <a:t>One</a:t>
            </a:r>
            <a:br>
              <a:rPr lang="en-US" sz="2400" dirty="0">
                <a:gradFill>
                  <a:gsLst>
                    <a:gs pos="0">
                      <a:srgbClr val="505050">
                        <a:lumMod val="75000"/>
                      </a:srgbClr>
                    </a:gs>
                    <a:gs pos="100000">
                      <a:srgbClr val="505050">
                        <a:lumMod val="75000"/>
                      </a:srgbClr>
                    </a:gs>
                  </a:gsLst>
                  <a:lin ang="5400000" scaled="1"/>
                </a:gradFill>
                <a:cs typeface="Segoe UI Semibold" panose="020B0702040204020203" pitchFamily="34" charset="0"/>
              </a:rPr>
            </a:br>
            <a:r>
              <a:rPr lang="en-US" sz="2400" dirty="0">
                <a:gradFill>
                  <a:gsLst>
                    <a:gs pos="0">
                      <a:srgbClr val="505050">
                        <a:lumMod val="75000"/>
                      </a:srgbClr>
                    </a:gs>
                    <a:gs pos="100000">
                      <a:srgbClr val="505050">
                        <a:lumMod val="75000"/>
                      </a:srgbClr>
                    </a:gs>
                  </a:gsLst>
                  <a:lin ang="5400000" scaled="1"/>
                </a:gradFill>
                <a:cs typeface="Segoe UI Semibold" panose="020B0702040204020203" pitchFamily="34" charset="0"/>
              </a:rPr>
              <a:t>company</a:t>
            </a:r>
          </a:p>
        </p:txBody>
      </p:sp>
      <p:sp>
        <p:nvSpPr>
          <p:cNvPr id="44" name="TextBox 56"/>
          <p:cNvSpPr txBox="1"/>
          <p:nvPr/>
        </p:nvSpPr>
        <p:spPr bwMode="gray">
          <a:xfrm>
            <a:off x="701470" y="4597595"/>
            <a:ext cx="2198361" cy="866256"/>
          </a:xfrm>
          <a:prstGeom prst="rect">
            <a:avLst/>
          </a:prstGeom>
          <a:noFill/>
        </p:spPr>
        <p:txBody>
          <a:bodyPr wrap="square" lIns="126362" tIns="63179" rIns="126362" bIns="63179"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774588" fontAlgn="base">
              <a:defRPr/>
            </a:pPr>
            <a:r>
              <a:rPr lang="en-US" sz="2400" dirty="0">
                <a:gradFill>
                  <a:gsLst>
                    <a:gs pos="0">
                      <a:srgbClr val="505050">
                        <a:lumMod val="75000"/>
                      </a:srgbClr>
                    </a:gs>
                    <a:gs pos="100000">
                      <a:srgbClr val="505050">
                        <a:lumMod val="75000"/>
                      </a:srgbClr>
                    </a:gs>
                  </a:gsLst>
                  <a:lin ang="5400000" scaled="1"/>
                </a:gradFill>
                <a:cs typeface="Segoe UI Semibold" panose="020B0702040204020203" pitchFamily="34" charset="0"/>
              </a:rPr>
              <a:t>Diverse and inclusive</a:t>
            </a:r>
          </a:p>
        </p:txBody>
      </p:sp>
      <p:sp>
        <p:nvSpPr>
          <p:cNvPr id="45" name="TextBox 57"/>
          <p:cNvSpPr txBox="1"/>
          <p:nvPr/>
        </p:nvSpPr>
        <p:spPr bwMode="gray">
          <a:xfrm>
            <a:off x="9287539" y="4597595"/>
            <a:ext cx="2036575" cy="866256"/>
          </a:xfrm>
          <a:prstGeom prst="rect">
            <a:avLst/>
          </a:prstGeom>
          <a:noFill/>
        </p:spPr>
        <p:txBody>
          <a:bodyPr wrap="square" lIns="126362" tIns="63179" rIns="126362" bIns="63179"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74588" fontAlgn="base">
              <a:defRPr/>
            </a:pPr>
            <a:r>
              <a:rPr lang="en-US" sz="2400" dirty="0">
                <a:gradFill>
                  <a:gsLst>
                    <a:gs pos="0">
                      <a:srgbClr val="505050">
                        <a:lumMod val="75000"/>
                      </a:srgbClr>
                    </a:gs>
                    <a:gs pos="100000">
                      <a:srgbClr val="505050">
                        <a:lumMod val="75000"/>
                      </a:srgbClr>
                    </a:gs>
                  </a:gsLst>
                  <a:lin ang="5400000" scaled="1"/>
                </a:gradFill>
                <a:cs typeface="Segoe UI Semibold" panose="020B0702040204020203" pitchFamily="34" charset="0"/>
              </a:rPr>
              <a:t>Making a difference</a:t>
            </a:r>
          </a:p>
        </p:txBody>
      </p:sp>
      <p:sp>
        <p:nvSpPr>
          <p:cNvPr id="9" name="TextBox 65"/>
          <p:cNvSpPr txBox="1"/>
          <p:nvPr/>
        </p:nvSpPr>
        <p:spPr>
          <a:xfrm>
            <a:off x="6119013" y="5040487"/>
            <a:ext cx="1458143" cy="598153"/>
          </a:xfrm>
          <a:prstGeom prst="rect">
            <a:avLst/>
          </a:prstGeom>
          <a:noFill/>
        </p:spPr>
        <p:txBody>
          <a:bodyPr wrap="none" lIns="233070" tIns="186456" rIns="233070" bIns="186456"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74588" fontAlgn="base">
              <a:lnSpc>
                <a:spcPct val="90000"/>
              </a:lnSpc>
              <a:spcAft>
                <a:spcPts val="498"/>
              </a:spcAft>
              <a:defRPr/>
            </a:pPr>
            <a:r>
              <a:rPr lang="en-US" sz="1600" dirty="0">
                <a:gradFill flip="none" rotWithShape="1">
                  <a:gsLst>
                    <a:gs pos="2917">
                      <a:srgbClr val="575757"/>
                    </a:gs>
                    <a:gs pos="30000">
                      <a:srgbClr val="505050">
                        <a:lumMod val="75000"/>
                      </a:srgbClr>
                    </a:gs>
                  </a:gsLst>
                  <a:lin ang="5400000" scaled="0"/>
                  <a:tileRect/>
                </a:gradFill>
              </a:rPr>
              <a:t>Contribute</a:t>
            </a:r>
          </a:p>
        </p:txBody>
      </p:sp>
      <p:sp>
        <p:nvSpPr>
          <p:cNvPr id="11" name="TextBox 75"/>
          <p:cNvSpPr txBox="1"/>
          <p:nvPr/>
        </p:nvSpPr>
        <p:spPr>
          <a:xfrm>
            <a:off x="6078137" y="2302641"/>
            <a:ext cx="1539896" cy="598153"/>
          </a:xfrm>
          <a:prstGeom prst="rect">
            <a:avLst/>
          </a:prstGeom>
          <a:noFill/>
        </p:spPr>
        <p:txBody>
          <a:bodyPr wrap="none" lIns="233070" tIns="186456" rIns="233070" bIns="186456"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74588" fontAlgn="base">
              <a:lnSpc>
                <a:spcPct val="90000"/>
              </a:lnSpc>
              <a:spcAft>
                <a:spcPts val="498"/>
              </a:spcAft>
              <a:defRPr/>
            </a:pPr>
            <a:r>
              <a:rPr lang="en-US" sz="1600" dirty="0">
                <a:gradFill flip="none" rotWithShape="1">
                  <a:gsLst>
                    <a:gs pos="2917">
                      <a:srgbClr val="575757"/>
                    </a:gs>
                    <a:gs pos="30000">
                      <a:srgbClr val="505050">
                        <a:lumMod val="75000"/>
                      </a:srgbClr>
                    </a:gs>
                  </a:gsLst>
                  <a:lin ang="5400000" scaled="0"/>
                  <a:tileRect/>
                </a:gradFill>
              </a:rPr>
              <a:t>Collaborate</a:t>
            </a:r>
          </a:p>
        </p:txBody>
      </p:sp>
      <p:sp>
        <p:nvSpPr>
          <p:cNvPr id="12" name="TextBox 76"/>
          <p:cNvSpPr txBox="1"/>
          <p:nvPr/>
        </p:nvSpPr>
        <p:spPr>
          <a:xfrm>
            <a:off x="4840599" y="5040487"/>
            <a:ext cx="1131129" cy="598153"/>
          </a:xfrm>
          <a:prstGeom prst="rect">
            <a:avLst/>
          </a:prstGeom>
          <a:noFill/>
        </p:spPr>
        <p:txBody>
          <a:bodyPr wrap="none" lIns="233070" tIns="186456" rIns="233070" bIns="186456"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774588" fontAlgn="base">
              <a:lnSpc>
                <a:spcPct val="90000"/>
              </a:lnSpc>
              <a:spcAft>
                <a:spcPts val="498"/>
              </a:spcAft>
              <a:defRPr/>
            </a:pPr>
            <a:r>
              <a:rPr lang="en-US" sz="1600" dirty="0">
                <a:gradFill flip="none" rotWithShape="1">
                  <a:gsLst>
                    <a:gs pos="2917">
                      <a:srgbClr val="575757"/>
                    </a:gs>
                    <a:gs pos="30000">
                      <a:srgbClr val="505050">
                        <a:lumMod val="75000"/>
                      </a:srgbClr>
                    </a:gs>
                  </a:gsLst>
                  <a:lin ang="5400000" scaled="0"/>
                  <a:tileRect/>
                </a:gradFill>
              </a:rPr>
              <a:t>Expand</a:t>
            </a:r>
          </a:p>
        </p:txBody>
      </p:sp>
      <p:sp>
        <p:nvSpPr>
          <p:cNvPr id="13" name="TextBox 77"/>
          <p:cNvSpPr txBox="1"/>
          <p:nvPr/>
        </p:nvSpPr>
        <p:spPr>
          <a:xfrm>
            <a:off x="4894299" y="2302641"/>
            <a:ext cx="1023729" cy="598153"/>
          </a:xfrm>
          <a:prstGeom prst="rect">
            <a:avLst/>
          </a:prstGeom>
          <a:noFill/>
        </p:spPr>
        <p:txBody>
          <a:bodyPr wrap="none" lIns="233070" tIns="186456" rIns="233070" bIns="186456"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774588" fontAlgn="base">
              <a:lnSpc>
                <a:spcPct val="90000"/>
              </a:lnSpc>
              <a:spcAft>
                <a:spcPts val="498"/>
              </a:spcAft>
              <a:defRPr/>
            </a:pPr>
            <a:r>
              <a:rPr lang="en-US" sz="1600" dirty="0">
                <a:gradFill flip="none" rotWithShape="1">
                  <a:gsLst>
                    <a:gs pos="2917">
                      <a:srgbClr val="575757"/>
                    </a:gs>
                    <a:gs pos="30000">
                      <a:srgbClr val="505050">
                        <a:lumMod val="75000"/>
                      </a:srgbClr>
                    </a:gs>
                  </a:gsLst>
                  <a:lin ang="5400000" scaled="0"/>
                  <a:tileRect/>
                </a:gradFill>
              </a:rPr>
              <a:t>Listen</a:t>
            </a:r>
          </a:p>
        </p:txBody>
      </p:sp>
      <p:grpSp>
        <p:nvGrpSpPr>
          <p:cNvPr id="15" name="Group 432"/>
          <p:cNvGrpSpPr/>
          <p:nvPr/>
        </p:nvGrpSpPr>
        <p:grpSpPr>
          <a:xfrm>
            <a:off x="4651163" y="2936525"/>
            <a:ext cx="449712" cy="633927"/>
            <a:chOff x="5722938" y="2801938"/>
            <a:chExt cx="990600" cy="1387475"/>
          </a:xfrm>
        </p:grpSpPr>
        <p:sp>
          <p:nvSpPr>
            <p:cNvPr id="18" name="Freeform 17"/>
            <p:cNvSpPr>
              <a:spLocks/>
            </p:cNvSpPr>
            <p:nvPr/>
          </p:nvSpPr>
          <p:spPr bwMode="auto">
            <a:xfrm>
              <a:off x="6034088" y="3013076"/>
              <a:ext cx="466725" cy="465138"/>
            </a:xfrm>
            <a:custGeom>
              <a:avLst/>
              <a:gdLst>
                <a:gd name="T0" fmla="*/ 97 w 123"/>
                <a:gd name="T1" fmla="*/ 123 h 123"/>
                <a:gd name="T2" fmla="*/ 81 w 123"/>
                <a:gd name="T3" fmla="*/ 107 h 123"/>
                <a:gd name="T4" fmla="*/ 81 w 123"/>
                <a:gd name="T5" fmla="*/ 43 h 123"/>
                <a:gd name="T6" fmla="*/ 16 w 123"/>
                <a:gd name="T7" fmla="*/ 43 h 123"/>
                <a:gd name="T8" fmla="*/ 0 w 123"/>
                <a:gd name="T9" fmla="*/ 27 h 123"/>
                <a:gd name="T10" fmla="*/ 97 w 123"/>
                <a:gd name="T11" fmla="*/ 27 h 123"/>
                <a:gd name="T12" fmla="*/ 97 w 123"/>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123" h="123">
                  <a:moveTo>
                    <a:pt x="97" y="123"/>
                  </a:moveTo>
                  <a:cubicBezTo>
                    <a:pt x="81" y="107"/>
                    <a:pt x="81" y="107"/>
                    <a:pt x="81" y="107"/>
                  </a:cubicBezTo>
                  <a:cubicBezTo>
                    <a:pt x="98" y="89"/>
                    <a:pt x="98" y="60"/>
                    <a:pt x="81" y="43"/>
                  </a:cubicBezTo>
                  <a:cubicBezTo>
                    <a:pt x="63" y="25"/>
                    <a:pt x="34" y="25"/>
                    <a:pt x="16" y="43"/>
                  </a:cubicBezTo>
                  <a:cubicBezTo>
                    <a:pt x="0" y="27"/>
                    <a:pt x="0" y="27"/>
                    <a:pt x="0" y="27"/>
                  </a:cubicBezTo>
                  <a:cubicBezTo>
                    <a:pt x="27" y="0"/>
                    <a:pt x="70" y="0"/>
                    <a:pt x="97" y="27"/>
                  </a:cubicBezTo>
                  <a:cubicBezTo>
                    <a:pt x="123" y="53"/>
                    <a:pt x="123" y="96"/>
                    <a:pt x="97" y="123"/>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74588" fontAlgn="base">
                <a:defRPr/>
              </a:pPr>
              <a:endParaRPr lang="en-US" sz="1400" dirty="0">
                <a:solidFill>
                  <a:srgbClr val="505050"/>
                </a:solidFill>
              </a:endParaRPr>
            </a:p>
          </p:txBody>
        </p:sp>
        <p:sp>
          <p:nvSpPr>
            <p:cNvPr id="19" name="Freeform 18"/>
            <p:cNvSpPr>
              <a:spLocks/>
            </p:cNvSpPr>
            <p:nvPr/>
          </p:nvSpPr>
          <p:spPr bwMode="auto">
            <a:xfrm>
              <a:off x="5722938" y="2801938"/>
              <a:ext cx="990600" cy="1387475"/>
            </a:xfrm>
            <a:custGeom>
              <a:avLst/>
              <a:gdLst>
                <a:gd name="T0" fmla="*/ 123 w 261"/>
                <a:gd name="T1" fmla="*/ 367 h 367"/>
                <a:gd name="T2" fmla="*/ 55 w 261"/>
                <a:gd name="T3" fmla="*/ 299 h 367"/>
                <a:gd name="T4" fmla="*/ 78 w 261"/>
                <a:gd name="T5" fmla="*/ 299 h 367"/>
                <a:gd name="T6" fmla="*/ 123 w 261"/>
                <a:gd name="T7" fmla="*/ 345 h 367"/>
                <a:gd name="T8" fmla="*/ 169 w 261"/>
                <a:gd name="T9" fmla="*/ 299 h 367"/>
                <a:gd name="T10" fmla="*/ 207 w 261"/>
                <a:gd name="T11" fmla="*/ 207 h 367"/>
                <a:gd name="T12" fmla="*/ 238 w 261"/>
                <a:gd name="T13" fmla="*/ 131 h 367"/>
                <a:gd name="T14" fmla="*/ 131 w 261"/>
                <a:gd name="T15" fmla="*/ 23 h 367"/>
                <a:gd name="T16" fmla="*/ 23 w 261"/>
                <a:gd name="T17" fmla="*/ 131 h 367"/>
                <a:gd name="T18" fmla="*/ 0 w 261"/>
                <a:gd name="T19" fmla="*/ 131 h 367"/>
                <a:gd name="T20" fmla="*/ 131 w 261"/>
                <a:gd name="T21" fmla="*/ 0 h 367"/>
                <a:gd name="T22" fmla="*/ 261 w 261"/>
                <a:gd name="T23" fmla="*/ 131 h 367"/>
                <a:gd name="T24" fmla="*/ 223 w 261"/>
                <a:gd name="T25" fmla="*/ 223 h 367"/>
                <a:gd name="T26" fmla="*/ 191 w 261"/>
                <a:gd name="T27" fmla="*/ 299 h 367"/>
                <a:gd name="T28" fmla="*/ 123 w 261"/>
                <a:gd name="T29" fmla="*/ 36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1" h="367">
                  <a:moveTo>
                    <a:pt x="123" y="367"/>
                  </a:moveTo>
                  <a:cubicBezTo>
                    <a:pt x="86" y="367"/>
                    <a:pt x="55" y="337"/>
                    <a:pt x="55" y="299"/>
                  </a:cubicBezTo>
                  <a:cubicBezTo>
                    <a:pt x="78" y="299"/>
                    <a:pt x="78" y="299"/>
                    <a:pt x="78" y="299"/>
                  </a:cubicBezTo>
                  <a:cubicBezTo>
                    <a:pt x="78" y="324"/>
                    <a:pt x="98" y="345"/>
                    <a:pt x="123" y="345"/>
                  </a:cubicBezTo>
                  <a:cubicBezTo>
                    <a:pt x="148" y="345"/>
                    <a:pt x="169" y="324"/>
                    <a:pt x="169" y="299"/>
                  </a:cubicBezTo>
                  <a:cubicBezTo>
                    <a:pt x="169" y="265"/>
                    <a:pt x="182" y="232"/>
                    <a:pt x="207" y="207"/>
                  </a:cubicBezTo>
                  <a:cubicBezTo>
                    <a:pt x="227" y="187"/>
                    <a:pt x="238" y="160"/>
                    <a:pt x="238" y="131"/>
                  </a:cubicBezTo>
                  <a:cubicBezTo>
                    <a:pt x="238" y="71"/>
                    <a:pt x="190" y="23"/>
                    <a:pt x="131" y="23"/>
                  </a:cubicBezTo>
                  <a:cubicBezTo>
                    <a:pt x="71" y="23"/>
                    <a:pt x="23" y="71"/>
                    <a:pt x="23" y="131"/>
                  </a:cubicBezTo>
                  <a:cubicBezTo>
                    <a:pt x="0" y="131"/>
                    <a:pt x="0" y="131"/>
                    <a:pt x="0" y="131"/>
                  </a:cubicBezTo>
                  <a:cubicBezTo>
                    <a:pt x="0" y="59"/>
                    <a:pt x="59" y="0"/>
                    <a:pt x="131" y="0"/>
                  </a:cubicBezTo>
                  <a:cubicBezTo>
                    <a:pt x="202" y="0"/>
                    <a:pt x="261" y="59"/>
                    <a:pt x="261" y="131"/>
                  </a:cubicBezTo>
                  <a:cubicBezTo>
                    <a:pt x="261" y="166"/>
                    <a:pt x="247" y="199"/>
                    <a:pt x="223" y="223"/>
                  </a:cubicBezTo>
                  <a:cubicBezTo>
                    <a:pt x="202" y="244"/>
                    <a:pt x="191" y="271"/>
                    <a:pt x="191" y="299"/>
                  </a:cubicBezTo>
                  <a:cubicBezTo>
                    <a:pt x="191" y="337"/>
                    <a:pt x="161" y="367"/>
                    <a:pt x="123" y="367"/>
                  </a:cubicBezTo>
                  <a:close/>
                </a:path>
              </a:pathLst>
            </a:custGeom>
            <a:solidFill>
              <a:srgbClr val="29BA74"/>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74588" fontAlgn="base">
                <a:defRPr/>
              </a:pPr>
              <a:endParaRPr lang="en-US" sz="1400" dirty="0">
                <a:solidFill>
                  <a:srgbClr val="505050"/>
                </a:solidFill>
              </a:endParaRPr>
            </a:p>
          </p:txBody>
        </p:sp>
      </p:grpSp>
      <p:sp>
        <p:nvSpPr>
          <p:cNvPr id="59" name="AutoShape 8">
            <a:extLst>
              <a:ext uri="{FF2B5EF4-FFF2-40B4-BE49-F238E27FC236}">
                <a16:creationId xmlns:a16="http://schemas.microsoft.com/office/drawing/2014/main" id="{1816D24F-2544-490E-ADDB-08DF26EACAF2}"/>
              </a:ext>
            </a:extLst>
          </p:cNvPr>
          <p:cNvSpPr>
            <a:spLocks noChangeAspect="1" noChangeArrowheads="1" noTextEdit="1"/>
          </p:cNvSpPr>
          <p:nvPr/>
        </p:nvSpPr>
        <p:spPr bwMode="auto">
          <a:xfrm>
            <a:off x="9396220" y="3226348"/>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 name="Group 5"/>
          <p:cNvGrpSpPr/>
          <p:nvPr/>
        </p:nvGrpSpPr>
        <p:grpSpPr>
          <a:xfrm>
            <a:off x="6900376" y="2967738"/>
            <a:ext cx="900185" cy="592862"/>
            <a:chOff x="6643563" y="2989046"/>
            <a:chExt cx="1763268" cy="1161288"/>
          </a:xfrm>
        </p:grpSpPr>
        <p:sp>
          <p:nvSpPr>
            <p:cNvPr id="60" name="Freeform 10">
              <a:extLst>
                <a:ext uri="{FF2B5EF4-FFF2-40B4-BE49-F238E27FC236}">
                  <a16:creationId xmlns:a16="http://schemas.microsoft.com/office/drawing/2014/main" id="{BAE07190-5EC4-430A-B5CB-4404B5DC3C68}"/>
                </a:ext>
              </a:extLst>
            </p:cNvPr>
            <p:cNvSpPr>
              <a:spLocks noEditPoints="1"/>
            </p:cNvSpPr>
            <p:nvPr/>
          </p:nvSpPr>
          <p:spPr bwMode="auto">
            <a:xfrm>
              <a:off x="6959412" y="2989046"/>
              <a:ext cx="1447419" cy="939927"/>
            </a:xfrm>
            <a:custGeom>
              <a:avLst/>
              <a:gdLst>
                <a:gd name="T0" fmla="*/ 1302 w 2028"/>
                <a:gd name="T1" fmla="*/ 197 h 1316"/>
                <a:gd name="T2" fmla="*/ 1300 w 2028"/>
                <a:gd name="T3" fmla="*/ 201 h 1316"/>
                <a:gd name="T4" fmla="*/ 1300 w 2028"/>
                <a:gd name="T5" fmla="*/ 201 h 1316"/>
                <a:gd name="T6" fmla="*/ 1297 w 2028"/>
                <a:gd name="T7" fmla="*/ 204 h 1316"/>
                <a:gd name="T8" fmla="*/ 1294 w 2028"/>
                <a:gd name="T9" fmla="*/ 207 h 1316"/>
                <a:gd name="T10" fmla="*/ 1290 w 2028"/>
                <a:gd name="T11" fmla="*/ 209 h 1316"/>
                <a:gd name="T12" fmla="*/ 1285 w 2028"/>
                <a:gd name="T13" fmla="*/ 209 h 1316"/>
                <a:gd name="T14" fmla="*/ 1189 w 2028"/>
                <a:gd name="T15" fmla="*/ 213 h 1316"/>
                <a:gd name="T16" fmla="*/ 1166 w 2028"/>
                <a:gd name="T17" fmla="*/ 192 h 1316"/>
                <a:gd name="T18" fmla="*/ 1218 w 2028"/>
                <a:gd name="T19" fmla="*/ 168 h 1316"/>
                <a:gd name="T20" fmla="*/ 329 w 2028"/>
                <a:gd name="T21" fmla="*/ 205 h 1316"/>
                <a:gd name="T22" fmla="*/ 298 w 2028"/>
                <a:gd name="T23" fmla="*/ 201 h 1316"/>
                <a:gd name="T24" fmla="*/ 799 w 2028"/>
                <a:gd name="T25" fmla="*/ 0 h 1316"/>
                <a:gd name="T26" fmla="*/ 1232 w 2028"/>
                <a:gd name="T27" fmla="*/ 104 h 1316"/>
                <a:gd name="T28" fmla="*/ 1273 w 2028"/>
                <a:gd name="T29" fmla="*/ 90 h 1316"/>
                <a:gd name="T30" fmla="*/ 1304 w 2028"/>
                <a:gd name="T31" fmla="*/ 181 h 1316"/>
                <a:gd name="T32" fmla="*/ 1305 w 2028"/>
                <a:gd name="T33" fmla="*/ 184 h 1316"/>
                <a:gd name="T34" fmla="*/ 1305 w 2028"/>
                <a:gd name="T35" fmla="*/ 189 h 1316"/>
                <a:gd name="T36" fmla="*/ 1304 w 2028"/>
                <a:gd name="T37" fmla="*/ 193 h 1316"/>
                <a:gd name="T38" fmla="*/ 1303 w 2028"/>
                <a:gd name="T39" fmla="*/ 197 h 1316"/>
                <a:gd name="T40" fmla="*/ 1602 w 2028"/>
                <a:gd name="T41" fmla="*/ 891 h 1316"/>
                <a:gd name="T42" fmla="*/ 1791 w 2028"/>
                <a:gd name="T43" fmla="*/ 545 h 1316"/>
                <a:gd name="T44" fmla="*/ 1087 w 2028"/>
                <a:gd name="T45" fmla="*/ 483 h 1316"/>
                <a:gd name="T46" fmla="*/ 521 w 2028"/>
                <a:gd name="T47" fmla="*/ 719 h 1316"/>
                <a:gd name="T48" fmla="*/ 515 w 2028"/>
                <a:gd name="T49" fmla="*/ 619 h 1316"/>
                <a:gd name="T50" fmla="*/ 469 w 2028"/>
                <a:gd name="T51" fmla="*/ 602 h 1316"/>
                <a:gd name="T52" fmla="*/ 473 w 2028"/>
                <a:gd name="T53" fmla="*/ 659 h 1316"/>
                <a:gd name="T54" fmla="*/ 532 w 2028"/>
                <a:gd name="T55" fmla="*/ 817 h 1316"/>
                <a:gd name="T56" fmla="*/ 488 w 2028"/>
                <a:gd name="T57" fmla="*/ 867 h 1316"/>
                <a:gd name="T58" fmla="*/ 464 w 2028"/>
                <a:gd name="T59" fmla="*/ 891 h 1316"/>
                <a:gd name="T60" fmla="*/ 369 w 2028"/>
                <a:gd name="T61" fmla="*/ 1086 h 1316"/>
                <a:gd name="T62" fmla="*/ 265 w 2028"/>
                <a:gd name="T63" fmla="*/ 1084 h 1316"/>
                <a:gd name="T64" fmla="*/ 255 w 2028"/>
                <a:gd name="T65" fmla="*/ 1272 h 1316"/>
                <a:gd name="T66" fmla="*/ 44 w 2028"/>
                <a:gd name="T67" fmla="*/ 1190 h 1316"/>
                <a:gd name="T68" fmla="*/ 0 w 2028"/>
                <a:gd name="T69" fmla="*/ 1237 h 1316"/>
                <a:gd name="T70" fmla="*/ 256 w 2028"/>
                <a:gd name="T71" fmla="*/ 1316 h 1316"/>
                <a:gd name="T72" fmla="*/ 299 w 2028"/>
                <a:gd name="T73" fmla="*/ 1293 h 1316"/>
                <a:gd name="T74" fmla="*/ 367 w 2028"/>
                <a:gd name="T75" fmla="*/ 1130 h 1316"/>
                <a:gd name="T76" fmla="*/ 511 w 2028"/>
                <a:gd name="T77" fmla="*/ 980 h 1316"/>
                <a:gd name="T78" fmla="*/ 600 w 2028"/>
                <a:gd name="T79" fmla="*/ 868 h 1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28" h="1316">
                  <a:moveTo>
                    <a:pt x="1303" y="197"/>
                  </a:moveTo>
                  <a:cubicBezTo>
                    <a:pt x="1303" y="197"/>
                    <a:pt x="1303" y="197"/>
                    <a:pt x="1302" y="197"/>
                  </a:cubicBezTo>
                  <a:cubicBezTo>
                    <a:pt x="1302" y="198"/>
                    <a:pt x="1302" y="199"/>
                    <a:pt x="1301" y="200"/>
                  </a:cubicBezTo>
                  <a:cubicBezTo>
                    <a:pt x="1301" y="200"/>
                    <a:pt x="1301" y="201"/>
                    <a:pt x="1300" y="201"/>
                  </a:cubicBezTo>
                  <a:cubicBezTo>
                    <a:pt x="1300" y="201"/>
                    <a:pt x="1300" y="201"/>
                    <a:pt x="1300" y="201"/>
                  </a:cubicBezTo>
                  <a:cubicBezTo>
                    <a:pt x="1300" y="201"/>
                    <a:pt x="1300" y="201"/>
                    <a:pt x="1300" y="201"/>
                  </a:cubicBezTo>
                  <a:cubicBezTo>
                    <a:pt x="1299" y="202"/>
                    <a:pt x="1298" y="203"/>
                    <a:pt x="1297" y="204"/>
                  </a:cubicBezTo>
                  <a:cubicBezTo>
                    <a:pt x="1297" y="204"/>
                    <a:pt x="1297" y="204"/>
                    <a:pt x="1297" y="204"/>
                  </a:cubicBezTo>
                  <a:cubicBezTo>
                    <a:pt x="1296" y="205"/>
                    <a:pt x="1295" y="206"/>
                    <a:pt x="1294" y="207"/>
                  </a:cubicBezTo>
                  <a:cubicBezTo>
                    <a:pt x="1294" y="207"/>
                    <a:pt x="1294" y="207"/>
                    <a:pt x="1294" y="207"/>
                  </a:cubicBezTo>
                  <a:cubicBezTo>
                    <a:pt x="1292" y="207"/>
                    <a:pt x="1291" y="208"/>
                    <a:pt x="1290" y="208"/>
                  </a:cubicBezTo>
                  <a:cubicBezTo>
                    <a:pt x="1290" y="208"/>
                    <a:pt x="1290" y="209"/>
                    <a:pt x="1290" y="209"/>
                  </a:cubicBezTo>
                  <a:cubicBezTo>
                    <a:pt x="1288" y="209"/>
                    <a:pt x="1287" y="209"/>
                    <a:pt x="1286" y="209"/>
                  </a:cubicBezTo>
                  <a:cubicBezTo>
                    <a:pt x="1286" y="209"/>
                    <a:pt x="1286" y="209"/>
                    <a:pt x="1285" y="209"/>
                  </a:cubicBezTo>
                  <a:cubicBezTo>
                    <a:pt x="1285" y="210"/>
                    <a:pt x="1284" y="210"/>
                    <a:pt x="1284" y="210"/>
                  </a:cubicBezTo>
                  <a:cubicBezTo>
                    <a:pt x="1189" y="213"/>
                    <a:pt x="1189" y="213"/>
                    <a:pt x="1189" y="213"/>
                  </a:cubicBezTo>
                  <a:cubicBezTo>
                    <a:pt x="1188" y="213"/>
                    <a:pt x="1188" y="213"/>
                    <a:pt x="1188" y="213"/>
                  </a:cubicBezTo>
                  <a:cubicBezTo>
                    <a:pt x="1176" y="213"/>
                    <a:pt x="1166" y="204"/>
                    <a:pt x="1166" y="192"/>
                  </a:cubicBezTo>
                  <a:cubicBezTo>
                    <a:pt x="1165" y="180"/>
                    <a:pt x="1175" y="170"/>
                    <a:pt x="1187" y="169"/>
                  </a:cubicBezTo>
                  <a:cubicBezTo>
                    <a:pt x="1218" y="168"/>
                    <a:pt x="1218" y="168"/>
                    <a:pt x="1218" y="168"/>
                  </a:cubicBezTo>
                  <a:cubicBezTo>
                    <a:pt x="1093" y="87"/>
                    <a:pt x="950" y="44"/>
                    <a:pt x="799" y="44"/>
                  </a:cubicBezTo>
                  <a:cubicBezTo>
                    <a:pt x="627" y="44"/>
                    <a:pt x="464" y="100"/>
                    <a:pt x="329" y="205"/>
                  </a:cubicBezTo>
                  <a:cubicBezTo>
                    <a:pt x="325" y="208"/>
                    <a:pt x="320" y="210"/>
                    <a:pt x="315" y="210"/>
                  </a:cubicBezTo>
                  <a:cubicBezTo>
                    <a:pt x="309" y="210"/>
                    <a:pt x="302" y="207"/>
                    <a:pt x="298" y="201"/>
                  </a:cubicBezTo>
                  <a:cubicBezTo>
                    <a:pt x="290" y="192"/>
                    <a:pt x="292" y="178"/>
                    <a:pt x="302" y="170"/>
                  </a:cubicBezTo>
                  <a:cubicBezTo>
                    <a:pt x="445" y="59"/>
                    <a:pt x="617" y="0"/>
                    <a:pt x="799" y="0"/>
                  </a:cubicBezTo>
                  <a:cubicBezTo>
                    <a:pt x="958" y="0"/>
                    <a:pt x="1109" y="45"/>
                    <a:pt x="1240" y="130"/>
                  </a:cubicBezTo>
                  <a:cubicBezTo>
                    <a:pt x="1232" y="104"/>
                    <a:pt x="1232" y="104"/>
                    <a:pt x="1232" y="104"/>
                  </a:cubicBezTo>
                  <a:cubicBezTo>
                    <a:pt x="1228" y="93"/>
                    <a:pt x="1234" y="80"/>
                    <a:pt x="1245" y="77"/>
                  </a:cubicBezTo>
                  <a:cubicBezTo>
                    <a:pt x="1257" y="73"/>
                    <a:pt x="1269" y="79"/>
                    <a:pt x="1273" y="90"/>
                  </a:cubicBezTo>
                  <a:cubicBezTo>
                    <a:pt x="1304" y="181"/>
                    <a:pt x="1304" y="181"/>
                    <a:pt x="1304" y="181"/>
                  </a:cubicBezTo>
                  <a:cubicBezTo>
                    <a:pt x="1304" y="181"/>
                    <a:pt x="1304" y="181"/>
                    <a:pt x="1304" y="181"/>
                  </a:cubicBezTo>
                  <a:cubicBezTo>
                    <a:pt x="1304" y="181"/>
                    <a:pt x="1304" y="181"/>
                    <a:pt x="1304" y="181"/>
                  </a:cubicBezTo>
                  <a:cubicBezTo>
                    <a:pt x="1304" y="182"/>
                    <a:pt x="1304" y="183"/>
                    <a:pt x="1305" y="184"/>
                  </a:cubicBezTo>
                  <a:cubicBezTo>
                    <a:pt x="1305" y="185"/>
                    <a:pt x="1305" y="185"/>
                    <a:pt x="1305" y="185"/>
                  </a:cubicBezTo>
                  <a:cubicBezTo>
                    <a:pt x="1305" y="186"/>
                    <a:pt x="1305" y="188"/>
                    <a:pt x="1305" y="189"/>
                  </a:cubicBezTo>
                  <a:cubicBezTo>
                    <a:pt x="1305" y="189"/>
                    <a:pt x="1305" y="189"/>
                    <a:pt x="1305" y="189"/>
                  </a:cubicBezTo>
                  <a:cubicBezTo>
                    <a:pt x="1305" y="191"/>
                    <a:pt x="1304" y="192"/>
                    <a:pt x="1304" y="193"/>
                  </a:cubicBezTo>
                  <a:cubicBezTo>
                    <a:pt x="1304" y="193"/>
                    <a:pt x="1304" y="193"/>
                    <a:pt x="1304" y="193"/>
                  </a:cubicBezTo>
                  <a:cubicBezTo>
                    <a:pt x="1304" y="195"/>
                    <a:pt x="1303" y="196"/>
                    <a:pt x="1303" y="197"/>
                  </a:cubicBezTo>
                  <a:close/>
                  <a:moveTo>
                    <a:pt x="1087" y="483"/>
                  </a:moveTo>
                  <a:cubicBezTo>
                    <a:pt x="1232" y="744"/>
                    <a:pt x="1602" y="891"/>
                    <a:pt x="1602" y="891"/>
                  </a:cubicBezTo>
                  <a:cubicBezTo>
                    <a:pt x="1658" y="1021"/>
                    <a:pt x="1473" y="1128"/>
                    <a:pt x="1491" y="1149"/>
                  </a:cubicBezTo>
                  <a:cubicBezTo>
                    <a:pt x="1509" y="1170"/>
                    <a:pt x="2028" y="1036"/>
                    <a:pt x="1791" y="545"/>
                  </a:cubicBezTo>
                  <a:cubicBezTo>
                    <a:pt x="1739" y="438"/>
                    <a:pt x="1615" y="327"/>
                    <a:pt x="1409" y="327"/>
                  </a:cubicBezTo>
                  <a:cubicBezTo>
                    <a:pt x="1174" y="327"/>
                    <a:pt x="1077" y="434"/>
                    <a:pt x="1087" y="483"/>
                  </a:cubicBezTo>
                  <a:close/>
                  <a:moveTo>
                    <a:pt x="563" y="785"/>
                  </a:moveTo>
                  <a:cubicBezTo>
                    <a:pt x="545" y="767"/>
                    <a:pt x="529" y="739"/>
                    <a:pt x="521" y="719"/>
                  </a:cubicBezTo>
                  <a:cubicBezTo>
                    <a:pt x="518" y="711"/>
                    <a:pt x="517" y="678"/>
                    <a:pt x="517" y="658"/>
                  </a:cubicBezTo>
                  <a:cubicBezTo>
                    <a:pt x="516" y="643"/>
                    <a:pt x="516" y="629"/>
                    <a:pt x="515" y="619"/>
                  </a:cubicBezTo>
                  <a:cubicBezTo>
                    <a:pt x="514" y="601"/>
                    <a:pt x="509" y="575"/>
                    <a:pt x="504" y="555"/>
                  </a:cubicBezTo>
                  <a:cubicBezTo>
                    <a:pt x="493" y="571"/>
                    <a:pt x="481" y="587"/>
                    <a:pt x="469" y="602"/>
                  </a:cubicBezTo>
                  <a:cubicBezTo>
                    <a:pt x="470" y="610"/>
                    <a:pt x="471" y="617"/>
                    <a:pt x="471" y="622"/>
                  </a:cubicBezTo>
                  <a:cubicBezTo>
                    <a:pt x="472" y="632"/>
                    <a:pt x="472" y="645"/>
                    <a:pt x="473" y="659"/>
                  </a:cubicBezTo>
                  <a:cubicBezTo>
                    <a:pt x="474" y="697"/>
                    <a:pt x="475" y="721"/>
                    <a:pt x="480" y="735"/>
                  </a:cubicBezTo>
                  <a:cubicBezTo>
                    <a:pt x="485" y="747"/>
                    <a:pt x="503" y="788"/>
                    <a:pt x="532" y="817"/>
                  </a:cubicBezTo>
                  <a:cubicBezTo>
                    <a:pt x="546" y="831"/>
                    <a:pt x="555" y="845"/>
                    <a:pt x="557" y="853"/>
                  </a:cubicBezTo>
                  <a:cubicBezTo>
                    <a:pt x="550" y="860"/>
                    <a:pt x="529" y="872"/>
                    <a:pt x="488" y="867"/>
                  </a:cubicBezTo>
                  <a:cubicBezTo>
                    <a:pt x="481" y="867"/>
                    <a:pt x="475" y="869"/>
                    <a:pt x="470" y="873"/>
                  </a:cubicBezTo>
                  <a:cubicBezTo>
                    <a:pt x="465" y="878"/>
                    <a:pt x="463" y="884"/>
                    <a:pt x="464" y="891"/>
                  </a:cubicBezTo>
                  <a:cubicBezTo>
                    <a:pt x="470" y="977"/>
                    <a:pt x="467" y="1061"/>
                    <a:pt x="457" y="1076"/>
                  </a:cubicBezTo>
                  <a:cubicBezTo>
                    <a:pt x="455" y="1078"/>
                    <a:pt x="438" y="1086"/>
                    <a:pt x="369" y="1086"/>
                  </a:cubicBezTo>
                  <a:cubicBezTo>
                    <a:pt x="327" y="1086"/>
                    <a:pt x="289" y="1082"/>
                    <a:pt x="283" y="1081"/>
                  </a:cubicBezTo>
                  <a:cubicBezTo>
                    <a:pt x="277" y="1080"/>
                    <a:pt x="270" y="1081"/>
                    <a:pt x="265" y="1084"/>
                  </a:cubicBezTo>
                  <a:cubicBezTo>
                    <a:pt x="259" y="1088"/>
                    <a:pt x="255" y="1095"/>
                    <a:pt x="255" y="1102"/>
                  </a:cubicBezTo>
                  <a:cubicBezTo>
                    <a:pt x="255" y="1272"/>
                    <a:pt x="255" y="1272"/>
                    <a:pt x="255" y="1272"/>
                  </a:cubicBezTo>
                  <a:cubicBezTo>
                    <a:pt x="215" y="1272"/>
                    <a:pt x="121" y="1266"/>
                    <a:pt x="44" y="1224"/>
                  </a:cubicBezTo>
                  <a:cubicBezTo>
                    <a:pt x="44" y="1190"/>
                    <a:pt x="44" y="1190"/>
                    <a:pt x="44" y="1190"/>
                  </a:cubicBezTo>
                  <a:cubicBezTo>
                    <a:pt x="31" y="1187"/>
                    <a:pt x="16" y="1183"/>
                    <a:pt x="0" y="1177"/>
                  </a:cubicBezTo>
                  <a:cubicBezTo>
                    <a:pt x="0" y="1237"/>
                    <a:pt x="0" y="1237"/>
                    <a:pt x="0" y="1237"/>
                  </a:cubicBezTo>
                  <a:cubicBezTo>
                    <a:pt x="0" y="1245"/>
                    <a:pt x="5" y="1252"/>
                    <a:pt x="11" y="1256"/>
                  </a:cubicBezTo>
                  <a:cubicBezTo>
                    <a:pt x="100" y="1310"/>
                    <a:pt x="210" y="1316"/>
                    <a:pt x="256" y="1316"/>
                  </a:cubicBezTo>
                  <a:cubicBezTo>
                    <a:pt x="269" y="1316"/>
                    <a:pt x="277" y="1315"/>
                    <a:pt x="279" y="1315"/>
                  </a:cubicBezTo>
                  <a:cubicBezTo>
                    <a:pt x="290" y="1315"/>
                    <a:pt x="299" y="1305"/>
                    <a:pt x="299" y="1293"/>
                  </a:cubicBezTo>
                  <a:cubicBezTo>
                    <a:pt x="299" y="1127"/>
                    <a:pt x="299" y="1127"/>
                    <a:pt x="299" y="1127"/>
                  </a:cubicBezTo>
                  <a:cubicBezTo>
                    <a:pt x="323" y="1129"/>
                    <a:pt x="353" y="1130"/>
                    <a:pt x="367" y="1130"/>
                  </a:cubicBezTo>
                  <a:cubicBezTo>
                    <a:pt x="454" y="1131"/>
                    <a:pt x="478" y="1118"/>
                    <a:pt x="488" y="1107"/>
                  </a:cubicBezTo>
                  <a:cubicBezTo>
                    <a:pt x="500" y="1095"/>
                    <a:pt x="511" y="1071"/>
                    <a:pt x="511" y="980"/>
                  </a:cubicBezTo>
                  <a:cubicBezTo>
                    <a:pt x="511" y="954"/>
                    <a:pt x="510" y="930"/>
                    <a:pt x="509" y="912"/>
                  </a:cubicBezTo>
                  <a:cubicBezTo>
                    <a:pt x="565" y="911"/>
                    <a:pt x="593" y="884"/>
                    <a:pt x="600" y="868"/>
                  </a:cubicBezTo>
                  <a:cubicBezTo>
                    <a:pt x="610" y="843"/>
                    <a:pt x="582" y="804"/>
                    <a:pt x="563" y="78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1">
              <a:extLst>
                <a:ext uri="{FF2B5EF4-FFF2-40B4-BE49-F238E27FC236}">
                  <a16:creationId xmlns:a16="http://schemas.microsoft.com/office/drawing/2014/main" id="{21CCF091-D2CB-494D-AED7-8F09F8B271BC}"/>
                </a:ext>
              </a:extLst>
            </p:cNvPr>
            <p:cNvSpPr>
              <a:spLocks noEditPoints="1"/>
            </p:cNvSpPr>
            <p:nvPr/>
          </p:nvSpPr>
          <p:spPr bwMode="auto">
            <a:xfrm>
              <a:off x="6643563" y="3222599"/>
              <a:ext cx="1446657" cy="927735"/>
            </a:xfrm>
            <a:custGeom>
              <a:avLst/>
              <a:gdLst>
                <a:gd name="T0" fmla="*/ 1242 w 2027"/>
                <a:gd name="T1" fmla="*/ 1299 h 1299"/>
                <a:gd name="T2" fmla="*/ 809 w 2027"/>
                <a:gd name="T3" fmla="*/ 1195 h 1299"/>
                <a:gd name="T4" fmla="*/ 789 w 2027"/>
                <a:gd name="T5" fmla="*/ 1224 h 1299"/>
                <a:gd name="T6" fmla="*/ 737 w 2027"/>
                <a:gd name="T7" fmla="*/ 1118 h 1299"/>
                <a:gd name="T8" fmla="*/ 737 w 2027"/>
                <a:gd name="T9" fmla="*/ 1118 h 1299"/>
                <a:gd name="T10" fmla="*/ 736 w 2027"/>
                <a:gd name="T11" fmla="*/ 1114 h 1299"/>
                <a:gd name="T12" fmla="*/ 736 w 2027"/>
                <a:gd name="T13" fmla="*/ 1110 h 1299"/>
                <a:gd name="T14" fmla="*/ 737 w 2027"/>
                <a:gd name="T15" fmla="*/ 1106 h 1299"/>
                <a:gd name="T16" fmla="*/ 738 w 2027"/>
                <a:gd name="T17" fmla="*/ 1102 h 1299"/>
                <a:gd name="T18" fmla="*/ 741 w 2027"/>
                <a:gd name="T19" fmla="*/ 1098 h 1299"/>
                <a:gd name="T20" fmla="*/ 741 w 2027"/>
                <a:gd name="T21" fmla="*/ 1098 h 1299"/>
                <a:gd name="T22" fmla="*/ 744 w 2027"/>
                <a:gd name="T23" fmla="*/ 1095 h 1299"/>
                <a:gd name="T24" fmla="*/ 747 w 2027"/>
                <a:gd name="T25" fmla="*/ 1092 h 1299"/>
                <a:gd name="T26" fmla="*/ 751 w 2027"/>
                <a:gd name="T27" fmla="*/ 1090 h 1299"/>
                <a:gd name="T28" fmla="*/ 756 w 2027"/>
                <a:gd name="T29" fmla="*/ 1090 h 1299"/>
                <a:gd name="T30" fmla="*/ 852 w 2027"/>
                <a:gd name="T31" fmla="*/ 1086 h 1299"/>
                <a:gd name="T32" fmla="*/ 854 w 2027"/>
                <a:gd name="T33" fmla="*/ 1130 h 1299"/>
                <a:gd name="T34" fmla="*/ 1242 w 2027"/>
                <a:gd name="T35" fmla="*/ 1255 h 1299"/>
                <a:gd name="T36" fmla="*/ 1743 w 2027"/>
                <a:gd name="T37" fmla="*/ 1098 h 1299"/>
                <a:gd name="T38" fmla="*/ 1983 w 2027"/>
                <a:gd name="T39" fmla="*/ 863 h 1299"/>
                <a:gd name="T40" fmla="*/ 1773 w 2027"/>
                <a:gd name="T41" fmla="*/ 945 h 1299"/>
                <a:gd name="T42" fmla="*/ 1763 w 2027"/>
                <a:gd name="T43" fmla="*/ 757 h 1299"/>
                <a:gd name="T44" fmla="*/ 1659 w 2027"/>
                <a:gd name="T45" fmla="*/ 759 h 1299"/>
                <a:gd name="T46" fmla="*/ 1564 w 2027"/>
                <a:gd name="T47" fmla="*/ 564 h 1299"/>
                <a:gd name="T48" fmla="*/ 1540 w 2027"/>
                <a:gd name="T49" fmla="*/ 540 h 1299"/>
                <a:gd name="T50" fmla="*/ 1496 w 2027"/>
                <a:gd name="T51" fmla="*/ 490 h 1299"/>
                <a:gd name="T52" fmla="*/ 1555 w 2027"/>
                <a:gd name="T53" fmla="*/ 332 h 1299"/>
                <a:gd name="T54" fmla="*/ 1559 w 2027"/>
                <a:gd name="T55" fmla="*/ 275 h 1299"/>
                <a:gd name="T56" fmla="*/ 1513 w 2027"/>
                <a:gd name="T57" fmla="*/ 292 h 1299"/>
                <a:gd name="T58" fmla="*/ 1507 w 2027"/>
                <a:gd name="T59" fmla="*/ 392 h 1299"/>
                <a:gd name="T60" fmla="*/ 1428 w 2027"/>
                <a:gd name="T61" fmla="*/ 541 h 1299"/>
                <a:gd name="T62" fmla="*/ 1517 w 2027"/>
                <a:gd name="T63" fmla="*/ 653 h 1299"/>
                <a:gd name="T64" fmla="*/ 1661 w 2027"/>
                <a:gd name="T65" fmla="*/ 803 h 1299"/>
                <a:gd name="T66" fmla="*/ 1729 w 2027"/>
                <a:gd name="T67" fmla="*/ 966 h 1299"/>
                <a:gd name="T68" fmla="*/ 1772 w 2027"/>
                <a:gd name="T69" fmla="*/ 989 h 1299"/>
                <a:gd name="T70" fmla="*/ 2027 w 2027"/>
                <a:gd name="T71" fmla="*/ 910 h 1299"/>
                <a:gd name="T72" fmla="*/ 1983 w 2027"/>
                <a:gd name="T73" fmla="*/ 863 h 1299"/>
                <a:gd name="T74" fmla="*/ 619 w 2027"/>
                <a:gd name="T75" fmla="*/ 0 h 1299"/>
                <a:gd name="T76" fmla="*/ 537 w 2027"/>
                <a:gd name="T77" fmla="*/ 822 h 1299"/>
                <a:gd name="T78" fmla="*/ 940 w 2027"/>
                <a:gd name="T79" fmla="*/ 156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27" h="1299">
                  <a:moveTo>
                    <a:pt x="1739" y="1129"/>
                  </a:moveTo>
                  <a:cubicBezTo>
                    <a:pt x="1596" y="1240"/>
                    <a:pt x="1424" y="1299"/>
                    <a:pt x="1242" y="1299"/>
                  </a:cubicBezTo>
                  <a:cubicBezTo>
                    <a:pt x="1083" y="1299"/>
                    <a:pt x="932" y="1254"/>
                    <a:pt x="801" y="1169"/>
                  </a:cubicBezTo>
                  <a:cubicBezTo>
                    <a:pt x="809" y="1195"/>
                    <a:pt x="809" y="1195"/>
                    <a:pt x="809" y="1195"/>
                  </a:cubicBezTo>
                  <a:cubicBezTo>
                    <a:pt x="813" y="1206"/>
                    <a:pt x="807" y="1219"/>
                    <a:pt x="796" y="1222"/>
                  </a:cubicBezTo>
                  <a:cubicBezTo>
                    <a:pt x="793" y="1223"/>
                    <a:pt x="791" y="1224"/>
                    <a:pt x="789" y="1224"/>
                  </a:cubicBezTo>
                  <a:cubicBezTo>
                    <a:pt x="779" y="1224"/>
                    <a:pt x="771" y="1218"/>
                    <a:pt x="768" y="1209"/>
                  </a:cubicBezTo>
                  <a:cubicBezTo>
                    <a:pt x="737" y="1118"/>
                    <a:pt x="737" y="1118"/>
                    <a:pt x="737" y="1118"/>
                  </a:cubicBezTo>
                  <a:cubicBezTo>
                    <a:pt x="737" y="1118"/>
                    <a:pt x="737" y="1118"/>
                    <a:pt x="737" y="1118"/>
                  </a:cubicBezTo>
                  <a:cubicBezTo>
                    <a:pt x="737" y="1118"/>
                    <a:pt x="737" y="1118"/>
                    <a:pt x="737" y="1118"/>
                  </a:cubicBezTo>
                  <a:cubicBezTo>
                    <a:pt x="737" y="1117"/>
                    <a:pt x="737" y="1116"/>
                    <a:pt x="736" y="1115"/>
                  </a:cubicBezTo>
                  <a:cubicBezTo>
                    <a:pt x="736" y="1114"/>
                    <a:pt x="736" y="1114"/>
                    <a:pt x="736" y="1114"/>
                  </a:cubicBezTo>
                  <a:cubicBezTo>
                    <a:pt x="736" y="1113"/>
                    <a:pt x="736" y="1111"/>
                    <a:pt x="736" y="1110"/>
                  </a:cubicBezTo>
                  <a:cubicBezTo>
                    <a:pt x="736" y="1110"/>
                    <a:pt x="736" y="1110"/>
                    <a:pt x="736" y="1110"/>
                  </a:cubicBezTo>
                  <a:cubicBezTo>
                    <a:pt x="736" y="1108"/>
                    <a:pt x="737" y="1107"/>
                    <a:pt x="737" y="1106"/>
                  </a:cubicBezTo>
                  <a:cubicBezTo>
                    <a:pt x="737" y="1106"/>
                    <a:pt x="737" y="1106"/>
                    <a:pt x="737" y="1106"/>
                  </a:cubicBezTo>
                  <a:cubicBezTo>
                    <a:pt x="737" y="1104"/>
                    <a:pt x="738" y="1103"/>
                    <a:pt x="738" y="1102"/>
                  </a:cubicBezTo>
                  <a:cubicBezTo>
                    <a:pt x="738" y="1102"/>
                    <a:pt x="738" y="1102"/>
                    <a:pt x="738" y="1102"/>
                  </a:cubicBezTo>
                  <a:cubicBezTo>
                    <a:pt x="739" y="1101"/>
                    <a:pt x="739" y="1100"/>
                    <a:pt x="740" y="1099"/>
                  </a:cubicBezTo>
                  <a:cubicBezTo>
                    <a:pt x="740" y="1099"/>
                    <a:pt x="740" y="1098"/>
                    <a:pt x="741" y="1098"/>
                  </a:cubicBezTo>
                  <a:cubicBezTo>
                    <a:pt x="741" y="1098"/>
                    <a:pt x="741" y="1098"/>
                    <a:pt x="741" y="1098"/>
                  </a:cubicBezTo>
                  <a:cubicBezTo>
                    <a:pt x="741" y="1098"/>
                    <a:pt x="741" y="1098"/>
                    <a:pt x="741" y="1098"/>
                  </a:cubicBezTo>
                  <a:cubicBezTo>
                    <a:pt x="742" y="1097"/>
                    <a:pt x="743" y="1096"/>
                    <a:pt x="744" y="1095"/>
                  </a:cubicBezTo>
                  <a:cubicBezTo>
                    <a:pt x="744" y="1095"/>
                    <a:pt x="744" y="1095"/>
                    <a:pt x="744" y="1095"/>
                  </a:cubicBezTo>
                  <a:cubicBezTo>
                    <a:pt x="745" y="1094"/>
                    <a:pt x="746" y="1093"/>
                    <a:pt x="747" y="1092"/>
                  </a:cubicBezTo>
                  <a:cubicBezTo>
                    <a:pt x="747" y="1092"/>
                    <a:pt x="747" y="1092"/>
                    <a:pt x="747" y="1092"/>
                  </a:cubicBezTo>
                  <a:cubicBezTo>
                    <a:pt x="749" y="1092"/>
                    <a:pt x="750" y="1091"/>
                    <a:pt x="751" y="1091"/>
                  </a:cubicBezTo>
                  <a:cubicBezTo>
                    <a:pt x="751" y="1091"/>
                    <a:pt x="751" y="1090"/>
                    <a:pt x="751" y="1090"/>
                  </a:cubicBezTo>
                  <a:cubicBezTo>
                    <a:pt x="753" y="1090"/>
                    <a:pt x="754" y="1090"/>
                    <a:pt x="755" y="1090"/>
                  </a:cubicBezTo>
                  <a:cubicBezTo>
                    <a:pt x="755" y="1090"/>
                    <a:pt x="755" y="1090"/>
                    <a:pt x="756" y="1090"/>
                  </a:cubicBezTo>
                  <a:cubicBezTo>
                    <a:pt x="756" y="1089"/>
                    <a:pt x="757" y="1089"/>
                    <a:pt x="757" y="1089"/>
                  </a:cubicBezTo>
                  <a:cubicBezTo>
                    <a:pt x="852" y="1086"/>
                    <a:pt x="852" y="1086"/>
                    <a:pt x="852" y="1086"/>
                  </a:cubicBezTo>
                  <a:cubicBezTo>
                    <a:pt x="865" y="1085"/>
                    <a:pt x="875" y="1095"/>
                    <a:pt x="875" y="1107"/>
                  </a:cubicBezTo>
                  <a:cubicBezTo>
                    <a:pt x="876" y="1119"/>
                    <a:pt x="866" y="1129"/>
                    <a:pt x="854" y="1130"/>
                  </a:cubicBezTo>
                  <a:cubicBezTo>
                    <a:pt x="823" y="1131"/>
                    <a:pt x="823" y="1131"/>
                    <a:pt x="823" y="1131"/>
                  </a:cubicBezTo>
                  <a:cubicBezTo>
                    <a:pt x="948" y="1212"/>
                    <a:pt x="1091" y="1255"/>
                    <a:pt x="1242" y="1255"/>
                  </a:cubicBezTo>
                  <a:cubicBezTo>
                    <a:pt x="1414" y="1255"/>
                    <a:pt x="1577" y="1199"/>
                    <a:pt x="1712" y="1094"/>
                  </a:cubicBezTo>
                  <a:cubicBezTo>
                    <a:pt x="1722" y="1087"/>
                    <a:pt x="1736" y="1088"/>
                    <a:pt x="1743" y="1098"/>
                  </a:cubicBezTo>
                  <a:cubicBezTo>
                    <a:pt x="1751" y="1108"/>
                    <a:pt x="1749" y="1121"/>
                    <a:pt x="1739" y="1129"/>
                  </a:cubicBezTo>
                  <a:close/>
                  <a:moveTo>
                    <a:pt x="1983" y="863"/>
                  </a:moveTo>
                  <a:cubicBezTo>
                    <a:pt x="1983" y="897"/>
                    <a:pt x="1983" y="897"/>
                    <a:pt x="1983" y="897"/>
                  </a:cubicBezTo>
                  <a:cubicBezTo>
                    <a:pt x="1907" y="939"/>
                    <a:pt x="1813" y="945"/>
                    <a:pt x="1773" y="945"/>
                  </a:cubicBezTo>
                  <a:cubicBezTo>
                    <a:pt x="1773" y="775"/>
                    <a:pt x="1773" y="775"/>
                    <a:pt x="1773" y="775"/>
                  </a:cubicBezTo>
                  <a:cubicBezTo>
                    <a:pt x="1773" y="768"/>
                    <a:pt x="1769" y="761"/>
                    <a:pt x="1763" y="757"/>
                  </a:cubicBezTo>
                  <a:cubicBezTo>
                    <a:pt x="1757" y="754"/>
                    <a:pt x="1751" y="753"/>
                    <a:pt x="1745" y="754"/>
                  </a:cubicBezTo>
                  <a:cubicBezTo>
                    <a:pt x="1739" y="755"/>
                    <a:pt x="1701" y="759"/>
                    <a:pt x="1659" y="759"/>
                  </a:cubicBezTo>
                  <a:cubicBezTo>
                    <a:pt x="1588" y="759"/>
                    <a:pt x="1572" y="750"/>
                    <a:pt x="1571" y="749"/>
                  </a:cubicBezTo>
                  <a:cubicBezTo>
                    <a:pt x="1561" y="735"/>
                    <a:pt x="1558" y="650"/>
                    <a:pt x="1564" y="564"/>
                  </a:cubicBezTo>
                  <a:cubicBezTo>
                    <a:pt x="1565" y="557"/>
                    <a:pt x="1562" y="551"/>
                    <a:pt x="1558" y="546"/>
                  </a:cubicBezTo>
                  <a:cubicBezTo>
                    <a:pt x="1553" y="542"/>
                    <a:pt x="1546" y="540"/>
                    <a:pt x="1540" y="540"/>
                  </a:cubicBezTo>
                  <a:cubicBezTo>
                    <a:pt x="1499" y="545"/>
                    <a:pt x="1478" y="533"/>
                    <a:pt x="1471" y="526"/>
                  </a:cubicBezTo>
                  <a:cubicBezTo>
                    <a:pt x="1473" y="518"/>
                    <a:pt x="1481" y="504"/>
                    <a:pt x="1496" y="490"/>
                  </a:cubicBezTo>
                  <a:cubicBezTo>
                    <a:pt x="1525" y="461"/>
                    <a:pt x="1543" y="420"/>
                    <a:pt x="1547" y="408"/>
                  </a:cubicBezTo>
                  <a:cubicBezTo>
                    <a:pt x="1553" y="394"/>
                    <a:pt x="1554" y="370"/>
                    <a:pt x="1555" y="332"/>
                  </a:cubicBezTo>
                  <a:cubicBezTo>
                    <a:pt x="1555" y="318"/>
                    <a:pt x="1556" y="305"/>
                    <a:pt x="1557" y="295"/>
                  </a:cubicBezTo>
                  <a:cubicBezTo>
                    <a:pt x="1557" y="290"/>
                    <a:pt x="1558" y="283"/>
                    <a:pt x="1559" y="275"/>
                  </a:cubicBezTo>
                  <a:cubicBezTo>
                    <a:pt x="1547" y="260"/>
                    <a:pt x="1535" y="244"/>
                    <a:pt x="1524" y="228"/>
                  </a:cubicBezTo>
                  <a:cubicBezTo>
                    <a:pt x="1519" y="248"/>
                    <a:pt x="1514" y="274"/>
                    <a:pt x="1513" y="292"/>
                  </a:cubicBezTo>
                  <a:cubicBezTo>
                    <a:pt x="1512" y="302"/>
                    <a:pt x="1511" y="316"/>
                    <a:pt x="1511" y="331"/>
                  </a:cubicBezTo>
                  <a:cubicBezTo>
                    <a:pt x="1511" y="351"/>
                    <a:pt x="1510" y="384"/>
                    <a:pt x="1507" y="392"/>
                  </a:cubicBezTo>
                  <a:cubicBezTo>
                    <a:pt x="1498" y="412"/>
                    <a:pt x="1483" y="440"/>
                    <a:pt x="1465" y="458"/>
                  </a:cubicBezTo>
                  <a:cubicBezTo>
                    <a:pt x="1446" y="477"/>
                    <a:pt x="1417" y="516"/>
                    <a:pt x="1428" y="541"/>
                  </a:cubicBezTo>
                  <a:cubicBezTo>
                    <a:pt x="1435" y="557"/>
                    <a:pt x="1462" y="584"/>
                    <a:pt x="1519" y="585"/>
                  </a:cubicBezTo>
                  <a:cubicBezTo>
                    <a:pt x="1518" y="603"/>
                    <a:pt x="1517" y="627"/>
                    <a:pt x="1517" y="653"/>
                  </a:cubicBezTo>
                  <a:cubicBezTo>
                    <a:pt x="1517" y="744"/>
                    <a:pt x="1528" y="768"/>
                    <a:pt x="1539" y="780"/>
                  </a:cubicBezTo>
                  <a:cubicBezTo>
                    <a:pt x="1550" y="791"/>
                    <a:pt x="1574" y="804"/>
                    <a:pt x="1661" y="803"/>
                  </a:cubicBezTo>
                  <a:cubicBezTo>
                    <a:pt x="1675" y="803"/>
                    <a:pt x="1705" y="802"/>
                    <a:pt x="1729" y="800"/>
                  </a:cubicBezTo>
                  <a:cubicBezTo>
                    <a:pt x="1729" y="966"/>
                    <a:pt x="1729" y="966"/>
                    <a:pt x="1729" y="966"/>
                  </a:cubicBezTo>
                  <a:cubicBezTo>
                    <a:pt x="1729" y="978"/>
                    <a:pt x="1737" y="988"/>
                    <a:pt x="1749" y="988"/>
                  </a:cubicBezTo>
                  <a:cubicBezTo>
                    <a:pt x="1750" y="988"/>
                    <a:pt x="1759" y="989"/>
                    <a:pt x="1772" y="989"/>
                  </a:cubicBezTo>
                  <a:cubicBezTo>
                    <a:pt x="1818" y="989"/>
                    <a:pt x="1928" y="983"/>
                    <a:pt x="2017" y="929"/>
                  </a:cubicBezTo>
                  <a:cubicBezTo>
                    <a:pt x="2023" y="925"/>
                    <a:pt x="2027" y="918"/>
                    <a:pt x="2027" y="910"/>
                  </a:cubicBezTo>
                  <a:cubicBezTo>
                    <a:pt x="2027" y="850"/>
                    <a:pt x="2027" y="850"/>
                    <a:pt x="2027" y="850"/>
                  </a:cubicBezTo>
                  <a:cubicBezTo>
                    <a:pt x="2011" y="856"/>
                    <a:pt x="1997" y="860"/>
                    <a:pt x="1983" y="863"/>
                  </a:cubicBezTo>
                  <a:close/>
                  <a:moveTo>
                    <a:pt x="940" y="156"/>
                  </a:moveTo>
                  <a:cubicBezTo>
                    <a:pt x="951" y="107"/>
                    <a:pt x="854" y="0"/>
                    <a:pt x="619" y="0"/>
                  </a:cubicBezTo>
                  <a:cubicBezTo>
                    <a:pt x="413" y="0"/>
                    <a:pt x="289" y="111"/>
                    <a:pt x="237" y="218"/>
                  </a:cubicBezTo>
                  <a:cubicBezTo>
                    <a:pt x="0" y="709"/>
                    <a:pt x="519" y="843"/>
                    <a:pt x="537" y="822"/>
                  </a:cubicBezTo>
                  <a:cubicBezTo>
                    <a:pt x="554" y="801"/>
                    <a:pt x="370" y="694"/>
                    <a:pt x="426" y="564"/>
                  </a:cubicBezTo>
                  <a:cubicBezTo>
                    <a:pt x="426" y="564"/>
                    <a:pt x="796" y="417"/>
                    <a:pt x="940" y="156"/>
                  </a:cubicBezTo>
                  <a:close/>
                </a:path>
              </a:pathLst>
            </a:custGeom>
            <a:solidFill>
              <a:srgbClr val="29BA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2" name="bcgIcons_GroupCollaboration">
            <a:extLst>
              <a:ext uri="{FF2B5EF4-FFF2-40B4-BE49-F238E27FC236}">
                <a16:creationId xmlns:a16="http://schemas.microsoft.com/office/drawing/2014/main" id="{F1FCE58C-E99B-4A9D-B08D-17EF6910E484}"/>
              </a:ext>
            </a:extLst>
          </p:cNvPr>
          <p:cNvGrpSpPr>
            <a:grpSpLocks noChangeAspect="1"/>
          </p:cNvGrpSpPr>
          <p:nvPr/>
        </p:nvGrpSpPr>
        <p:grpSpPr bwMode="auto">
          <a:xfrm>
            <a:off x="6989773" y="4222636"/>
            <a:ext cx="799363" cy="800104"/>
            <a:chOff x="1682" y="0"/>
            <a:chExt cx="4316" cy="4320"/>
          </a:xfrm>
        </p:grpSpPr>
        <p:sp>
          <p:nvSpPr>
            <p:cNvPr id="63" name="AutoShape 23">
              <a:extLst>
                <a:ext uri="{FF2B5EF4-FFF2-40B4-BE49-F238E27FC236}">
                  <a16:creationId xmlns:a16="http://schemas.microsoft.com/office/drawing/2014/main" id="{2223E742-6BC3-46DF-8D0B-A65A35FD837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25">
              <a:extLst>
                <a:ext uri="{FF2B5EF4-FFF2-40B4-BE49-F238E27FC236}">
                  <a16:creationId xmlns:a16="http://schemas.microsoft.com/office/drawing/2014/main" id="{6A05DAAB-CE48-4DE4-B1B3-210686AAEDBC}"/>
                </a:ext>
              </a:extLst>
            </p:cNvPr>
            <p:cNvSpPr>
              <a:spLocks noEditPoints="1"/>
            </p:cNvSpPr>
            <p:nvPr/>
          </p:nvSpPr>
          <p:spPr bwMode="auto">
            <a:xfrm>
              <a:off x="2237" y="1031"/>
              <a:ext cx="3210" cy="2892"/>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26">
              <a:extLst>
                <a:ext uri="{FF2B5EF4-FFF2-40B4-BE49-F238E27FC236}">
                  <a16:creationId xmlns:a16="http://schemas.microsoft.com/office/drawing/2014/main" id="{F072E607-07EE-40A8-B1F8-71806F7BE30A}"/>
                </a:ext>
              </a:extLst>
            </p:cNvPr>
            <p:cNvSpPr>
              <a:spLocks noEditPoints="1"/>
            </p:cNvSpPr>
            <p:nvPr/>
          </p:nvSpPr>
          <p:spPr bwMode="auto">
            <a:xfrm>
              <a:off x="2237" y="401"/>
              <a:ext cx="3210" cy="2892"/>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6" name="bcgIcons_Scalable">
            <a:extLst>
              <a:ext uri="{FF2B5EF4-FFF2-40B4-BE49-F238E27FC236}">
                <a16:creationId xmlns:a16="http://schemas.microsoft.com/office/drawing/2014/main" id="{D678D14B-6C3C-4A99-83B6-3866C167103F}"/>
              </a:ext>
            </a:extLst>
          </p:cNvPr>
          <p:cNvGrpSpPr>
            <a:grpSpLocks noChangeAspect="1"/>
          </p:cNvGrpSpPr>
          <p:nvPr/>
        </p:nvGrpSpPr>
        <p:grpSpPr bwMode="auto">
          <a:xfrm>
            <a:off x="4409278" y="4222636"/>
            <a:ext cx="799363" cy="800104"/>
            <a:chOff x="1682" y="0"/>
            <a:chExt cx="4316" cy="4320"/>
          </a:xfrm>
        </p:grpSpPr>
        <p:sp>
          <p:nvSpPr>
            <p:cNvPr id="67" name="AutoShape 18">
              <a:extLst>
                <a:ext uri="{FF2B5EF4-FFF2-40B4-BE49-F238E27FC236}">
                  <a16:creationId xmlns:a16="http://schemas.microsoft.com/office/drawing/2014/main" id="{84474120-6176-41A5-AE3C-BFAC5EC482D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20">
              <a:extLst>
                <a:ext uri="{FF2B5EF4-FFF2-40B4-BE49-F238E27FC236}">
                  <a16:creationId xmlns:a16="http://schemas.microsoft.com/office/drawing/2014/main" id="{C67455F9-C571-4F67-9A09-44F1F70462F5}"/>
                </a:ext>
              </a:extLst>
            </p:cNvPr>
            <p:cNvSpPr>
              <a:spLocks noEditPoints="1"/>
            </p:cNvSpPr>
            <p:nvPr/>
          </p:nvSpPr>
          <p:spPr bwMode="auto">
            <a:xfrm>
              <a:off x="2171" y="493"/>
              <a:ext cx="3316" cy="3338"/>
            </a:xfrm>
            <a:custGeom>
              <a:avLst/>
              <a:gdLst>
                <a:gd name="T0" fmla="*/ 1770 w 1770"/>
                <a:gd name="T1" fmla="*/ 22 h 1780"/>
                <a:gd name="T2" fmla="*/ 1770 w 1770"/>
                <a:gd name="T3" fmla="*/ 1474 h 1780"/>
                <a:gd name="T4" fmla="*/ 1748 w 1770"/>
                <a:gd name="T5" fmla="*/ 1496 h 1780"/>
                <a:gd name="T6" fmla="*/ 740 w 1770"/>
                <a:gd name="T7" fmla="*/ 1496 h 1780"/>
                <a:gd name="T8" fmla="*/ 740 w 1770"/>
                <a:gd name="T9" fmla="*/ 1452 h 1780"/>
                <a:gd name="T10" fmla="*/ 1726 w 1770"/>
                <a:gd name="T11" fmla="*/ 1452 h 1780"/>
                <a:gd name="T12" fmla="*/ 1726 w 1770"/>
                <a:gd name="T13" fmla="*/ 44 h 1780"/>
                <a:gd name="T14" fmla="*/ 317 w 1770"/>
                <a:gd name="T15" fmla="*/ 44 h 1780"/>
                <a:gd name="T16" fmla="*/ 317 w 1770"/>
                <a:gd name="T17" fmla="*/ 1039 h 1780"/>
                <a:gd name="T18" fmla="*/ 273 w 1770"/>
                <a:gd name="T19" fmla="*/ 1039 h 1780"/>
                <a:gd name="T20" fmla="*/ 273 w 1770"/>
                <a:gd name="T21" fmla="*/ 22 h 1780"/>
                <a:gd name="T22" fmla="*/ 295 w 1770"/>
                <a:gd name="T23" fmla="*/ 0 h 1780"/>
                <a:gd name="T24" fmla="*/ 1748 w 1770"/>
                <a:gd name="T25" fmla="*/ 0 h 1780"/>
                <a:gd name="T26" fmla="*/ 1770 w 1770"/>
                <a:gd name="T27" fmla="*/ 22 h 1780"/>
                <a:gd name="T28" fmla="*/ 1393 w 1770"/>
                <a:gd name="T29" fmla="*/ 409 h 1780"/>
                <a:gd name="T30" fmla="*/ 1393 w 1770"/>
                <a:gd name="T31" fmla="*/ 823 h 1780"/>
                <a:gd name="T32" fmla="*/ 1371 w 1770"/>
                <a:gd name="T33" fmla="*/ 845 h 1780"/>
                <a:gd name="T34" fmla="*/ 1349 w 1770"/>
                <a:gd name="T35" fmla="*/ 823 h 1780"/>
                <a:gd name="T36" fmla="*/ 1349 w 1770"/>
                <a:gd name="T37" fmla="*/ 462 h 1780"/>
                <a:gd name="T38" fmla="*/ 696 w 1770"/>
                <a:gd name="T39" fmla="*/ 1114 h 1780"/>
                <a:gd name="T40" fmla="*/ 696 w 1770"/>
                <a:gd name="T41" fmla="*/ 1758 h 1780"/>
                <a:gd name="T42" fmla="*/ 674 w 1770"/>
                <a:gd name="T43" fmla="*/ 1780 h 1780"/>
                <a:gd name="T44" fmla="*/ 22 w 1770"/>
                <a:gd name="T45" fmla="*/ 1780 h 1780"/>
                <a:gd name="T46" fmla="*/ 0 w 1770"/>
                <a:gd name="T47" fmla="*/ 1758 h 1780"/>
                <a:gd name="T48" fmla="*/ 0 w 1770"/>
                <a:gd name="T49" fmla="*/ 1105 h 1780"/>
                <a:gd name="T50" fmla="*/ 22 w 1770"/>
                <a:gd name="T51" fmla="*/ 1083 h 1780"/>
                <a:gd name="T52" fmla="*/ 665 w 1770"/>
                <a:gd name="T53" fmla="*/ 1083 h 1780"/>
                <a:gd name="T54" fmla="*/ 1317 w 1770"/>
                <a:gd name="T55" fmla="*/ 431 h 1780"/>
                <a:gd name="T56" fmla="*/ 956 w 1770"/>
                <a:gd name="T57" fmla="*/ 431 h 1780"/>
                <a:gd name="T58" fmla="*/ 934 w 1770"/>
                <a:gd name="T59" fmla="*/ 409 h 1780"/>
                <a:gd name="T60" fmla="*/ 956 w 1770"/>
                <a:gd name="T61" fmla="*/ 387 h 1780"/>
                <a:gd name="T62" fmla="*/ 1371 w 1770"/>
                <a:gd name="T63" fmla="*/ 387 h 1780"/>
                <a:gd name="T64" fmla="*/ 1375 w 1770"/>
                <a:gd name="T65" fmla="*/ 387 h 1780"/>
                <a:gd name="T66" fmla="*/ 1375 w 1770"/>
                <a:gd name="T67" fmla="*/ 387 h 1780"/>
                <a:gd name="T68" fmla="*/ 1379 w 1770"/>
                <a:gd name="T69" fmla="*/ 388 h 1780"/>
                <a:gd name="T70" fmla="*/ 1379 w 1770"/>
                <a:gd name="T71" fmla="*/ 388 h 1780"/>
                <a:gd name="T72" fmla="*/ 1383 w 1770"/>
                <a:gd name="T73" fmla="*/ 390 h 1780"/>
                <a:gd name="T74" fmla="*/ 1383 w 1770"/>
                <a:gd name="T75" fmla="*/ 390 h 1780"/>
                <a:gd name="T76" fmla="*/ 1389 w 1770"/>
                <a:gd name="T77" fmla="*/ 396 h 1780"/>
                <a:gd name="T78" fmla="*/ 1389 w 1770"/>
                <a:gd name="T79" fmla="*/ 397 h 1780"/>
                <a:gd name="T80" fmla="*/ 1391 w 1770"/>
                <a:gd name="T81" fmla="*/ 400 h 1780"/>
                <a:gd name="T82" fmla="*/ 1391 w 1770"/>
                <a:gd name="T83" fmla="*/ 401 h 1780"/>
                <a:gd name="T84" fmla="*/ 1392 w 1770"/>
                <a:gd name="T85" fmla="*/ 404 h 1780"/>
                <a:gd name="T86" fmla="*/ 1392 w 1770"/>
                <a:gd name="T87" fmla="*/ 405 h 1780"/>
                <a:gd name="T88" fmla="*/ 1393 w 1770"/>
                <a:gd name="T89" fmla="*/ 409 h 1780"/>
                <a:gd name="T90" fmla="*/ 652 w 1770"/>
                <a:gd name="T91" fmla="*/ 1127 h 1780"/>
                <a:gd name="T92" fmla="*/ 44 w 1770"/>
                <a:gd name="T93" fmla="*/ 1127 h 1780"/>
                <a:gd name="T94" fmla="*/ 44 w 1770"/>
                <a:gd name="T95" fmla="*/ 1736 h 1780"/>
                <a:gd name="T96" fmla="*/ 652 w 1770"/>
                <a:gd name="T97" fmla="*/ 1736 h 1780"/>
                <a:gd name="T98" fmla="*/ 652 w 1770"/>
                <a:gd name="T99" fmla="*/ 1127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70" h="1780">
                  <a:moveTo>
                    <a:pt x="1770" y="22"/>
                  </a:moveTo>
                  <a:cubicBezTo>
                    <a:pt x="1770" y="1474"/>
                    <a:pt x="1770" y="1474"/>
                    <a:pt x="1770" y="1474"/>
                  </a:cubicBezTo>
                  <a:cubicBezTo>
                    <a:pt x="1770" y="1486"/>
                    <a:pt x="1760" y="1496"/>
                    <a:pt x="1748" y="1496"/>
                  </a:cubicBezTo>
                  <a:cubicBezTo>
                    <a:pt x="740" y="1496"/>
                    <a:pt x="740" y="1496"/>
                    <a:pt x="740" y="1496"/>
                  </a:cubicBezTo>
                  <a:cubicBezTo>
                    <a:pt x="740" y="1452"/>
                    <a:pt x="740" y="1452"/>
                    <a:pt x="740" y="1452"/>
                  </a:cubicBezTo>
                  <a:cubicBezTo>
                    <a:pt x="1726" y="1452"/>
                    <a:pt x="1726" y="1452"/>
                    <a:pt x="1726" y="1452"/>
                  </a:cubicBezTo>
                  <a:cubicBezTo>
                    <a:pt x="1726" y="44"/>
                    <a:pt x="1726" y="44"/>
                    <a:pt x="1726" y="44"/>
                  </a:cubicBezTo>
                  <a:cubicBezTo>
                    <a:pt x="317" y="44"/>
                    <a:pt x="317" y="44"/>
                    <a:pt x="317" y="44"/>
                  </a:cubicBezTo>
                  <a:cubicBezTo>
                    <a:pt x="317" y="1039"/>
                    <a:pt x="317" y="1039"/>
                    <a:pt x="317" y="1039"/>
                  </a:cubicBezTo>
                  <a:cubicBezTo>
                    <a:pt x="273" y="1039"/>
                    <a:pt x="273" y="1039"/>
                    <a:pt x="273" y="1039"/>
                  </a:cubicBezTo>
                  <a:cubicBezTo>
                    <a:pt x="273" y="22"/>
                    <a:pt x="273" y="22"/>
                    <a:pt x="273" y="22"/>
                  </a:cubicBezTo>
                  <a:cubicBezTo>
                    <a:pt x="273" y="9"/>
                    <a:pt x="283" y="0"/>
                    <a:pt x="295" y="0"/>
                  </a:cubicBezTo>
                  <a:cubicBezTo>
                    <a:pt x="1748" y="0"/>
                    <a:pt x="1748" y="0"/>
                    <a:pt x="1748" y="0"/>
                  </a:cubicBezTo>
                  <a:cubicBezTo>
                    <a:pt x="1760" y="0"/>
                    <a:pt x="1770" y="9"/>
                    <a:pt x="1770" y="22"/>
                  </a:cubicBezTo>
                  <a:close/>
                  <a:moveTo>
                    <a:pt x="1393" y="409"/>
                  </a:moveTo>
                  <a:cubicBezTo>
                    <a:pt x="1393" y="823"/>
                    <a:pt x="1393" y="823"/>
                    <a:pt x="1393" y="823"/>
                  </a:cubicBezTo>
                  <a:cubicBezTo>
                    <a:pt x="1393" y="835"/>
                    <a:pt x="1383" y="845"/>
                    <a:pt x="1371" y="845"/>
                  </a:cubicBezTo>
                  <a:cubicBezTo>
                    <a:pt x="1358" y="845"/>
                    <a:pt x="1349" y="835"/>
                    <a:pt x="1349" y="823"/>
                  </a:cubicBezTo>
                  <a:cubicBezTo>
                    <a:pt x="1349" y="462"/>
                    <a:pt x="1349" y="462"/>
                    <a:pt x="1349" y="462"/>
                  </a:cubicBezTo>
                  <a:cubicBezTo>
                    <a:pt x="696" y="1114"/>
                    <a:pt x="696" y="1114"/>
                    <a:pt x="696" y="1114"/>
                  </a:cubicBezTo>
                  <a:cubicBezTo>
                    <a:pt x="696" y="1758"/>
                    <a:pt x="696" y="1758"/>
                    <a:pt x="696" y="1758"/>
                  </a:cubicBezTo>
                  <a:cubicBezTo>
                    <a:pt x="696" y="1770"/>
                    <a:pt x="686" y="1780"/>
                    <a:pt x="674" y="1780"/>
                  </a:cubicBezTo>
                  <a:cubicBezTo>
                    <a:pt x="22" y="1780"/>
                    <a:pt x="22" y="1780"/>
                    <a:pt x="22" y="1780"/>
                  </a:cubicBezTo>
                  <a:cubicBezTo>
                    <a:pt x="9" y="1780"/>
                    <a:pt x="0" y="1770"/>
                    <a:pt x="0" y="1758"/>
                  </a:cubicBezTo>
                  <a:cubicBezTo>
                    <a:pt x="0" y="1105"/>
                    <a:pt x="0" y="1105"/>
                    <a:pt x="0" y="1105"/>
                  </a:cubicBezTo>
                  <a:cubicBezTo>
                    <a:pt x="0" y="1093"/>
                    <a:pt x="9" y="1083"/>
                    <a:pt x="22" y="1083"/>
                  </a:cubicBezTo>
                  <a:cubicBezTo>
                    <a:pt x="665" y="1083"/>
                    <a:pt x="665" y="1083"/>
                    <a:pt x="665" y="1083"/>
                  </a:cubicBezTo>
                  <a:cubicBezTo>
                    <a:pt x="1317" y="431"/>
                    <a:pt x="1317" y="431"/>
                    <a:pt x="1317" y="431"/>
                  </a:cubicBezTo>
                  <a:cubicBezTo>
                    <a:pt x="956" y="431"/>
                    <a:pt x="956" y="431"/>
                    <a:pt x="956" y="431"/>
                  </a:cubicBezTo>
                  <a:cubicBezTo>
                    <a:pt x="944" y="431"/>
                    <a:pt x="934" y="421"/>
                    <a:pt x="934" y="409"/>
                  </a:cubicBezTo>
                  <a:cubicBezTo>
                    <a:pt x="934" y="396"/>
                    <a:pt x="944" y="387"/>
                    <a:pt x="956" y="387"/>
                  </a:cubicBezTo>
                  <a:cubicBezTo>
                    <a:pt x="1371" y="387"/>
                    <a:pt x="1371" y="387"/>
                    <a:pt x="1371" y="387"/>
                  </a:cubicBezTo>
                  <a:cubicBezTo>
                    <a:pt x="1372" y="387"/>
                    <a:pt x="1373" y="387"/>
                    <a:pt x="1375" y="387"/>
                  </a:cubicBezTo>
                  <a:cubicBezTo>
                    <a:pt x="1375" y="387"/>
                    <a:pt x="1375" y="387"/>
                    <a:pt x="1375" y="387"/>
                  </a:cubicBezTo>
                  <a:cubicBezTo>
                    <a:pt x="1376" y="387"/>
                    <a:pt x="1377" y="388"/>
                    <a:pt x="1379" y="388"/>
                  </a:cubicBezTo>
                  <a:cubicBezTo>
                    <a:pt x="1379" y="388"/>
                    <a:pt x="1379" y="388"/>
                    <a:pt x="1379" y="388"/>
                  </a:cubicBezTo>
                  <a:cubicBezTo>
                    <a:pt x="1380" y="389"/>
                    <a:pt x="1381" y="389"/>
                    <a:pt x="1383" y="390"/>
                  </a:cubicBezTo>
                  <a:cubicBezTo>
                    <a:pt x="1383" y="390"/>
                    <a:pt x="1383" y="390"/>
                    <a:pt x="1383" y="390"/>
                  </a:cubicBezTo>
                  <a:cubicBezTo>
                    <a:pt x="1385" y="392"/>
                    <a:pt x="1387" y="394"/>
                    <a:pt x="1389" y="396"/>
                  </a:cubicBezTo>
                  <a:cubicBezTo>
                    <a:pt x="1389" y="396"/>
                    <a:pt x="1389" y="397"/>
                    <a:pt x="1389" y="397"/>
                  </a:cubicBezTo>
                  <a:cubicBezTo>
                    <a:pt x="1390" y="398"/>
                    <a:pt x="1390" y="399"/>
                    <a:pt x="1391" y="400"/>
                  </a:cubicBezTo>
                  <a:cubicBezTo>
                    <a:pt x="1391" y="400"/>
                    <a:pt x="1391" y="400"/>
                    <a:pt x="1391" y="401"/>
                  </a:cubicBezTo>
                  <a:cubicBezTo>
                    <a:pt x="1392" y="402"/>
                    <a:pt x="1392" y="403"/>
                    <a:pt x="1392" y="404"/>
                  </a:cubicBezTo>
                  <a:cubicBezTo>
                    <a:pt x="1392" y="404"/>
                    <a:pt x="1392" y="404"/>
                    <a:pt x="1392" y="405"/>
                  </a:cubicBezTo>
                  <a:cubicBezTo>
                    <a:pt x="1392" y="406"/>
                    <a:pt x="1393" y="407"/>
                    <a:pt x="1393" y="409"/>
                  </a:cubicBezTo>
                  <a:close/>
                  <a:moveTo>
                    <a:pt x="652" y="1127"/>
                  </a:moveTo>
                  <a:cubicBezTo>
                    <a:pt x="44" y="1127"/>
                    <a:pt x="44" y="1127"/>
                    <a:pt x="44" y="1127"/>
                  </a:cubicBezTo>
                  <a:cubicBezTo>
                    <a:pt x="44" y="1736"/>
                    <a:pt x="44" y="1736"/>
                    <a:pt x="44" y="1736"/>
                  </a:cubicBezTo>
                  <a:cubicBezTo>
                    <a:pt x="652" y="1736"/>
                    <a:pt x="652" y="1736"/>
                    <a:pt x="652" y="1736"/>
                  </a:cubicBezTo>
                  <a:lnTo>
                    <a:pt x="652" y="112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21">
              <a:extLst>
                <a:ext uri="{FF2B5EF4-FFF2-40B4-BE49-F238E27FC236}">
                  <a16:creationId xmlns:a16="http://schemas.microsoft.com/office/drawing/2014/main" id="{DF89A459-790F-4203-97CE-B50459D27040}"/>
                </a:ext>
              </a:extLst>
            </p:cNvPr>
            <p:cNvSpPr>
              <a:spLocks noEditPoints="1"/>
            </p:cNvSpPr>
            <p:nvPr/>
          </p:nvSpPr>
          <p:spPr bwMode="auto">
            <a:xfrm>
              <a:off x="2336" y="656"/>
              <a:ext cx="2986" cy="3010"/>
            </a:xfrm>
            <a:custGeom>
              <a:avLst/>
              <a:gdLst>
                <a:gd name="T0" fmla="*/ 284 w 1594"/>
                <a:gd name="T1" fmla="*/ 0 h 1605"/>
                <a:gd name="T2" fmla="*/ 1584 w 1594"/>
                <a:gd name="T3" fmla="*/ 0 h 1605"/>
                <a:gd name="T4" fmla="*/ 1594 w 1594"/>
                <a:gd name="T5" fmla="*/ 10 h 1605"/>
                <a:gd name="T6" fmla="*/ 1594 w 1594"/>
                <a:gd name="T7" fmla="*/ 1312 h 1605"/>
                <a:gd name="T8" fmla="*/ 1584 w 1594"/>
                <a:gd name="T9" fmla="*/ 1322 h 1605"/>
                <a:gd name="T10" fmla="*/ 652 w 1594"/>
                <a:gd name="T11" fmla="*/ 1322 h 1605"/>
                <a:gd name="T12" fmla="*/ 652 w 1594"/>
                <a:gd name="T13" fmla="*/ 1046 h 1605"/>
                <a:gd name="T14" fmla="*/ 1217 w 1594"/>
                <a:gd name="T15" fmla="*/ 481 h 1605"/>
                <a:gd name="T16" fmla="*/ 1217 w 1594"/>
                <a:gd name="T17" fmla="*/ 736 h 1605"/>
                <a:gd name="T18" fmla="*/ 1281 w 1594"/>
                <a:gd name="T19" fmla="*/ 802 h 1605"/>
                <a:gd name="T20" fmla="*/ 1349 w 1594"/>
                <a:gd name="T21" fmla="*/ 734 h 1605"/>
                <a:gd name="T22" fmla="*/ 1349 w 1594"/>
                <a:gd name="T23" fmla="*/ 296 h 1605"/>
                <a:gd name="T24" fmla="*/ 1309 w 1594"/>
                <a:gd name="T25" fmla="*/ 256 h 1605"/>
                <a:gd name="T26" fmla="*/ 868 w 1594"/>
                <a:gd name="T27" fmla="*/ 256 h 1605"/>
                <a:gd name="T28" fmla="*/ 802 w 1594"/>
                <a:gd name="T29" fmla="*/ 322 h 1605"/>
                <a:gd name="T30" fmla="*/ 802 w 1594"/>
                <a:gd name="T31" fmla="*/ 322 h 1605"/>
                <a:gd name="T32" fmla="*/ 868 w 1594"/>
                <a:gd name="T33" fmla="*/ 388 h 1605"/>
                <a:gd name="T34" fmla="*/ 1123 w 1594"/>
                <a:gd name="T35" fmla="*/ 388 h 1605"/>
                <a:gd name="T36" fmla="*/ 559 w 1594"/>
                <a:gd name="T37" fmla="*/ 952 h 1605"/>
                <a:gd name="T38" fmla="*/ 274 w 1594"/>
                <a:gd name="T39" fmla="*/ 952 h 1605"/>
                <a:gd name="T40" fmla="*/ 274 w 1594"/>
                <a:gd name="T41" fmla="*/ 10 h 1605"/>
                <a:gd name="T42" fmla="*/ 284 w 1594"/>
                <a:gd name="T43" fmla="*/ 0 h 1605"/>
                <a:gd name="T44" fmla="*/ 510 w 1594"/>
                <a:gd name="T45" fmla="*/ 1084 h 1605"/>
                <a:gd name="T46" fmla="*/ 10 w 1594"/>
                <a:gd name="T47" fmla="*/ 1084 h 1605"/>
                <a:gd name="T48" fmla="*/ 0 w 1594"/>
                <a:gd name="T49" fmla="*/ 1094 h 1605"/>
                <a:gd name="T50" fmla="*/ 0 w 1594"/>
                <a:gd name="T51" fmla="*/ 1595 h 1605"/>
                <a:gd name="T52" fmla="*/ 10 w 1594"/>
                <a:gd name="T53" fmla="*/ 1605 h 1605"/>
                <a:gd name="T54" fmla="*/ 510 w 1594"/>
                <a:gd name="T55" fmla="*/ 1605 h 1605"/>
                <a:gd name="T56" fmla="*/ 520 w 1594"/>
                <a:gd name="T57" fmla="*/ 1595 h 1605"/>
                <a:gd name="T58" fmla="*/ 520 w 1594"/>
                <a:gd name="T59" fmla="*/ 1094 h 1605"/>
                <a:gd name="T60" fmla="*/ 510 w 1594"/>
                <a:gd name="T61" fmla="*/ 1084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94" h="1605">
                  <a:moveTo>
                    <a:pt x="284" y="0"/>
                  </a:moveTo>
                  <a:cubicBezTo>
                    <a:pt x="1584" y="0"/>
                    <a:pt x="1584" y="0"/>
                    <a:pt x="1584" y="0"/>
                  </a:cubicBezTo>
                  <a:cubicBezTo>
                    <a:pt x="1589" y="0"/>
                    <a:pt x="1594" y="5"/>
                    <a:pt x="1594" y="10"/>
                  </a:cubicBezTo>
                  <a:cubicBezTo>
                    <a:pt x="1594" y="1312"/>
                    <a:pt x="1594" y="1312"/>
                    <a:pt x="1594" y="1312"/>
                  </a:cubicBezTo>
                  <a:cubicBezTo>
                    <a:pt x="1594" y="1317"/>
                    <a:pt x="1589" y="1322"/>
                    <a:pt x="1584" y="1322"/>
                  </a:cubicBezTo>
                  <a:cubicBezTo>
                    <a:pt x="652" y="1322"/>
                    <a:pt x="652" y="1322"/>
                    <a:pt x="652" y="1322"/>
                  </a:cubicBezTo>
                  <a:cubicBezTo>
                    <a:pt x="652" y="1046"/>
                    <a:pt x="652" y="1046"/>
                    <a:pt x="652" y="1046"/>
                  </a:cubicBezTo>
                  <a:cubicBezTo>
                    <a:pt x="1217" y="481"/>
                    <a:pt x="1217" y="481"/>
                    <a:pt x="1217" y="481"/>
                  </a:cubicBezTo>
                  <a:cubicBezTo>
                    <a:pt x="1217" y="736"/>
                    <a:pt x="1217" y="736"/>
                    <a:pt x="1217" y="736"/>
                  </a:cubicBezTo>
                  <a:cubicBezTo>
                    <a:pt x="1217" y="772"/>
                    <a:pt x="1245" y="801"/>
                    <a:pt x="1281" y="802"/>
                  </a:cubicBezTo>
                  <a:cubicBezTo>
                    <a:pt x="1318" y="802"/>
                    <a:pt x="1349" y="771"/>
                    <a:pt x="1349" y="734"/>
                  </a:cubicBezTo>
                  <a:cubicBezTo>
                    <a:pt x="1349" y="296"/>
                    <a:pt x="1349" y="296"/>
                    <a:pt x="1349" y="296"/>
                  </a:cubicBezTo>
                  <a:cubicBezTo>
                    <a:pt x="1349" y="273"/>
                    <a:pt x="1331" y="256"/>
                    <a:pt x="1309" y="256"/>
                  </a:cubicBezTo>
                  <a:cubicBezTo>
                    <a:pt x="868" y="256"/>
                    <a:pt x="868" y="256"/>
                    <a:pt x="868" y="256"/>
                  </a:cubicBezTo>
                  <a:cubicBezTo>
                    <a:pt x="832" y="256"/>
                    <a:pt x="802" y="285"/>
                    <a:pt x="802" y="322"/>
                  </a:cubicBezTo>
                  <a:cubicBezTo>
                    <a:pt x="802" y="322"/>
                    <a:pt x="802" y="322"/>
                    <a:pt x="802" y="322"/>
                  </a:cubicBezTo>
                  <a:cubicBezTo>
                    <a:pt x="802" y="358"/>
                    <a:pt x="832" y="388"/>
                    <a:pt x="868" y="388"/>
                  </a:cubicBezTo>
                  <a:cubicBezTo>
                    <a:pt x="1123" y="388"/>
                    <a:pt x="1123" y="388"/>
                    <a:pt x="1123" y="388"/>
                  </a:cubicBezTo>
                  <a:cubicBezTo>
                    <a:pt x="559" y="952"/>
                    <a:pt x="559" y="952"/>
                    <a:pt x="559" y="952"/>
                  </a:cubicBezTo>
                  <a:cubicBezTo>
                    <a:pt x="274" y="952"/>
                    <a:pt x="274" y="952"/>
                    <a:pt x="274" y="952"/>
                  </a:cubicBezTo>
                  <a:cubicBezTo>
                    <a:pt x="274" y="10"/>
                    <a:pt x="274" y="10"/>
                    <a:pt x="274" y="10"/>
                  </a:cubicBezTo>
                  <a:cubicBezTo>
                    <a:pt x="274" y="5"/>
                    <a:pt x="278" y="0"/>
                    <a:pt x="284" y="0"/>
                  </a:cubicBezTo>
                  <a:close/>
                  <a:moveTo>
                    <a:pt x="510" y="1084"/>
                  </a:moveTo>
                  <a:cubicBezTo>
                    <a:pt x="10" y="1084"/>
                    <a:pt x="10" y="1084"/>
                    <a:pt x="10" y="1084"/>
                  </a:cubicBezTo>
                  <a:cubicBezTo>
                    <a:pt x="4" y="1084"/>
                    <a:pt x="0" y="1089"/>
                    <a:pt x="0" y="1094"/>
                  </a:cubicBezTo>
                  <a:cubicBezTo>
                    <a:pt x="0" y="1595"/>
                    <a:pt x="0" y="1595"/>
                    <a:pt x="0" y="1595"/>
                  </a:cubicBezTo>
                  <a:cubicBezTo>
                    <a:pt x="0" y="1600"/>
                    <a:pt x="4" y="1605"/>
                    <a:pt x="10" y="1605"/>
                  </a:cubicBezTo>
                  <a:cubicBezTo>
                    <a:pt x="510" y="1605"/>
                    <a:pt x="510" y="1605"/>
                    <a:pt x="510" y="1605"/>
                  </a:cubicBezTo>
                  <a:cubicBezTo>
                    <a:pt x="515" y="1605"/>
                    <a:pt x="520" y="1600"/>
                    <a:pt x="520" y="1595"/>
                  </a:cubicBezTo>
                  <a:cubicBezTo>
                    <a:pt x="520" y="1094"/>
                    <a:pt x="520" y="1094"/>
                    <a:pt x="520" y="1094"/>
                  </a:cubicBezTo>
                  <a:cubicBezTo>
                    <a:pt x="520" y="1089"/>
                    <a:pt x="515" y="1084"/>
                    <a:pt x="510" y="108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14" name="Straight Connector 13"/>
          <p:cNvCxnSpPr/>
          <p:nvPr/>
        </p:nvCxnSpPr>
        <p:spPr>
          <a:xfrm flipH="1">
            <a:off x="7741715" y="2914206"/>
            <a:ext cx="1545824" cy="0"/>
          </a:xfrm>
          <a:prstGeom prst="line">
            <a:avLst/>
          </a:prstGeom>
          <a:ln w="19050" cap="rnd">
            <a:solidFill>
              <a:schemeClr val="tx1"/>
            </a:solidFill>
            <a:prstDash val="solid"/>
            <a:round/>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flipV="1">
            <a:off x="7741715" y="5026732"/>
            <a:ext cx="1545824" cy="7983"/>
          </a:xfrm>
          <a:prstGeom prst="line">
            <a:avLst/>
          </a:prstGeom>
          <a:ln w="19050" cap="rnd">
            <a:solidFill>
              <a:schemeClr val="tx1"/>
            </a:solidFill>
            <a:prstDash val="solid"/>
            <a:round/>
            <a:tailEnd type="ova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flipV="1">
            <a:off x="2899831" y="2907500"/>
            <a:ext cx="1545824" cy="13412"/>
          </a:xfrm>
          <a:prstGeom prst="line">
            <a:avLst/>
          </a:prstGeom>
          <a:ln w="19050" cap="rnd">
            <a:solidFill>
              <a:schemeClr val="tx1"/>
            </a:solidFill>
            <a:prstDash val="solid"/>
            <a:round/>
            <a:headEnd type="oval"/>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H="1" flipV="1">
            <a:off x="2899831" y="5026732"/>
            <a:ext cx="1545824" cy="7983"/>
          </a:xfrm>
          <a:prstGeom prst="line">
            <a:avLst/>
          </a:prstGeom>
          <a:ln w="19050" cap="rnd">
            <a:solidFill>
              <a:schemeClr val="tx1"/>
            </a:solidFill>
            <a:prstDash val="solid"/>
            <a:round/>
            <a:headEnd type="ova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9300239" y="2481078"/>
            <a:ext cx="0" cy="866256"/>
          </a:xfrm>
          <a:prstGeom prst="line">
            <a:avLst/>
          </a:prstGeom>
          <a:ln w="190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9300239" y="4597595"/>
            <a:ext cx="0" cy="866256"/>
          </a:xfrm>
          <a:prstGeom prst="line">
            <a:avLst/>
          </a:prstGeom>
          <a:ln w="190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899831" y="2481078"/>
            <a:ext cx="0" cy="866256"/>
          </a:xfrm>
          <a:prstGeom prst="line">
            <a:avLst/>
          </a:prstGeom>
          <a:ln w="190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899831" y="4597595"/>
            <a:ext cx="0" cy="866256"/>
          </a:xfrm>
          <a:prstGeom prst="line">
            <a:avLst/>
          </a:prstGeom>
          <a:ln w="190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9040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13790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77" name="think-cell Slide" r:id="rId6" imgW="180" imgH="180" progId="TCLayout.ActiveDocument.1">
                  <p:embed/>
                </p:oleObj>
              </mc:Choice>
              <mc:Fallback>
                <p:oleObj name="think-cell Slide" r:id="rId6" imgW="180" imgH="18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bc_v_RT_1_1_1715914_1_1_1_-1_0_[1]"/>
          <p:cNvSpPr>
            <a:spLocks noGrp="1"/>
          </p:cNvSpPr>
          <p:nvPr>
            <p:ph type="title"/>
          </p:nvPr>
        </p:nvSpPr>
        <p:spPr>
          <a:xfrm>
            <a:off x="630000" y="622800"/>
            <a:ext cx="10933200" cy="443198"/>
          </a:xfrm>
          <a:prstGeom prst="rect">
            <a:avLst/>
          </a:prstGeom>
          <a:noFill/>
          <a:extLst>
            <a:ext uri="{909E8E84-426E-40DD-AFC4-6F175D3DCCD1}">
              <a14:hiddenFill xmlns:a14="http://schemas.microsoft.com/office/drawing/2010/main">
                <a:solidFill>
                  <a:srgbClr val="FFFFFF">
                    <a:alpha val="0"/>
                  </a:srgbClr>
                </a:solidFill>
              </a14:hiddenFill>
            </a:ext>
          </a:extLst>
        </p:spPr>
        <p:txBody>
          <a:bodyPr anchor="t" anchorCtr="0">
            <a:spAutoFit/>
          </a:bodyPr>
          <a:lstStyle/>
          <a:p>
            <a:pPr>
              <a:buSzPts val="3400"/>
            </a:pPr>
            <a:r>
              <a:rPr lang="en-US" sz="3200" dirty="0">
                <a:solidFill>
                  <a:schemeClr val="tx2"/>
                </a:solidFill>
                <a:latin typeface="Trebuchet MS" panose="020B0603020202020204" pitchFamily="34" charset="0"/>
              </a:rPr>
              <a:t>"Every" organization is transforming</a:t>
            </a:r>
          </a:p>
        </p:txBody>
      </p:sp>
      <p:graphicFrame>
        <p:nvGraphicFramePr>
          <p:cNvPr id="35" name="ExplanationsTable_1_1_1"/>
          <p:cNvGraphicFramePr>
            <a:graphicFrameLocks noGrp="1"/>
          </p:cNvGraphicFramePr>
          <p:nvPr/>
        </p:nvGraphicFramePr>
        <p:xfrm>
          <a:off x="190500" y="6293628"/>
          <a:ext cx="10058400" cy="1828800"/>
        </p:xfrm>
        <a:graphic>
          <a:graphicData uri="http://schemas.openxmlformats.org/drawingml/2006/table">
            <a:tbl>
              <a:tblPr bandRow="1">
                <a:tableStyleId>{2D5ABB26-0587-4C30-8999-92F81FD0307C}</a:tableStyleId>
              </a:tblPr>
              <a:tblGrid>
                <a:gridCol w="4114800">
                  <a:extLst>
                    <a:ext uri="{9D8B030D-6E8A-4147-A177-3AD203B41FA5}">
                      <a16:colId xmlns:a16="http://schemas.microsoft.com/office/drawing/2014/main" val="20000"/>
                    </a:ext>
                  </a:extLst>
                </a:gridCol>
                <a:gridCol w="5943600">
                  <a:extLst>
                    <a:ext uri="{9D8B030D-6E8A-4147-A177-3AD203B41FA5}">
                      <a16:colId xmlns:a16="http://schemas.microsoft.com/office/drawing/2014/main" val="20001"/>
                    </a:ext>
                  </a:extLst>
                </a:gridCol>
              </a:tblGrid>
              <a:tr h="203200">
                <a:tc>
                  <a:txBody>
                    <a:bodyPr/>
                    <a:lstStyle/>
                    <a:p>
                      <a:pPr algn="l">
                        <a:lnSpc>
                          <a:spcPct val="100000"/>
                        </a:lnSpc>
                        <a:spcBef>
                          <a:spcPct val="0"/>
                        </a:spcBef>
                        <a:spcAft>
                          <a:spcPct val="0"/>
                        </a:spcAft>
                      </a:pPr>
                      <a:r>
                        <a:rPr lang="en-US" sz="2000" b="1" i="0" u="none" baseline="0">
                          <a:solidFill>
                            <a:srgbClr val="F2F2F2"/>
                          </a:solidFill>
                          <a:latin typeface="Arial" panose="020B0604020202020204" pitchFamily="34" charset="0"/>
                        </a:rPr>
                        <a:t>Internet</a:t>
                      </a:r>
                      <a:endParaRPr lang="en-US" sz="2000" b="1" i="0" u="none" baseline="0" dirty="0">
                        <a:solidFill>
                          <a:srgbClr val="F2F2F2"/>
                        </a:solidFill>
                        <a:latin typeface="Arial" panose="020B0604020202020204" pitchFamily="34" charset="0"/>
                      </a:endParaRPr>
                    </a:p>
                  </a:txBody>
                  <a:tcPr marL="0" marR="0" marT="0" marB="0" anchor="ctr"/>
                </a:tc>
                <a:tc>
                  <a:txBody>
                    <a:bodyPr/>
                    <a:lstStyle/>
                    <a:p>
                      <a:pPr algn="l">
                        <a:lnSpc>
                          <a:spcPct val="100000"/>
                        </a:lnSpc>
                        <a:spcBef>
                          <a:spcPct val="0"/>
                        </a:spcBef>
                        <a:spcAft>
                          <a:spcPct val="0"/>
                        </a:spcAft>
                      </a:pPr>
                      <a:r>
                        <a:rPr lang="en-US" sz="2000" b="0" i="0" u="none" baseline="0">
                          <a:solidFill>
                            <a:srgbClr val="F2F2F2"/>
                          </a:solidFill>
                          <a:latin typeface="Arial" panose="020B0604020202020204" pitchFamily="34" charset="0"/>
                        </a:rPr>
                        <a:t>This text box will be used to describe the different message sending methods.</a:t>
                      </a:r>
                    </a:p>
                  </a:txBody>
                  <a:tcPr marL="0" marR="0" marT="0" marB="0" anchor="ctr"/>
                </a:tc>
                <a:extLst>
                  <a:ext uri="{0D108BD9-81ED-4DB2-BD59-A6C34878D82A}">
                    <a16:rowId xmlns:a16="http://schemas.microsoft.com/office/drawing/2014/main" val="10000"/>
                  </a:ext>
                </a:extLst>
              </a:tr>
              <a:tr h="203200">
                <a:tc>
                  <a:txBody>
                    <a:bodyPr/>
                    <a:lstStyle/>
                    <a:p>
                      <a:pPr algn="l">
                        <a:lnSpc>
                          <a:spcPct val="100000"/>
                        </a:lnSpc>
                        <a:spcBef>
                          <a:spcPct val="0"/>
                        </a:spcBef>
                        <a:spcAft>
                          <a:spcPct val="0"/>
                        </a:spcAft>
                      </a:pPr>
                      <a:r>
                        <a:rPr lang="en-US" sz="2000" b="1" i="0" u="none" baseline="0">
                          <a:solidFill>
                            <a:srgbClr val="F2F2F2"/>
                          </a:solidFill>
                          <a:latin typeface="Arial" panose="020B0604020202020204" pitchFamily="34" charset="0"/>
                        </a:rPr>
                        <a:t>TXT</a:t>
                      </a:r>
                      <a:endParaRPr lang="en-US" sz="2000" b="1" i="0" u="none" baseline="0" dirty="0">
                        <a:solidFill>
                          <a:srgbClr val="F2F2F2"/>
                        </a:solidFill>
                        <a:latin typeface="Arial" panose="020B0604020202020204" pitchFamily="34" charset="0"/>
                      </a:endParaRPr>
                    </a:p>
                  </a:txBody>
                  <a:tcPr marL="0" marR="0" marT="0" marB="0" anchor="ctr"/>
                </a:tc>
                <a:tc>
                  <a:txBody>
                    <a:bodyPr/>
                    <a:lstStyle/>
                    <a:p>
                      <a:pPr algn="l">
                        <a:lnSpc>
                          <a:spcPct val="100000"/>
                        </a:lnSpc>
                        <a:spcBef>
                          <a:spcPct val="0"/>
                        </a:spcBef>
                        <a:spcAft>
                          <a:spcPct val="0"/>
                        </a:spcAft>
                      </a:pPr>
                      <a:r>
                        <a:rPr lang="en-US" sz="2000" b="0" i="0" u="none" baseline="0">
                          <a:solidFill>
                            <a:srgbClr val="F2F2F2"/>
                          </a:solidFill>
                          <a:latin typeface="Arial" panose="020B0604020202020204" pitchFamily="34" charset="0"/>
                        </a:rPr>
                        <a:t>The applicable explanations will be inserted after you have started a session.</a:t>
                      </a:r>
                    </a:p>
                  </a:txBody>
                  <a:tcPr marL="0" marR="0" marT="0" marB="0" anchor="ctr"/>
                </a:tc>
                <a:extLst>
                  <a:ext uri="{0D108BD9-81ED-4DB2-BD59-A6C34878D82A}">
                    <a16:rowId xmlns:a16="http://schemas.microsoft.com/office/drawing/2014/main" val="10001"/>
                  </a:ext>
                </a:extLst>
              </a:tr>
              <a:tr h="203200">
                <a:tc>
                  <a:txBody>
                    <a:bodyPr/>
                    <a:lstStyle/>
                    <a:p>
                      <a:pPr algn="l">
                        <a:lnSpc>
                          <a:spcPct val="100000"/>
                        </a:lnSpc>
                        <a:spcBef>
                          <a:spcPct val="0"/>
                        </a:spcBef>
                        <a:spcAft>
                          <a:spcPct val="0"/>
                        </a:spcAft>
                      </a:pPr>
                      <a:r>
                        <a:rPr lang="en-US" sz="2000" b="1" i="0" u="none" baseline="0">
                          <a:solidFill>
                            <a:srgbClr val="F2F2F2"/>
                          </a:solidFill>
                          <a:latin typeface="Arial" panose="020B0604020202020204" pitchFamily="34" charset="0"/>
                        </a:rPr>
                        <a:t>Twitter</a:t>
                      </a:r>
                      <a:endParaRPr lang="en-US" sz="2000" b="1" i="0" u="none" baseline="0" dirty="0">
                        <a:solidFill>
                          <a:srgbClr val="F2F2F2"/>
                        </a:solidFill>
                        <a:latin typeface="Arial" panose="020B0604020202020204" pitchFamily="34" charset="0"/>
                      </a:endParaRPr>
                    </a:p>
                  </a:txBody>
                  <a:tcPr marL="0" marR="0" marT="0" marB="0" anchor="ctr"/>
                </a:tc>
                <a:tc>
                  <a:txBody>
                    <a:bodyPr/>
                    <a:lstStyle/>
                    <a:p>
                      <a:pPr algn="l">
                        <a:lnSpc>
                          <a:spcPct val="100000"/>
                        </a:lnSpc>
                        <a:spcBef>
                          <a:spcPct val="0"/>
                        </a:spcBef>
                        <a:spcAft>
                          <a:spcPct val="0"/>
                        </a:spcAft>
                      </a:pPr>
                      <a:r>
                        <a:rPr lang="en-US" sz="2000" b="0" i="0" u="none" baseline="0">
                          <a:solidFill>
                            <a:srgbClr val="F2F2F2"/>
                          </a:solidFill>
                          <a:latin typeface="Arial" panose="020B0604020202020204" pitchFamily="34" charset="0"/>
                        </a:rPr>
                        <a:t>It is possible to move, resize and modify the appearance of this text box.</a:t>
                      </a:r>
                    </a:p>
                  </a:txBody>
                  <a:tcPr marL="0" marR="0" marT="0" marB="0" anchor="ctr"/>
                </a:tc>
                <a:extLst>
                  <a:ext uri="{0D108BD9-81ED-4DB2-BD59-A6C34878D82A}">
                    <a16:rowId xmlns:a16="http://schemas.microsoft.com/office/drawing/2014/main" val="10002"/>
                  </a:ext>
                </a:extLst>
              </a:tr>
            </a:tbl>
          </a:graphicData>
        </a:graphic>
      </p:graphicFrame>
      <p:grpSp>
        <p:nvGrpSpPr>
          <p:cNvPr id="21" name="rg_group_1"/>
          <p:cNvGrpSpPr/>
          <p:nvPr/>
        </p:nvGrpSpPr>
        <p:grpSpPr>
          <a:xfrm>
            <a:off x="630000" y="2453586"/>
            <a:ext cx="10933350" cy="3457575"/>
            <a:chOff x="630000" y="1825625"/>
            <a:chExt cx="10933350" cy="3457575"/>
          </a:xfrm>
        </p:grpSpPr>
        <p:sp>
          <p:nvSpPr>
            <p:cNvPr id="8" name="rg_background_1"/>
            <p:cNvSpPr txBox="1"/>
            <p:nvPr/>
          </p:nvSpPr>
          <p:spPr>
            <a:xfrm>
              <a:off x="630000" y="1825625"/>
              <a:ext cx="10933350" cy="34575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9" name="rg_axis_1"/>
            <p:cNvSpPr txBox="1"/>
            <p:nvPr/>
          </p:nvSpPr>
          <p:spPr>
            <a:xfrm>
              <a:off x="4274450" y="1863725"/>
              <a:ext cx="12700" cy="3381375"/>
            </a:xfrm>
            <a:prstGeom prst="rect">
              <a:avLst/>
            </a:prstGeom>
            <a:solidFill>
              <a:srgbClr val="000000"/>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0" name="rg_axisTick_0"/>
            <p:cNvSpPr txBox="1"/>
            <p:nvPr/>
          </p:nvSpPr>
          <p:spPr>
            <a:xfrm>
              <a:off x="4210950" y="1863725"/>
              <a:ext cx="63500" cy="12700"/>
            </a:xfrm>
            <a:prstGeom prst="rect">
              <a:avLst/>
            </a:prstGeom>
            <a:solidFill>
              <a:srgbClr val="000000"/>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1" name="rg_axisTick_1"/>
            <p:cNvSpPr txBox="1"/>
            <p:nvPr/>
          </p:nvSpPr>
          <p:spPr>
            <a:xfrm>
              <a:off x="4210950" y="3554413"/>
              <a:ext cx="63500" cy="12700"/>
            </a:xfrm>
            <a:prstGeom prst="rect">
              <a:avLst/>
            </a:prstGeom>
            <a:solidFill>
              <a:srgbClr val="000000"/>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2" name="rg_axisTick_2" hidden="1"/>
            <p:cNvSpPr txBox="1"/>
            <p:nvPr/>
          </p:nvSpPr>
          <p:spPr>
            <a:xfrm>
              <a:off x="4210950" y="5232400"/>
              <a:ext cx="63500" cy="12700"/>
            </a:xfrm>
            <a:prstGeom prst="rect">
              <a:avLst/>
            </a:prstGeom>
            <a:solidFill>
              <a:srgbClr val="000000"/>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3" name="rg_axisBullet_0_1"/>
            <p:cNvSpPr txBox="1"/>
            <p:nvPr/>
          </p:nvSpPr>
          <p:spPr>
            <a:xfrm>
              <a:off x="706200" y="1901825"/>
              <a:ext cx="381000" cy="1614488"/>
            </a:xfrm>
            <a:prstGeom prst="rect">
              <a:avLst/>
            </a:prstGeom>
            <a:noFill/>
            <a:ln w="9525" cap="rnd">
              <a:noFill/>
              <a:prstDash val="solid"/>
              <a:roun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2100">
                  <a:solidFill>
                    <a:srgbClr val="575757"/>
                  </a:solidFill>
                  <a:latin typeface="Trebuchet MS" panose="020B0603020202020204" pitchFamily="34" charset="0"/>
                </a:rPr>
                <a:t>A.</a:t>
              </a:r>
              <a:endParaRPr lang="en-US" sz="2100" dirty="0" err="1">
                <a:solidFill>
                  <a:srgbClr val="575757"/>
                </a:solidFill>
                <a:latin typeface="Trebuchet MS" panose="020B0603020202020204" pitchFamily="34" charset="0"/>
              </a:endParaRPr>
            </a:p>
          </p:txBody>
        </p:sp>
        <p:sp>
          <p:nvSpPr>
            <p:cNvPr id="14" name="rg_axisBullet_1_1"/>
            <p:cNvSpPr txBox="1"/>
            <p:nvPr/>
          </p:nvSpPr>
          <p:spPr>
            <a:xfrm>
              <a:off x="706200" y="3592513"/>
              <a:ext cx="381000" cy="1614488"/>
            </a:xfrm>
            <a:prstGeom prst="rect">
              <a:avLst/>
            </a:prstGeom>
            <a:noFill/>
            <a:ln w="9525" cap="rnd">
              <a:noFill/>
              <a:prstDash val="solid"/>
              <a:roun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2100">
                  <a:solidFill>
                    <a:srgbClr val="575757"/>
                  </a:solidFill>
                  <a:latin typeface="Trebuchet MS" panose="020B0603020202020204" pitchFamily="34" charset="0"/>
                </a:rPr>
                <a:t>B.</a:t>
              </a:r>
              <a:endParaRPr lang="en-US" sz="2100" dirty="0" err="1">
                <a:solidFill>
                  <a:srgbClr val="575757"/>
                </a:solidFill>
                <a:latin typeface="Trebuchet MS" panose="020B0603020202020204" pitchFamily="34" charset="0"/>
              </a:endParaRPr>
            </a:p>
          </p:txBody>
        </p:sp>
        <p:sp>
          <p:nvSpPr>
            <p:cNvPr id="15" name="rg_axisLabel_0_1"/>
            <p:cNvSpPr txBox="1"/>
            <p:nvPr/>
          </p:nvSpPr>
          <p:spPr>
            <a:xfrm>
              <a:off x="1163400" y="1901825"/>
              <a:ext cx="3034850" cy="1614488"/>
            </a:xfrm>
            <a:prstGeom prst="rect">
              <a:avLst/>
            </a:prstGeom>
            <a:noFill/>
            <a:ln w="9525" cap="rnd">
              <a:noFill/>
              <a:prstDash val="solid"/>
              <a:roun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2400">
                  <a:solidFill>
                    <a:srgbClr val="575757"/>
                  </a:solidFill>
                  <a:latin typeface="Trebuchet MS" panose="020B0603020202020204" pitchFamily="34" charset="0"/>
                </a:rPr>
                <a:t>Yes</a:t>
              </a:r>
              <a:endParaRPr lang="en-US" sz="2400" dirty="0" err="1">
                <a:solidFill>
                  <a:srgbClr val="575757"/>
                </a:solidFill>
                <a:latin typeface="Trebuchet MS" panose="020B0603020202020204" pitchFamily="34" charset="0"/>
              </a:endParaRPr>
            </a:p>
          </p:txBody>
        </p:sp>
        <p:sp>
          <p:nvSpPr>
            <p:cNvPr id="16" name="rg_axisLabel_1_1"/>
            <p:cNvSpPr txBox="1"/>
            <p:nvPr/>
          </p:nvSpPr>
          <p:spPr>
            <a:xfrm>
              <a:off x="1163400" y="3592513"/>
              <a:ext cx="3034850" cy="1614488"/>
            </a:xfrm>
            <a:prstGeom prst="rect">
              <a:avLst/>
            </a:prstGeom>
            <a:noFill/>
            <a:ln w="9525" cap="rnd">
              <a:noFill/>
              <a:prstDash val="solid"/>
              <a:roun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2400">
                  <a:solidFill>
                    <a:srgbClr val="575757"/>
                  </a:solidFill>
                  <a:latin typeface="Trebuchet MS" panose="020B0603020202020204" pitchFamily="34" charset="0"/>
                </a:rPr>
                <a:t>No</a:t>
              </a:r>
              <a:endParaRPr lang="en-US" sz="2400" dirty="0" err="1">
                <a:solidFill>
                  <a:srgbClr val="575757"/>
                </a:solidFill>
                <a:latin typeface="Trebuchet MS" panose="020B0603020202020204" pitchFamily="34" charset="0"/>
              </a:endParaRPr>
            </a:p>
          </p:txBody>
        </p:sp>
        <p:sp>
          <p:nvSpPr>
            <p:cNvPr id="17" name="rg_bar_0_1"/>
            <p:cNvSpPr txBox="1"/>
            <p:nvPr/>
          </p:nvSpPr>
          <p:spPr>
            <a:xfrm>
              <a:off x="4287149" y="2518569"/>
              <a:ext cx="5698397" cy="381000"/>
            </a:xfrm>
            <a:prstGeom prst="rect">
              <a:avLst/>
            </a:prstGeom>
            <a:solidFill>
              <a:srgbClr val="2FC77E"/>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8" name="rg_bar_1_1"/>
            <p:cNvSpPr txBox="1"/>
            <p:nvPr/>
          </p:nvSpPr>
          <p:spPr>
            <a:xfrm>
              <a:off x="4287151" y="4209256"/>
              <a:ext cx="422103" cy="381000"/>
            </a:xfrm>
            <a:prstGeom prst="rect">
              <a:avLst/>
            </a:prstGeom>
            <a:solidFill>
              <a:srgbClr val="2FC77E"/>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sp>
          <p:nvSpPr>
            <p:cNvPr id="19" name="rg_barLabel_0_1"/>
            <p:cNvSpPr txBox="1"/>
            <p:nvPr/>
          </p:nvSpPr>
          <p:spPr>
            <a:xfrm>
              <a:off x="10061747" y="2518569"/>
              <a:ext cx="1079500" cy="381000"/>
            </a:xfrm>
            <a:prstGeom prst="rect">
              <a:avLst/>
            </a:prstGeom>
            <a:noFill/>
            <a:ln w="9525" cap="rnd">
              <a:noFill/>
              <a:prstDash val="solid"/>
              <a:roun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2200">
                  <a:solidFill>
                    <a:srgbClr val="575757"/>
                  </a:solidFill>
                  <a:latin typeface="Trebuchet MS" panose="020B0603020202020204" pitchFamily="34" charset="0"/>
                </a:rPr>
                <a:t>93.1%</a:t>
              </a:r>
              <a:endParaRPr lang="en-US" sz="2200" dirty="0" err="1">
                <a:solidFill>
                  <a:srgbClr val="575757"/>
                </a:solidFill>
                <a:latin typeface="Trebuchet MS" panose="020B0603020202020204" pitchFamily="34" charset="0"/>
              </a:endParaRPr>
            </a:p>
          </p:txBody>
        </p:sp>
        <p:sp>
          <p:nvSpPr>
            <p:cNvPr id="20" name="rg_barLabel_1_1"/>
            <p:cNvSpPr txBox="1"/>
            <p:nvPr/>
          </p:nvSpPr>
          <p:spPr>
            <a:xfrm>
              <a:off x="4785453" y="4209256"/>
              <a:ext cx="1079500" cy="381000"/>
            </a:xfrm>
            <a:prstGeom prst="rect">
              <a:avLst/>
            </a:prstGeom>
            <a:noFill/>
            <a:ln w="9525" cap="rnd">
              <a:noFill/>
              <a:prstDash val="solid"/>
              <a:roun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n-US" sz="2200">
                  <a:solidFill>
                    <a:srgbClr val="575757"/>
                  </a:solidFill>
                  <a:latin typeface="Trebuchet MS" panose="020B0603020202020204" pitchFamily="34" charset="0"/>
                </a:rPr>
                <a:t>6.9%</a:t>
              </a:r>
              <a:endParaRPr lang="en-US" sz="2200" dirty="0" err="1">
                <a:solidFill>
                  <a:srgbClr val="575757"/>
                </a:solidFill>
                <a:latin typeface="Trebuchet MS" panose="020B0603020202020204" pitchFamily="34" charset="0"/>
              </a:endParaRPr>
            </a:p>
          </p:txBody>
        </p:sp>
      </p:grpSp>
      <p:sp>
        <p:nvSpPr>
          <p:cNvPr id="22" name="ee4pHeader1"/>
          <p:cNvSpPr txBox="1"/>
          <p:nvPr/>
        </p:nvSpPr>
        <p:spPr>
          <a:xfrm>
            <a:off x="1266940" y="1616400"/>
            <a:ext cx="9874307" cy="658368"/>
          </a:xfrm>
          <a:prstGeom prst="rect">
            <a:avLst/>
          </a:prstGeom>
          <a:noFill/>
          <a:ln cap="rnd">
            <a:noFill/>
          </a:ln>
        </p:spPr>
        <p:txBody>
          <a:bodyPr wrap="square" lIns="0" tIns="0" rIns="0" bIns="0" rtlCol="0" anchor="b" anchorCtr="0">
            <a:noAutofit/>
          </a:bodyPr>
          <a:lstStyle/>
          <a:p>
            <a:pPr marL="0" lvl="3"/>
            <a:r>
              <a:rPr lang="en-US" sz="2800" dirty="0">
                <a:solidFill>
                  <a:srgbClr val="29BA74"/>
                </a:solidFill>
              </a:rPr>
              <a:t>Do you currently have a transformation underway?</a:t>
            </a:r>
            <a:endParaRPr lang="en-US" sz="2800" dirty="0">
              <a:solidFill>
                <a:srgbClr val="575757"/>
              </a:solidFill>
            </a:endParaRPr>
          </a:p>
        </p:txBody>
      </p:sp>
    </p:spTree>
    <p:extLst>
      <p:ext uri="{BB962C8B-B14F-4D97-AF65-F5344CB8AC3E}">
        <p14:creationId xmlns:p14="http://schemas.microsoft.com/office/powerpoint/2010/main" val="2645631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30" name="think-cell Slide" r:id="rId5" imgW="180" imgH="180" progId="TCLayout.ActiveDocument.1">
                  <p:embed/>
                </p:oleObj>
              </mc:Choice>
              <mc:Fallback>
                <p:oleObj name="think-cell Slide" r:id="rId5" imgW="180" imgH="18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D5D5D5"/>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chemeClr val="tx1"/>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396221" y="622800"/>
            <a:ext cx="11353839" cy="886397"/>
          </a:xfrm>
        </p:spPr>
        <p:txBody>
          <a:bodyPr/>
          <a:lstStyle/>
          <a:p>
            <a:r>
              <a:rPr lang="en-US" sz="3200" dirty="0"/>
              <a:t>Defined &amp; clarified target culture and specific behaviors for each culture attribute </a:t>
            </a:r>
          </a:p>
        </p:txBody>
      </p:sp>
      <p:grpSp>
        <p:nvGrpSpPr>
          <p:cNvPr id="4" name="Group 3"/>
          <p:cNvGrpSpPr>
            <a:grpSpLocks/>
          </p:cNvGrpSpPr>
          <p:nvPr/>
        </p:nvGrpSpPr>
        <p:grpSpPr>
          <a:xfrm>
            <a:off x="44027" y="2467152"/>
            <a:ext cx="5920912" cy="2757602"/>
            <a:chOff x="-151290" y="1425973"/>
            <a:chExt cx="11841824" cy="5515204"/>
          </a:xfrm>
        </p:grpSpPr>
        <p:sp>
          <p:nvSpPr>
            <p:cNvPr id="42" name="TextBox 54"/>
            <p:cNvSpPr txBox="1"/>
            <p:nvPr/>
          </p:nvSpPr>
          <p:spPr bwMode="gray">
            <a:xfrm>
              <a:off x="553100" y="2481079"/>
              <a:ext cx="2346732" cy="866254"/>
            </a:xfrm>
            <a:prstGeom prst="rect">
              <a:avLst/>
            </a:prstGeom>
            <a:noFill/>
          </p:spPr>
          <p:txBody>
            <a:bodyPr wrap="square" lIns="63181" tIns="31589" rIns="63181" bIns="31589"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774588" fontAlgn="base">
                <a:defRPr/>
              </a:pPr>
              <a:r>
                <a:rPr lang="en-US" sz="1200" dirty="0">
                  <a:gradFill flip="none" rotWithShape="1">
                    <a:gsLst>
                      <a:gs pos="0">
                        <a:srgbClr val="C8C8C8"/>
                      </a:gs>
                      <a:gs pos="100000">
                        <a:srgbClr val="505050">
                          <a:lumMod val="75000"/>
                        </a:srgbClr>
                      </a:gs>
                    </a:gsLst>
                    <a:lin ang="5400000" scaled="1"/>
                    <a:tileRect/>
                  </a:gradFill>
                  <a:cs typeface="Segoe UI Semibold" panose="020B0702040204020203" pitchFamily="34" charset="0"/>
                </a:rPr>
                <a:t>Customer obsessed</a:t>
              </a:r>
            </a:p>
          </p:txBody>
        </p:sp>
        <p:grpSp>
          <p:nvGrpSpPr>
            <p:cNvPr id="3" name="Group 2"/>
            <p:cNvGrpSpPr/>
            <p:nvPr/>
          </p:nvGrpSpPr>
          <p:grpSpPr>
            <a:xfrm>
              <a:off x="-151290" y="1425973"/>
              <a:ext cx="11841824" cy="5515204"/>
              <a:chOff x="-151290" y="1425973"/>
              <a:chExt cx="11841824" cy="5515204"/>
            </a:xfrm>
          </p:grpSpPr>
          <p:sp>
            <p:nvSpPr>
              <p:cNvPr id="36" name="Oval 35"/>
              <p:cNvSpPr/>
              <p:nvPr/>
            </p:nvSpPr>
            <p:spPr bwMode="auto">
              <a:xfrm>
                <a:off x="3553968" y="1425973"/>
                <a:ext cx="5084064" cy="5086096"/>
              </a:xfrm>
              <a:prstGeom prst="ellipse">
                <a:avLst/>
              </a:prstGeom>
              <a:gradFill flip="none" rotWithShape="1">
                <a:gsLst>
                  <a:gs pos="0">
                    <a:schemeClr val="accent4"/>
                  </a:gs>
                  <a:gs pos="100000">
                    <a:schemeClr val="accent1"/>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lnSpc>
                    <a:spcPct val="95000"/>
                  </a:lnSpc>
                </a:pPr>
                <a:endParaRPr lang="en-US" kern="0" dirty="0">
                  <a:solidFill>
                    <a:schemeClr val="bg1"/>
                  </a:solidFill>
                </a:endParaRPr>
              </a:p>
            </p:txBody>
          </p:sp>
          <p:sp>
            <p:nvSpPr>
              <p:cNvPr id="54" name="Freeform 53"/>
              <p:cNvSpPr/>
              <p:nvPr/>
            </p:nvSpPr>
            <p:spPr bwMode="auto">
              <a:xfrm>
                <a:off x="4041086" y="1914257"/>
                <a:ext cx="4109828" cy="4109531"/>
              </a:xfrm>
              <a:custGeom>
                <a:avLst/>
                <a:gdLst>
                  <a:gd name="connsiteX0" fmla="*/ 2107086 w 4109828"/>
                  <a:gd name="connsiteY0" fmla="*/ 2107270 h 4109531"/>
                  <a:gd name="connsiteX1" fmla="*/ 4109828 w 4109828"/>
                  <a:gd name="connsiteY1" fmla="*/ 2107270 h 4109531"/>
                  <a:gd name="connsiteX2" fmla="*/ 4102969 w 4109828"/>
                  <a:gd name="connsiteY2" fmla="*/ 2252142 h 4109531"/>
                  <a:gd name="connsiteX3" fmla="*/ 2265272 w 4109828"/>
                  <a:gd name="connsiteY3" fmla="*/ 4101543 h 4109531"/>
                  <a:gd name="connsiteX4" fmla="*/ 2107086 w 4109828"/>
                  <a:gd name="connsiteY4" fmla="*/ 4109531 h 4109531"/>
                  <a:gd name="connsiteX5" fmla="*/ 0 w 4109828"/>
                  <a:gd name="connsiteY5" fmla="*/ 2107270 h 4109531"/>
                  <a:gd name="connsiteX6" fmla="*/ 2002742 w 4109828"/>
                  <a:gd name="connsiteY6" fmla="*/ 2107270 h 4109531"/>
                  <a:gd name="connsiteX7" fmla="*/ 2002742 w 4109828"/>
                  <a:gd name="connsiteY7" fmla="*/ 4109531 h 4109531"/>
                  <a:gd name="connsiteX8" fmla="*/ 1844557 w 4109828"/>
                  <a:gd name="connsiteY8" fmla="*/ 4101543 h 4109531"/>
                  <a:gd name="connsiteX9" fmla="*/ 6859 w 4109828"/>
                  <a:gd name="connsiteY9" fmla="*/ 2252142 h 4109531"/>
                  <a:gd name="connsiteX10" fmla="*/ 2107086 w 4109828"/>
                  <a:gd name="connsiteY10" fmla="*/ 0 h 4109531"/>
                  <a:gd name="connsiteX11" fmla="*/ 2265272 w 4109828"/>
                  <a:gd name="connsiteY11" fmla="*/ 7987 h 4109531"/>
                  <a:gd name="connsiteX12" fmla="*/ 4102969 w 4109828"/>
                  <a:gd name="connsiteY12" fmla="*/ 1857388 h 4109531"/>
                  <a:gd name="connsiteX13" fmla="*/ 4109828 w 4109828"/>
                  <a:gd name="connsiteY13" fmla="*/ 2002257 h 4109531"/>
                  <a:gd name="connsiteX14" fmla="*/ 2107086 w 4109828"/>
                  <a:gd name="connsiteY14" fmla="*/ 2002257 h 4109531"/>
                  <a:gd name="connsiteX15" fmla="*/ 2002742 w 4109828"/>
                  <a:gd name="connsiteY15" fmla="*/ 0 h 4109531"/>
                  <a:gd name="connsiteX16" fmla="*/ 2002742 w 4109828"/>
                  <a:gd name="connsiteY16" fmla="*/ 2002257 h 4109531"/>
                  <a:gd name="connsiteX17" fmla="*/ 0 w 4109828"/>
                  <a:gd name="connsiteY17" fmla="*/ 2002257 h 4109531"/>
                  <a:gd name="connsiteX18" fmla="*/ 6859 w 4109828"/>
                  <a:gd name="connsiteY18" fmla="*/ 1857388 h 4109531"/>
                  <a:gd name="connsiteX19" fmla="*/ 1844557 w 4109828"/>
                  <a:gd name="connsiteY19" fmla="*/ 7987 h 4109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09828" h="4109531">
                    <a:moveTo>
                      <a:pt x="2107086" y="2107270"/>
                    </a:moveTo>
                    <a:lnTo>
                      <a:pt x="4109828" y="2107270"/>
                    </a:lnTo>
                    <a:lnTo>
                      <a:pt x="4102969" y="2252142"/>
                    </a:lnTo>
                    <a:cubicBezTo>
                      <a:pt x="4010226" y="3226529"/>
                      <a:pt x="3237887" y="4002769"/>
                      <a:pt x="2265272" y="4101543"/>
                    </a:cubicBezTo>
                    <a:lnTo>
                      <a:pt x="2107086" y="4109531"/>
                    </a:lnTo>
                    <a:close/>
                    <a:moveTo>
                      <a:pt x="0" y="2107270"/>
                    </a:moveTo>
                    <a:lnTo>
                      <a:pt x="2002742" y="2107270"/>
                    </a:lnTo>
                    <a:lnTo>
                      <a:pt x="2002742" y="4109531"/>
                    </a:lnTo>
                    <a:lnTo>
                      <a:pt x="1844557" y="4101543"/>
                    </a:lnTo>
                    <a:cubicBezTo>
                      <a:pt x="871941" y="4002769"/>
                      <a:pt x="99603" y="3226529"/>
                      <a:pt x="6859" y="2252142"/>
                    </a:cubicBezTo>
                    <a:close/>
                    <a:moveTo>
                      <a:pt x="2107086" y="0"/>
                    </a:moveTo>
                    <a:lnTo>
                      <a:pt x="2265272" y="7987"/>
                    </a:lnTo>
                    <a:cubicBezTo>
                      <a:pt x="3237887" y="106762"/>
                      <a:pt x="4010226" y="883002"/>
                      <a:pt x="4102969" y="1857388"/>
                    </a:cubicBezTo>
                    <a:lnTo>
                      <a:pt x="4109828" y="2002257"/>
                    </a:lnTo>
                    <a:lnTo>
                      <a:pt x="2107086" y="2002257"/>
                    </a:lnTo>
                    <a:close/>
                    <a:moveTo>
                      <a:pt x="2002742" y="0"/>
                    </a:moveTo>
                    <a:lnTo>
                      <a:pt x="2002742" y="2002257"/>
                    </a:lnTo>
                    <a:lnTo>
                      <a:pt x="0" y="2002257"/>
                    </a:lnTo>
                    <a:lnTo>
                      <a:pt x="6859" y="1857388"/>
                    </a:lnTo>
                    <a:cubicBezTo>
                      <a:pt x="99603" y="883002"/>
                      <a:pt x="871941" y="106762"/>
                      <a:pt x="1844557" y="7987"/>
                    </a:cubicBezTo>
                    <a:close/>
                  </a:path>
                </a:pathLst>
              </a:custGeom>
              <a:solidFill>
                <a:srgbClr val="FFFFFF">
                  <a:lumMod val="95000"/>
                </a:srgbClr>
              </a:solidFill>
              <a:ln w="9525" cap="flat" cmpd="sng" algn="ctr">
                <a:noFill/>
                <a:prstDash val="solid"/>
                <a:headEnd type="none" w="med" len="med"/>
                <a:tailEnd type="none" w="med" len="med"/>
              </a:ln>
              <a:effectLst/>
            </p:spPr>
            <p:txBody>
              <a:bodyPr rot="0" spcFirstLastPara="0" vert="horz" wrap="square" lIns="89642" tIns="71714" rIns="89642" bIns="7171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774336" fontAlgn="base">
                  <a:lnSpc>
                    <a:spcPct val="90000"/>
                  </a:lnSpc>
                  <a:spcBef>
                    <a:spcPct val="0"/>
                  </a:spcBef>
                  <a:spcAft>
                    <a:spcPct val="0"/>
                  </a:spcAft>
                  <a:defRPr/>
                </a:pPr>
                <a:endParaRPr lang="en-US" sz="20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Oval 39"/>
              <p:cNvSpPr/>
              <p:nvPr/>
            </p:nvSpPr>
            <p:spPr bwMode="auto">
              <a:xfrm>
                <a:off x="5298608" y="3166516"/>
                <a:ext cx="1594784" cy="1605011"/>
              </a:xfrm>
              <a:prstGeom prst="ellipse">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lnSpc>
                    <a:spcPct val="95000"/>
                  </a:lnSpc>
                </a:pPr>
                <a:endParaRPr lang="en-US" kern="0" dirty="0">
                  <a:solidFill>
                    <a:schemeClr val="bg1"/>
                  </a:solidFill>
                </a:endParaRPr>
              </a:p>
            </p:txBody>
          </p:sp>
          <p:sp>
            <p:nvSpPr>
              <p:cNvPr id="41" name="Rectangle 40"/>
              <p:cNvSpPr/>
              <p:nvPr/>
            </p:nvSpPr>
            <p:spPr>
              <a:xfrm>
                <a:off x="5333488" y="3570452"/>
                <a:ext cx="1525024" cy="229292"/>
              </a:xfrm>
              <a:prstGeom prst="rect">
                <a:avLst/>
              </a:prstGeom>
            </p:spPr>
            <p:txBody>
              <a:bodyPr wrap="square" lIns="59436" tIns="29717" rIns="59436" bIns="29717">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74588">
                  <a:defRPr/>
                </a:pPr>
                <a:r>
                  <a:rPr lang="en-US" sz="1100" b="1" dirty="0">
                    <a:gradFill>
                      <a:gsLst>
                        <a:gs pos="0">
                          <a:srgbClr val="FFFFFF"/>
                        </a:gs>
                        <a:gs pos="100000">
                          <a:srgbClr val="FFFFFF"/>
                        </a:gs>
                      </a:gsLst>
                      <a:lin ang="5400000" scaled="1"/>
                    </a:gradFill>
                    <a:cs typeface="Segoe UI Semibold" panose="020B0702040204020203" pitchFamily="34" charset="0"/>
                    <a:sym typeface="Segoe UI"/>
                  </a:rPr>
                  <a:t>Growth Mindset</a:t>
                </a:r>
              </a:p>
            </p:txBody>
          </p:sp>
          <p:sp>
            <p:nvSpPr>
              <p:cNvPr id="43" name="TextBox 55"/>
              <p:cNvSpPr txBox="1"/>
              <p:nvPr/>
            </p:nvSpPr>
            <p:spPr bwMode="gray">
              <a:xfrm>
                <a:off x="9287540" y="2481079"/>
                <a:ext cx="2402994" cy="866254"/>
              </a:xfrm>
              <a:prstGeom prst="rect">
                <a:avLst/>
              </a:prstGeom>
              <a:noFill/>
            </p:spPr>
            <p:txBody>
              <a:bodyPr wrap="square" lIns="63181" tIns="31589" rIns="63181" bIns="31589"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74588" fontAlgn="base">
                  <a:defRPr/>
                </a:pPr>
                <a:r>
                  <a:rPr lang="en-US" sz="1200" dirty="0">
                    <a:gradFill flip="none" rotWithShape="1">
                      <a:gsLst>
                        <a:gs pos="0">
                          <a:srgbClr val="C8C8C8"/>
                        </a:gs>
                        <a:gs pos="100000">
                          <a:srgbClr val="505050">
                            <a:lumMod val="75000"/>
                          </a:srgbClr>
                        </a:gs>
                      </a:gsLst>
                      <a:lin ang="5400000" scaled="1"/>
                      <a:tileRect/>
                    </a:gradFill>
                    <a:cs typeface="Segoe UI Semibold" panose="020B0702040204020203" pitchFamily="34" charset="0"/>
                  </a:rPr>
                  <a:t>One</a:t>
                </a:r>
                <a:br>
                  <a:rPr lang="en-US" sz="1200" dirty="0">
                    <a:gradFill flip="none" rotWithShape="1">
                      <a:gsLst>
                        <a:gs pos="0">
                          <a:srgbClr val="C8C8C8"/>
                        </a:gs>
                        <a:gs pos="100000">
                          <a:srgbClr val="505050">
                            <a:lumMod val="75000"/>
                          </a:srgbClr>
                        </a:gs>
                      </a:gsLst>
                      <a:lin ang="5400000" scaled="1"/>
                      <a:tileRect/>
                    </a:gradFill>
                    <a:cs typeface="Segoe UI Semibold" panose="020B0702040204020203" pitchFamily="34" charset="0"/>
                  </a:rPr>
                </a:br>
                <a:r>
                  <a:rPr lang="en-US" sz="1200" dirty="0">
                    <a:gradFill flip="none" rotWithShape="1">
                      <a:gsLst>
                        <a:gs pos="0">
                          <a:srgbClr val="C8C8C8"/>
                        </a:gs>
                        <a:gs pos="100000">
                          <a:srgbClr val="505050">
                            <a:lumMod val="75000"/>
                          </a:srgbClr>
                        </a:gs>
                      </a:gsLst>
                      <a:lin ang="5400000" scaled="1"/>
                      <a:tileRect/>
                    </a:gradFill>
                    <a:cs typeface="Segoe UI Semibold" panose="020B0702040204020203" pitchFamily="34" charset="0"/>
                  </a:rPr>
                  <a:t>company</a:t>
                </a:r>
              </a:p>
            </p:txBody>
          </p:sp>
          <p:sp>
            <p:nvSpPr>
              <p:cNvPr id="44" name="TextBox 56"/>
              <p:cNvSpPr txBox="1"/>
              <p:nvPr/>
            </p:nvSpPr>
            <p:spPr bwMode="gray">
              <a:xfrm>
                <a:off x="-151290" y="4597595"/>
                <a:ext cx="3051122" cy="2343582"/>
              </a:xfrm>
              <a:prstGeom prst="rect">
                <a:avLst/>
              </a:prstGeom>
              <a:noFill/>
            </p:spPr>
            <p:txBody>
              <a:bodyPr wrap="square" lIns="63181" tIns="31589" rIns="63181" bIns="31589"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774588" fontAlgn="base">
                  <a:defRPr/>
                </a:pPr>
                <a:r>
                  <a:rPr lang="en-US" sz="2400" dirty="0">
                    <a:gradFill flip="none" rotWithShape="1">
                      <a:gsLst>
                        <a:gs pos="0">
                          <a:srgbClr val="29BA74"/>
                        </a:gs>
                        <a:gs pos="100000">
                          <a:srgbClr val="505050">
                            <a:lumMod val="75000"/>
                          </a:srgbClr>
                        </a:gs>
                      </a:gsLst>
                      <a:lin ang="5400000" scaled="1"/>
                      <a:tileRect/>
                    </a:gradFill>
                    <a:cs typeface="Segoe UI Semibold" panose="020B0702040204020203" pitchFamily="34" charset="0"/>
                  </a:rPr>
                  <a:t>Diverse and inclusive</a:t>
                </a:r>
              </a:p>
            </p:txBody>
          </p:sp>
          <p:sp>
            <p:nvSpPr>
              <p:cNvPr id="45" name="TextBox 57"/>
              <p:cNvSpPr txBox="1"/>
              <p:nvPr/>
            </p:nvSpPr>
            <p:spPr bwMode="gray">
              <a:xfrm>
                <a:off x="9287540" y="4597595"/>
                <a:ext cx="2036576" cy="866254"/>
              </a:xfrm>
              <a:prstGeom prst="rect">
                <a:avLst/>
              </a:prstGeom>
              <a:noFill/>
            </p:spPr>
            <p:txBody>
              <a:bodyPr wrap="square" lIns="63181" tIns="31589" rIns="63181" bIns="31589"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74588" fontAlgn="base">
                  <a:defRPr/>
                </a:pPr>
                <a:r>
                  <a:rPr lang="en-US" sz="1200" dirty="0">
                    <a:gradFill flip="none" rotWithShape="1">
                      <a:gsLst>
                        <a:gs pos="0">
                          <a:srgbClr val="C8C8C8"/>
                        </a:gs>
                        <a:gs pos="100000">
                          <a:srgbClr val="505050">
                            <a:lumMod val="75000"/>
                          </a:srgbClr>
                        </a:gs>
                      </a:gsLst>
                      <a:lin ang="5400000" scaled="1"/>
                      <a:tileRect/>
                    </a:gradFill>
                    <a:cs typeface="Segoe UI Semibold" panose="020B0702040204020203" pitchFamily="34" charset="0"/>
                  </a:rPr>
                  <a:t>Making a difference</a:t>
                </a:r>
              </a:p>
            </p:txBody>
          </p:sp>
          <p:sp>
            <p:nvSpPr>
              <p:cNvPr id="9" name="TextBox 65"/>
              <p:cNvSpPr txBox="1"/>
              <p:nvPr/>
            </p:nvSpPr>
            <p:spPr>
              <a:xfrm>
                <a:off x="6119013" y="5040487"/>
                <a:ext cx="725865" cy="299076"/>
              </a:xfrm>
              <a:prstGeom prst="rect">
                <a:avLst/>
              </a:prstGeom>
              <a:noFill/>
            </p:spPr>
            <p:txBody>
              <a:bodyPr wrap="none" lIns="116535" tIns="93228" rIns="116535" bIns="9322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74588" fontAlgn="base">
                  <a:lnSpc>
                    <a:spcPct val="90000"/>
                  </a:lnSpc>
                  <a:spcAft>
                    <a:spcPts val="498"/>
                  </a:spcAft>
                  <a:defRPr/>
                </a:pPr>
                <a:r>
                  <a:rPr lang="en-US" sz="800" dirty="0">
                    <a:gradFill flip="none" rotWithShape="1">
                      <a:gsLst>
                        <a:gs pos="2917">
                          <a:srgbClr val="575757"/>
                        </a:gs>
                        <a:gs pos="30000">
                          <a:srgbClr val="505050">
                            <a:lumMod val="75000"/>
                          </a:srgbClr>
                        </a:gs>
                      </a:gsLst>
                      <a:lin ang="5400000" scaled="0"/>
                      <a:tileRect/>
                    </a:gradFill>
                  </a:rPr>
                  <a:t>Contribute</a:t>
                </a:r>
              </a:p>
            </p:txBody>
          </p:sp>
          <p:sp>
            <p:nvSpPr>
              <p:cNvPr id="11" name="TextBox 75"/>
              <p:cNvSpPr txBox="1"/>
              <p:nvPr/>
            </p:nvSpPr>
            <p:spPr>
              <a:xfrm>
                <a:off x="6078137" y="2302641"/>
                <a:ext cx="769147" cy="299076"/>
              </a:xfrm>
              <a:prstGeom prst="rect">
                <a:avLst/>
              </a:prstGeom>
              <a:noFill/>
            </p:spPr>
            <p:txBody>
              <a:bodyPr wrap="none" lIns="116535" tIns="93228" rIns="116535" bIns="9322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74588" fontAlgn="base">
                  <a:lnSpc>
                    <a:spcPct val="90000"/>
                  </a:lnSpc>
                  <a:spcAft>
                    <a:spcPts val="498"/>
                  </a:spcAft>
                  <a:defRPr/>
                </a:pPr>
                <a:r>
                  <a:rPr lang="en-US" sz="800" dirty="0">
                    <a:gradFill flip="none" rotWithShape="1">
                      <a:gsLst>
                        <a:gs pos="2917">
                          <a:srgbClr val="575757"/>
                        </a:gs>
                        <a:gs pos="30000">
                          <a:srgbClr val="505050">
                            <a:lumMod val="75000"/>
                          </a:srgbClr>
                        </a:gs>
                      </a:gsLst>
                      <a:lin ang="5400000" scaled="0"/>
                      <a:tileRect/>
                    </a:gradFill>
                  </a:rPr>
                  <a:t>Collaborate</a:t>
                </a:r>
              </a:p>
            </p:txBody>
          </p:sp>
          <p:sp>
            <p:nvSpPr>
              <p:cNvPr id="12" name="TextBox 76"/>
              <p:cNvSpPr txBox="1"/>
              <p:nvPr/>
            </p:nvSpPr>
            <p:spPr>
              <a:xfrm>
                <a:off x="5404561" y="5040487"/>
                <a:ext cx="567167" cy="299076"/>
              </a:xfrm>
              <a:prstGeom prst="rect">
                <a:avLst/>
              </a:prstGeom>
              <a:noFill/>
            </p:spPr>
            <p:txBody>
              <a:bodyPr wrap="none" lIns="116535" tIns="93228" rIns="116535" bIns="9322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774588" fontAlgn="base">
                  <a:lnSpc>
                    <a:spcPct val="90000"/>
                  </a:lnSpc>
                  <a:spcAft>
                    <a:spcPts val="498"/>
                  </a:spcAft>
                  <a:defRPr/>
                </a:pPr>
                <a:r>
                  <a:rPr lang="en-US" sz="800" dirty="0">
                    <a:gradFill flip="none" rotWithShape="1">
                      <a:gsLst>
                        <a:gs pos="2917">
                          <a:srgbClr val="575757"/>
                        </a:gs>
                        <a:gs pos="30000">
                          <a:srgbClr val="505050">
                            <a:lumMod val="75000"/>
                          </a:srgbClr>
                        </a:gs>
                      </a:gsLst>
                      <a:lin ang="5400000" scaled="0"/>
                      <a:tileRect/>
                    </a:gradFill>
                  </a:rPr>
                  <a:t>Expand</a:t>
                </a:r>
              </a:p>
            </p:txBody>
          </p:sp>
          <p:sp>
            <p:nvSpPr>
              <p:cNvPr id="13" name="TextBox 77"/>
              <p:cNvSpPr txBox="1"/>
              <p:nvPr/>
            </p:nvSpPr>
            <p:spPr>
              <a:xfrm>
                <a:off x="5408569" y="2302641"/>
                <a:ext cx="509459" cy="299076"/>
              </a:xfrm>
              <a:prstGeom prst="rect">
                <a:avLst/>
              </a:prstGeom>
              <a:noFill/>
            </p:spPr>
            <p:txBody>
              <a:bodyPr wrap="none" lIns="116535" tIns="93228" rIns="116535" bIns="9322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774588" fontAlgn="base">
                  <a:lnSpc>
                    <a:spcPct val="90000"/>
                  </a:lnSpc>
                  <a:spcAft>
                    <a:spcPts val="498"/>
                  </a:spcAft>
                  <a:defRPr/>
                </a:pPr>
                <a:r>
                  <a:rPr lang="en-US" sz="800" dirty="0">
                    <a:gradFill flip="none" rotWithShape="1">
                      <a:gsLst>
                        <a:gs pos="2917">
                          <a:srgbClr val="575757"/>
                        </a:gs>
                        <a:gs pos="30000">
                          <a:srgbClr val="505050">
                            <a:lumMod val="75000"/>
                          </a:srgbClr>
                        </a:gs>
                      </a:gsLst>
                      <a:lin ang="5400000" scaled="0"/>
                      <a:tileRect/>
                    </a:gradFill>
                  </a:rPr>
                  <a:t>Listen</a:t>
                </a:r>
              </a:p>
            </p:txBody>
          </p:sp>
          <p:grpSp>
            <p:nvGrpSpPr>
              <p:cNvPr id="15" name="Group 432"/>
              <p:cNvGrpSpPr/>
              <p:nvPr/>
            </p:nvGrpSpPr>
            <p:grpSpPr>
              <a:xfrm>
                <a:off x="4651163" y="2936525"/>
                <a:ext cx="449712" cy="633927"/>
                <a:chOff x="5722938" y="2801938"/>
                <a:chExt cx="990600" cy="1387475"/>
              </a:xfrm>
            </p:grpSpPr>
            <p:sp>
              <p:nvSpPr>
                <p:cNvPr id="18" name="Freeform 17"/>
                <p:cNvSpPr>
                  <a:spLocks/>
                </p:cNvSpPr>
                <p:nvPr/>
              </p:nvSpPr>
              <p:spPr bwMode="auto">
                <a:xfrm>
                  <a:off x="6034088" y="3013076"/>
                  <a:ext cx="466725" cy="465138"/>
                </a:xfrm>
                <a:custGeom>
                  <a:avLst/>
                  <a:gdLst>
                    <a:gd name="T0" fmla="*/ 97 w 123"/>
                    <a:gd name="T1" fmla="*/ 123 h 123"/>
                    <a:gd name="T2" fmla="*/ 81 w 123"/>
                    <a:gd name="T3" fmla="*/ 107 h 123"/>
                    <a:gd name="T4" fmla="*/ 81 w 123"/>
                    <a:gd name="T5" fmla="*/ 43 h 123"/>
                    <a:gd name="T6" fmla="*/ 16 w 123"/>
                    <a:gd name="T7" fmla="*/ 43 h 123"/>
                    <a:gd name="T8" fmla="*/ 0 w 123"/>
                    <a:gd name="T9" fmla="*/ 27 h 123"/>
                    <a:gd name="T10" fmla="*/ 97 w 123"/>
                    <a:gd name="T11" fmla="*/ 27 h 123"/>
                    <a:gd name="T12" fmla="*/ 97 w 123"/>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123" h="123">
                      <a:moveTo>
                        <a:pt x="97" y="123"/>
                      </a:moveTo>
                      <a:cubicBezTo>
                        <a:pt x="81" y="107"/>
                        <a:pt x="81" y="107"/>
                        <a:pt x="81" y="107"/>
                      </a:cubicBezTo>
                      <a:cubicBezTo>
                        <a:pt x="98" y="89"/>
                        <a:pt x="98" y="60"/>
                        <a:pt x="81" y="43"/>
                      </a:cubicBezTo>
                      <a:cubicBezTo>
                        <a:pt x="63" y="25"/>
                        <a:pt x="34" y="25"/>
                        <a:pt x="16" y="43"/>
                      </a:cubicBezTo>
                      <a:cubicBezTo>
                        <a:pt x="0" y="27"/>
                        <a:pt x="0" y="27"/>
                        <a:pt x="0" y="27"/>
                      </a:cubicBezTo>
                      <a:cubicBezTo>
                        <a:pt x="27" y="0"/>
                        <a:pt x="70" y="0"/>
                        <a:pt x="97" y="27"/>
                      </a:cubicBezTo>
                      <a:cubicBezTo>
                        <a:pt x="123" y="53"/>
                        <a:pt x="123" y="96"/>
                        <a:pt x="97" y="123"/>
                      </a:cubicBezTo>
                      <a:close/>
                    </a:path>
                  </a:pathLst>
                </a:custGeom>
                <a:solidFill>
                  <a:schemeClr val="accent1"/>
                </a:solidFill>
                <a:ln>
                  <a:noFill/>
                </a:ln>
              </p:spPr>
              <p:txBody>
                <a:bodyPr vert="horz" wrap="square" lIns="44821" tIns="22411" rIns="44821" bIns="2241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74588" fontAlgn="base">
                    <a:defRPr/>
                  </a:pPr>
                  <a:endParaRPr lang="en-US" sz="1400" dirty="0">
                    <a:solidFill>
                      <a:srgbClr val="505050"/>
                    </a:solidFill>
                  </a:endParaRPr>
                </a:p>
              </p:txBody>
            </p:sp>
            <p:sp>
              <p:nvSpPr>
                <p:cNvPr id="19" name="Freeform 18"/>
                <p:cNvSpPr>
                  <a:spLocks/>
                </p:cNvSpPr>
                <p:nvPr/>
              </p:nvSpPr>
              <p:spPr bwMode="auto">
                <a:xfrm>
                  <a:off x="5722938" y="2801938"/>
                  <a:ext cx="990600" cy="1387475"/>
                </a:xfrm>
                <a:custGeom>
                  <a:avLst/>
                  <a:gdLst>
                    <a:gd name="T0" fmla="*/ 123 w 261"/>
                    <a:gd name="T1" fmla="*/ 367 h 367"/>
                    <a:gd name="T2" fmla="*/ 55 w 261"/>
                    <a:gd name="T3" fmla="*/ 299 h 367"/>
                    <a:gd name="T4" fmla="*/ 78 w 261"/>
                    <a:gd name="T5" fmla="*/ 299 h 367"/>
                    <a:gd name="T6" fmla="*/ 123 w 261"/>
                    <a:gd name="T7" fmla="*/ 345 h 367"/>
                    <a:gd name="T8" fmla="*/ 169 w 261"/>
                    <a:gd name="T9" fmla="*/ 299 h 367"/>
                    <a:gd name="T10" fmla="*/ 207 w 261"/>
                    <a:gd name="T11" fmla="*/ 207 h 367"/>
                    <a:gd name="T12" fmla="*/ 238 w 261"/>
                    <a:gd name="T13" fmla="*/ 131 h 367"/>
                    <a:gd name="T14" fmla="*/ 131 w 261"/>
                    <a:gd name="T15" fmla="*/ 23 h 367"/>
                    <a:gd name="T16" fmla="*/ 23 w 261"/>
                    <a:gd name="T17" fmla="*/ 131 h 367"/>
                    <a:gd name="T18" fmla="*/ 0 w 261"/>
                    <a:gd name="T19" fmla="*/ 131 h 367"/>
                    <a:gd name="T20" fmla="*/ 131 w 261"/>
                    <a:gd name="T21" fmla="*/ 0 h 367"/>
                    <a:gd name="T22" fmla="*/ 261 w 261"/>
                    <a:gd name="T23" fmla="*/ 131 h 367"/>
                    <a:gd name="T24" fmla="*/ 223 w 261"/>
                    <a:gd name="T25" fmla="*/ 223 h 367"/>
                    <a:gd name="T26" fmla="*/ 191 w 261"/>
                    <a:gd name="T27" fmla="*/ 299 h 367"/>
                    <a:gd name="T28" fmla="*/ 123 w 261"/>
                    <a:gd name="T29" fmla="*/ 36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1" h="367">
                      <a:moveTo>
                        <a:pt x="123" y="367"/>
                      </a:moveTo>
                      <a:cubicBezTo>
                        <a:pt x="86" y="367"/>
                        <a:pt x="55" y="337"/>
                        <a:pt x="55" y="299"/>
                      </a:cubicBezTo>
                      <a:cubicBezTo>
                        <a:pt x="78" y="299"/>
                        <a:pt x="78" y="299"/>
                        <a:pt x="78" y="299"/>
                      </a:cubicBezTo>
                      <a:cubicBezTo>
                        <a:pt x="78" y="324"/>
                        <a:pt x="98" y="345"/>
                        <a:pt x="123" y="345"/>
                      </a:cubicBezTo>
                      <a:cubicBezTo>
                        <a:pt x="148" y="345"/>
                        <a:pt x="169" y="324"/>
                        <a:pt x="169" y="299"/>
                      </a:cubicBezTo>
                      <a:cubicBezTo>
                        <a:pt x="169" y="265"/>
                        <a:pt x="182" y="232"/>
                        <a:pt x="207" y="207"/>
                      </a:cubicBezTo>
                      <a:cubicBezTo>
                        <a:pt x="227" y="187"/>
                        <a:pt x="238" y="160"/>
                        <a:pt x="238" y="131"/>
                      </a:cubicBezTo>
                      <a:cubicBezTo>
                        <a:pt x="238" y="71"/>
                        <a:pt x="190" y="23"/>
                        <a:pt x="131" y="23"/>
                      </a:cubicBezTo>
                      <a:cubicBezTo>
                        <a:pt x="71" y="23"/>
                        <a:pt x="23" y="71"/>
                        <a:pt x="23" y="131"/>
                      </a:cubicBezTo>
                      <a:cubicBezTo>
                        <a:pt x="0" y="131"/>
                        <a:pt x="0" y="131"/>
                        <a:pt x="0" y="131"/>
                      </a:cubicBezTo>
                      <a:cubicBezTo>
                        <a:pt x="0" y="59"/>
                        <a:pt x="59" y="0"/>
                        <a:pt x="131" y="0"/>
                      </a:cubicBezTo>
                      <a:cubicBezTo>
                        <a:pt x="202" y="0"/>
                        <a:pt x="261" y="59"/>
                        <a:pt x="261" y="131"/>
                      </a:cubicBezTo>
                      <a:cubicBezTo>
                        <a:pt x="261" y="166"/>
                        <a:pt x="247" y="199"/>
                        <a:pt x="223" y="223"/>
                      </a:cubicBezTo>
                      <a:cubicBezTo>
                        <a:pt x="202" y="244"/>
                        <a:pt x="191" y="271"/>
                        <a:pt x="191" y="299"/>
                      </a:cubicBezTo>
                      <a:cubicBezTo>
                        <a:pt x="191" y="337"/>
                        <a:pt x="161" y="367"/>
                        <a:pt x="123" y="367"/>
                      </a:cubicBezTo>
                      <a:close/>
                    </a:path>
                  </a:pathLst>
                </a:custGeom>
                <a:solidFill>
                  <a:srgbClr val="29BA74"/>
                </a:solidFill>
                <a:ln>
                  <a:noFill/>
                </a:ln>
              </p:spPr>
              <p:txBody>
                <a:bodyPr vert="horz" wrap="square" lIns="44821" tIns="22411" rIns="44821" bIns="22411"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74588" fontAlgn="base">
                    <a:defRPr/>
                  </a:pPr>
                  <a:endParaRPr lang="en-US" sz="1400" dirty="0">
                    <a:solidFill>
                      <a:srgbClr val="505050"/>
                    </a:solidFill>
                  </a:endParaRPr>
                </a:p>
              </p:txBody>
            </p:sp>
          </p:grpSp>
          <p:sp>
            <p:nvSpPr>
              <p:cNvPr id="59" name="AutoShape 8">
                <a:extLst>
                  <a:ext uri="{FF2B5EF4-FFF2-40B4-BE49-F238E27FC236}">
                    <a16:creationId xmlns:a16="http://schemas.microsoft.com/office/drawing/2014/main" id="{1816D24F-2544-490E-ADDB-08DF26EACAF2}"/>
                  </a:ext>
                </a:extLst>
              </p:cNvPr>
              <p:cNvSpPr>
                <a:spLocks noChangeAspect="1" noChangeArrowheads="1" noTextEdit="1"/>
              </p:cNvSpPr>
              <p:nvPr/>
            </p:nvSpPr>
            <p:spPr bwMode="auto">
              <a:xfrm>
                <a:off x="9396220" y="3226348"/>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dirty="0"/>
              </a:p>
            </p:txBody>
          </p:sp>
          <p:grpSp>
            <p:nvGrpSpPr>
              <p:cNvPr id="6" name="Group 5"/>
              <p:cNvGrpSpPr/>
              <p:nvPr/>
            </p:nvGrpSpPr>
            <p:grpSpPr>
              <a:xfrm>
                <a:off x="6900376" y="2967738"/>
                <a:ext cx="900185" cy="592862"/>
                <a:chOff x="6643563" y="2989046"/>
                <a:chExt cx="1763268" cy="1161288"/>
              </a:xfrm>
            </p:grpSpPr>
            <p:sp>
              <p:nvSpPr>
                <p:cNvPr id="60" name="Freeform 10">
                  <a:extLst>
                    <a:ext uri="{FF2B5EF4-FFF2-40B4-BE49-F238E27FC236}">
                      <a16:creationId xmlns:a16="http://schemas.microsoft.com/office/drawing/2014/main" id="{BAE07190-5EC4-430A-B5CB-4404B5DC3C68}"/>
                    </a:ext>
                  </a:extLst>
                </p:cNvPr>
                <p:cNvSpPr>
                  <a:spLocks noEditPoints="1"/>
                </p:cNvSpPr>
                <p:nvPr/>
              </p:nvSpPr>
              <p:spPr bwMode="auto">
                <a:xfrm>
                  <a:off x="6959412" y="2989046"/>
                  <a:ext cx="1447419" cy="939927"/>
                </a:xfrm>
                <a:custGeom>
                  <a:avLst/>
                  <a:gdLst>
                    <a:gd name="T0" fmla="*/ 1302 w 2028"/>
                    <a:gd name="T1" fmla="*/ 197 h 1316"/>
                    <a:gd name="T2" fmla="*/ 1300 w 2028"/>
                    <a:gd name="T3" fmla="*/ 201 h 1316"/>
                    <a:gd name="T4" fmla="*/ 1300 w 2028"/>
                    <a:gd name="T5" fmla="*/ 201 h 1316"/>
                    <a:gd name="T6" fmla="*/ 1297 w 2028"/>
                    <a:gd name="T7" fmla="*/ 204 h 1316"/>
                    <a:gd name="T8" fmla="*/ 1294 w 2028"/>
                    <a:gd name="T9" fmla="*/ 207 h 1316"/>
                    <a:gd name="T10" fmla="*/ 1290 w 2028"/>
                    <a:gd name="T11" fmla="*/ 209 h 1316"/>
                    <a:gd name="T12" fmla="*/ 1285 w 2028"/>
                    <a:gd name="T13" fmla="*/ 209 h 1316"/>
                    <a:gd name="T14" fmla="*/ 1189 w 2028"/>
                    <a:gd name="T15" fmla="*/ 213 h 1316"/>
                    <a:gd name="T16" fmla="*/ 1166 w 2028"/>
                    <a:gd name="T17" fmla="*/ 192 h 1316"/>
                    <a:gd name="T18" fmla="*/ 1218 w 2028"/>
                    <a:gd name="T19" fmla="*/ 168 h 1316"/>
                    <a:gd name="T20" fmla="*/ 329 w 2028"/>
                    <a:gd name="T21" fmla="*/ 205 h 1316"/>
                    <a:gd name="T22" fmla="*/ 298 w 2028"/>
                    <a:gd name="T23" fmla="*/ 201 h 1316"/>
                    <a:gd name="T24" fmla="*/ 799 w 2028"/>
                    <a:gd name="T25" fmla="*/ 0 h 1316"/>
                    <a:gd name="T26" fmla="*/ 1232 w 2028"/>
                    <a:gd name="T27" fmla="*/ 104 h 1316"/>
                    <a:gd name="T28" fmla="*/ 1273 w 2028"/>
                    <a:gd name="T29" fmla="*/ 90 h 1316"/>
                    <a:gd name="T30" fmla="*/ 1304 w 2028"/>
                    <a:gd name="T31" fmla="*/ 181 h 1316"/>
                    <a:gd name="T32" fmla="*/ 1305 w 2028"/>
                    <a:gd name="T33" fmla="*/ 184 h 1316"/>
                    <a:gd name="T34" fmla="*/ 1305 w 2028"/>
                    <a:gd name="T35" fmla="*/ 189 h 1316"/>
                    <a:gd name="T36" fmla="*/ 1304 w 2028"/>
                    <a:gd name="T37" fmla="*/ 193 h 1316"/>
                    <a:gd name="T38" fmla="*/ 1303 w 2028"/>
                    <a:gd name="T39" fmla="*/ 197 h 1316"/>
                    <a:gd name="T40" fmla="*/ 1602 w 2028"/>
                    <a:gd name="T41" fmla="*/ 891 h 1316"/>
                    <a:gd name="T42" fmla="*/ 1791 w 2028"/>
                    <a:gd name="T43" fmla="*/ 545 h 1316"/>
                    <a:gd name="T44" fmla="*/ 1087 w 2028"/>
                    <a:gd name="T45" fmla="*/ 483 h 1316"/>
                    <a:gd name="T46" fmla="*/ 521 w 2028"/>
                    <a:gd name="T47" fmla="*/ 719 h 1316"/>
                    <a:gd name="T48" fmla="*/ 515 w 2028"/>
                    <a:gd name="T49" fmla="*/ 619 h 1316"/>
                    <a:gd name="T50" fmla="*/ 469 w 2028"/>
                    <a:gd name="T51" fmla="*/ 602 h 1316"/>
                    <a:gd name="T52" fmla="*/ 473 w 2028"/>
                    <a:gd name="T53" fmla="*/ 659 h 1316"/>
                    <a:gd name="T54" fmla="*/ 532 w 2028"/>
                    <a:gd name="T55" fmla="*/ 817 h 1316"/>
                    <a:gd name="T56" fmla="*/ 488 w 2028"/>
                    <a:gd name="T57" fmla="*/ 867 h 1316"/>
                    <a:gd name="T58" fmla="*/ 464 w 2028"/>
                    <a:gd name="T59" fmla="*/ 891 h 1316"/>
                    <a:gd name="T60" fmla="*/ 369 w 2028"/>
                    <a:gd name="T61" fmla="*/ 1086 h 1316"/>
                    <a:gd name="T62" fmla="*/ 265 w 2028"/>
                    <a:gd name="T63" fmla="*/ 1084 h 1316"/>
                    <a:gd name="T64" fmla="*/ 255 w 2028"/>
                    <a:gd name="T65" fmla="*/ 1272 h 1316"/>
                    <a:gd name="T66" fmla="*/ 44 w 2028"/>
                    <a:gd name="T67" fmla="*/ 1190 h 1316"/>
                    <a:gd name="T68" fmla="*/ 0 w 2028"/>
                    <a:gd name="T69" fmla="*/ 1237 h 1316"/>
                    <a:gd name="T70" fmla="*/ 256 w 2028"/>
                    <a:gd name="T71" fmla="*/ 1316 h 1316"/>
                    <a:gd name="T72" fmla="*/ 299 w 2028"/>
                    <a:gd name="T73" fmla="*/ 1293 h 1316"/>
                    <a:gd name="T74" fmla="*/ 367 w 2028"/>
                    <a:gd name="T75" fmla="*/ 1130 h 1316"/>
                    <a:gd name="T76" fmla="*/ 511 w 2028"/>
                    <a:gd name="T77" fmla="*/ 980 h 1316"/>
                    <a:gd name="T78" fmla="*/ 600 w 2028"/>
                    <a:gd name="T79" fmla="*/ 868 h 1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28" h="1316">
                      <a:moveTo>
                        <a:pt x="1303" y="197"/>
                      </a:moveTo>
                      <a:cubicBezTo>
                        <a:pt x="1303" y="197"/>
                        <a:pt x="1303" y="197"/>
                        <a:pt x="1302" y="197"/>
                      </a:cubicBezTo>
                      <a:cubicBezTo>
                        <a:pt x="1302" y="198"/>
                        <a:pt x="1302" y="199"/>
                        <a:pt x="1301" y="200"/>
                      </a:cubicBezTo>
                      <a:cubicBezTo>
                        <a:pt x="1301" y="200"/>
                        <a:pt x="1301" y="201"/>
                        <a:pt x="1300" y="201"/>
                      </a:cubicBezTo>
                      <a:cubicBezTo>
                        <a:pt x="1300" y="201"/>
                        <a:pt x="1300" y="201"/>
                        <a:pt x="1300" y="201"/>
                      </a:cubicBezTo>
                      <a:cubicBezTo>
                        <a:pt x="1300" y="201"/>
                        <a:pt x="1300" y="201"/>
                        <a:pt x="1300" y="201"/>
                      </a:cubicBezTo>
                      <a:cubicBezTo>
                        <a:pt x="1299" y="202"/>
                        <a:pt x="1298" y="203"/>
                        <a:pt x="1297" y="204"/>
                      </a:cubicBezTo>
                      <a:cubicBezTo>
                        <a:pt x="1297" y="204"/>
                        <a:pt x="1297" y="204"/>
                        <a:pt x="1297" y="204"/>
                      </a:cubicBezTo>
                      <a:cubicBezTo>
                        <a:pt x="1296" y="205"/>
                        <a:pt x="1295" y="206"/>
                        <a:pt x="1294" y="207"/>
                      </a:cubicBezTo>
                      <a:cubicBezTo>
                        <a:pt x="1294" y="207"/>
                        <a:pt x="1294" y="207"/>
                        <a:pt x="1294" y="207"/>
                      </a:cubicBezTo>
                      <a:cubicBezTo>
                        <a:pt x="1292" y="207"/>
                        <a:pt x="1291" y="208"/>
                        <a:pt x="1290" y="208"/>
                      </a:cubicBezTo>
                      <a:cubicBezTo>
                        <a:pt x="1290" y="208"/>
                        <a:pt x="1290" y="209"/>
                        <a:pt x="1290" y="209"/>
                      </a:cubicBezTo>
                      <a:cubicBezTo>
                        <a:pt x="1288" y="209"/>
                        <a:pt x="1287" y="209"/>
                        <a:pt x="1286" y="209"/>
                      </a:cubicBezTo>
                      <a:cubicBezTo>
                        <a:pt x="1286" y="209"/>
                        <a:pt x="1286" y="209"/>
                        <a:pt x="1285" y="209"/>
                      </a:cubicBezTo>
                      <a:cubicBezTo>
                        <a:pt x="1285" y="210"/>
                        <a:pt x="1284" y="210"/>
                        <a:pt x="1284" y="210"/>
                      </a:cubicBezTo>
                      <a:cubicBezTo>
                        <a:pt x="1189" y="213"/>
                        <a:pt x="1189" y="213"/>
                        <a:pt x="1189" y="213"/>
                      </a:cubicBezTo>
                      <a:cubicBezTo>
                        <a:pt x="1188" y="213"/>
                        <a:pt x="1188" y="213"/>
                        <a:pt x="1188" y="213"/>
                      </a:cubicBezTo>
                      <a:cubicBezTo>
                        <a:pt x="1176" y="213"/>
                        <a:pt x="1166" y="204"/>
                        <a:pt x="1166" y="192"/>
                      </a:cubicBezTo>
                      <a:cubicBezTo>
                        <a:pt x="1165" y="180"/>
                        <a:pt x="1175" y="170"/>
                        <a:pt x="1187" y="169"/>
                      </a:cubicBezTo>
                      <a:cubicBezTo>
                        <a:pt x="1218" y="168"/>
                        <a:pt x="1218" y="168"/>
                        <a:pt x="1218" y="168"/>
                      </a:cubicBezTo>
                      <a:cubicBezTo>
                        <a:pt x="1093" y="87"/>
                        <a:pt x="950" y="44"/>
                        <a:pt x="799" y="44"/>
                      </a:cubicBezTo>
                      <a:cubicBezTo>
                        <a:pt x="627" y="44"/>
                        <a:pt x="464" y="100"/>
                        <a:pt x="329" y="205"/>
                      </a:cubicBezTo>
                      <a:cubicBezTo>
                        <a:pt x="325" y="208"/>
                        <a:pt x="320" y="210"/>
                        <a:pt x="315" y="210"/>
                      </a:cubicBezTo>
                      <a:cubicBezTo>
                        <a:pt x="309" y="210"/>
                        <a:pt x="302" y="207"/>
                        <a:pt x="298" y="201"/>
                      </a:cubicBezTo>
                      <a:cubicBezTo>
                        <a:pt x="290" y="192"/>
                        <a:pt x="292" y="178"/>
                        <a:pt x="302" y="170"/>
                      </a:cubicBezTo>
                      <a:cubicBezTo>
                        <a:pt x="445" y="59"/>
                        <a:pt x="617" y="0"/>
                        <a:pt x="799" y="0"/>
                      </a:cubicBezTo>
                      <a:cubicBezTo>
                        <a:pt x="958" y="0"/>
                        <a:pt x="1109" y="45"/>
                        <a:pt x="1240" y="130"/>
                      </a:cubicBezTo>
                      <a:cubicBezTo>
                        <a:pt x="1232" y="104"/>
                        <a:pt x="1232" y="104"/>
                        <a:pt x="1232" y="104"/>
                      </a:cubicBezTo>
                      <a:cubicBezTo>
                        <a:pt x="1228" y="93"/>
                        <a:pt x="1234" y="80"/>
                        <a:pt x="1245" y="77"/>
                      </a:cubicBezTo>
                      <a:cubicBezTo>
                        <a:pt x="1257" y="73"/>
                        <a:pt x="1269" y="79"/>
                        <a:pt x="1273" y="90"/>
                      </a:cubicBezTo>
                      <a:cubicBezTo>
                        <a:pt x="1304" y="181"/>
                        <a:pt x="1304" y="181"/>
                        <a:pt x="1304" y="181"/>
                      </a:cubicBezTo>
                      <a:cubicBezTo>
                        <a:pt x="1304" y="181"/>
                        <a:pt x="1304" y="181"/>
                        <a:pt x="1304" y="181"/>
                      </a:cubicBezTo>
                      <a:cubicBezTo>
                        <a:pt x="1304" y="181"/>
                        <a:pt x="1304" y="181"/>
                        <a:pt x="1304" y="181"/>
                      </a:cubicBezTo>
                      <a:cubicBezTo>
                        <a:pt x="1304" y="182"/>
                        <a:pt x="1304" y="183"/>
                        <a:pt x="1305" y="184"/>
                      </a:cubicBezTo>
                      <a:cubicBezTo>
                        <a:pt x="1305" y="185"/>
                        <a:pt x="1305" y="185"/>
                        <a:pt x="1305" y="185"/>
                      </a:cubicBezTo>
                      <a:cubicBezTo>
                        <a:pt x="1305" y="186"/>
                        <a:pt x="1305" y="188"/>
                        <a:pt x="1305" y="189"/>
                      </a:cubicBezTo>
                      <a:cubicBezTo>
                        <a:pt x="1305" y="189"/>
                        <a:pt x="1305" y="189"/>
                        <a:pt x="1305" y="189"/>
                      </a:cubicBezTo>
                      <a:cubicBezTo>
                        <a:pt x="1305" y="191"/>
                        <a:pt x="1304" y="192"/>
                        <a:pt x="1304" y="193"/>
                      </a:cubicBezTo>
                      <a:cubicBezTo>
                        <a:pt x="1304" y="193"/>
                        <a:pt x="1304" y="193"/>
                        <a:pt x="1304" y="193"/>
                      </a:cubicBezTo>
                      <a:cubicBezTo>
                        <a:pt x="1304" y="195"/>
                        <a:pt x="1303" y="196"/>
                        <a:pt x="1303" y="197"/>
                      </a:cubicBezTo>
                      <a:close/>
                      <a:moveTo>
                        <a:pt x="1087" y="483"/>
                      </a:moveTo>
                      <a:cubicBezTo>
                        <a:pt x="1232" y="744"/>
                        <a:pt x="1602" y="891"/>
                        <a:pt x="1602" y="891"/>
                      </a:cubicBezTo>
                      <a:cubicBezTo>
                        <a:pt x="1658" y="1021"/>
                        <a:pt x="1473" y="1128"/>
                        <a:pt x="1491" y="1149"/>
                      </a:cubicBezTo>
                      <a:cubicBezTo>
                        <a:pt x="1509" y="1170"/>
                        <a:pt x="2028" y="1036"/>
                        <a:pt x="1791" y="545"/>
                      </a:cubicBezTo>
                      <a:cubicBezTo>
                        <a:pt x="1739" y="438"/>
                        <a:pt x="1615" y="327"/>
                        <a:pt x="1409" y="327"/>
                      </a:cubicBezTo>
                      <a:cubicBezTo>
                        <a:pt x="1174" y="327"/>
                        <a:pt x="1077" y="434"/>
                        <a:pt x="1087" y="483"/>
                      </a:cubicBezTo>
                      <a:close/>
                      <a:moveTo>
                        <a:pt x="563" y="785"/>
                      </a:moveTo>
                      <a:cubicBezTo>
                        <a:pt x="545" y="767"/>
                        <a:pt x="529" y="739"/>
                        <a:pt x="521" y="719"/>
                      </a:cubicBezTo>
                      <a:cubicBezTo>
                        <a:pt x="518" y="711"/>
                        <a:pt x="517" y="678"/>
                        <a:pt x="517" y="658"/>
                      </a:cubicBezTo>
                      <a:cubicBezTo>
                        <a:pt x="516" y="643"/>
                        <a:pt x="516" y="629"/>
                        <a:pt x="515" y="619"/>
                      </a:cubicBezTo>
                      <a:cubicBezTo>
                        <a:pt x="514" y="601"/>
                        <a:pt x="509" y="575"/>
                        <a:pt x="504" y="555"/>
                      </a:cubicBezTo>
                      <a:cubicBezTo>
                        <a:pt x="493" y="571"/>
                        <a:pt x="481" y="587"/>
                        <a:pt x="469" y="602"/>
                      </a:cubicBezTo>
                      <a:cubicBezTo>
                        <a:pt x="470" y="610"/>
                        <a:pt x="471" y="617"/>
                        <a:pt x="471" y="622"/>
                      </a:cubicBezTo>
                      <a:cubicBezTo>
                        <a:pt x="472" y="632"/>
                        <a:pt x="472" y="645"/>
                        <a:pt x="473" y="659"/>
                      </a:cubicBezTo>
                      <a:cubicBezTo>
                        <a:pt x="474" y="697"/>
                        <a:pt x="475" y="721"/>
                        <a:pt x="480" y="735"/>
                      </a:cubicBezTo>
                      <a:cubicBezTo>
                        <a:pt x="485" y="747"/>
                        <a:pt x="503" y="788"/>
                        <a:pt x="532" y="817"/>
                      </a:cubicBezTo>
                      <a:cubicBezTo>
                        <a:pt x="546" y="831"/>
                        <a:pt x="555" y="845"/>
                        <a:pt x="557" y="853"/>
                      </a:cubicBezTo>
                      <a:cubicBezTo>
                        <a:pt x="550" y="860"/>
                        <a:pt x="529" y="872"/>
                        <a:pt x="488" y="867"/>
                      </a:cubicBezTo>
                      <a:cubicBezTo>
                        <a:pt x="481" y="867"/>
                        <a:pt x="475" y="869"/>
                        <a:pt x="470" y="873"/>
                      </a:cubicBezTo>
                      <a:cubicBezTo>
                        <a:pt x="465" y="878"/>
                        <a:pt x="463" y="884"/>
                        <a:pt x="464" y="891"/>
                      </a:cubicBezTo>
                      <a:cubicBezTo>
                        <a:pt x="470" y="977"/>
                        <a:pt x="467" y="1061"/>
                        <a:pt x="457" y="1076"/>
                      </a:cubicBezTo>
                      <a:cubicBezTo>
                        <a:pt x="455" y="1078"/>
                        <a:pt x="438" y="1086"/>
                        <a:pt x="369" y="1086"/>
                      </a:cubicBezTo>
                      <a:cubicBezTo>
                        <a:pt x="327" y="1086"/>
                        <a:pt x="289" y="1082"/>
                        <a:pt x="283" y="1081"/>
                      </a:cubicBezTo>
                      <a:cubicBezTo>
                        <a:pt x="277" y="1080"/>
                        <a:pt x="270" y="1081"/>
                        <a:pt x="265" y="1084"/>
                      </a:cubicBezTo>
                      <a:cubicBezTo>
                        <a:pt x="259" y="1088"/>
                        <a:pt x="255" y="1095"/>
                        <a:pt x="255" y="1102"/>
                      </a:cubicBezTo>
                      <a:cubicBezTo>
                        <a:pt x="255" y="1272"/>
                        <a:pt x="255" y="1272"/>
                        <a:pt x="255" y="1272"/>
                      </a:cubicBezTo>
                      <a:cubicBezTo>
                        <a:pt x="215" y="1272"/>
                        <a:pt x="121" y="1266"/>
                        <a:pt x="44" y="1224"/>
                      </a:cubicBezTo>
                      <a:cubicBezTo>
                        <a:pt x="44" y="1190"/>
                        <a:pt x="44" y="1190"/>
                        <a:pt x="44" y="1190"/>
                      </a:cubicBezTo>
                      <a:cubicBezTo>
                        <a:pt x="31" y="1187"/>
                        <a:pt x="16" y="1183"/>
                        <a:pt x="0" y="1177"/>
                      </a:cubicBezTo>
                      <a:cubicBezTo>
                        <a:pt x="0" y="1237"/>
                        <a:pt x="0" y="1237"/>
                        <a:pt x="0" y="1237"/>
                      </a:cubicBezTo>
                      <a:cubicBezTo>
                        <a:pt x="0" y="1245"/>
                        <a:pt x="5" y="1252"/>
                        <a:pt x="11" y="1256"/>
                      </a:cubicBezTo>
                      <a:cubicBezTo>
                        <a:pt x="100" y="1310"/>
                        <a:pt x="210" y="1316"/>
                        <a:pt x="256" y="1316"/>
                      </a:cubicBezTo>
                      <a:cubicBezTo>
                        <a:pt x="269" y="1316"/>
                        <a:pt x="277" y="1315"/>
                        <a:pt x="279" y="1315"/>
                      </a:cubicBezTo>
                      <a:cubicBezTo>
                        <a:pt x="290" y="1315"/>
                        <a:pt x="299" y="1305"/>
                        <a:pt x="299" y="1293"/>
                      </a:cubicBezTo>
                      <a:cubicBezTo>
                        <a:pt x="299" y="1127"/>
                        <a:pt x="299" y="1127"/>
                        <a:pt x="299" y="1127"/>
                      </a:cubicBezTo>
                      <a:cubicBezTo>
                        <a:pt x="323" y="1129"/>
                        <a:pt x="353" y="1130"/>
                        <a:pt x="367" y="1130"/>
                      </a:cubicBezTo>
                      <a:cubicBezTo>
                        <a:pt x="454" y="1131"/>
                        <a:pt x="478" y="1118"/>
                        <a:pt x="488" y="1107"/>
                      </a:cubicBezTo>
                      <a:cubicBezTo>
                        <a:pt x="500" y="1095"/>
                        <a:pt x="511" y="1071"/>
                        <a:pt x="511" y="980"/>
                      </a:cubicBezTo>
                      <a:cubicBezTo>
                        <a:pt x="511" y="954"/>
                        <a:pt x="510" y="930"/>
                        <a:pt x="509" y="912"/>
                      </a:cubicBezTo>
                      <a:cubicBezTo>
                        <a:pt x="565" y="911"/>
                        <a:pt x="593" y="884"/>
                        <a:pt x="600" y="868"/>
                      </a:cubicBezTo>
                      <a:cubicBezTo>
                        <a:pt x="610" y="843"/>
                        <a:pt x="582" y="804"/>
                        <a:pt x="563" y="78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dirty="0"/>
                </a:p>
              </p:txBody>
            </p:sp>
            <p:sp>
              <p:nvSpPr>
                <p:cNvPr id="61" name="Freeform 11">
                  <a:extLst>
                    <a:ext uri="{FF2B5EF4-FFF2-40B4-BE49-F238E27FC236}">
                      <a16:creationId xmlns:a16="http://schemas.microsoft.com/office/drawing/2014/main" id="{21CCF091-D2CB-494D-AED7-8F09F8B271BC}"/>
                    </a:ext>
                  </a:extLst>
                </p:cNvPr>
                <p:cNvSpPr>
                  <a:spLocks noEditPoints="1"/>
                </p:cNvSpPr>
                <p:nvPr/>
              </p:nvSpPr>
              <p:spPr bwMode="auto">
                <a:xfrm>
                  <a:off x="6643563" y="3222599"/>
                  <a:ext cx="1446657" cy="927735"/>
                </a:xfrm>
                <a:custGeom>
                  <a:avLst/>
                  <a:gdLst>
                    <a:gd name="T0" fmla="*/ 1242 w 2027"/>
                    <a:gd name="T1" fmla="*/ 1299 h 1299"/>
                    <a:gd name="T2" fmla="*/ 809 w 2027"/>
                    <a:gd name="T3" fmla="*/ 1195 h 1299"/>
                    <a:gd name="T4" fmla="*/ 789 w 2027"/>
                    <a:gd name="T5" fmla="*/ 1224 h 1299"/>
                    <a:gd name="T6" fmla="*/ 737 w 2027"/>
                    <a:gd name="T7" fmla="*/ 1118 h 1299"/>
                    <a:gd name="T8" fmla="*/ 737 w 2027"/>
                    <a:gd name="T9" fmla="*/ 1118 h 1299"/>
                    <a:gd name="T10" fmla="*/ 736 w 2027"/>
                    <a:gd name="T11" fmla="*/ 1114 h 1299"/>
                    <a:gd name="T12" fmla="*/ 736 w 2027"/>
                    <a:gd name="T13" fmla="*/ 1110 h 1299"/>
                    <a:gd name="T14" fmla="*/ 737 w 2027"/>
                    <a:gd name="T15" fmla="*/ 1106 h 1299"/>
                    <a:gd name="T16" fmla="*/ 738 w 2027"/>
                    <a:gd name="T17" fmla="*/ 1102 h 1299"/>
                    <a:gd name="T18" fmla="*/ 741 w 2027"/>
                    <a:gd name="T19" fmla="*/ 1098 h 1299"/>
                    <a:gd name="T20" fmla="*/ 741 w 2027"/>
                    <a:gd name="T21" fmla="*/ 1098 h 1299"/>
                    <a:gd name="T22" fmla="*/ 744 w 2027"/>
                    <a:gd name="T23" fmla="*/ 1095 h 1299"/>
                    <a:gd name="T24" fmla="*/ 747 w 2027"/>
                    <a:gd name="T25" fmla="*/ 1092 h 1299"/>
                    <a:gd name="T26" fmla="*/ 751 w 2027"/>
                    <a:gd name="T27" fmla="*/ 1090 h 1299"/>
                    <a:gd name="T28" fmla="*/ 756 w 2027"/>
                    <a:gd name="T29" fmla="*/ 1090 h 1299"/>
                    <a:gd name="T30" fmla="*/ 852 w 2027"/>
                    <a:gd name="T31" fmla="*/ 1086 h 1299"/>
                    <a:gd name="T32" fmla="*/ 854 w 2027"/>
                    <a:gd name="T33" fmla="*/ 1130 h 1299"/>
                    <a:gd name="T34" fmla="*/ 1242 w 2027"/>
                    <a:gd name="T35" fmla="*/ 1255 h 1299"/>
                    <a:gd name="T36" fmla="*/ 1743 w 2027"/>
                    <a:gd name="T37" fmla="*/ 1098 h 1299"/>
                    <a:gd name="T38" fmla="*/ 1983 w 2027"/>
                    <a:gd name="T39" fmla="*/ 863 h 1299"/>
                    <a:gd name="T40" fmla="*/ 1773 w 2027"/>
                    <a:gd name="T41" fmla="*/ 945 h 1299"/>
                    <a:gd name="T42" fmla="*/ 1763 w 2027"/>
                    <a:gd name="T43" fmla="*/ 757 h 1299"/>
                    <a:gd name="T44" fmla="*/ 1659 w 2027"/>
                    <a:gd name="T45" fmla="*/ 759 h 1299"/>
                    <a:gd name="T46" fmla="*/ 1564 w 2027"/>
                    <a:gd name="T47" fmla="*/ 564 h 1299"/>
                    <a:gd name="T48" fmla="*/ 1540 w 2027"/>
                    <a:gd name="T49" fmla="*/ 540 h 1299"/>
                    <a:gd name="T50" fmla="*/ 1496 w 2027"/>
                    <a:gd name="T51" fmla="*/ 490 h 1299"/>
                    <a:gd name="T52" fmla="*/ 1555 w 2027"/>
                    <a:gd name="T53" fmla="*/ 332 h 1299"/>
                    <a:gd name="T54" fmla="*/ 1559 w 2027"/>
                    <a:gd name="T55" fmla="*/ 275 h 1299"/>
                    <a:gd name="T56" fmla="*/ 1513 w 2027"/>
                    <a:gd name="T57" fmla="*/ 292 h 1299"/>
                    <a:gd name="T58" fmla="*/ 1507 w 2027"/>
                    <a:gd name="T59" fmla="*/ 392 h 1299"/>
                    <a:gd name="T60" fmla="*/ 1428 w 2027"/>
                    <a:gd name="T61" fmla="*/ 541 h 1299"/>
                    <a:gd name="T62" fmla="*/ 1517 w 2027"/>
                    <a:gd name="T63" fmla="*/ 653 h 1299"/>
                    <a:gd name="T64" fmla="*/ 1661 w 2027"/>
                    <a:gd name="T65" fmla="*/ 803 h 1299"/>
                    <a:gd name="T66" fmla="*/ 1729 w 2027"/>
                    <a:gd name="T67" fmla="*/ 966 h 1299"/>
                    <a:gd name="T68" fmla="*/ 1772 w 2027"/>
                    <a:gd name="T69" fmla="*/ 989 h 1299"/>
                    <a:gd name="T70" fmla="*/ 2027 w 2027"/>
                    <a:gd name="T71" fmla="*/ 910 h 1299"/>
                    <a:gd name="T72" fmla="*/ 1983 w 2027"/>
                    <a:gd name="T73" fmla="*/ 863 h 1299"/>
                    <a:gd name="T74" fmla="*/ 619 w 2027"/>
                    <a:gd name="T75" fmla="*/ 0 h 1299"/>
                    <a:gd name="T76" fmla="*/ 537 w 2027"/>
                    <a:gd name="T77" fmla="*/ 822 h 1299"/>
                    <a:gd name="T78" fmla="*/ 940 w 2027"/>
                    <a:gd name="T79" fmla="*/ 156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27" h="1299">
                      <a:moveTo>
                        <a:pt x="1739" y="1129"/>
                      </a:moveTo>
                      <a:cubicBezTo>
                        <a:pt x="1596" y="1240"/>
                        <a:pt x="1424" y="1299"/>
                        <a:pt x="1242" y="1299"/>
                      </a:cubicBezTo>
                      <a:cubicBezTo>
                        <a:pt x="1083" y="1299"/>
                        <a:pt x="932" y="1254"/>
                        <a:pt x="801" y="1169"/>
                      </a:cubicBezTo>
                      <a:cubicBezTo>
                        <a:pt x="809" y="1195"/>
                        <a:pt x="809" y="1195"/>
                        <a:pt x="809" y="1195"/>
                      </a:cubicBezTo>
                      <a:cubicBezTo>
                        <a:pt x="813" y="1206"/>
                        <a:pt x="807" y="1219"/>
                        <a:pt x="796" y="1222"/>
                      </a:cubicBezTo>
                      <a:cubicBezTo>
                        <a:pt x="793" y="1223"/>
                        <a:pt x="791" y="1224"/>
                        <a:pt x="789" y="1224"/>
                      </a:cubicBezTo>
                      <a:cubicBezTo>
                        <a:pt x="779" y="1224"/>
                        <a:pt x="771" y="1218"/>
                        <a:pt x="768" y="1209"/>
                      </a:cubicBezTo>
                      <a:cubicBezTo>
                        <a:pt x="737" y="1118"/>
                        <a:pt x="737" y="1118"/>
                        <a:pt x="737" y="1118"/>
                      </a:cubicBezTo>
                      <a:cubicBezTo>
                        <a:pt x="737" y="1118"/>
                        <a:pt x="737" y="1118"/>
                        <a:pt x="737" y="1118"/>
                      </a:cubicBezTo>
                      <a:cubicBezTo>
                        <a:pt x="737" y="1118"/>
                        <a:pt x="737" y="1118"/>
                        <a:pt x="737" y="1118"/>
                      </a:cubicBezTo>
                      <a:cubicBezTo>
                        <a:pt x="737" y="1117"/>
                        <a:pt x="737" y="1116"/>
                        <a:pt x="736" y="1115"/>
                      </a:cubicBezTo>
                      <a:cubicBezTo>
                        <a:pt x="736" y="1114"/>
                        <a:pt x="736" y="1114"/>
                        <a:pt x="736" y="1114"/>
                      </a:cubicBezTo>
                      <a:cubicBezTo>
                        <a:pt x="736" y="1113"/>
                        <a:pt x="736" y="1111"/>
                        <a:pt x="736" y="1110"/>
                      </a:cubicBezTo>
                      <a:cubicBezTo>
                        <a:pt x="736" y="1110"/>
                        <a:pt x="736" y="1110"/>
                        <a:pt x="736" y="1110"/>
                      </a:cubicBezTo>
                      <a:cubicBezTo>
                        <a:pt x="736" y="1108"/>
                        <a:pt x="737" y="1107"/>
                        <a:pt x="737" y="1106"/>
                      </a:cubicBezTo>
                      <a:cubicBezTo>
                        <a:pt x="737" y="1106"/>
                        <a:pt x="737" y="1106"/>
                        <a:pt x="737" y="1106"/>
                      </a:cubicBezTo>
                      <a:cubicBezTo>
                        <a:pt x="737" y="1104"/>
                        <a:pt x="738" y="1103"/>
                        <a:pt x="738" y="1102"/>
                      </a:cubicBezTo>
                      <a:cubicBezTo>
                        <a:pt x="738" y="1102"/>
                        <a:pt x="738" y="1102"/>
                        <a:pt x="738" y="1102"/>
                      </a:cubicBezTo>
                      <a:cubicBezTo>
                        <a:pt x="739" y="1101"/>
                        <a:pt x="739" y="1100"/>
                        <a:pt x="740" y="1099"/>
                      </a:cubicBezTo>
                      <a:cubicBezTo>
                        <a:pt x="740" y="1099"/>
                        <a:pt x="740" y="1098"/>
                        <a:pt x="741" y="1098"/>
                      </a:cubicBezTo>
                      <a:cubicBezTo>
                        <a:pt x="741" y="1098"/>
                        <a:pt x="741" y="1098"/>
                        <a:pt x="741" y="1098"/>
                      </a:cubicBezTo>
                      <a:cubicBezTo>
                        <a:pt x="741" y="1098"/>
                        <a:pt x="741" y="1098"/>
                        <a:pt x="741" y="1098"/>
                      </a:cubicBezTo>
                      <a:cubicBezTo>
                        <a:pt x="742" y="1097"/>
                        <a:pt x="743" y="1096"/>
                        <a:pt x="744" y="1095"/>
                      </a:cubicBezTo>
                      <a:cubicBezTo>
                        <a:pt x="744" y="1095"/>
                        <a:pt x="744" y="1095"/>
                        <a:pt x="744" y="1095"/>
                      </a:cubicBezTo>
                      <a:cubicBezTo>
                        <a:pt x="745" y="1094"/>
                        <a:pt x="746" y="1093"/>
                        <a:pt x="747" y="1092"/>
                      </a:cubicBezTo>
                      <a:cubicBezTo>
                        <a:pt x="747" y="1092"/>
                        <a:pt x="747" y="1092"/>
                        <a:pt x="747" y="1092"/>
                      </a:cubicBezTo>
                      <a:cubicBezTo>
                        <a:pt x="749" y="1092"/>
                        <a:pt x="750" y="1091"/>
                        <a:pt x="751" y="1091"/>
                      </a:cubicBezTo>
                      <a:cubicBezTo>
                        <a:pt x="751" y="1091"/>
                        <a:pt x="751" y="1090"/>
                        <a:pt x="751" y="1090"/>
                      </a:cubicBezTo>
                      <a:cubicBezTo>
                        <a:pt x="753" y="1090"/>
                        <a:pt x="754" y="1090"/>
                        <a:pt x="755" y="1090"/>
                      </a:cubicBezTo>
                      <a:cubicBezTo>
                        <a:pt x="755" y="1090"/>
                        <a:pt x="755" y="1090"/>
                        <a:pt x="756" y="1090"/>
                      </a:cubicBezTo>
                      <a:cubicBezTo>
                        <a:pt x="756" y="1089"/>
                        <a:pt x="757" y="1089"/>
                        <a:pt x="757" y="1089"/>
                      </a:cubicBezTo>
                      <a:cubicBezTo>
                        <a:pt x="852" y="1086"/>
                        <a:pt x="852" y="1086"/>
                        <a:pt x="852" y="1086"/>
                      </a:cubicBezTo>
                      <a:cubicBezTo>
                        <a:pt x="865" y="1085"/>
                        <a:pt x="875" y="1095"/>
                        <a:pt x="875" y="1107"/>
                      </a:cubicBezTo>
                      <a:cubicBezTo>
                        <a:pt x="876" y="1119"/>
                        <a:pt x="866" y="1129"/>
                        <a:pt x="854" y="1130"/>
                      </a:cubicBezTo>
                      <a:cubicBezTo>
                        <a:pt x="823" y="1131"/>
                        <a:pt x="823" y="1131"/>
                        <a:pt x="823" y="1131"/>
                      </a:cubicBezTo>
                      <a:cubicBezTo>
                        <a:pt x="948" y="1212"/>
                        <a:pt x="1091" y="1255"/>
                        <a:pt x="1242" y="1255"/>
                      </a:cubicBezTo>
                      <a:cubicBezTo>
                        <a:pt x="1414" y="1255"/>
                        <a:pt x="1577" y="1199"/>
                        <a:pt x="1712" y="1094"/>
                      </a:cubicBezTo>
                      <a:cubicBezTo>
                        <a:pt x="1722" y="1087"/>
                        <a:pt x="1736" y="1088"/>
                        <a:pt x="1743" y="1098"/>
                      </a:cubicBezTo>
                      <a:cubicBezTo>
                        <a:pt x="1751" y="1108"/>
                        <a:pt x="1749" y="1121"/>
                        <a:pt x="1739" y="1129"/>
                      </a:cubicBezTo>
                      <a:close/>
                      <a:moveTo>
                        <a:pt x="1983" y="863"/>
                      </a:moveTo>
                      <a:cubicBezTo>
                        <a:pt x="1983" y="897"/>
                        <a:pt x="1983" y="897"/>
                        <a:pt x="1983" y="897"/>
                      </a:cubicBezTo>
                      <a:cubicBezTo>
                        <a:pt x="1907" y="939"/>
                        <a:pt x="1813" y="945"/>
                        <a:pt x="1773" y="945"/>
                      </a:cubicBezTo>
                      <a:cubicBezTo>
                        <a:pt x="1773" y="775"/>
                        <a:pt x="1773" y="775"/>
                        <a:pt x="1773" y="775"/>
                      </a:cubicBezTo>
                      <a:cubicBezTo>
                        <a:pt x="1773" y="768"/>
                        <a:pt x="1769" y="761"/>
                        <a:pt x="1763" y="757"/>
                      </a:cubicBezTo>
                      <a:cubicBezTo>
                        <a:pt x="1757" y="754"/>
                        <a:pt x="1751" y="753"/>
                        <a:pt x="1745" y="754"/>
                      </a:cubicBezTo>
                      <a:cubicBezTo>
                        <a:pt x="1739" y="755"/>
                        <a:pt x="1701" y="759"/>
                        <a:pt x="1659" y="759"/>
                      </a:cubicBezTo>
                      <a:cubicBezTo>
                        <a:pt x="1588" y="759"/>
                        <a:pt x="1572" y="750"/>
                        <a:pt x="1571" y="749"/>
                      </a:cubicBezTo>
                      <a:cubicBezTo>
                        <a:pt x="1561" y="735"/>
                        <a:pt x="1558" y="650"/>
                        <a:pt x="1564" y="564"/>
                      </a:cubicBezTo>
                      <a:cubicBezTo>
                        <a:pt x="1565" y="557"/>
                        <a:pt x="1562" y="551"/>
                        <a:pt x="1558" y="546"/>
                      </a:cubicBezTo>
                      <a:cubicBezTo>
                        <a:pt x="1553" y="542"/>
                        <a:pt x="1546" y="540"/>
                        <a:pt x="1540" y="540"/>
                      </a:cubicBezTo>
                      <a:cubicBezTo>
                        <a:pt x="1499" y="545"/>
                        <a:pt x="1478" y="533"/>
                        <a:pt x="1471" y="526"/>
                      </a:cubicBezTo>
                      <a:cubicBezTo>
                        <a:pt x="1473" y="518"/>
                        <a:pt x="1481" y="504"/>
                        <a:pt x="1496" y="490"/>
                      </a:cubicBezTo>
                      <a:cubicBezTo>
                        <a:pt x="1525" y="461"/>
                        <a:pt x="1543" y="420"/>
                        <a:pt x="1547" y="408"/>
                      </a:cubicBezTo>
                      <a:cubicBezTo>
                        <a:pt x="1553" y="394"/>
                        <a:pt x="1554" y="370"/>
                        <a:pt x="1555" y="332"/>
                      </a:cubicBezTo>
                      <a:cubicBezTo>
                        <a:pt x="1555" y="318"/>
                        <a:pt x="1556" y="305"/>
                        <a:pt x="1557" y="295"/>
                      </a:cubicBezTo>
                      <a:cubicBezTo>
                        <a:pt x="1557" y="290"/>
                        <a:pt x="1558" y="283"/>
                        <a:pt x="1559" y="275"/>
                      </a:cubicBezTo>
                      <a:cubicBezTo>
                        <a:pt x="1547" y="260"/>
                        <a:pt x="1535" y="244"/>
                        <a:pt x="1524" y="228"/>
                      </a:cubicBezTo>
                      <a:cubicBezTo>
                        <a:pt x="1519" y="248"/>
                        <a:pt x="1514" y="274"/>
                        <a:pt x="1513" y="292"/>
                      </a:cubicBezTo>
                      <a:cubicBezTo>
                        <a:pt x="1512" y="302"/>
                        <a:pt x="1511" y="316"/>
                        <a:pt x="1511" y="331"/>
                      </a:cubicBezTo>
                      <a:cubicBezTo>
                        <a:pt x="1511" y="351"/>
                        <a:pt x="1510" y="384"/>
                        <a:pt x="1507" y="392"/>
                      </a:cubicBezTo>
                      <a:cubicBezTo>
                        <a:pt x="1498" y="412"/>
                        <a:pt x="1483" y="440"/>
                        <a:pt x="1465" y="458"/>
                      </a:cubicBezTo>
                      <a:cubicBezTo>
                        <a:pt x="1446" y="477"/>
                        <a:pt x="1417" y="516"/>
                        <a:pt x="1428" y="541"/>
                      </a:cubicBezTo>
                      <a:cubicBezTo>
                        <a:pt x="1435" y="557"/>
                        <a:pt x="1462" y="584"/>
                        <a:pt x="1519" y="585"/>
                      </a:cubicBezTo>
                      <a:cubicBezTo>
                        <a:pt x="1518" y="603"/>
                        <a:pt x="1517" y="627"/>
                        <a:pt x="1517" y="653"/>
                      </a:cubicBezTo>
                      <a:cubicBezTo>
                        <a:pt x="1517" y="744"/>
                        <a:pt x="1528" y="768"/>
                        <a:pt x="1539" y="780"/>
                      </a:cubicBezTo>
                      <a:cubicBezTo>
                        <a:pt x="1550" y="791"/>
                        <a:pt x="1574" y="804"/>
                        <a:pt x="1661" y="803"/>
                      </a:cubicBezTo>
                      <a:cubicBezTo>
                        <a:pt x="1675" y="803"/>
                        <a:pt x="1705" y="802"/>
                        <a:pt x="1729" y="800"/>
                      </a:cubicBezTo>
                      <a:cubicBezTo>
                        <a:pt x="1729" y="966"/>
                        <a:pt x="1729" y="966"/>
                        <a:pt x="1729" y="966"/>
                      </a:cubicBezTo>
                      <a:cubicBezTo>
                        <a:pt x="1729" y="978"/>
                        <a:pt x="1737" y="988"/>
                        <a:pt x="1749" y="988"/>
                      </a:cubicBezTo>
                      <a:cubicBezTo>
                        <a:pt x="1750" y="988"/>
                        <a:pt x="1759" y="989"/>
                        <a:pt x="1772" y="989"/>
                      </a:cubicBezTo>
                      <a:cubicBezTo>
                        <a:pt x="1818" y="989"/>
                        <a:pt x="1928" y="983"/>
                        <a:pt x="2017" y="929"/>
                      </a:cubicBezTo>
                      <a:cubicBezTo>
                        <a:pt x="2023" y="925"/>
                        <a:pt x="2027" y="918"/>
                        <a:pt x="2027" y="910"/>
                      </a:cubicBezTo>
                      <a:cubicBezTo>
                        <a:pt x="2027" y="850"/>
                        <a:pt x="2027" y="850"/>
                        <a:pt x="2027" y="850"/>
                      </a:cubicBezTo>
                      <a:cubicBezTo>
                        <a:pt x="2011" y="856"/>
                        <a:pt x="1997" y="860"/>
                        <a:pt x="1983" y="863"/>
                      </a:cubicBezTo>
                      <a:close/>
                      <a:moveTo>
                        <a:pt x="940" y="156"/>
                      </a:moveTo>
                      <a:cubicBezTo>
                        <a:pt x="951" y="107"/>
                        <a:pt x="854" y="0"/>
                        <a:pt x="619" y="0"/>
                      </a:cubicBezTo>
                      <a:cubicBezTo>
                        <a:pt x="413" y="0"/>
                        <a:pt x="289" y="111"/>
                        <a:pt x="237" y="218"/>
                      </a:cubicBezTo>
                      <a:cubicBezTo>
                        <a:pt x="0" y="709"/>
                        <a:pt x="519" y="843"/>
                        <a:pt x="537" y="822"/>
                      </a:cubicBezTo>
                      <a:cubicBezTo>
                        <a:pt x="554" y="801"/>
                        <a:pt x="370" y="694"/>
                        <a:pt x="426" y="564"/>
                      </a:cubicBezTo>
                      <a:cubicBezTo>
                        <a:pt x="426" y="564"/>
                        <a:pt x="796" y="417"/>
                        <a:pt x="940" y="156"/>
                      </a:cubicBezTo>
                      <a:close/>
                    </a:path>
                  </a:pathLst>
                </a:custGeom>
                <a:solidFill>
                  <a:srgbClr val="29BA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dirty="0"/>
                </a:p>
              </p:txBody>
            </p:sp>
          </p:grpSp>
          <p:grpSp>
            <p:nvGrpSpPr>
              <p:cNvPr id="62" name="bcgIcons_GroupCollaboration">
                <a:extLst>
                  <a:ext uri="{FF2B5EF4-FFF2-40B4-BE49-F238E27FC236}">
                    <a16:creationId xmlns:a16="http://schemas.microsoft.com/office/drawing/2014/main" id="{F1FCE58C-E99B-4A9D-B08D-17EF6910E484}"/>
                  </a:ext>
                </a:extLst>
              </p:cNvPr>
              <p:cNvGrpSpPr>
                <a:grpSpLocks noChangeAspect="1"/>
              </p:cNvGrpSpPr>
              <p:nvPr/>
            </p:nvGrpSpPr>
            <p:grpSpPr bwMode="auto">
              <a:xfrm>
                <a:off x="6989773" y="4222636"/>
                <a:ext cx="799363" cy="800104"/>
                <a:chOff x="1682" y="0"/>
                <a:chExt cx="4316" cy="4320"/>
              </a:xfrm>
            </p:grpSpPr>
            <p:sp>
              <p:nvSpPr>
                <p:cNvPr id="63" name="AutoShape 23">
                  <a:extLst>
                    <a:ext uri="{FF2B5EF4-FFF2-40B4-BE49-F238E27FC236}">
                      <a16:creationId xmlns:a16="http://schemas.microsoft.com/office/drawing/2014/main" id="{2223E742-6BC3-46DF-8D0B-A65A35FD837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dirty="0"/>
                </a:p>
              </p:txBody>
            </p:sp>
            <p:sp>
              <p:nvSpPr>
                <p:cNvPr id="64" name="Freeform 25">
                  <a:extLst>
                    <a:ext uri="{FF2B5EF4-FFF2-40B4-BE49-F238E27FC236}">
                      <a16:creationId xmlns:a16="http://schemas.microsoft.com/office/drawing/2014/main" id="{6A05DAAB-CE48-4DE4-B1B3-210686AAEDBC}"/>
                    </a:ext>
                  </a:extLst>
                </p:cNvPr>
                <p:cNvSpPr>
                  <a:spLocks noEditPoints="1"/>
                </p:cNvSpPr>
                <p:nvPr/>
              </p:nvSpPr>
              <p:spPr bwMode="auto">
                <a:xfrm>
                  <a:off x="2237" y="1031"/>
                  <a:ext cx="3210" cy="2892"/>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dirty="0"/>
                </a:p>
              </p:txBody>
            </p:sp>
            <p:sp>
              <p:nvSpPr>
                <p:cNvPr id="65" name="Freeform 26">
                  <a:extLst>
                    <a:ext uri="{FF2B5EF4-FFF2-40B4-BE49-F238E27FC236}">
                      <a16:creationId xmlns:a16="http://schemas.microsoft.com/office/drawing/2014/main" id="{F072E607-07EE-40A8-B1F8-71806F7BE30A}"/>
                    </a:ext>
                  </a:extLst>
                </p:cNvPr>
                <p:cNvSpPr>
                  <a:spLocks noEditPoints="1"/>
                </p:cNvSpPr>
                <p:nvPr/>
              </p:nvSpPr>
              <p:spPr bwMode="auto">
                <a:xfrm>
                  <a:off x="2237" y="401"/>
                  <a:ext cx="3210" cy="2892"/>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dirty="0"/>
                </a:p>
              </p:txBody>
            </p:sp>
          </p:grpSp>
          <p:grpSp>
            <p:nvGrpSpPr>
              <p:cNvPr id="66" name="bcgIcons_Scalable">
                <a:extLst>
                  <a:ext uri="{FF2B5EF4-FFF2-40B4-BE49-F238E27FC236}">
                    <a16:creationId xmlns:a16="http://schemas.microsoft.com/office/drawing/2014/main" id="{D678D14B-6C3C-4A99-83B6-3866C167103F}"/>
                  </a:ext>
                </a:extLst>
              </p:cNvPr>
              <p:cNvGrpSpPr>
                <a:grpSpLocks noChangeAspect="1"/>
              </p:cNvGrpSpPr>
              <p:nvPr/>
            </p:nvGrpSpPr>
            <p:grpSpPr bwMode="auto">
              <a:xfrm>
                <a:off x="4409278" y="4222636"/>
                <a:ext cx="799363" cy="800104"/>
                <a:chOff x="1682" y="0"/>
                <a:chExt cx="4316" cy="4320"/>
              </a:xfrm>
            </p:grpSpPr>
            <p:sp>
              <p:nvSpPr>
                <p:cNvPr id="67" name="AutoShape 18">
                  <a:extLst>
                    <a:ext uri="{FF2B5EF4-FFF2-40B4-BE49-F238E27FC236}">
                      <a16:creationId xmlns:a16="http://schemas.microsoft.com/office/drawing/2014/main" id="{84474120-6176-41A5-AE3C-BFAC5EC482D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dirty="0"/>
                </a:p>
              </p:txBody>
            </p:sp>
            <p:sp>
              <p:nvSpPr>
                <p:cNvPr id="68" name="Freeform 20">
                  <a:extLst>
                    <a:ext uri="{FF2B5EF4-FFF2-40B4-BE49-F238E27FC236}">
                      <a16:creationId xmlns:a16="http://schemas.microsoft.com/office/drawing/2014/main" id="{C67455F9-C571-4F67-9A09-44F1F70462F5}"/>
                    </a:ext>
                  </a:extLst>
                </p:cNvPr>
                <p:cNvSpPr>
                  <a:spLocks noEditPoints="1"/>
                </p:cNvSpPr>
                <p:nvPr/>
              </p:nvSpPr>
              <p:spPr bwMode="auto">
                <a:xfrm>
                  <a:off x="2171" y="493"/>
                  <a:ext cx="3316" cy="3338"/>
                </a:xfrm>
                <a:custGeom>
                  <a:avLst/>
                  <a:gdLst>
                    <a:gd name="T0" fmla="*/ 1770 w 1770"/>
                    <a:gd name="T1" fmla="*/ 22 h 1780"/>
                    <a:gd name="T2" fmla="*/ 1770 w 1770"/>
                    <a:gd name="T3" fmla="*/ 1474 h 1780"/>
                    <a:gd name="T4" fmla="*/ 1748 w 1770"/>
                    <a:gd name="T5" fmla="*/ 1496 h 1780"/>
                    <a:gd name="T6" fmla="*/ 740 w 1770"/>
                    <a:gd name="T7" fmla="*/ 1496 h 1780"/>
                    <a:gd name="T8" fmla="*/ 740 w 1770"/>
                    <a:gd name="T9" fmla="*/ 1452 h 1780"/>
                    <a:gd name="T10" fmla="*/ 1726 w 1770"/>
                    <a:gd name="T11" fmla="*/ 1452 h 1780"/>
                    <a:gd name="T12" fmla="*/ 1726 w 1770"/>
                    <a:gd name="T13" fmla="*/ 44 h 1780"/>
                    <a:gd name="T14" fmla="*/ 317 w 1770"/>
                    <a:gd name="T15" fmla="*/ 44 h 1780"/>
                    <a:gd name="T16" fmla="*/ 317 w 1770"/>
                    <a:gd name="T17" fmla="*/ 1039 h 1780"/>
                    <a:gd name="T18" fmla="*/ 273 w 1770"/>
                    <a:gd name="T19" fmla="*/ 1039 h 1780"/>
                    <a:gd name="T20" fmla="*/ 273 w 1770"/>
                    <a:gd name="T21" fmla="*/ 22 h 1780"/>
                    <a:gd name="T22" fmla="*/ 295 w 1770"/>
                    <a:gd name="T23" fmla="*/ 0 h 1780"/>
                    <a:gd name="T24" fmla="*/ 1748 w 1770"/>
                    <a:gd name="T25" fmla="*/ 0 h 1780"/>
                    <a:gd name="T26" fmla="*/ 1770 w 1770"/>
                    <a:gd name="T27" fmla="*/ 22 h 1780"/>
                    <a:gd name="T28" fmla="*/ 1393 w 1770"/>
                    <a:gd name="T29" fmla="*/ 409 h 1780"/>
                    <a:gd name="T30" fmla="*/ 1393 w 1770"/>
                    <a:gd name="T31" fmla="*/ 823 h 1780"/>
                    <a:gd name="T32" fmla="*/ 1371 w 1770"/>
                    <a:gd name="T33" fmla="*/ 845 h 1780"/>
                    <a:gd name="T34" fmla="*/ 1349 w 1770"/>
                    <a:gd name="T35" fmla="*/ 823 h 1780"/>
                    <a:gd name="T36" fmla="*/ 1349 w 1770"/>
                    <a:gd name="T37" fmla="*/ 462 h 1780"/>
                    <a:gd name="T38" fmla="*/ 696 w 1770"/>
                    <a:gd name="T39" fmla="*/ 1114 h 1780"/>
                    <a:gd name="T40" fmla="*/ 696 w 1770"/>
                    <a:gd name="T41" fmla="*/ 1758 h 1780"/>
                    <a:gd name="T42" fmla="*/ 674 w 1770"/>
                    <a:gd name="T43" fmla="*/ 1780 h 1780"/>
                    <a:gd name="T44" fmla="*/ 22 w 1770"/>
                    <a:gd name="T45" fmla="*/ 1780 h 1780"/>
                    <a:gd name="T46" fmla="*/ 0 w 1770"/>
                    <a:gd name="T47" fmla="*/ 1758 h 1780"/>
                    <a:gd name="T48" fmla="*/ 0 w 1770"/>
                    <a:gd name="T49" fmla="*/ 1105 h 1780"/>
                    <a:gd name="T50" fmla="*/ 22 w 1770"/>
                    <a:gd name="T51" fmla="*/ 1083 h 1780"/>
                    <a:gd name="T52" fmla="*/ 665 w 1770"/>
                    <a:gd name="T53" fmla="*/ 1083 h 1780"/>
                    <a:gd name="T54" fmla="*/ 1317 w 1770"/>
                    <a:gd name="T55" fmla="*/ 431 h 1780"/>
                    <a:gd name="T56" fmla="*/ 956 w 1770"/>
                    <a:gd name="T57" fmla="*/ 431 h 1780"/>
                    <a:gd name="T58" fmla="*/ 934 w 1770"/>
                    <a:gd name="T59" fmla="*/ 409 h 1780"/>
                    <a:gd name="T60" fmla="*/ 956 w 1770"/>
                    <a:gd name="T61" fmla="*/ 387 h 1780"/>
                    <a:gd name="T62" fmla="*/ 1371 w 1770"/>
                    <a:gd name="T63" fmla="*/ 387 h 1780"/>
                    <a:gd name="T64" fmla="*/ 1375 w 1770"/>
                    <a:gd name="T65" fmla="*/ 387 h 1780"/>
                    <a:gd name="T66" fmla="*/ 1375 w 1770"/>
                    <a:gd name="T67" fmla="*/ 387 h 1780"/>
                    <a:gd name="T68" fmla="*/ 1379 w 1770"/>
                    <a:gd name="T69" fmla="*/ 388 h 1780"/>
                    <a:gd name="T70" fmla="*/ 1379 w 1770"/>
                    <a:gd name="T71" fmla="*/ 388 h 1780"/>
                    <a:gd name="T72" fmla="*/ 1383 w 1770"/>
                    <a:gd name="T73" fmla="*/ 390 h 1780"/>
                    <a:gd name="T74" fmla="*/ 1383 w 1770"/>
                    <a:gd name="T75" fmla="*/ 390 h 1780"/>
                    <a:gd name="T76" fmla="*/ 1389 w 1770"/>
                    <a:gd name="T77" fmla="*/ 396 h 1780"/>
                    <a:gd name="T78" fmla="*/ 1389 w 1770"/>
                    <a:gd name="T79" fmla="*/ 397 h 1780"/>
                    <a:gd name="T80" fmla="*/ 1391 w 1770"/>
                    <a:gd name="T81" fmla="*/ 400 h 1780"/>
                    <a:gd name="T82" fmla="*/ 1391 w 1770"/>
                    <a:gd name="T83" fmla="*/ 401 h 1780"/>
                    <a:gd name="T84" fmla="*/ 1392 w 1770"/>
                    <a:gd name="T85" fmla="*/ 404 h 1780"/>
                    <a:gd name="T86" fmla="*/ 1392 w 1770"/>
                    <a:gd name="T87" fmla="*/ 405 h 1780"/>
                    <a:gd name="T88" fmla="*/ 1393 w 1770"/>
                    <a:gd name="T89" fmla="*/ 409 h 1780"/>
                    <a:gd name="T90" fmla="*/ 652 w 1770"/>
                    <a:gd name="T91" fmla="*/ 1127 h 1780"/>
                    <a:gd name="T92" fmla="*/ 44 w 1770"/>
                    <a:gd name="T93" fmla="*/ 1127 h 1780"/>
                    <a:gd name="T94" fmla="*/ 44 w 1770"/>
                    <a:gd name="T95" fmla="*/ 1736 h 1780"/>
                    <a:gd name="T96" fmla="*/ 652 w 1770"/>
                    <a:gd name="T97" fmla="*/ 1736 h 1780"/>
                    <a:gd name="T98" fmla="*/ 652 w 1770"/>
                    <a:gd name="T99" fmla="*/ 1127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70" h="1780">
                      <a:moveTo>
                        <a:pt x="1770" y="22"/>
                      </a:moveTo>
                      <a:cubicBezTo>
                        <a:pt x="1770" y="1474"/>
                        <a:pt x="1770" y="1474"/>
                        <a:pt x="1770" y="1474"/>
                      </a:cubicBezTo>
                      <a:cubicBezTo>
                        <a:pt x="1770" y="1486"/>
                        <a:pt x="1760" y="1496"/>
                        <a:pt x="1748" y="1496"/>
                      </a:cubicBezTo>
                      <a:cubicBezTo>
                        <a:pt x="740" y="1496"/>
                        <a:pt x="740" y="1496"/>
                        <a:pt x="740" y="1496"/>
                      </a:cubicBezTo>
                      <a:cubicBezTo>
                        <a:pt x="740" y="1452"/>
                        <a:pt x="740" y="1452"/>
                        <a:pt x="740" y="1452"/>
                      </a:cubicBezTo>
                      <a:cubicBezTo>
                        <a:pt x="1726" y="1452"/>
                        <a:pt x="1726" y="1452"/>
                        <a:pt x="1726" y="1452"/>
                      </a:cubicBezTo>
                      <a:cubicBezTo>
                        <a:pt x="1726" y="44"/>
                        <a:pt x="1726" y="44"/>
                        <a:pt x="1726" y="44"/>
                      </a:cubicBezTo>
                      <a:cubicBezTo>
                        <a:pt x="317" y="44"/>
                        <a:pt x="317" y="44"/>
                        <a:pt x="317" y="44"/>
                      </a:cubicBezTo>
                      <a:cubicBezTo>
                        <a:pt x="317" y="1039"/>
                        <a:pt x="317" y="1039"/>
                        <a:pt x="317" y="1039"/>
                      </a:cubicBezTo>
                      <a:cubicBezTo>
                        <a:pt x="273" y="1039"/>
                        <a:pt x="273" y="1039"/>
                        <a:pt x="273" y="1039"/>
                      </a:cubicBezTo>
                      <a:cubicBezTo>
                        <a:pt x="273" y="22"/>
                        <a:pt x="273" y="22"/>
                        <a:pt x="273" y="22"/>
                      </a:cubicBezTo>
                      <a:cubicBezTo>
                        <a:pt x="273" y="9"/>
                        <a:pt x="283" y="0"/>
                        <a:pt x="295" y="0"/>
                      </a:cubicBezTo>
                      <a:cubicBezTo>
                        <a:pt x="1748" y="0"/>
                        <a:pt x="1748" y="0"/>
                        <a:pt x="1748" y="0"/>
                      </a:cubicBezTo>
                      <a:cubicBezTo>
                        <a:pt x="1760" y="0"/>
                        <a:pt x="1770" y="9"/>
                        <a:pt x="1770" y="22"/>
                      </a:cubicBezTo>
                      <a:close/>
                      <a:moveTo>
                        <a:pt x="1393" y="409"/>
                      </a:moveTo>
                      <a:cubicBezTo>
                        <a:pt x="1393" y="823"/>
                        <a:pt x="1393" y="823"/>
                        <a:pt x="1393" y="823"/>
                      </a:cubicBezTo>
                      <a:cubicBezTo>
                        <a:pt x="1393" y="835"/>
                        <a:pt x="1383" y="845"/>
                        <a:pt x="1371" y="845"/>
                      </a:cubicBezTo>
                      <a:cubicBezTo>
                        <a:pt x="1358" y="845"/>
                        <a:pt x="1349" y="835"/>
                        <a:pt x="1349" y="823"/>
                      </a:cubicBezTo>
                      <a:cubicBezTo>
                        <a:pt x="1349" y="462"/>
                        <a:pt x="1349" y="462"/>
                        <a:pt x="1349" y="462"/>
                      </a:cubicBezTo>
                      <a:cubicBezTo>
                        <a:pt x="696" y="1114"/>
                        <a:pt x="696" y="1114"/>
                        <a:pt x="696" y="1114"/>
                      </a:cubicBezTo>
                      <a:cubicBezTo>
                        <a:pt x="696" y="1758"/>
                        <a:pt x="696" y="1758"/>
                        <a:pt x="696" y="1758"/>
                      </a:cubicBezTo>
                      <a:cubicBezTo>
                        <a:pt x="696" y="1770"/>
                        <a:pt x="686" y="1780"/>
                        <a:pt x="674" y="1780"/>
                      </a:cubicBezTo>
                      <a:cubicBezTo>
                        <a:pt x="22" y="1780"/>
                        <a:pt x="22" y="1780"/>
                        <a:pt x="22" y="1780"/>
                      </a:cubicBezTo>
                      <a:cubicBezTo>
                        <a:pt x="9" y="1780"/>
                        <a:pt x="0" y="1770"/>
                        <a:pt x="0" y="1758"/>
                      </a:cubicBezTo>
                      <a:cubicBezTo>
                        <a:pt x="0" y="1105"/>
                        <a:pt x="0" y="1105"/>
                        <a:pt x="0" y="1105"/>
                      </a:cubicBezTo>
                      <a:cubicBezTo>
                        <a:pt x="0" y="1093"/>
                        <a:pt x="9" y="1083"/>
                        <a:pt x="22" y="1083"/>
                      </a:cubicBezTo>
                      <a:cubicBezTo>
                        <a:pt x="665" y="1083"/>
                        <a:pt x="665" y="1083"/>
                        <a:pt x="665" y="1083"/>
                      </a:cubicBezTo>
                      <a:cubicBezTo>
                        <a:pt x="1317" y="431"/>
                        <a:pt x="1317" y="431"/>
                        <a:pt x="1317" y="431"/>
                      </a:cubicBezTo>
                      <a:cubicBezTo>
                        <a:pt x="956" y="431"/>
                        <a:pt x="956" y="431"/>
                        <a:pt x="956" y="431"/>
                      </a:cubicBezTo>
                      <a:cubicBezTo>
                        <a:pt x="944" y="431"/>
                        <a:pt x="934" y="421"/>
                        <a:pt x="934" y="409"/>
                      </a:cubicBezTo>
                      <a:cubicBezTo>
                        <a:pt x="934" y="396"/>
                        <a:pt x="944" y="387"/>
                        <a:pt x="956" y="387"/>
                      </a:cubicBezTo>
                      <a:cubicBezTo>
                        <a:pt x="1371" y="387"/>
                        <a:pt x="1371" y="387"/>
                        <a:pt x="1371" y="387"/>
                      </a:cubicBezTo>
                      <a:cubicBezTo>
                        <a:pt x="1372" y="387"/>
                        <a:pt x="1373" y="387"/>
                        <a:pt x="1375" y="387"/>
                      </a:cubicBezTo>
                      <a:cubicBezTo>
                        <a:pt x="1375" y="387"/>
                        <a:pt x="1375" y="387"/>
                        <a:pt x="1375" y="387"/>
                      </a:cubicBezTo>
                      <a:cubicBezTo>
                        <a:pt x="1376" y="387"/>
                        <a:pt x="1377" y="388"/>
                        <a:pt x="1379" y="388"/>
                      </a:cubicBezTo>
                      <a:cubicBezTo>
                        <a:pt x="1379" y="388"/>
                        <a:pt x="1379" y="388"/>
                        <a:pt x="1379" y="388"/>
                      </a:cubicBezTo>
                      <a:cubicBezTo>
                        <a:pt x="1380" y="389"/>
                        <a:pt x="1381" y="389"/>
                        <a:pt x="1383" y="390"/>
                      </a:cubicBezTo>
                      <a:cubicBezTo>
                        <a:pt x="1383" y="390"/>
                        <a:pt x="1383" y="390"/>
                        <a:pt x="1383" y="390"/>
                      </a:cubicBezTo>
                      <a:cubicBezTo>
                        <a:pt x="1385" y="392"/>
                        <a:pt x="1387" y="394"/>
                        <a:pt x="1389" y="396"/>
                      </a:cubicBezTo>
                      <a:cubicBezTo>
                        <a:pt x="1389" y="396"/>
                        <a:pt x="1389" y="397"/>
                        <a:pt x="1389" y="397"/>
                      </a:cubicBezTo>
                      <a:cubicBezTo>
                        <a:pt x="1390" y="398"/>
                        <a:pt x="1390" y="399"/>
                        <a:pt x="1391" y="400"/>
                      </a:cubicBezTo>
                      <a:cubicBezTo>
                        <a:pt x="1391" y="400"/>
                        <a:pt x="1391" y="400"/>
                        <a:pt x="1391" y="401"/>
                      </a:cubicBezTo>
                      <a:cubicBezTo>
                        <a:pt x="1392" y="402"/>
                        <a:pt x="1392" y="403"/>
                        <a:pt x="1392" y="404"/>
                      </a:cubicBezTo>
                      <a:cubicBezTo>
                        <a:pt x="1392" y="404"/>
                        <a:pt x="1392" y="404"/>
                        <a:pt x="1392" y="405"/>
                      </a:cubicBezTo>
                      <a:cubicBezTo>
                        <a:pt x="1392" y="406"/>
                        <a:pt x="1393" y="407"/>
                        <a:pt x="1393" y="409"/>
                      </a:cubicBezTo>
                      <a:close/>
                      <a:moveTo>
                        <a:pt x="652" y="1127"/>
                      </a:moveTo>
                      <a:cubicBezTo>
                        <a:pt x="44" y="1127"/>
                        <a:pt x="44" y="1127"/>
                        <a:pt x="44" y="1127"/>
                      </a:cubicBezTo>
                      <a:cubicBezTo>
                        <a:pt x="44" y="1736"/>
                        <a:pt x="44" y="1736"/>
                        <a:pt x="44" y="1736"/>
                      </a:cubicBezTo>
                      <a:cubicBezTo>
                        <a:pt x="652" y="1736"/>
                        <a:pt x="652" y="1736"/>
                        <a:pt x="652" y="1736"/>
                      </a:cubicBezTo>
                      <a:lnTo>
                        <a:pt x="652" y="112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dirty="0"/>
                </a:p>
              </p:txBody>
            </p:sp>
            <p:sp>
              <p:nvSpPr>
                <p:cNvPr id="69" name="Freeform 21">
                  <a:extLst>
                    <a:ext uri="{FF2B5EF4-FFF2-40B4-BE49-F238E27FC236}">
                      <a16:creationId xmlns:a16="http://schemas.microsoft.com/office/drawing/2014/main" id="{DF89A459-790F-4203-97CE-B50459D27040}"/>
                    </a:ext>
                  </a:extLst>
                </p:cNvPr>
                <p:cNvSpPr>
                  <a:spLocks noEditPoints="1"/>
                </p:cNvSpPr>
                <p:nvPr/>
              </p:nvSpPr>
              <p:spPr bwMode="auto">
                <a:xfrm>
                  <a:off x="2336" y="656"/>
                  <a:ext cx="2986" cy="3010"/>
                </a:xfrm>
                <a:custGeom>
                  <a:avLst/>
                  <a:gdLst>
                    <a:gd name="T0" fmla="*/ 284 w 1594"/>
                    <a:gd name="T1" fmla="*/ 0 h 1605"/>
                    <a:gd name="T2" fmla="*/ 1584 w 1594"/>
                    <a:gd name="T3" fmla="*/ 0 h 1605"/>
                    <a:gd name="T4" fmla="*/ 1594 w 1594"/>
                    <a:gd name="T5" fmla="*/ 10 h 1605"/>
                    <a:gd name="T6" fmla="*/ 1594 w 1594"/>
                    <a:gd name="T7" fmla="*/ 1312 h 1605"/>
                    <a:gd name="T8" fmla="*/ 1584 w 1594"/>
                    <a:gd name="T9" fmla="*/ 1322 h 1605"/>
                    <a:gd name="T10" fmla="*/ 652 w 1594"/>
                    <a:gd name="T11" fmla="*/ 1322 h 1605"/>
                    <a:gd name="T12" fmla="*/ 652 w 1594"/>
                    <a:gd name="T13" fmla="*/ 1046 h 1605"/>
                    <a:gd name="T14" fmla="*/ 1217 w 1594"/>
                    <a:gd name="T15" fmla="*/ 481 h 1605"/>
                    <a:gd name="T16" fmla="*/ 1217 w 1594"/>
                    <a:gd name="T17" fmla="*/ 736 h 1605"/>
                    <a:gd name="T18" fmla="*/ 1281 w 1594"/>
                    <a:gd name="T19" fmla="*/ 802 h 1605"/>
                    <a:gd name="T20" fmla="*/ 1349 w 1594"/>
                    <a:gd name="T21" fmla="*/ 734 h 1605"/>
                    <a:gd name="T22" fmla="*/ 1349 w 1594"/>
                    <a:gd name="T23" fmla="*/ 296 h 1605"/>
                    <a:gd name="T24" fmla="*/ 1309 w 1594"/>
                    <a:gd name="T25" fmla="*/ 256 h 1605"/>
                    <a:gd name="T26" fmla="*/ 868 w 1594"/>
                    <a:gd name="T27" fmla="*/ 256 h 1605"/>
                    <a:gd name="T28" fmla="*/ 802 w 1594"/>
                    <a:gd name="T29" fmla="*/ 322 h 1605"/>
                    <a:gd name="T30" fmla="*/ 802 w 1594"/>
                    <a:gd name="T31" fmla="*/ 322 h 1605"/>
                    <a:gd name="T32" fmla="*/ 868 w 1594"/>
                    <a:gd name="T33" fmla="*/ 388 h 1605"/>
                    <a:gd name="T34" fmla="*/ 1123 w 1594"/>
                    <a:gd name="T35" fmla="*/ 388 h 1605"/>
                    <a:gd name="T36" fmla="*/ 559 w 1594"/>
                    <a:gd name="T37" fmla="*/ 952 h 1605"/>
                    <a:gd name="T38" fmla="*/ 274 w 1594"/>
                    <a:gd name="T39" fmla="*/ 952 h 1605"/>
                    <a:gd name="T40" fmla="*/ 274 w 1594"/>
                    <a:gd name="T41" fmla="*/ 10 h 1605"/>
                    <a:gd name="T42" fmla="*/ 284 w 1594"/>
                    <a:gd name="T43" fmla="*/ 0 h 1605"/>
                    <a:gd name="T44" fmla="*/ 510 w 1594"/>
                    <a:gd name="T45" fmla="*/ 1084 h 1605"/>
                    <a:gd name="T46" fmla="*/ 10 w 1594"/>
                    <a:gd name="T47" fmla="*/ 1084 h 1605"/>
                    <a:gd name="T48" fmla="*/ 0 w 1594"/>
                    <a:gd name="T49" fmla="*/ 1094 h 1605"/>
                    <a:gd name="T50" fmla="*/ 0 w 1594"/>
                    <a:gd name="T51" fmla="*/ 1595 h 1605"/>
                    <a:gd name="T52" fmla="*/ 10 w 1594"/>
                    <a:gd name="T53" fmla="*/ 1605 h 1605"/>
                    <a:gd name="T54" fmla="*/ 510 w 1594"/>
                    <a:gd name="T55" fmla="*/ 1605 h 1605"/>
                    <a:gd name="T56" fmla="*/ 520 w 1594"/>
                    <a:gd name="T57" fmla="*/ 1595 h 1605"/>
                    <a:gd name="T58" fmla="*/ 520 w 1594"/>
                    <a:gd name="T59" fmla="*/ 1094 h 1605"/>
                    <a:gd name="T60" fmla="*/ 510 w 1594"/>
                    <a:gd name="T61" fmla="*/ 1084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94" h="1605">
                      <a:moveTo>
                        <a:pt x="284" y="0"/>
                      </a:moveTo>
                      <a:cubicBezTo>
                        <a:pt x="1584" y="0"/>
                        <a:pt x="1584" y="0"/>
                        <a:pt x="1584" y="0"/>
                      </a:cubicBezTo>
                      <a:cubicBezTo>
                        <a:pt x="1589" y="0"/>
                        <a:pt x="1594" y="5"/>
                        <a:pt x="1594" y="10"/>
                      </a:cubicBezTo>
                      <a:cubicBezTo>
                        <a:pt x="1594" y="1312"/>
                        <a:pt x="1594" y="1312"/>
                        <a:pt x="1594" y="1312"/>
                      </a:cubicBezTo>
                      <a:cubicBezTo>
                        <a:pt x="1594" y="1317"/>
                        <a:pt x="1589" y="1322"/>
                        <a:pt x="1584" y="1322"/>
                      </a:cubicBezTo>
                      <a:cubicBezTo>
                        <a:pt x="652" y="1322"/>
                        <a:pt x="652" y="1322"/>
                        <a:pt x="652" y="1322"/>
                      </a:cubicBezTo>
                      <a:cubicBezTo>
                        <a:pt x="652" y="1046"/>
                        <a:pt x="652" y="1046"/>
                        <a:pt x="652" y="1046"/>
                      </a:cubicBezTo>
                      <a:cubicBezTo>
                        <a:pt x="1217" y="481"/>
                        <a:pt x="1217" y="481"/>
                        <a:pt x="1217" y="481"/>
                      </a:cubicBezTo>
                      <a:cubicBezTo>
                        <a:pt x="1217" y="736"/>
                        <a:pt x="1217" y="736"/>
                        <a:pt x="1217" y="736"/>
                      </a:cubicBezTo>
                      <a:cubicBezTo>
                        <a:pt x="1217" y="772"/>
                        <a:pt x="1245" y="801"/>
                        <a:pt x="1281" y="802"/>
                      </a:cubicBezTo>
                      <a:cubicBezTo>
                        <a:pt x="1318" y="802"/>
                        <a:pt x="1349" y="771"/>
                        <a:pt x="1349" y="734"/>
                      </a:cubicBezTo>
                      <a:cubicBezTo>
                        <a:pt x="1349" y="296"/>
                        <a:pt x="1349" y="296"/>
                        <a:pt x="1349" y="296"/>
                      </a:cubicBezTo>
                      <a:cubicBezTo>
                        <a:pt x="1349" y="273"/>
                        <a:pt x="1331" y="256"/>
                        <a:pt x="1309" y="256"/>
                      </a:cubicBezTo>
                      <a:cubicBezTo>
                        <a:pt x="868" y="256"/>
                        <a:pt x="868" y="256"/>
                        <a:pt x="868" y="256"/>
                      </a:cubicBezTo>
                      <a:cubicBezTo>
                        <a:pt x="832" y="256"/>
                        <a:pt x="802" y="285"/>
                        <a:pt x="802" y="322"/>
                      </a:cubicBezTo>
                      <a:cubicBezTo>
                        <a:pt x="802" y="322"/>
                        <a:pt x="802" y="322"/>
                        <a:pt x="802" y="322"/>
                      </a:cubicBezTo>
                      <a:cubicBezTo>
                        <a:pt x="802" y="358"/>
                        <a:pt x="832" y="388"/>
                        <a:pt x="868" y="388"/>
                      </a:cubicBezTo>
                      <a:cubicBezTo>
                        <a:pt x="1123" y="388"/>
                        <a:pt x="1123" y="388"/>
                        <a:pt x="1123" y="388"/>
                      </a:cubicBezTo>
                      <a:cubicBezTo>
                        <a:pt x="559" y="952"/>
                        <a:pt x="559" y="952"/>
                        <a:pt x="559" y="952"/>
                      </a:cubicBezTo>
                      <a:cubicBezTo>
                        <a:pt x="274" y="952"/>
                        <a:pt x="274" y="952"/>
                        <a:pt x="274" y="952"/>
                      </a:cubicBezTo>
                      <a:cubicBezTo>
                        <a:pt x="274" y="10"/>
                        <a:pt x="274" y="10"/>
                        <a:pt x="274" y="10"/>
                      </a:cubicBezTo>
                      <a:cubicBezTo>
                        <a:pt x="274" y="5"/>
                        <a:pt x="278" y="0"/>
                        <a:pt x="284" y="0"/>
                      </a:cubicBezTo>
                      <a:close/>
                      <a:moveTo>
                        <a:pt x="510" y="1084"/>
                      </a:moveTo>
                      <a:cubicBezTo>
                        <a:pt x="10" y="1084"/>
                        <a:pt x="10" y="1084"/>
                        <a:pt x="10" y="1084"/>
                      </a:cubicBezTo>
                      <a:cubicBezTo>
                        <a:pt x="4" y="1084"/>
                        <a:pt x="0" y="1089"/>
                        <a:pt x="0" y="1094"/>
                      </a:cubicBezTo>
                      <a:cubicBezTo>
                        <a:pt x="0" y="1595"/>
                        <a:pt x="0" y="1595"/>
                        <a:pt x="0" y="1595"/>
                      </a:cubicBezTo>
                      <a:cubicBezTo>
                        <a:pt x="0" y="1600"/>
                        <a:pt x="4" y="1605"/>
                        <a:pt x="10" y="1605"/>
                      </a:cubicBezTo>
                      <a:cubicBezTo>
                        <a:pt x="510" y="1605"/>
                        <a:pt x="510" y="1605"/>
                        <a:pt x="510" y="1605"/>
                      </a:cubicBezTo>
                      <a:cubicBezTo>
                        <a:pt x="515" y="1605"/>
                        <a:pt x="520" y="1600"/>
                        <a:pt x="520" y="1595"/>
                      </a:cubicBezTo>
                      <a:cubicBezTo>
                        <a:pt x="520" y="1094"/>
                        <a:pt x="520" y="1094"/>
                        <a:pt x="520" y="1094"/>
                      </a:cubicBezTo>
                      <a:cubicBezTo>
                        <a:pt x="520" y="1089"/>
                        <a:pt x="515" y="1084"/>
                        <a:pt x="510" y="108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dirty="0"/>
                </a:p>
              </p:txBody>
            </p:sp>
          </p:grpSp>
          <p:cxnSp>
            <p:nvCxnSpPr>
              <p:cNvPr id="14" name="Straight Connector 13"/>
              <p:cNvCxnSpPr/>
              <p:nvPr/>
            </p:nvCxnSpPr>
            <p:spPr>
              <a:xfrm flipH="1">
                <a:off x="7741715" y="2914206"/>
                <a:ext cx="1545824" cy="0"/>
              </a:xfrm>
              <a:prstGeom prst="line">
                <a:avLst/>
              </a:prstGeom>
              <a:ln w="9525" cap="rnd">
                <a:solidFill>
                  <a:schemeClr val="tx1"/>
                </a:solidFill>
                <a:prstDash val="solid"/>
                <a:round/>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flipV="1">
                <a:off x="7741715" y="5026732"/>
                <a:ext cx="1545824" cy="7983"/>
              </a:xfrm>
              <a:prstGeom prst="line">
                <a:avLst/>
              </a:prstGeom>
              <a:ln w="9525" cap="rnd">
                <a:solidFill>
                  <a:schemeClr val="tx1"/>
                </a:solidFill>
                <a:prstDash val="solid"/>
                <a:round/>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flipV="1">
                <a:off x="2899831" y="2907500"/>
                <a:ext cx="1545824" cy="13412"/>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H="1" flipV="1">
                <a:off x="2899831" y="5026732"/>
                <a:ext cx="1545824" cy="7983"/>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9300239" y="2481078"/>
                <a:ext cx="0" cy="866256"/>
              </a:xfrm>
              <a:prstGeom prst="line">
                <a:avLst/>
              </a:prstGeom>
              <a:ln w="9525"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9300239" y="4597595"/>
                <a:ext cx="0" cy="866256"/>
              </a:xfrm>
              <a:prstGeom prst="line">
                <a:avLst/>
              </a:prstGeom>
              <a:ln w="9525"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2899831" y="2481078"/>
                <a:ext cx="0" cy="866256"/>
              </a:xfrm>
              <a:prstGeom prst="line">
                <a:avLst/>
              </a:prstGeom>
              <a:ln w="9525"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899831" y="4597595"/>
                <a:ext cx="0" cy="866256"/>
              </a:xfrm>
              <a:prstGeom prst="line">
                <a:avLst/>
              </a:prstGeom>
              <a:ln w="9525"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grpSp>
      </p:grpSp>
      <p:sp>
        <p:nvSpPr>
          <p:cNvPr id="46" name="Rectangle 45"/>
          <p:cNvSpPr/>
          <p:nvPr/>
        </p:nvSpPr>
        <p:spPr>
          <a:xfrm>
            <a:off x="6098028" y="2007172"/>
            <a:ext cx="5839773" cy="4401205"/>
          </a:xfrm>
          <a:prstGeom prst="rect">
            <a:avLst/>
          </a:prstGeom>
        </p:spPr>
        <p:txBody>
          <a:bodyPr wrap="square">
            <a:spAutoFit/>
          </a:bodyPr>
          <a:lstStyle/>
          <a:p>
            <a:pPr marL="324000" lvl="1" indent="-216000">
              <a:buClr>
                <a:schemeClr val="tx2">
                  <a:lumMod val="100000"/>
                </a:schemeClr>
              </a:buClr>
              <a:buSzPct val="100000"/>
              <a:buFont typeface="Trebuchet MS" panose="020B0603020202020204" pitchFamily="34" charset="0"/>
              <a:buChar char="•"/>
            </a:pPr>
            <a:r>
              <a:rPr lang="en-US" sz="2000" dirty="0">
                <a:solidFill>
                  <a:schemeClr val="tx1">
                    <a:lumMod val="100000"/>
                  </a:schemeClr>
                </a:solidFill>
                <a:latin typeface="Trebuchet MS" panose="020B0603020202020204" pitchFamily="34" charset="0"/>
                <a:ea typeface="Calibri" panose="020F0502020204030204" pitchFamily="34" charset="0"/>
                <a:cs typeface="Henderson BCG Sans" panose="020B0502030402020204" pitchFamily="34" charset="0"/>
              </a:rPr>
              <a:t>Examine your assumptions</a:t>
            </a:r>
          </a:p>
          <a:p>
            <a:pPr marL="324000" lvl="1" indent="-216000">
              <a:buClr>
                <a:schemeClr val="tx2">
                  <a:lumMod val="100000"/>
                </a:schemeClr>
              </a:buClr>
              <a:buSzPct val="100000"/>
              <a:buFont typeface="Trebuchet MS" panose="020B0603020202020204" pitchFamily="34" charset="0"/>
              <a:buChar char="•"/>
            </a:pPr>
            <a:r>
              <a:rPr lang="en-US" sz="2000" dirty="0">
                <a:solidFill>
                  <a:schemeClr val="tx1">
                    <a:lumMod val="100000"/>
                  </a:schemeClr>
                </a:solidFill>
                <a:latin typeface="Trebuchet MS" panose="020B0603020202020204" pitchFamily="34" charset="0"/>
                <a:ea typeface="Calibri" panose="020F0502020204030204" pitchFamily="34" charset="0"/>
                <a:cs typeface="Henderson BCG Sans" panose="020B0502030402020204" pitchFamily="34" charset="0"/>
              </a:rPr>
              <a:t>Make a habit of asking questions</a:t>
            </a:r>
          </a:p>
          <a:p>
            <a:pPr marL="324000" lvl="1" indent="-216000">
              <a:buClr>
                <a:schemeClr val="tx2">
                  <a:lumMod val="100000"/>
                </a:schemeClr>
              </a:buClr>
              <a:buSzPct val="100000"/>
              <a:buFont typeface="Trebuchet MS" panose="020B0603020202020204" pitchFamily="34" charset="0"/>
              <a:buChar char="•"/>
            </a:pPr>
            <a:r>
              <a:rPr lang="en-US" sz="2000" dirty="0">
                <a:solidFill>
                  <a:schemeClr val="tx1">
                    <a:lumMod val="100000"/>
                  </a:schemeClr>
                </a:solidFill>
                <a:latin typeface="Trebuchet MS" panose="020B0603020202020204" pitchFamily="34" charset="0"/>
                <a:ea typeface="Calibri" panose="020F0502020204030204" pitchFamily="34" charset="0"/>
                <a:cs typeface="Henderson BCG Sans" panose="020B0502030402020204" pitchFamily="34" charset="0"/>
              </a:rPr>
              <a:t>Ensure all voices are heard</a:t>
            </a:r>
          </a:p>
          <a:p>
            <a:pPr marL="324000" lvl="1" indent="-216000">
              <a:buClr>
                <a:schemeClr val="tx2">
                  <a:lumMod val="100000"/>
                </a:schemeClr>
              </a:buClr>
              <a:buSzPct val="100000"/>
              <a:buFont typeface="Trebuchet MS" panose="020B0603020202020204" pitchFamily="34" charset="0"/>
              <a:buChar char="•"/>
            </a:pPr>
            <a:r>
              <a:rPr lang="en-US" sz="2000" dirty="0">
                <a:solidFill>
                  <a:schemeClr val="tx1">
                    <a:lumMod val="100000"/>
                  </a:schemeClr>
                </a:solidFill>
                <a:latin typeface="Trebuchet MS" panose="020B0603020202020204" pitchFamily="34" charset="0"/>
                <a:ea typeface="Calibri" panose="020F0502020204030204" pitchFamily="34" charset="0"/>
                <a:cs typeface="Henderson BCG Sans" panose="020B0502030402020204" pitchFamily="34" charset="0"/>
              </a:rPr>
              <a:t>Listen carefully to the person speaking until she or he feels understood</a:t>
            </a:r>
          </a:p>
          <a:p>
            <a:pPr marL="324000" lvl="1" indent="-216000">
              <a:buClr>
                <a:schemeClr val="tx2">
                  <a:lumMod val="100000"/>
                </a:schemeClr>
              </a:buClr>
              <a:buSzPct val="100000"/>
              <a:buFont typeface="Trebuchet MS" panose="020B0603020202020204" pitchFamily="34" charset="0"/>
              <a:buChar char="•"/>
            </a:pPr>
            <a:r>
              <a:rPr lang="en-US" sz="2000" dirty="0">
                <a:solidFill>
                  <a:schemeClr val="tx1">
                    <a:lumMod val="100000"/>
                  </a:schemeClr>
                </a:solidFill>
                <a:latin typeface="Trebuchet MS" panose="020B0603020202020204" pitchFamily="34" charset="0"/>
                <a:ea typeface="Calibri" panose="020F0502020204030204" pitchFamily="34" charset="0"/>
                <a:cs typeface="Henderson BCG Sans" panose="020B0502030402020204" pitchFamily="34" charset="0"/>
              </a:rPr>
              <a:t>Address misunderstandings and resolve disagreements</a:t>
            </a:r>
          </a:p>
          <a:p>
            <a:pPr marL="324000" lvl="1" indent="-216000">
              <a:buClr>
                <a:schemeClr val="tx2">
                  <a:lumMod val="100000"/>
                </a:schemeClr>
              </a:buClr>
              <a:buSzPct val="100000"/>
              <a:buFont typeface="Trebuchet MS" panose="020B0603020202020204" pitchFamily="34" charset="0"/>
              <a:buChar char="•"/>
            </a:pPr>
            <a:r>
              <a:rPr lang="en-US" sz="2000" dirty="0">
                <a:solidFill>
                  <a:schemeClr val="tx1">
                    <a:lumMod val="100000"/>
                  </a:schemeClr>
                </a:solidFill>
                <a:latin typeface="Trebuchet MS" panose="020B0603020202020204" pitchFamily="34" charset="0"/>
                <a:ea typeface="Calibri" panose="020F0502020204030204" pitchFamily="34" charset="0"/>
                <a:cs typeface="Henderson BCG Sans" panose="020B0502030402020204" pitchFamily="34" charset="0"/>
              </a:rPr>
              <a:t>If you have a strong reaction to someone, ask yourself why</a:t>
            </a:r>
          </a:p>
          <a:p>
            <a:pPr marL="324000" lvl="1" indent="-216000">
              <a:buClr>
                <a:schemeClr val="tx2">
                  <a:lumMod val="100000"/>
                </a:schemeClr>
              </a:buClr>
              <a:buSzPct val="100000"/>
              <a:buFont typeface="Trebuchet MS" panose="020B0603020202020204" pitchFamily="34" charset="0"/>
              <a:buChar char="•"/>
            </a:pPr>
            <a:r>
              <a:rPr lang="en-US" sz="2000" dirty="0">
                <a:solidFill>
                  <a:schemeClr val="tx1">
                    <a:lumMod val="100000"/>
                  </a:schemeClr>
                </a:solidFill>
                <a:latin typeface="Trebuchet MS" panose="020B0603020202020204" pitchFamily="34" charset="0"/>
                <a:ea typeface="Calibri" panose="020F0502020204030204" pitchFamily="34" charset="0"/>
                <a:cs typeface="Henderson BCG Sans" panose="020B0502030402020204" pitchFamily="34" charset="0"/>
              </a:rPr>
              <a:t>Include and seek input from people with a wide variety of backgrounds</a:t>
            </a:r>
          </a:p>
          <a:p>
            <a:pPr marL="324000" lvl="1" indent="-216000">
              <a:buClr>
                <a:schemeClr val="tx2">
                  <a:lumMod val="100000"/>
                </a:schemeClr>
              </a:buClr>
              <a:buSzPct val="100000"/>
              <a:buFont typeface="Trebuchet MS" panose="020B0603020202020204" pitchFamily="34" charset="0"/>
              <a:buChar char="•"/>
            </a:pPr>
            <a:r>
              <a:rPr lang="en-US" sz="2000" dirty="0">
                <a:solidFill>
                  <a:schemeClr val="tx1">
                    <a:lumMod val="100000"/>
                  </a:schemeClr>
                </a:solidFill>
                <a:latin typeface="Trebuchet MS" panose="020B0603020202020204" pitchFamily="34" charset="0"/>
                <a:ea typeface="Calibri" panose="020F0502020204030204" pitchFamily="34" charset="0"/>
                <a:cs typeface="Henderson BCG Sans" panose="020B0502030402020204" pitchFamily="34" charset="0"/>
              </a:rPr>
              <a:t>Take actions to reduce stressful situations</a:t>
            </a:r>
          </a:p>
          <a:p>
            <a:pPr marL="324000" lvl="1" indent="-216000">
              <a:buClr>
                <a:schemeClr val="tx2">
                  <a:lumMod val="100000"/>
                </a:schemeClr>
              </a:buClr>
              <a:buSzPct val="100000"/>
              <a:buFont typeface="Trebuchet MS" panose="020B0603020202020204" pitchFamily="34" charset="0"/>
              <a:buChar char="•"/>
            </a:pPr>
            <a:r>
              <a:rPr lang="en-US" sz="2000" dirty="0">
                <a:solidFill>
                  <a:schemeClr val="tx1">
                    <a:lumMod val="100000"/>
                  </a:schemeClr>
                </a:solidFill>
                <a:latin typeface="Trebuchet MS" panose="020B0603020202020204" pitchFamily="34" charset="0"/>
                <a:ea typeface="Calibri" panose="020F0502020204030204" pitchFamily="34" charset="0"/>
                <a:cs typeface="Henderson BCG Sans" panose="020B0502030402020204" pitchFamily="34" charset="0"/>
              </a:rPr>
              <a:t>Understand each person's contributions</a:t>
            </a:r>
          </a:p>
          <a:p>
            <a:pPr marL="324000" lvl="1" indent="-216000">
              <a:buClr>
                <a:schemeClr val="tx2">
                  <a:lumMod val="100000"/>
                </a:schemeClr>
              </a:buClr>
              <a:buSzPct val="100000"/>
              <a:buFont typeface="Trebuchet MS" panose="020B0603020202020204" pitchFamily="34" charset="0"/>
              <a:buChar char="•"/>
            </a:pPr>
            <a:r>
              <a:rPr lang="en-US" sz="2000" dirty="0">
                <a:solidFill>
                  <a:schemeClr val="tx1">
                    <a:lumMod val="100000"/>
                  </a:schemeClr>
                </a:solidFill>
                <a:latin typeface="Trebuchet MS" panose="020B0603020202020204" pitchFamily="34" charset="0"/>
                <a:ea typeface="Calibri" panose="020F0502020204030204" pitchFamily="34" charset="0"/>
                <a:cs typeface="Henderson BCG Sans" panose="020B0502030402020204" pitchFamily="34" charset="0"/>
              </a:rPr>
              <a:t>Be brave</a:t>
            </a:r>
            <a:endParaRPr lang="en-US" sz="2000" dirty="0">
              <a:solidFill>
                <a:schemeClr val="tx1">
                  <a:lumMod val="100000"/>
                </a:schemeClr>
              </a:solidFill>
              <a:effectLst/>
              <a:latin typeface="Trebuchet MS" panose="020B0603020202020204" pitchFamily="34" charset="0"/>
              <a:ea typeface="Calibri" panose="020F0502020204030204" pitchFamily="34" charset="0"/>
              <a:cs typeface="Henderson BCG Sans" panose="020B0502030402020204" pitchFamily="34" charset="0"/>
            </a:endParaRPr>
          </a:p>
        </p:txBody>
      </p:sp>
      <p:cxnSp>
        <p:nvCxnSpPr>
          <p:cNvPr id="48" name="Straight Connector 47"/>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9669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7" name="Object 226" hidden="1"/>
          <p:cNvGraphicFramePr>
            <a:graphicFrameLocks noChangeAspect="1"/>
          </p:cNvGraphicFramePr>
          <p:nvPr>
            <p:custDataLst>
              <p:tags r:id="rId2"/>
            </p:custDataLst>
          </p:nvPr>
        </p:nvGraphicFramePr>
        <p:xfrm>
          <a:off x="1296145" y="106498"/>
          <a:ext cx="1538" cy="1538"/>
        </p:xfrm>
        <a:graphic>
          <a:graphicData uri="http://schemas.openxmlformats.org/presentationml/2006/ole">
            <mc:AlternateContent xmlns:mc="http://schemas.openxmlformats.org/markup-compatibility/2006">
              <mc:Choice xmlns:v="urn:schemas-microsoft-com:vml" Requires="v">
                <p:oleObj spid="_x0000_s10756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96145" y="106498"/>
                        <a:ext cx="1538" cy="1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30000" y="622800"/>
            <a:ext cx="10933200" cy="941796"/>
          </a:xfrm>
          <a:prstGeom prst="rect">
            <a:avLst/>
          </a:prstGeom>
        </p:spPr>
        <p:txBody>
          <a:bodyPr>
            <a:spAutoFit/>
          </a:bodyPr>
          <a:lstStyle/>
          <a:p>
            <a:r>
              <a:rPr lang="en-US" dirty="0"/>
              <a:t>Activation through leaders and aligning context key to culture change</a:t>
            </a:r>
          </a:p>
        </p:txBody>
      </p:sp>
      <p:sp>
        <p:nvSpPr>
          <p:cNvPr id="195" name="Freeform 6"/>
          <p:cNvSpPr>
            <a:spLocks/>
          </p:cNvSpPr>
          <p:nvPr/>
        </p:nvSpPr>
        <p:spPr bwMode="auto">
          <a:xfrm>
            <a:off x="5615641" y="2166872"/>
            <a:ext cx="351795" cy="382265"/>
          </a:xfrm>
          <a:custGeom>
            <a:avLst/>
            <a:gdLst/>
            <a:ahLst/>
            <a:cxnLst>
              <a:cxn ang="0">
                <a:pos x="341" y="229"/>
              </a:cxn>
              <a:cxn ang="0">
                <a:pos x="278" y="292"/>
              </a:cxn>
              <a:cxn ang="0">
                <a:pos x="278" y="57"/>
              </a:cxn>
              <a:cxn ang="0">
                <a:pos x="222" y="0"/>
              </a:cxn>
              <a:cxn ang="0">
                <a:pos x="165" y="57"/>
              </a:cxn>
              <a:cxn ang="0">
                <a:pos x="165" y="292"/>
              </a:cxn>
              <a:cxn ang="0">
                <a:pos x="102" y="229"/>
              </a:cxn>
              <a:cxn ang="0">
                <a:pos x="22" y="229"/>
              </a:cxn>
              <a:cxn ang="0">
                <a:pos x="22" y="309"/>
              </a:cxn>
              <a:cxn ang="0">
                <a:pos x="182" y="469"/>
              </a:cxn>
              <a:cxn ang="0">
                <a:pos x="182" y="469"/>
              </a:cxn>
              <a:cxn ang="0">
                <a:pos x="222" y="485"/>
              </a:cxn>
              <a:cxn ang="0">
                <a:pos x="243" y="481"/>
              </a:cxn>
              <a:cxn ang="0">
                <a:pos x="261" y="469"/>
              </a:cxn>
              <a:cxn ang="0">
                <a:pos x="421" y="309"/>
              </a:cxn>
              <a:cxn ang="0">
                <a:pos x="421" y="229"/>
              </a:cxn>
              <a:cxn ang="0">
                <a:pos x="341" y="229"/>
              </a:cxn>
            </a:cxnLst>
            <a:rect l="0" t="0" r="r" b="b"/>
            <a:pathLst>
              <a:path w="443" h="485">
                <a:moveTo>
                  <a:pt x="341" y="229"/>
                </a:moveTo>
                <a:lnTo>
                  <a:pt x="278" y="292"/>
                </a:lnTo>
                <a:lnTo>
                  <a:pt x="278" y="57"/>
                </a:lnTo>
                <a:cubicBezTo>
                  <a:pt x="278" y="26"/>
                  <a:pt x="253" y="0"/>
                  <a:pt x="222" y="0"/>
                </a:cubicBezTo>
                <a:cubicBezTo>
                  <a:pt x="190" y="0"/>
                  <a:pt x="165" y="26"/>
                  <a:pt x="165" y="57"/>
                </a:cubicBezTo>
                <a:lnTo>
                  <a:pt x="165" y="292"/>
                </a:lnTo>
                <a:lnTo>
                  <a:pt x="102" y="229"/>
                </a:lnTo>
                <a:cubicBezTo>
                  <a:pt x="80" y="207"/>
                  <a:pt x="44" y="207"/>
                  <a:pt x="22" y="229"/>
                </a:cubicBezTo>
                <a:cubicBezTo>
                  <a:pt x="0" y="251"/>
                  <a:pt x="0" y="287"/>
                  <a:pt x="22" y="309"/>
                </a:cubicBezTo>
                <a:lnTo>
                  <a:pt x="182" y="469"/>
                </a:lnTo>
                <a:lnTo>
                  <a:pt x="182" y="469"/>
                </a:lnTo>
                <a:cubicBezTo>
                  <a:pt x="193" y="480"/>
                  <a:pt x="207" y="485"/>
                  <a:pt x="222" y="485"/>
                </a:cubicBezTo>
                <a:cubicBezTo>
                  <a:pt x="229" y="485"/>
                  <a:pt x="236" y="484"/>
                  <a:pt x="243" y="481"/>
                </a:cubicBezTo>
                <a:cubicBezTo>
                  <a:pt x="250" y="478"/>
                  <a:pt x="256" y="474"/>
                  <a:pt x="261" y="469"/>
                </a:cubicBezTo>
                <a:lnTo>
                  <a:pt x="421" y="309"/>
                </a:lnTo>
                <a:cubicBezTo>
                  <a:pt x="443" y="287"/>
                  <a:pt x="443" y="251"/>
                  <a:pt x="421" y="229"/>
                </a:cubicBezTo>
                <a:cubicBezTo>
                  <a:pt x="399" y="207"/>
                  <a:pt x="363" y="207"/>
                  <a:pt x="341" y="229"/>
                </a:cubicBezTo>
                <a:close/>
              </a:path>
            </a:pathLst>
          </a:custGeom>
          <a:solidFill>
            <a:srgbClr val="29BA74"/>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srgbClr val="29BA74"/>
              </a:solidFill>
              <a:latin typeface="Calibri" panose="020F0502020204030204"/>
            </a:endParaRPr>
          </a:p>
        </p:txBody>
      </p:sp>
      <p:sp>
        <p:nvSpPr>
          <p:cNvPr id="196" name="Freeform 6"/>
          <p:cNvSpPr>
            <a:spLocks/>
          </p:cNvSpPr>
          <p:nvPr/>
        </p:nvSpPr>
        <p:spPr bwMode="auto">
          <a:xfrm rot="14240325">
            <a:off x="4163052" y="5322356"/>
            <a:ext cx="351795" cy="382265"/>
          </a:xfrm>
          <a:custGeom>
            <a:avLst/>
            <a:gdLst/>
            <a:ahLst/>
            <a:cxnLst>
              <a:cxn ang="0">
                <a:pos x="341" y="229"/>
              </a:cxn>
              <a:cxn ang="0">
                <a:pos x="278" y="292"/>
              </a:cxn>
              <a:cxn ang="0">
                <a:pos x="278" y="57"/>
              </a:cxn>
              <a:cxn ang="0">
                <a:pos x="222" y="0"/>
              </a:cxn>
              <a:cxn ang="0">
                <a:pos x="165" y="57"/>
              </a:cxn>
              <a:cxn ang="0">
                <a:pos x="165" y="292"/>
              </a:cxn>
              <a:cxn ang="0">
                <a:pos x="102" y="229"/>
              </a:cxn>
              <a:cxn ang="0">
                <a:pos x="22" y="229"/>
              </a:cxn>
              <a:cxn ang="0">
                <a:pos x="22" y="309"/>
              </a:cxn>
              <a:cxn ang="0">
                <a:pos x="182" y="469"/>
              </a:cxn>
              <a:cxn ang="0">
                <a:pos x="182" y="469"/>
              </a:cxn>
              <a:cxn ang="0">
                <a:pos x="222" y="485"/>
              </a:cxn>
              <a:cxn ang="0">
                <a:pos x="243" y="481"/>
              </a:cxn>
              <a:cxn ang="0">
                <a:pos x="261" y="469"/>
              </a:cxn>
              <a:cxn ang="0">
                <a:pos x="421" y="309"/>
              </a:cxn>
              <a:cxn ang="0">
                <a:pos x="421" y="229"/>
              </a:cxn>
              <a:cxn ang="0">
                <a:pos x="341" y="229"/>
              </a:cxn>
            </a:cxnLst>
            <a:rect l="0" t="0" r="r" b="b"/>
            <a:pathLst>
              <a:path w="443" h="485">
                <a:moveTo>
                  <a:pt x="341" y="229"/>
                </a:moveTo>
                <a:lnTo>
                  <a:pt x="278" y="292"/>
                </a:lnTo>
                <a:lnTo>
                  <a:pt x="278" y="57"/>
                </a:lnTo>
                <a:cubicBezTo>
                  <a:pt x="278" y="26"/>
                  <a:pt x="253" y="0"/>
                  <a:pt x="222" y="0"/>
                </a:cubicBezTo>
                <a:cubicBezTo>
                  <a:pt x="190" y="0"/>
                  <a:pt x="165" y="26"/>
                  <a:pt x="165" y="57"/>
                </a:cubicBezTo>
                <a:lnTo>
                  <a:pt x="165" y="292"/>
                </a:lnTo>
                <a:lnTo>
                  <a:pt x="102" y="229"/>
                </a:lnTo>
                <a:cubicBezTo>
                  <a:pt x="80" y="207"/>
                  <a:pt x="44" y="207"/>
                  <a:pt x="22" y="229"/>
                </a:cubicBezTo>
                <a:cubicBezTo>
                  <a:pt x="0" y="251"/>
                  <a:pt x="0" y="287"/>
                  <a:pt x="22" y="309"/>
                </a:cubicBezTo>
                <a:lnTo>
                  <a:pt x="182" y="469"/>
                </a:lnTo>
                <a:lnTo>
                  <a:pt x="182" y="469"/>
                </a:lnTo>
                <a:cubicBezTo>
                  <a:pt x="193" y="480"/>
                  <a:pt x="207" y="485"/>
                  <a:pt x="222" y="485"/>
                </a:cubicBezTo>
                <a:cubicBezTo>
                  <a:pt x="229" y="485"/>
                  <a:pt x="236" y="484"/>
                  <a:pt x="243" y="481"/>
                </a:cubicBezTo>
                <a:cubicBezTo>
                  <a:pt x="250" y="478"/>
                  <a:pt x="256" y="474"/>
                  <a:pt x="261" y="469"/>
                </a:cubicBezTo>
                <a:lnTo>
                  <a:pt x="421" y="309"/>
                </a:lnTo>
                <a:cubicBezTo>
                  <a:pt x="443" y="287"/>
                  <a:pt x="443" y="251"/>
                  <a:pt x="421" y="229"/>
                </a:cubicBezTo>
                <a:cubicBezTo>
                  <a:pt x="399" y="207"/>
                  <a:pt x="363" y="207"/>
                  <a:pt x="341" y="229"/>
                </a:cubicBezTo>
                <a:close/>
              </a:path>
            </a:pathLst>
          </a:custGeom>
          <a:solidFill>
            <a:srgbClr val="29BA74"/>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srgbClr val="29BA74"/>
              </a:solidFill>
              <a:latin typeface="Calibri" panose="020F0502020204030204"/>
            </a:endParaRPr>
          </a:p>
        </p:txBody>
      </p:sp>
      <p:sp>
        <p:nvSpPr>
          <p:cNvPr id="197" name="Freeform 6"/>
          <p:cNvSpPr>
            <a:spLocks/>
          </p:cNvSpPr>
          <p:nvPr/>
        </p:nvSpPr>
        <p:spPr bwMode="auto">
          <a:xfrm rot="7359675" flipH="1">
            <a:off x="8039252" y="5189303"/>
            <a:ext cx="351795" cy="382265"/>
          </a:xfrm>
          <a:custGeom>
            <a:avLst/>
            <a:gdLst/>
            <a:ahLst/>
            <a:cxnLst>
              <a:cxn ang="0">
                <a:pos x="341" y="229"/>
              </a:cxn>
              <a:cxn ang="0">
                <a:pos x="278" y="292"/>
              </a:cxn>
              <a:cxn ang="0">
                <a:pos x="278" y="57"/>
              </a:cxn>
              <a:cxn ang="0">
                <a:pos x="222" y="0"/>
              </a:cxn>
              <a:cxn ang="0">
                <a:pos x="165" y="57"/>
              </a:cxn>
              <a:cxn ang="0">
                <a:pos x="165" y="292"/>
              </a:cxn>
              <a:cxn ang="0">
                <a:pos x="102" y="229"/>
              </a:cxn>
              <a:cxn ang="0">
                <a:pos x="22" y="229"/>
              </a:cxn>
              <a:cxn ang="0">
                <a:pos x="22" y="309"/>
              </a:cxn>
              <a:cxn ang="0">
                <a:pos x="182" y="469"/>
              </a:cxn>
              <a:cxn ang="0">
                <a:pos x="182" y="469"/>
              </a:cxn>
              <a:cxn ang="0">
                <a:pos x="222" y="485"/>
              </a:cxn>
              <a:cxn ang="0">
                <a:pos x="243" y="481"/>
              </a:cxn>
              <a:cxn ang="0">
                <a:pos x="261" y="469"/>
              </a:cxn>
              <a:cxn ang="0">
                <a:pos x="421" y="309"/>
              </a:cxn>
              <a:cxn ang="0">
                <a:pos x="421" y="229"/>
              </a:cxn>
              <a:cxn ang="0">
                <a:pos x="341" y="229"/>
              </a:cxn>
            </a:cxnLst>
            <a:rect l="0" t="0" r="r" b="b"/>
            <a:pathLst>
              <a:path w="443" h="485">
                <a:moveTo>
                  <a:pt x="341" y="229"/>
                </a:moveTo>
                <a:lnTo>
                  <a:pt x="278" y="292"/>
                </a:lnTo>
                <a:lnTo>
                  <a:pt x="278" y="57"/>
                </a:lnTo>
                <a:cubicBezTo>
                  <a:pt x="278" y="26"/>
                  <a:pt x="253" y="0"/>
                  <a:pt x="222" y="0"/>
                </a:cubicBezTo>
                <a:cubicBezTo>
                  <a:pt x="190" y="0"/>
                  <a:pt x="165" y="26"/>
                  <a:pt x="165" y="57"/>
                </a:cubicBezTo>
                <a:lnTo>
                  <a:pt x="165" y="292"/>
                </a:lnTo>
                <a:lnTo>
                  <a:pt x="102" y="229"/>
                </a:lnTo>
                <a:cubicBezTo>
                  <a:pt x="80" y="207"/>
                  <a:pt x="44" y="207"/>
                  <a:pt x="22" y="229"/>
                </a:cubicBezTo>
                <a:cubicBezTo>
                  <a:pt x="0" y="251"/>
                  <a:pt x="0" y="287"/>
                  <a:pt x="22" y="309"/>
                </a:cubicBezTo>
                <a:lnTo>
                  <a:pt x="182" y="469"/>
                </a:lnTo>
                <a:lnTo>
                  <a:pt x="182" y="469"/>
                </a:lnTo>
                <a:cubicBezTo>
                  <a:pt x="193" y="480"/>
                  <a:pt x="207" y="485"/>
                  <a:pt x="222" y="485"/>
                </a:cubicBezTo>
                <a:cubicBezTo>
                  <a:pt x="229" y="485"/>
                  <a:pt x="236" y="484"/>
                  <a:pt x="243" y="481"/>
                </a:cubicBezTo>
                <a:cubicBezTo>
                  <a:pt x="250" y="478"/>
                  <a:pt x="256" y="474"/>
                  <a:pt x="261" y="469"/>
                </a:cubicBezTo>
                <a:lnTo>
                  <a:pt x="421" y="309"/>
                </a:lnTo>
                <a:cubicBezTo>
                  <a:pt x="443" y="287"/>
                  <a:pt x="443" y="251"/>
                  <a:pt x="421" y="229"/>
                </a:cubicBezTo>
                <a:cubicBezTo>
                  <a:pt x="399" y="207"/>
                  <a:pt x="363" y="207"/>
                  <a:pt x="341" y="229"/>
                </a:cubicBezTo>
                <a:close/>
              </a:path>
            </a:pathLst>
          </a:custGeom>
          <a:solidFill>
            <a:srgbClr val="29BA74"/>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srgbClr val="29BA74"/>
              </a:solidFill>
              <a:latin typeface="Calibri" panose="020F0502020204030204"/>
            </a:endParaRPr>
          </a:p>
        </p:txBody>
      </p:sp>
      <p:sp>
        <p:nvSpPr>
          <p:cNvPr id="198" name="Freeform 6"/>
          <p:cNvSpPr>
            <a:spLocks/>
          </p:cNvSpPr>
          <p:nvPr/>
        </p:nvSpPr>
        <p:spPr bwMode="auto">
          <a:xfrm rot="8998509" flipV="1">
            <a:off x="3720933" y="2757901"/>
            <a:ext cx="351795" cy="382265"/>
          </a:xfrm>
          <a:custGeom>
            <a:avLst/>
            <a:gdLst/>
            <a:ahLst/>
            <a:cxnLst>
              <a:cxn ang="0">
                <a:pos x="341" y="229"/>
              </a:cxn>
              <a:cxn ang="0">
                <a:pos x="278" y="292"/>
              </a:cxn>
              <a:cxn ang="0">
                <a:pos x="278" y="57"/>
              </a:cxn>
              <a:cxn ang="0">
                <a:pos x="222" y="0"/>
              </a:cxn>
              <a:cxn ang="0">
                <a:pos x="165" y="57"/>
              </a:cxn>
              <a:cxn ang="0">
                <a:pos x="165" y="292"/>
              </a:cxn>
              <a:cxn ang="0">
                <a:pos x="102" y="229"/>
              </a:cxn>
              <a:cxn ang="0">
                <a:pos x="22" y="229"/>
              </a:cxn>
              <a:cxn ang="0">
                <a:pos x="22" y="309"/>
              </a:cxn>
              <a:cxn ang="0">
                <a:pos x="182" y="469"/>
              </a:cxn>
              <a:cxn ang="0">
                <a:pos x="182" y="469"/>
              </a:cxn>
              <a:cxn ang="0">
                <a:pos x="222" y="485"/>
              </a:cxn>
              <a:cxn ang="0">
                <a:pos x="243" y="481"/>
              </a:cxn>
              <a:cxn ang="0">
                <a:pos x="261" y="469"/>
              </a:cxn>
              <a:cxn ang="0">
                <a:pos x="421" y="309"/>
              </a:cxn>
              <a:cxn ang="0">
                <a:pos x="421" y="229"/>
              </a:cxn>
              <a:cxn ang="0">
                <a:pos x="341" y="229"/>
              </a:cxn>
            </a:cxnLst>
            <a:rect l="0" t="0" r="r" b="b"/>
            <a:pathLst>
              <a:path w="443" h="485">
                <a:moveTo>
                  <a:pt x="341" y="229"/>
                </a:moveTo>
                <a:lnTo>
                  <a:pt x="278" y="292"/>
                </a:lnTo>
                <a:lnTo>
                  <a:pt x="278" y="57"/>
                </a:lnTo>
                <a:cubicBezTo>
                  <a:pt x="278" y="26"/>
                  <a:pt x="253" y="0"/>
                  <a:pt x="222" y="0"/>
                </a:cubicBezTo>
                <a:cubicBezTo>
                  <a:pt x="190" y="0"/>
                  <a:pt x="165" y="26"/>
                  <a:pt x="165" y="57"/>
                </a:cubicBezTo>
                <a:lnTo>
                  <a:pt x="165" y="292"/>
                </a:lnTo>
                <a:lnTo>
                  <a:pt x="102" y="229"/>
                </a:lnTo>
                <a:cubicBezTo>
                  <a:pt x="80" y="207"/>
                  <a:pt x="44" y="207"/>
                  <a:pt x="22" y="229"/>
                </a:cubicBezTo>
                <a:cubicBezTo>
                  <a:pt x="0" y="251"/>
                  <a:pt x="0" y="287"/>
                  <a:pt x="22" y="309"/>
                </a:cubicBezTo>
                <a:lnTo>
                  <a:pt x="182" y="469"/>
                </a:lnTo>
                <a:lnTo>
                  <a:pt x="182" y="469"/>
                </a:lnTo>
                <a:cubicBezTo>
                  <a:pt x="193" y="480"/>
                  <a:pt x="207" y="485"/>
                  <a:pt x="222" y="485"/>
                </a:cubicBezTo>
                <a:cubicBezTo>
                  <a:pt x="229" y="485"/>
                  <a:pt x="236" y="484"/>
                  <a:pt x="243" y="481"/>
                </a:cubicBezTo>
                <a:cubicBezTo>
                  <a:pt x="250" y="478"/>
                  <a:pt x="256" y="474"/>
                  <a:pt x="261" y="469"/>
                </a:cubicBezTo>
                <a:lnTo>
                  <a:pt x="421" y="309"/>
                </a:lnTo>
                <a:cubicBezTo>
                  <a:pt x="443" y="287"/>
                  <a:pt x="443" y="251"/>
                  <a:pt x="421" y="229"/>
                </a:cubicBezTo>
                <a:cubicBezTo>
                  <a:pt x="399" y="207"/>
                  <a:pt x="363" y="207"/>
                  <a:pt x="341" y="229"/>
                </a:cubicBezTo>
                <a:close/>
              </a:path>
            </a:pathLst>
          </a:custGeom>
          <a:solidFill>
            <a:srgbClr val="29BA74"/>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srgbClr val="29BA74"/>
              </a:solidFill>
              <a:latin typeface="Calibri" panose="020F0502020204030204"/>
            </a:endParaRPr>
          </a:p>
        </p:txBody>
      </p:sp>
      <p:sp>
        <p:nvSpPr>
          <p:cNvPr id="199" name="Freeform 6"/>
          <p:cNvSpPr>
            <a:spLocks/>
          </p:cNvSpPr>
          <p:nvPr/>
        </p:nvSpPr>
        <p:spPr bwMode="auto">
          <a:xfrm rot="14240325" flipH="1" flipV="1">
            <a:off x="8068450" y="2822938"/>
            <a:ext cx="351795" cy="382265"/>
          </a:xfrm>
          <a:custGeom>
            <a:avLst/>
            <a:gdLst/>
            <a:ahLst/>
            <a:cxnLst>
              <a:cxn ang="0">
                <a:pos x="341" y="229"/>
              </a:cxn>
              <a:cxn ang="0">
                <a:pos x="278" y="292"/>
              </a:cxn>
              <a:cxn ang="0">
                <a:pos x="278" y="57"/>
              </a:cxn>
              <a:cxn ang="0">
                <a:pos x="222" y="0"/>
              </a:cxn>
              <a:cxn ang="0">
                <a:pos x="165" y="57"/>
              </a:cxn>
              <a:cxn ang="0">
                <a:pos x="165" y="292"/>
              </a:cxn>
              <a:cxn ang="0">
                <a:pos x="102" y="229"/>
              </a:cxn>
              <a:cxn ang="0">
                <a:pos x="22" y="229"/>
              </a:cxn>
              <a:cxn ang="0">
                <a:pos x="22" y="309"/>
              </a:cxn>
              <a:cxn ang="0">
                <a:pos x="182" y="469"/>
              </a:cxn>
              <a:cxn ang="0">
                <a:pos x="182" y="469"/>
              </a:cxn>
              <a:cxn ang="0">
                <a:pos x="222" y="485"/>
              </a:cxn>
              <a:cxn ang="0">
                <a:pos x="243" y="481"/>
              </a:cxn>
              <a:cxn ang="0">
                <a:pos x="261" y="469"/>
              </a:cxn>
              <a:cxn ang="0">
                <a:pos x="421" y="309"/>
              </a:cxn>
              <a:cxn ang="0">
                <a:pos x="421" y="229"/>
              </a:cxn>
              <a:cxn ang="0">
                <a:pos x="341" y="229"/>
              </a:cxn>
            </a:cxnLst>
            <a:rect l="0" t="0" r="r" b="b"/>
            <a:pathLst>
              <a:path w="443" h="485">
                <a:moveTo>
                  <a:pt x="341" y="229"/>
                </a:moveTo>
                <a:lnTo>
                  <a:pt x="278" y="292"/>
                </a:lnTo>
                <a:lnTo>
                  <a:pt x="278" y="57"/>
                </a:lnTo>
                <a:cubicBezTo>
                  <a:pt x="278" y="26"/>
                  <a:pt x="253" y="0"/>
                  <a:pt x="222" y="0"/>
                </a:cubicBezTo>
                <a:cubicBezTo>
                  <a:pt x="190" y="0"/>
                  <a:pt x="165" y="26"/>
                  <a:pt x="165" y="57"/>
                </a:cubicBezTo>
                <a:lnTo>
                  <a:pt x="165" y="292"/>
                </a:lnTo>
                <a:lnTo>
                  <a:pt x="102" y="229"/>
                </a:lnTo>
                <a:cubicBezTo>
                  <a:pt x="80" y="207"/>
                  <a:pt x="44" y="207"/>
                  <a:pt x="22" y="229"/>
                </a:cubicBezTo>
                <a:cubicBezTo>
                  <a:pt x="0" y="251"/>
                  <a:pt x="0" y="287"/>
                  <a:pt x="22" y="309"/>
                </a:cubicBezTo>
                <a:lnTo>
                  <a:pt x="182" y="469"/>
                </a:lnTo>
                <a:lnTo>
                  <a:pt x="182" y="469"/>
                </a:lnTo>
                <a:cubicBezTo>
                  <a:pt x="193" y="480"/>
                  <a:pt x="207" y="485"/>
                  <a:pt x="222" y="485"/>
                </a:cubicBezTo>
                <a:cubicBezTo>
                  <a:pt x="229" y="485"/>
                  <a:pt x="236" y="484"/>
                  <a:pt x="243" y="481"/>
                </a:cubicBezTo>
                <a:cubicBezTo>
                  <a:pt x="250" y="478"/>
                  <a:pt x="256" y="474"/>
                  <a:pt x="261" y="469"/>
                </a:cubicBezTo>
                <a:lnTo>
                  <a:pt x="421" y="309"/>
                </a:lnTo>
                <a:cubicBezTo>
                  <a:pt x="443" y="287"/>
                  <a:pt x="443" y="251"/>
                  <a:pt x="421" y="229"/>
                </a:cubicBezTo>
                <a:cubicBezTo>
                  <a:pt x="399" y="207"/>
                  <a:pt x="363" y="207"/>
                  <a:pt x="341" y="229"/>
                </a:cubicBezTo>
                <a:close/>
              </a:path>
            </a:pathLst>
          </a:custGeom>
          <a:solidFill>
            <a:srgbClr val="29BA74"/>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srgbClr val="29BA74"/>
              </a:solidFill>
              <a:latin typeface="Calibri" panose="020F0502020204030204"/>
            </a:endParaRPr>
          </a:p>
        </p:txBody>
      </p:sp>
      <p:sp>
        <p:nvSpPr>
          <p:cNvPr id="200" name="Freeform 6"/>
          <p:cNvSpPr>
            <a:spLocks/>
          </p:cNvSpPr>
          <p:nvPr/>
        </p:nvSpPr>
        <p:spPr bwMode="auto">
          <a:xfrm rot="10800000">
            <a:off x="5882569" y="5703359"/>
            <a:ext cx="351795" cy="382265"/>
          </a:xfrm>
          <a:custGeom>
            <a:avLst/>
            <a:gdLst/>
            <a:ahLst/>
            <a:cxnLst>
              <a:cxn ang="0">
                <a:pos x="341" y="229"/>
              </a:cxn>
              <a:cxn ang="0">
                <a:pos x="278" y="292"/>
              </a:cxn>
              <a:cxn ang="0">
                <a:pos x="278" y="57"/>
              </a:cxn>
              <a:cxn ang="0">
                <a:pos x="222" y="0"/>
              </a:cxn>
              <a:cxn ang="0">
                <a:pos x="165" y="57"/>
              </a:cxn>
              <a:cxn ang="0">
                <a:pos x="165" y="292"/>
              </a:cxn>
              <a:cxn ang="0">
                <a:pos x="102" y="229"/>
              </a:cxn>
              <a:cxn ang="0">
                <a:pos x="22" y="229"/>
              </a:cxn>
              <a:cxn ang="0">
                <a:pos x="22" y="309"/>
              </a:cxn>
              <a:cxn ang="0">
                <a:pos x="182" y="469"/>
              </a:cxn>
              <a:cxn ang="0">
                <a:pos x="182" y="469"/>
              </a:cxn>
              <a:cxn ang="0">
                <a:pos x="222" y="485"/>
              </a:cxn>
              <a:cxn ang="0">
                <a:pos x="243" y="481"/>
              </a:cxn>
              <a:cxn ang="0">
                <a:pos x="261" y="469"/>
              </a:cxn>
              <a:cxn ang="0">
                <a:pos x="421" y="309"/>
              </a:cxn>
              <a:cxn ang="0">
                <a:pos x="421" y="229"/>
              </a:cxn>
              <a:cxn ang="0">
                <a:pos x="341" y="229"/>
              </a:cxn>
            </a:cxnLst>
            <a:rect l="0" t="0" r="r" b="b"/>
            <a:pathLst>
              <a:path w="443" h="485">
                <a:moveTo>
                  <a:pt x="341" y="229"/>
                </a:moveTo>
                <a:lnTo>
                  <a:pt x="278" y="292"/>
                </a:lnTo>
                <a:lnTo>
                  <a:pt x="278" y="57"/>
                </a:lnTo>
                <a:cubicBezTo>
                  <a:pt x="278" y="26"/>
                  <a:pt x="253" y="0"/>
                  <a:pt x="222" y="0"/>
                </a:cubicBezTo>
                <a:cubicBezTo>
                  <a:pt x="190" y="0"/>
                  <a:pt x="165" y="26"/>
                  <a:pt x="165" y="57"/>
                </a:cubicBezTo>
                <a:lnTo>
                  <a:pt x="165" y="292"/>
                </a:lnTo>
                <a:lnTo>
                  <a:pt x="102" y="229"/>
                </a:lnTo>
                <a:cubicBezTo>
                  <a:pt x="80" y="207"/>
                  <a:pt x="44" y="207"/>
                  <a:pt x="22" y="229"/>
                </a:cubicBezTo>
                <a:cubicBezTo>
                  <a:pt x="0" y="251"/>
                  <a:pt x="0" y="287"/>
                  <a:pt x="22" y="309"/>
                </a:cubicBezTo>
                <a:lnTo>
                  <a:pt x="182" y="469"/>
                </a:lnTo>
                <a:lnTo>
                  <a:pt x="182" y="469"/>
                </a:lnTo>
                <a:cubicBezTo>
                  <a:pt x="193" y="480"/>
                  <a:pt x="207" y="485"/>
                  <a:pt x="222" y="485"/>
                </a:cubicBezTo>
                <a:cubicBezTo>
                  <a:pt x="229" y="485"/>
                  <a:pt x="236" y="484"/>
                  <a:pt x="243" y="481"/>
                </a:cubicBezTo>
                <a:cubicBezTo>
                  <a:pt x="250" y="478"/>
                  <a:pt x="256" y="474"/>
                  <a:pt x="261" y="469"/>
                </a:cubicBezTo>
                <a:lnTo>
                  <a:pt x="421" y="309"/>
                </a:lnTo>
                <a:cubicBezTo>
                  <a:pt x="443" y="287"/>
                  <a:pt x="443" y="251"/>
                  <a:pt x="421" y="229"/>
                </a:cubicBezTo>
                <a:cubicBezTo>
                  <a:pt x="399" y="207"/>
                  <a:pt x="363" y="207"/>
                  <a:pt x="341" y="229"/>
                </a:cubicBezTo>
                <a:close/>
              </a:path>
            </a:pathLst>
          </a:custGeom>
          <a:solidFill>
            <a:srgbClr val="29BA74"/>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srgbClr val="29BA74"/>
              </a:solidFill>
              <a:latin typeface="Calibri" panose="020F0502020204030204"/>
            </a:endParaRPr>
          </a:p>
        </p:txBody>
      </p:sp>
      <p:sp>
        <p:nvSpPr>
          <p:cNvPr id="201" name="Text Box 96"/>
          <p:cNvSpPr txBox="1">
            <a:spLocks noChangeArrowheads="1"/>
          </p:cNvSpPr>
          <p:nvPr/>
        </p:nvSpPr>
        <p:spPr bwMode="auto">
          <a:xfrm>
            <a:off x="6032888" y="1794237"/>
            <a:ext cx="1653800" cy="995677"/>
          </a:xfrm>
          <a:prstGeom prst="rect">
            <a:avLst/>
          </a:prstGeom>
          <a:noFill/>
          <a:ln w="9525">
            <a:noFill/>
            <a:miter lim="800000"/>
            <a:headEnd/>
            <a:tailEnd/>
          </a:ln>
        </p:spPr>
        <p:txBody>
          <a:bodyPr wrap="square" lIns="71649" tIns="35824" rIns="71649" bIns="35824">
            <a:spAutoFit/>
          </a:bodyPr>
          <a:lstStyle/>
          <a:p>
            <a:r>
              <a:rPr lang="en-US" sz="2000" b="1" dirty="0">
                <a:solidFill>
                  <a:srgbClr val="29BA74"/>
                </a:solidFill>
                <a:latin typeface="Calibri" panose="020F0502020204030204"/>
              </a:rPr>
              <a:t>Activation through leaders</a:t>
            </a:r>
          </a:p>
        </p:txBody>
      </p:sp>
      <p:grpSp>
        <p:nvGrpSpPr>
          <p:cNvPr id="203" name="Group 287"/>
          <p:cNvGrpSpPr/>
          <p:nvPr/>
        </p:nvGrpSpPr>
        <p:grpSpPr>
          <a:xfrm>
            <a:off x="4902597" y="2024424"/>
            <a:ext cx="570627" cy="603868"/>
            <a:chOff x="3825875" y="1765300"/>
            <a:chExt cx="654050" cy="692151"/>
          </a:xfrm>
        </p:grpSpPr>
        <p:sp>
          <p:nvSpPr>
            <p:cNvPr id="204" name="Oval 5"/>
            <p:cNvSpPr>
              <a:spLocks noChangeArrowheads="1"/>
            </p:cNvSpPr>
            <p:nvPr/>
          </p:nvSpPr>
          <p:spPr bwMode="auto">
            <a:xfrm>
              <a:off x="4184650" y="1765300"/>
              <a:ext cx="142875" cy="142875"/>
            </a:xfrm>
            <a:prstGeom prst="ellipse">
              <a:avLst/>
            </a:pr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05" name="Freeform 6"/>
            <p:cNvSpPr>
              <a:spLocks noEditPoints="1"/>
            </p:cNvSpPr>
            <p:nvPr/>
          </p:nvSpPr>
          <p:spPr bwMode="auto">
            <a:xfrm>
              <a:off x="3825875" y="1912938"/>
              <a:ext cx="654050" cy="544513"/>
            </a:xfrm>
            <a:custGeom>
              <a:avLst/>
              <a:gdLst/>
              <a:ahLst/>
              <a:cxnLst>
                <a:cxn ang="0">
                  <a:pos x="2287" y="2002"/>
                </a:cxn>
                <a:cxn ang="0">
                  <a:pos x="2989" y="1193"/>
                </a:cxn>
                <a:cxn ang="0">
                  <a:pos x="2404" y="68"/>
                </a:cxn>
                <a:cxn ang="0">
                  <a:pos x="2077" y="0"/>
                </a:cxn>
                <a:cxn ang="0">
                  <a:pos x="1547" y="394"/>
                </a:cxn>
                <a:cxn ang="0">
                  <a:pos x="892" y="898"/>
                </a:cxn>
                <a:cxn ang="0">
                  <a:pos x="1226" y="963"/>
                </a:cxn>
                <a:cxn ang="0">
                  <a:pos x="1795" y="1111"/>
                </a:cxn>
                <a:cxn ang="0">
                  <a:pos x="1979" y="2745"/>
                </a:cxn>
                <a:cxn ang="0">
                  <a:pos x="2168" y="1429"/>
                </a:cxn>
                <a:cxn ang="0">
                  <a:pos x="2499" y="2058"/>
                </a:cxn>
                <a:cxn ang="0">
                  <a:pos x="2533" y="1111"/>
                </a:cxn>
                <a:cxn ang="0">
                  <a:pos x="2647" y="1132"/>
                </a:cxn>
                <a:cxn ang="0">
                  <a:pos x="451" y="2015"/>
                </a:cxn>
                <a:cxn ang="0">
                  <a:pos x="444" y="2423"/>
                </a:cxn>
                <a:cxn ang="0">
                  <a:pos x="451" y="1544"/>
                </a:cxn>
                <a:cxn ang="0">
                  <a:pos x="533" y="2478"/>
                </a:cxn>
                <a:cxn ang="0">
                  <a:pos x="607" y="1971"/>
                </a:cxn>
                <a:cxn ang="0">
                  <a:pos x="735" y="1985"/>
                </a:cxn>
                <a:cxn ang="0">
                  <a:pos x="533" y="2478"/>
                </a:cxn>
                <a:cxn ang="0">
                  <a:pos x="596" y="1738"/>
                </a:cxn>
                <a:cxn ang="0">
                  <a:pos x="736" y="1675"/>
                </a:cxn>
                <a:cxn ang="0">
                  <a:pos x="883" y="2043"/>
                </a:cxn>
                <a:cxn ang="0">
                  <a:pos x="904" y="2566"/>
                </a:cxn>
                <a:cxn ang="0">
                  <a:pos x="854" y="1731"/>
                </a:cxn>
                <a:cxn ang="0">
                  <a:pos x="891" y="1781"/>
                </a:cxn>
                <a:cxn ang="0">
                  <a:pos x="1047" y="1985"/>
                </a:cxn>
                <a:cxn ang="0">
                  <a:pos x="1175" y="1971"/>
                </a:cxn>
                <a:cxn ang="0">
                  <a:pos x="1248" y="2480"/>
                </a:cxn>
                <a:cxn ang="0">
                  <a:pos x="1046" y="1857"/>
                </a:cxn>
                <a:cxn ang="0">
                  <a:pos x="1183" y="1801"/>
                </a:cxn>
                <a:cxn ang="0">
                  <a:pos x="1324" y="2014"/>
                </a:cxn>
                <a:cxn ang="0">
                  <a:pos x="1333" y="2429"/>
                </a:cxn>
                <a:cxn ang="0">
                  <a:pos x="1300" y="1750"/>
                </a:cxn>
                <a:cxn ang="0">
                  <a:pos x="1331" y="1793"/>
                </a:cxn>
                <a:cxn ang="0">
                  <a:pos x="1463" y="1965"/>
                </a:cxn>
                <a:cxn ang="0">
                  <a:pos x="1410" y="1527"/>
                </a:cxn>
                <a:cxn ang="0">
                  <a:pos x="1300" y="1506"/>
                </a:cxn>
                <a:cxn ang="0">
                  <a:pos x="992" y="1471"/>
                </a:cxn>
                <a:cxn ang="0">
                  <a:pos x="854" y="1442"/>
                </a:cxn>
                <a:cxn ang="0">
                  <a:pos x="637" y="1610"/>
                </a:cxn>
                <a:cxn ang="0">
                  <a:pos x="451" y="1539"/>
                </a:cxn>
                <a:cxn ang="0">
                  <a:pos x="366" y="1530"/>
                </a:cxn>
                <a:cxn ang="0">
                  <a:pos x="326" y="1960"/>
                </a:cxn>
                <a:cxn ang="0">
                  <a:pos x="1668" y="1790"/>
                </a:cxn>
                <a:cxn ang="0">
                  <a:pos x="320" y="1704"/>
                </a:cxn>
                <a:cxn ang="0">
                  <a:pos x="2163" y="806"/>
                </a:cxn>
                <a:cxn ang="0">
                  <a:pos x="2163" y="105"/>
                </a:cxn>
                <a:cxn ang="0">
                  <a:pos x="2679" y="1183"/>
                </a:cxn>
                <a:cxn ang="0">
                  <a:pos x="2928" y="1183"/>
                </a:cxn>
                <a:cxn ang="0">
                  <a:pos x="2637" y="1193"/>
                </a:cxn>
              </a:cxnLst>
              <a:rect l="0" t="0" r="r" b="b"/>
              <a:pathLst>
                <a:path w="3288" h="2745">
                  <a:moveTo>
                    <a:pt x="2586" y="1193"/>
                  </a:moveTo>
                  <a:lnTo>
                    <a:pt x="2586" y="1262"/>
                  </a:lnTo>
                  <a:lnTo>
                    <a:pt x="2287" y="1262"/>
                  </a:lnTo>
                  <a:lnTo>
                    <a:pt x="2287" y="2002"/>
                  </a:lnTo>
                  <a:lnTo>
                    <a:pt x="3288" y="2002"/>
                  </a:lnTo>
                  <a:lnTo>
                    <a:pt x="3288" y="1262"/>
                  </a:lnTo>
                  <a:lnTo>
                    <a:pt x="2989" y="1262"/>
                  </a:lnTo>
                  <a:lnTo>
                    <a:pt x="2989" y="1193"/>
                  </a:lnTo>
                  <a:cubicBezTo>
                    <a:pt x="2989" y="1160"/>
                    <a:pt x="2962" y="1132"/>
                    <a:pt x="2928" y="1132"/>
                  </a:cubicBezTo>
                  <a:lnTo>
                    <a:pt x="2922" y="1132"/>
                  </a:lnTo>
                  <a:cubicBezTo>
                    <a:pt x="2927" y="1114"/>
                    <a:pt x="2929" y="1095"/>
                    <a:pt x="2926" y="1075"/>
                  </a:cubicBezTo>
                  <a:cubicBezTo>
                    <a:pt x="2842" y="504"/>
                    <a:pt x="2715" y="259"/>
                    <a:pt x="2404" y="68"/>
                  </a:cubicBezTo>
                  <a:cubicBezTo>
                    <a:pt x="2398" y="64"/>
                    <a:pt x="2392" y="62"/>
                    <a:pt x="2385" y="59"/>
                  </a:cubicBezTo>
                  <a:cubicBezTo>
                    <a:pt x="2345" y="32"/>
                    <a:pt x="2300" y="13"/>
                    <a:pt x="2254" y="1"/>
                  </a:cubicBezTo>
                  <a:lnTo>
                    <a:pt x="2164" y="92"/>
                  </a:lnTo>
                  <a:lnTo>
                    <a:pt x="2077" y="0"/>
                  </a:lnTo>
                  <a:cubicBezTo>
                    <a:pt x="2077" y="0"/>
                    <a:pt x="2076" y="0"/>
                    <a:pt x="2076" y="0"/>
                  </a:cubicBezTo>
                  <a:cubicBezTo>
                    <a:pt x="2009" y="16"/>
                    <a:pt x="1945" y="50"/>
                    <a:pt x="1894" y="98"/>
                  </a:cubicBezTo>
                  <a:cubicBezTo>
                    <a:pt x="1854" y="124"/>
                    <a:pt x="1819" y="152"/>
                    <a:pt x="1785" y="182"/>
                  </a:cubicBezTo>
                  <a:cubicBezTo>
                    <a:pt x="1696" y="243"/>
                    <a:pt x="1620" y="320"/>
                    <a:pt x="1547" y="394"/>
                  </a:cubicBezTo>
                  <a:cubicBezTo>
                    <a:pt x="1379" y="565"/>
                    <a:pt x="1266" y="669"/>
                    <a:pt x="1065" y="652"/>
                  </a:cubicBezTo>
                  <a:cubicBezTo>
                    <a:pt x="977" y="645"/>
                    <a:pt x="900" y="710"/>
                    <a:pt x="893" y="797"/>
                  </a:cubicBezTo>
                  <a:cubicBezTo>
                    <a:pt x="890" y="834"/>
                    <a:pt x="900" y="869"/>
                    <a:pt x="919" y="898"/>
                  </a:cubicBezTo>
                  <a:cubicBezTo>
                    <a:pt x="910" y="898"/>
                    <a:pt x="901" y="898"/>
                    <a:pt x="892" y="898"/>
                  </a:cubicBezTo>
                  <a:cubicBezTo>
                    <a:pt x="400" y="898"/>
                    <a:pt x="0" y="1298"/>
                    <a:pt x="0" y="1790"/>
                  </a:cubicBezTo>
                  <a:cubicBezTo>
                    <a:pt x="0" y="2282"/>
                    <a:pt x="400" y="2683"/>
                    <a:pt x="892" y="2683"/>
                  </a:cubicBezTo>
                  <a:cubicBezTo>
                    <a:pt x="1384" y="2683"/>
                    <a:pt x="1785" y="2282"/>
                    <a:pt x="1785" y="1790"/>
                  </a:cubicBezTo>
                  <a:cubicBezTo>
                    <a:pt x="1785" y="1416"/>
                    <a:pt x="1553" y="1095"/>
                    <a:pt x="1226" y="963"/>
                  </a:cubicBezTo>
                  <a:cubicBezTo>
                    <a:pt x="1475" y="921"/>
                    <a:pt x="1638" y="755"/>
                    <a:pt x="1774" y="617"/>
                  </a:cubicBezTo>
                  <a:cubicBezTo>
                    <a:pt x="1776" y="615"/>
                    <a:pt x="1778" y="613"/>
                    <a:pt x="1780" y="611"/>
                  </a:cubicBezTo>
                  <a:cubicBezTo>
                    <a:pt x="1788" y="636"/>
                    <a:pt x="1795" y="670"/>
                    <a:pt x="1795" y="670"/>
                  </a:cubicBezTo>
                  <a:lnTo>
                    <a:pt x="1795" y="1111"/>
                  </a:lnTo>
                  <a:cubicBezTo>
                    <a:pt x="1795" y="1149"/>
                    <a:pt x="1802" y="1184"/>
                    <a:pt x="1815" y="1216"/>
                  </a:cubicBezTo>
                  <a:cubicBezTo>
                    <a:pt x="1814" y="1224"/>
                    <a:pt x="1813" y="1231"/>
                    <a:pt x="1813" y="1239"/>
                  </a:cubicBezTo>
                  <a:lnTo>
                    <a:pt x="1813" y="2580"/>
                  </a:lnTo>
                  <a:cubicBezTo>
                    <a:pt x="1813" y="2671"/>
                    <a:pt x="1888" y="2745"/>
                    <a:pt x="1979" y="2745"/>
                  </a:cubicBezTo>
                  <a:cubicBezTo>
                    <a:pt x="2070" y="2745"/>
                    <a:pt x="2144" y="2671"/>
                    <a:pt x="2144" y="2580"/>
                  </a:cubicBezTo>
                  <a:lnTo>
                    <a:pt x="2144" y="1429"/>
                  </a:lnTo>
                  <a:cubicBezTo>
                    <a:pt x="2151" y="1429"/>
                    <a:pt x="2158" y="1429"/>
                    <a:pt x="2164" y="1429"/>
                  </a:cubicBezTo>
                  <a:cubicBezTo>
                    <a:pt x="2165" y="1429"/>
                    <a:pt x="2167" y="1429"/>
                    <a:pt x="2168" y="1429"/>
                  </a:cubicBezTo>
                  <a:lnTo>
                    <a:pt x="2168" y="2580"/>
                  </a:lnTo>
                  <a:cubicBezTo>
                    <a:pt x="2168" y="2671"/>
                    <a:pt x="2242" y="2745"/>
                    <a:pt x="2333" y="2745"/>
                  </a:cubicBezTo>
                  <a:cubicBezTo>
                    <a:pt x="2425" y="2745"/>
                    <a:pt x="2499" y="2671"/>
                    <a:pt x="2499" y="2580"/>
                  </a:cubicBezTo>
                  <a:lnTo>
                    <a:pt x="2499" y="2058"/>
                  </a:lnTo>
                  <a:lnTo>
                    <a:pt x="2236" y="2058"/>
                  </a:lnTo>
                  <a:lnTo>
                    <a:pt x="2236" y="1217"/>
                  </a:lnTo>
                  <a:lnTo>
                    <a:pt x="2513" y="1217"/>
                  </a:lnTo>
                  <a:cubicBezTo>
                    <a:pt x="2526" y="1184"/>
                    <a:pt x="2533" y="1149"/>
                    <a:pt x="2533" y="1111"/>
                  </a:cubicBezTo>
                  <a:lnTo>
                    <a:pt x="2533" y="629"/>
                  </a:lnTo>
                  <a:cubicBezTo>
                    <a:pt x="2578" y="741"/>
                    <a:pt x="2616" y="894"/>
                    <a:pt x="2649" y="1115"/>
                  </a:cubicBezTo>
                  <a:cubicBezTo>
                    <a:pt x="2650" y="1121"/>
                    <a:pt x="2651" y="1127"/>
                    <a:pt x="2653" y="1132"/>
                  </a:cubicBezTo>
                  <a:lnTo>
                    <a:pt x="2647" y="1132"/>
                  </a:lnTo>
                  <a:cubicBezTo>
                    <a:pt x="2613" y="1132"/>
                    <a:pt x="2586" y="1160"/>
                    <a:pt x="2586" y="1193"/>
                  </a:cubicBezTo>
                  <a:close/>
                  <a:moveTo>
                    <a:pt x="444" y="2423"/>
                  </a:moveTo>
                  <a:lnTo>
                    <a:pt x="444" y="2014"/>
                  </a:lnTo>
                  <a:cubicBezTo>
                    <a:pt x="446" y="2014"/>
                    <a:pt x="449" y="2015"/>
                    <a:pt x="451" y="2015"/>
                  </a:cubicBezTo>
                  <a:cubicBezTo>
                    <a:pt x="451" y="2015"/>
                    <a:pt x="452" y="2014"/>
                    <a:pt x="452" y="2014"/>
                  </a:cubicBezTo>
                  <a:lnTo>
                    <a:pt x="452" y="2423"/>
                  </a:lnTo>
                  <a:cubicBezTo>
                    <a:pt x="452" y="2426"/>
                    <a:pt x="453" y="2427"/>
                    <a:pt x="453" y="2429"/>
                  </a:cubicBezTo>
                  <a:cubicBezTo>
                    <a:pt x="450" y="2427"/>
                    <a:pt x="447" y="2425"/>
                    <a:pt x="444" y="2423"/>
                  </a:cubicBezTo>
                  <a:close/>
                  <a:moveTo>
                    <a:pt x="451" y="1793"/>
                  </a:moveTo>
                  <a:lnTo>
                    <a:pt x="451" y="1793"/>
                  </a:lnTo>
                  <a:lnTo>
                    <a:pt x="420" y="1750"/>
                  </a:lnTo>
                  <a:lnTo>
                    <a:pt x="451" y="1544"/>
                  </a:lnTo>
                  <a:lnTo>
                    <a:pt x="451" y="1544"/>
                  </a:lnTo>
                  <a:lnTo>
                    <a:pt x="482" y="1750"/>
                  </a:lnTo>
                  <a:lnTo>
                    <a:pt x="451" y="1793"/>
                  </a:lnTo>
                  <a:close/>
                  <a:moveTo>
                    <a:pt x="533" y="2478"/>
                  </a:moveTo>
                  <a:cubicBezTo>
                    <a:pt x="555" y="2469"/>
                    <a:pt x="570" y="2448"/>
                    <a:pt x="570" y="2423"/>
                  </a:cubicBezTo>
                  <a:lnTo>
                    <a:pt x="570" y="1955"/>
                  </a:lnTo>
                  <a:cubicBezTo>
                    <a:pt x="574" y="1959"/>
                    <a:pt x="578" y="1962"/>
                    <a:pt x="583" y="1965"/>
                  </a:cubicBezTo>
                  <a:cubicBezTo>
                    <a:pt x="590" y="1969"/>
                    <a:pt x="599" y="1971"/>
                    <a:pt x="607" y="1971"/>
                  </a:cubicBezTo>
                  <a:cubicBezTo>
                    <a:pt x="623" y="1971"/>
                    <a:pt x="639" y="1963"/>
                    <a:pt x="648" y="1948"/>
                  </a:cubicBezTo>
                  <a:cubicBezTo>
                    <a:pt x="651" y="1952"/>
                    <a:pt x="653" y="1957"/>
                    <a:pt x="655" y="1961"/>
                  </a:cubicBezTo>
                  <a:cubicBezTo>
                    <a:pt x="666" y="1981"/>
                    <a:pt x="686" y="1992"/>
                    <a:pt x="707" y="1992"/>
                  </a:cubicBezTo>
                  <a:cubicBezTo>
                    <a:pt x="716" y="1992"/>
                    <a:pt x="726" y="1989"/>
                    <a:pt x="735" y="1985"/>
                  </a:cubicBezTo>
                  <a:cubicBezTo>
                    <a:pt x="738" y="1983"/>
                    <a:pt x="741" y="1981"/>
                    <a:pt x="743" y="1979"/>
                  </a:cubicBezTo>
                  <a:lnTo>
                    <a:pt x="744" y="2527"/>
                  </a:lnTo>
                  <a:cubicBezTo>
                    <a:pt x="744" y="2536"/>
                    <a:pt x="745" y="2545"/>
                    <a:pt x="749" y="2553"/>
                  </a:cubicBezTo>
                  <a:cubicBezTo>
                    <a:pt x="672" y="2538"/>
                    <a:pt x="600" y="2513"/>
                    <a:pt x="533" y="2478"/>
                  </a:cubicBezTo>
                  <a:close/>
                  <a:moveTo>
                    <a:pt x="599" y="1800"/>
                  </a:moveTo>
                  <a:cubicBezTo>
                    <a:pt x="596" y="1817"/>
                    <a:pt x="591" y="1836"/>
                    <a:pt x="582" y="1857"/>
                  </a:cubicBezTo>
                  <a:lnTo>
                    <a:pt x="582" y="1704"/>
                  </a:lnTo>
                  <a:cubicBezTo>
                    <a:pt x="588" y="1714"/>
                    <a:pt x="593" y="1726"/>
                    <a:pt x="596" y="1738"/>
                  </a:cubicBezTo>
                  <a:cubicBezTo>
                    <a:pt x="595" y="1757"/>
                    <a:pt x="596" y="1778"/>
                    <a:pt x="599" y="1800"/>
                  </a:cubicBezTo>
                  <a:close/>
                  <a:moveTo>
                    <a:pt x="736" y="1675"/>
                  </a:moveTo>
                  <a:lnTo>
                    <a:pt x="736" y="1857"/>
                  </a:lnTo>
                  <a:cubicBezTo>
                    <a:pt x="704" y="1778"/>
                    <a:pt x="710" y="1720"/>
                    <a:pt x="736" y="1675"/>
                  </a:cubicBezTo>
                  <a:close/>
                  <a:moveTo>
                    <a:pt x="892" y="2566"/>
                  </a:moveTo>
                  <a:cubicBezTo>
                    <a:pt x="885" y="2566"/>
                    <a:pt x="878" y="2566"/>
                    <a:pt x="871" y="2566"/>
                  </a:cubicBezTo>
                  <a:cubicBezTo>
                    <a:pt x="879" y="2555"/>
                    <a:pt x="883" y="2541"/>
                    <a:pt x="883" y="2527"/>
                  </a:cubicBezTo>
                  <a:lnTo>
                    <a:pt x="883" y="2043"/>
                  </a:lnTo>
                  <a:cubicBezTo>
                    <a:pt x="886" y="2043"/>
                    <a:pt x="888" y="2043"/>
                    <a:pt x="891" y="2043"/>
                  </a:cubicBezTo>
                  <a:lnTo>
                    <a:pt x="893" y="2043"/>
                  </a:lnTo>
                  <a:lnTo>
                    <a:pt x="893" y="2527"/>
                  </a:lnTo>
                  <a:cubicBezTo>
                    <a:pt x="893" y="2542"/>
                    <a:pt x="897" y="2555"/>
                    <a:pt x="904" y="2566"/>
                  </a:cubicBezTo>
                  <a:cubicBezTo>
                    <a:pt x="900" y="2566"/>
                    <a:pt x="896" y="2566"/>
                    <a:pt x="892" y="2566"/>
                  </a:cubicBezTo>
                  <a:close/>
                  <a:moveTo>
                    <a:pt x="891" y="1781"/>
                  </a:moveTo>
                  <a:lnTo>
                    <a:pt x="891" y="1781"/>
                  </a:lnTo>
                  <a:lnTo>
                    <a:pt x="854" y="1731"/>
                  </a:lnTo>
                  <a:lnTo>
                    <a:pt x="891" y="1486"/>
                  </a:lnTo>
                  <a:lnTo>
                    <a:pt x="891" y="1486"/>
                  </a:lnTo>
                  <a:lnTo>
                    <a:pt x="928" y="1731"/>
                  </a:lnTo>
                  <a:lnTo>
                    <a:pt x="891" y="1781"/>
                  </a:lnTo>
                  <a:close/>
                  <a:moveTo>
                    <a:pt x="1026" y="2554"/>
                  </a:moveTo>
                  <a:cubicBezTo>
                    <a:pt x="1030" y="2546"/>
                    <a:pt x="1032" y="2537"/>
                    <a:pt x="1032" y="2527"/>
                  </a:cubicBezTo>
                  <a:lnTo>
                    <a:pt x="1032" y="1973"/>
                  </a:lnTo>
                  <a:cubicBezTo>
                    <a:pt x="1036" y="1977"/>
                    <a:pt x="1041" y="1981"/>
                    <a:pt x="1047" y="1985"/>
                  </a:cubicBezTo>
                  <a:cubicBezTo>
                    <a:pt x="1056" y="1989"/>
                    <a:pt x="1066" y="1992"/>
                    <a:pt x="1075" y="1992"/>
                  </a:cubicBezTo>
                  <a:cubicBezTo>
                    <a:pt x="1096" y="1992"/>
                    <a:pt x="1116" y="1981"/>
                    <a:pt x="1127" y="1961"/>
                  </a:cubicBezTo>
                  <a:cubicBezTo>
                    <a:pt x="1129" y="1957"/>
                    <a:pt x="1131" y="1953"/>
                    <a:pt x="1133" y="1948"/>
                  </a:cubicBezTo>
                  <a:cubicBezTo>
                    <a:pt x="1143" y="1963"/>
                    <a:pt x="1159" y="1971"/>
                    <a:pt x="1175" y="1971"/>
                  </a:cubicBezTo>
                  <a:cubicBezTo>
                    <a:pt x="1183" y="1971"/>
                    <a:pt x="1191" y="1969"/>
                    <a:pt x="1199" y="1965"/>
                  </a:cubicBezTo>
                  <a:cubicBezTo>
                    <a:pt x="1201" y="1963"/>
                    <a:pt x="1204" y="1962"/>
                    <a:pt x="1206" y="1960"/>
                  </a:cubicBezTo>
                  <a:lnTo>
                    <a:pt x="1206" y="2423"/>
                  </a:lnTo>
                  <a:cubicBezTo>
                    <a:pt x="1206" y="2450"/>
                    <a:pt x="1224" y="2472"/>
                    <a:pt x="1248" y="2480"/>
                  </a:cubicBezTo>
                  <a:cubicBezTo>
                    <a:pt x="1179" y="2515"/>
                    <a:pt x="1105" y="2541"/>
                    <a:pt x="1026" y="2554"/>
                  </a:cubicBezTo>
                  <a:close/>
                  <a:moveTo>
                    <a:pt x="1046" y="1857"/>
                  </a:moveTo>
                  <a:lnTo>
                    <a:pt x="1046" y="1676"/>
                  </a:lnTo>
                  <a:cubicBezTo>
                    <a:pt x="1072" y="1721"/>
                    <a:pt x="1078" y="1778"/>
                    <a:pt x="1046" y="1857"/>
                  </a:cubicBezTo>
                  <a:close/>
                  <a:moveTo>
                    <a:pt x="1186" y="1737"/>
                  </a:moveTo>
                  <a:cubicBezTo>
                    <a:pt x="1189" y="1725"/>
                    <a:pt x="1194" y="1714"/>
                    <a:pt x="1200" y="1704"/>
                  </a:cubicBezTo>
                  <a:lnTo>
                    <a:pt x="1200" y="1857"/>
                  </a:lnTo>
                  <a:cubicBezTo>
                    <a:pt x="1191" y="1837"/>
                    <a:pt x="1186" y="1818"/>
                    <a:pt x="1183" y="1801"/>
                  </a:cubicBezTo>
                  <a:cubicBezTo>
                    <a:pt x="1186" y="1778"/>
                    <a:pt x="1187" y="1757"/>
                    <a:pt x="1186" y="1737"/>
                  </a:cubicBezTo>
                  <a:close/>
                  <a:moveTo>
                    <a:pt x="1323" y="2436"/>
                  </a:moveTo>
                  <a:cubicBezTo>
                    <a:pt x="1323" y="2432"/>
                    <a:pt x="1324" y="2428"/>
                    <a:pt x="1324" y="2423"/>
                  </a:cubicBezTo>
                  <a:lnTo>
                    <a:pt x="1324" y="2014"/>
                  </a:lnTo>
                  <a:cubicBezTo>
                    <a:pt x="1326" y="2014"/>
                    <a:pt x="1329" y="2015"/>
                    <a:pt x="1331" y="2015"/>
                  </a:cubicBezTo>
                  <a:cubicBezTo>
                    <a:pt x="1331" y="2015"/>
                    <a:pt x="1332" y="2014"/>
                    <a:pt x="1332" y="2014"/>
                  </a:cubicBezTo>
                  <a:lnTo>
                    <a:pt x="1332" y="2423"/>
                  </a:lnTo>
                  <a:cubicBezTo>
                    <a:pt x="1332" y="2425"/>
                    <a:pt x="1333" y="2427"/>
                    <a:pt x="1333" y="2429"/>
                  </a:cubicBezTo>
                  <a:cubicBezTo>
                    <a:pt x="1329" y="2431"/>
                    <a:pt x="1326" y="2433"/>
                    <a:pt x="1323" y="2436"/>
                  </a:cubicBezTo>
                  <a:close/>
                  <a:moveTo>
                    <a:pt x="1331" y="1793"/>
                  </a:moveTo>
                  <a:lnTo>
                    <a:pt x="1331" y="1793"/>
                  </a:lnTo>
                  <a:lnTo>
                    <a:pt x="1300" y="1750"/>
                  </a:lnTo>
                  <a:lnTo>
                    <a:pt x="1331" y="1544"/>
                  </a:lnTo>
                  <a:lnTo>
                    <a:pt x="1331" y="1544"/>
                  </a:lnTo>
                  <a:lnTo>
                    <a:pt x="1362" y="1750"/>
                  </a:lnTo>
                  <a:lnTo>
                    <a:pt x="1331" y="1793"/>
                  </a:lnTo>
                  <a:close/>
                  <a:moveTo>
                    <a:pt x="1668" y="1790"/>
                  </a:moveTo>
                  <a:cubicBezTo>
                    <a:pt x="1668" y="1999"/>
                    <a:pt x="1585" y="2189"/>
                    <a:pt x="1450" y="2329"/>
                  </a:cubicBezTo>
                  <a:lnTo>
                    <a:pt x="1450" y="1955"/>
                  </a:lnTo>
                  <a:cubicBezTo>
                    <a:pt x="1454" y="1959"/>
                    <a:pt x="1458" y="1962"/>
                    <a:pt x="1463" y="1965"/>
                  </a:cubicBezTo>
                  <a:cubicBezTo>
                    <a:pt x="1470" y="1969"/>
                    <a:pt x="1478" y="1971"/>
                    <a:pt x="1487" y="1971"/>
                  </a:cubicBezTo>
                  <a:cubicBezTo>
                    <a:pt x="1504" y="1971"/>
                    <a:pt x="1521" y="1961"/>
                    <a:pt x="1530" y="1945"/>
                  </a:cubicBezTo>
                  <a:cubicBezTo>
                    <a:pt x="1671" y="1687"/>
                    <a:pt x="1479" y="1569"/>
                    <a:pt x="1416" y="1530"/>
                  </a:cubicBezTo>
                  <a:cubicBezTo>
                    <a:pt x="1414" y="1529"/>
                    <a:pt x="1412" y="1528"/>
                    <a:pt x="1410" y="1527"/>
                  </a:cubicBezTo>
                  <a:cubicBezTo>
                    <a:pt x="1395" y="1518"/>
                    <a:pt x="1379" y="1511"/>
                    <a:pt x="1363" y="1507"/>
                  </a:cubicBezTo>
                  <a:lnTo>
                    <a:pt x="1331" y="1539"/>
                  </a:lnTo>
                  <a:lnTo>
                    <a:pt x="1300" y="1506"/>
                  </a:lnTo>
                  <a:cubicBezTo>
                    <a:pt x="1300" y="1506"/>
                    <a:pt x="1300" y="1506"/>
                    <a:pt x="1300" y="1506"/>
                  </a:cubicBezTo>
                  <a:cubicBezTo>
                    <a:pt x="1283" y="1510"/>
                    <a:pt x="1266" y="1518"/>
                    <a:pt x="1252" y="1527"/>
                  </a:cubicBezTo>
                  <a:cubicBezTo>
                    <a:pt x="1250" y="1528"/>
                    <a:pt x="1248" y="1529"/>
                    <a:pt x="1245" y="1530"/>
                  </a:cubicBezTo>
                  <a:cubicBezTo>
                    <a:pt x="1222" y="1545"/>
                    <a:pt x="1180" y="1570"/>
                    <a:pt x="1145" y="1610"/>
                  </a:cubicBezTo>
                  <a:cubicBezTo>
                    <a:pt x="1099" y="1537"/>
                    <a:pt x="1028" y="1493"/>
                    <a:pt x="992" y="1471"/>
                  </a:cubicBezTo>
                  <a:cubicBezTo>
                    <a:pt x="989" y="1469"/>
                    <a:pt x="987" y="1468"/>
                    <a:pt x="984" y="1467"/>
                  </a:cubicBezTo>
                  <a:cubicBezTo>
                    <a:pt x="967" y="1456"/>
                    <a:pt x="948" y="1447"/>
                    <a:pt x="929" y="1443"/>
                  </a:cubicBezTo>
                  <a:lnTo>
                    <a:pt x="891" y="1481"/>
                  </a:lnTo>
                  <a:lnTo>
                    <a:pt x="854" y="1442"/>
                  </a:lnTo>
                  <a:cubicBezTo>
                    <a:pt x="854" y="1442"/>
                    <a:pt x="854" y="1442"/>
                    <a:pt x="854" y="1442"/>
                  </a:cubicBezTo>
                  <a:cubicBezTo>
                    <a:pt x="834" y="1447"/>
                    <a:pt x="815" y="1455"/>
                    <a:pt x="798" y="1467"/>
                  </a:cubicBezTo>
                  <a:cubicBezTo>
                    <a:pt x="795" y="1468"/>
                    <a:pt x="792" y="1469"/>
                    <a:pt x="790" y="1471"/>
                  </a:cubicBezTo>
                  <a:cubicBezTo>
                    <a:pt x="754" y="1493"/>
                    <a:pt x="683" y="1537"/>
                    <a:pt x="637" y="1610"/>
                  </a:cubicBezTo>
                  <a:cubicBezTo>
                    <a:pt x="602" y="1571"/>
                    <a:pt x="560" y="1545"/>
                    <a:pt x="536" y="1530"/>
                  </a:cubicBezTo>
                  <a:cubicBezTo>
                    <a:pt x="534" y="1529"/>
                    <a:pt x="532" y="1528"/>
                    <a:pt x="530" y="1527"/>
                  </a:cubicBezTo>
                  <a:cubicBezTo>
                    <a:pt x="515" y="1518"/>
                    <a:pt x="499" y="1511"/>
                    <a:pt x="483" y="1507"/>
                  </a:cubicBezTo>
                  <a:lnTo>
                    <a:pt x="451" y="1539"/>
                  </a:lnTo>
                  <a:lnTo>
                    <a:pt x="420" y="1506"/>
                  </a:lnTo>
                  <a:cubicBezTo>
                    <a:pt x="420" y="1506"/>
                    <a:pt x="420" y="1506"/>
                    <a:pt x="420" y="1506"/>
                  </a:cubicBezTo>
                  <a:cubicBezTo>
                    <a:pt x="403" y="1510"/>
                    <a:pt x="387" y="1518"/>
                    <a:pt x="372" y="1527"/>
                  </a:cubicBezTo>
                  <a:cubicBezTo>
                    <a:pt x="370" y="1528"/>
                    <a:pt x="368" y="1529"/>
                    <a:pt x="366" y="1530"/>
                  </a:cubicBezTo>
                  <a:cubicBezTo>
                    <a:pt x="303" y="1569"/>
                    <a:pt x="111" y="1687"/>
                    <a:pt x="251" y="1945"/>
                  </a:cubicBezTo>
                  <a:cubicBezTo>
                    <a:pt x="260" y="1961"/>
                    <a:pt x="278" y="1971"/>
                    <a:pt x="295" y="1971"/>
                  </a:cubicBezTo>
                  <a:cubicBezTo>
                    <a:pt x="303" y="1971"/>
                    <a:pt x="311" y="1969"/>
                    <a:pt x="319" y="1965"/>
                  </a:cubicBezTo>
                  <a:cubicBezTo>
                    <a:pt x="322" y="1963"/>
                    <a:pt x="324" y="1962"/>
                    <a:pt x="326" y="1960"/>
                  </a:cubicBezTo>
                  <a:lnTo>
                    <a:pt x="326" y="2320"/>
                  </a:lnTo>
                  <a:cubicBezTo>
                    <a:pt x="196" y="2181"/>
                    <a:pt x="116" y="1995"/>
                    <a:pt x="116" y="1790"/>
                  </a:cubicBezTo>
                  <a:cubicBezTo>
                    <a:pt x="116" y="1362"/>
                    <a:pt x="464" y="1014"/>
                    <a:pt x="892" y="1014"/>
                  </a:cubicBezTo>
                  <a:cubicBezTo>
                    <a:pt x="1320" y="1014"/>
                    <a:pt x="1668" y="1362"/>
                    <a:pt x="1668" y="1790"/>
                  </a:cubicBezTo>
                  <a:close/>
                  <a:moveTo>
                    <a:pt x="1462" y="1857"/>
                  </a:moveTo>
                  <a:lnTo>
                    <a:pt x="1462" y="1704"/>
                  </a:lnTo>
                  <a:cubicBezTo>
                    <a:pt x="1484" y="1742"/>
                    <a:pt x="1489" y="1790"/>
                    <a:pt x="1462" y="1857"/>
                  </a:cubicBezTo>
                  <a:close/>
                  <a:moveTo>
                    <a:pt x="320" y="1704"/>
                  </a:moveTo>
                  <a:lnTo>
                    <a:pt x="320" y="1857"/>
                  </a:lnTo>
                  <a:cubicBezTo>
                    <a:pt x="292" y="1790"/>
                    <a:pt x="298" y="1741"/>
                    <a:pt x="320" y="1704"/>
                  </a:cubicBezTo>
                  <a:close/>
                  <a:moveTo>
                    <a:pt x="2165" y="806"/>
                  </a:moveTo>
                  <a:lnTo>
                    <a:pt x="2163" y="806"/>
                  </a:lnTo>
                  <a:lnTo>
                    <a:pt x="2076" y="687"/>
                  </a:lnTo>
                  <a:lnTo>
                    <a:pt x="2144" y="236"/>
                  </a:lnTo>
                  <a:cubicBezTo>
                    <a:pt x="2150" y="218"/>
                    <a:pt x="2153" y="199"/>
                    <a:pt x="2152" y="179"/>
                  </a:cubicBezTo>
                  <a:lnTo>
                    <a:pt x="2163" y="105"/>
                  </a:lnTo>
                  <a:lnTo>
                    <a:pt x="2165" y="105"/>
                  </a:lnTo>
                  <a:lnTo>
                    <a:pt x="2252" y="687"/>
                  </a:lnTo>
                  <a:lnTo>
                    <a:pt x="2165" y="806"/>
                  </a:lnTo>
                  <a:close/>
                  <a:moveTo>
                    <a:pt x="2679" y="1183"/>
                  </a:moveTo>
                  <a:cubicBezTo>
                    <a:pt x="2705" y="1215"/>
                    <a:pt x="2744" y="1235"/>
                    <a:pt x="2787" y="1235"/>
                  </a:cubicBezTo>
                  <a:cubicBezTo>
                    <a:pt x="2794" y="1235"/>
                    <a:pt x="2801" y="1235"/>
                    <a:pt x="2808" y="1234"/>
                  </a:cubicBezTo>
                  <a:cubicBezTo>
                    <a:pt x="2844" y="1228"/>
                    <a:pt x="2875" y="1210"/>
                    <a:pt x="2896" y="1183"/>
                  </a:cubicBezTo>
                  <a:lnTo>
                    <a:pt x="2928" y="1183"/>
                  </a:lnTo>
                  <a:cubicBezTo>
                    <a:pt x="2934" y="1183"/>
                    <a:pt x="2938" y="1188"/>
                    <a:pt x="2938" y="1193"/>
                  </a:cubicBezTo>
                  <a:lnTo>
                    <a:pt x="2938" y="1262"/>
                  </a:lnTo>
                  <a:lnTo>
                    <a:pt x="2637" y="1262"/>
                  </a:lnTo>
                  <a:lnTo>
                    <a:pt x="2637" y="1193"/>
                  </a:lnTo>
                  <a:cubicBezTo>
                    <a:pt x="2637" y="1188"/>
                    <a:pt x="2641" y="1183"/>
                    <a:pt x="2647" y="1183"/>
                  </a:cubicBezTo>
                  <a:lnTo>
                    <a:pt x="2679" y="1183"/>
                  </a:lnTo>
                  <a:close/>
                </a:path>
              </a:pathLst>
            </a:cu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06" name="Oval 7"/>
            <p:cNvSpPr>
              <a:spLocks noChangeArrowheads="1"/>
            </p:cNvSpPr>
            <p:nvPr/>
          </p:nvSpPr>
          <p:spPr bwMode="auto">
            <a:xfrm>
              <a:off x="3971925" y="2136775"/>
              <a:ext cx="61912" cy="60325"/>
            </a:xfrm>
            <a:prstGeom prst="ellipse">
              <a:avLst/>
            </a:pr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07" name="Oval 8"/>
            <p:cNvSpPr>
              <a:spLocks noChangeArrowheads="1"/>
            </p:cNvSpPr>
            <p:nvPr/>
          </p:nvSpPr>
          <p:spPr bwMode="auto">
            <a:xfrm>
              <a:off x="4065588" y="2159000"/>
              <a:ext cx="50800" cy="50800"/>
            </a:xfrm>
            <a:prstGeom prst="ellipse">
              <a:avLst/>
            </a:pr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08" name="Oval 9"/>
            <p:cNvSpPr>
              <a:spLocks noChangeArrowheads="1"/>
            </p:cNvSpPr>
            <p:nvPr/>
          </p:nvSpPr>
          <p:spPr bwMode="auto">
            <a:xfrm>
              <a:off x="3889375" y="2159000"/>
              <a:ext cx="50800" cy="50800"/>
            </a:xfrm>
            <a:prstGeom prst="ellipse">
              <a:avLst/>
            </a:pr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grpSp>
      <p:sp>
        <p:nvSpPr>
          <p:cNvPr id="209" name="Text Box 96"/>
          <p:cNvSpPr txBox="1">
            <a:spLocks noChangeArrowheads="1"/>
          </p:cNvSpPr>
          <p:nvPr/>
        </p:nvSpPr>
        <p:spPr bwMode="auto">
          <a:xfrm>
            <a:off x="9210394" y="3979131"/>
            <a:ext cx="2327208" cy="349347"/>
          </a:xfrm>
          <a:prstGeom prst="rect">
            <a:avLst/>
          </a:prstGeom>
          <a:noFill/>
          <a:ln w="9525">
            <a:noFill/>
            <a:miter lim="800000"/>
            <a:headEnd/>
            <a:tailEnd/>
          </a:ln>
        </p:spPr>
        <p:txBody>
          <a:bodyPr wrap="square" lIns="0" tIns="35824" rIns="71649" bIns="35824">
            <a:spAutoFit/>
          </a:bodyPr>
          <a:lstStyle/>
          <a:p>
            <a:pPr defTabSz="1122860" eaLnBrk="0" hangingPunct="0">
              <a:lnSpc>
                <a:spcPct val="90000"/>
              </a:lnSpc>
            </a:pPr>
            <a:r>
              <a:rPr lang="en-US" sz="2000" b="1" dirty="0">
                <a:solidFill>
                  <a:srgbClr val="29BA74"/>
                </a:solidFill>
                <a:latin typeface="Calibri" panose="020F0502020204030204"/>
                <a:cs typeface="Arial"/>
              </a:rPr>
              <a:t>People practices</a:t>
            </a:r>
          </a:p>
        </p:txBody>
      </p:sp>
      <p:sp>
        <p:nvSpPr>
          <p:cNvPr id="210" name="Text Box 96"/>
          <p:cNvSpPr txBox="1">
            <a:spLocks noChangeArrowheads="1"/>
          </p:cNvSpPr>
          <p:nvPr/>
        </p:nvSpPr>
        <p:spPr bwMode="auto">
          <a:xfrm>
            <a:off x="6203369" y="5703359"/>
            <a:ext cx="1815933" cy="903344"/>
          </a:xfrm>
          <a:prstGeom prst="rect">
            <a:avLst/>
          </a:prstGeom>
          <a:noFill/>
          <a:ln w="9525">
            <a:noFill/>
            <a:miter lim="800000"/>
            <a:headEnd/>
            <a:tailEnd/>
          </a:ln>
        </p:spPr>
        <p:txBody>
          <a:bodyPr wrap="square" lIns="71649" tIns="35824" rIns="71649" bIns="35824">
            <a:spAutoFit/>
          </a:bodyPr>
          <a:lstStyle/>
          <a:p>
            <a:pPr defTabSz="1122860" eaLnBrk="0" hangingPunct="0">
              <a:lnSpc>
                <a:spcPct val="90000"/>
              </a:lnSpc>
            </a:pPr>
            <a:r>
              <a:rPr lang="en-US" sz="2000" b="1" dirty="0">
                <a:solidFill>
                  <a:srgbClr val="29BA74"/>
                </a:solidFill>
                <a:latin typeface="Calibri" panose="020F0502020204030204"/>
                <a:cs typeface="Arial"/>
              </a:rPr>
              <a:t>Development teams  </a:t>
            </a:r>
            <a:br>
              <a:rPr lang="en-US" sz="2000" b="1" dirty="0">
                <a:solidFill>
                  <a:srgbClr val="29BA74"/>
                </a:solidFill>
                <a:latin typeface="Calibri" panose="020F0502020204030204"/>
                <a:cs typeface="Arial"/>
              </a:rPr>
            </a:br>
            <a:r>
              <a:rPr lang="en-US" sz="2000" b="1" dirty="0">
                <a:solidFill>
                  <a:srgbClr val="29BA74"/>
                </a:solidFill>
                <a:latin typeface="Calibri" panose="020F0502020204030204"/>
                <a:cs typeface="Arial"/>
              </a:rPr>
              <a:t>(Agile process)</a:t>
            </a:r>
            <a:endParaRPr lang="en-US" sz="2000" dirty="0">
              <a:solidFill>
                <a:srgbClr val="29BA74"/>
              </a:solidFill>
              <a:latin typeface="Calibri" panose="020F0502020204030204"/>
              <a:cs typeface="Arial"/>
            </a:endParaRPr>
          </a:p>
        </p:txBody>
      </p:sp>
      <p:sp>
        <p:nvSpPr>
          <p:cNvPr id="211" name="Text Box 96"/>
          <p:cNvSpPr txBox="1">
            <a:spLocks noChangeArrowheads="1"/>
          </p:cNvSpPr>
          <p:nvPr/>
        </p:nvSpPr>
        <p:spPr bwMode="auto">
          <a:xfrm>
            <a:off x="1700158" y="5552330"/>
            <a:ext cx="2327208" cy="349347"/>
          </a:xfrm>
          <a:prstGeom prst="rect">
            <a:avLst/>
          </a:prstGeom>
          <a:noFill/>
          <a:ln w="9525">
            <a:noFill/>
            <a:miter lim="800000"/>
            <a:headEnd/>
            <a:tailEnd/>
          </a:ln>
        </p:spPr>
        <p:txBody>
          <a:bodyPr wrap="square" lIns="71649" tIns="35824" rIns="0" bIns="35824">
            <a:spAutoFit/>
          </a:bodyPr>
          <a:lstStyle/>
          <a:p>
            <a:pPr algn="r" defTabSz="1122860" eaLnBrk="0" hangingPunct="0">
              <a:lnSpc>
                <a:spcPct val="90000"/>
              </a:lnSpc>
            </a:pPr>
            <a:r>
              <a:rPr lang="en-US" sz="2000" b="1" dirty="0">
                <a:solidFill>
                  <a:srgbClr val="29BA74"/>
                </a:solidFill>
                <a:latin typeface="Calibri" panose="020F0502020204030204"/>
                <a:cs typeface="Arial"/>
              </a:rPr>
              <a:t>Hackathons</a:t>
            </a:r>
          </a:p>
        </p:txBody>
      </p:sp>
      <p:sp>
        <p:nvSpPr>
          <p:cNvPr id="212" name="Text Box 96"/>
          <p:cNvSpPr txBox="1">
            <a:spLocks noChangeArrowheads="1"/>
          </p:cNvSpPr>
          <p:nvPr/>
        </p:nvSpPr>
        <p:spPr bwMode="auto">
          <a:xfrm>
            <a:off x="8497472" y="2402169"/>
            <a:ext cx="2327208" cy="626346"/>
          </a:xfrm>
          <a:prstGeom prst="rect">
            <a:avLst/>
          </a:prstGeom>
          <a:noFill/>
          <a:ln w="9525">
            <a:noFill/>
            <a:miter lim="800000"/>
            <a:headEnd/>
            <a:tailEnd/>
          </a:ln>
        </p:spPr>
        <p:txBody>
          <a:bodyPr wrap="square" lIns="0" tIns="35824" rIns="71649" bIns="35824">
            <a:spAutoFit/>
          </a:bodyPr>
          <a:lstStyle/>
          <a:p>
            <a:pPr defTabSz="1122860" eaLnBrk="0" hangingPunct="0">
              <a:lnSpc>
                <a:spcPct val="90000"/>
              </a:lnSpc>
            </a:pPr>
            <a:r>
              <a:rPr lang="en-US" sz="2000" b="1" dirty="0">
                <a:solidFill>
                  <a:srgbClr val="29BA74"/>
                </a:solidFill>
                <a:latin typeface="Calibri" panose="020F0502020204030204"/>
                <a:cs typeface="Arial"/>
              </a:rPr>
              <a:t>Perf Mgmt &amp; Recognition</a:t>
            </a:r>
          </a:p>
        </p:txBody>
      </p:sp>
      <p:sp>
        <p:nvSpPr>
          <p:cNvPr id="213" name="Text Box 96"/>
          <p:cNvSpPr txBox="1">
            <a:spLocks noChangeArrowheads="1"/>
          </p:cNvSpPr>
          <p:nvPr/>
        </p:nvSpPr>
        <p:spPr bwMode="auto">
          <a:xfrm>
            <a:off x="599518" y="4282935"/>
            <a:ext cx="2327208" cy="626346"/>
          </a:xfrm>
          <a:prstGeom prst="rect">
            <a:avLst/>
          </a:prstGeom>
          <a:noFill/>
          <a:ln w="9525">
            <a:noFill/>
            <a:miter lim="800000"/>
            <a:headEnd/>
            <a:tailEnd/>
          </a:ln>
        </p:spPr>
        <p:txBody>
          <a:bodyPr wrap="square" lIns="71649" tIns="35824" rIns="0" bIns="35824">
            <a:spAutoFit/>
          </a:bodyPr>
          <a:lstStyle/>
          <a:p>
            <a:pPr algn="r" defTabSz="1122860" eaLnBrk="0" hangingPunct="0">
              <a:lnSpc>
                <a:spcPct val="90000"/>
              </a:lnSpc>
            </a:pPr>
            <a:r>
              <a:rPr lang="en-US" sz="2000" b="1" dirty="0">
                <a:solidFill>
                  <a:srgbClr val="29BA74"/>
                </a:solidFill>
                <a:latin typeface="Calibri" panose="020F0502020204030204"/>
                <a:cs typeface="Arial"/>
              </a:rPr>
              <a:t>Leverage Digital Tools</a:t>
            </a:r>
          </a:p>
        </p:txBody>
      </p:sp>
      <p:sp>
        <p:nvSpPr>
          <p:cNvPr id="214" name="Freeform 52"/>
          <p:cNvSpPr>
            <a:spLocks noEditPoints="1"/>
          </p:cNvSpPr>
          <p:nvPr/>
        </p:nvSpPr>
        <p:spPr bwMode="auto">
          <a:xfrm>
            <a:off x="10706969" y="2278506"/>
            <a:ext cx="278734" cy="365153"/>
          </a:xfrm>
          <a:custGeom>
            <a:avLst/>
            <a:gdLst/>
            <a:ahLst/>
            <a:cxnLst>
              <a:cxn ang="0">
                <a:pos x="987" y="59"/>
              </a:cxn>
              <a:cxn ang="0">
                <a:pos x="888" y="0"/>
              </a:cxn>
              <a:cxn ang="0">
                <a:pos x="119" y="0"/>
              </a:cxn>
              <a:cxn ang="0">
                <a:pos x="20" y="59"/>
              </a:cxn>
              <a:cxn ang="0">
                <a:pos x="25" y="175"/>
              </a:cxn>
              <a:cxn ang="0">
                <a:pos x="306" y="606"/>
              </a:cxn>
              <a:cxn ang="0">
                <a:pos x="131" y="921"/>
              </a:cxn>
              <a:cxn ang="0">
                <a:pos x="504" y="1293"/>
              </a:cxn>
              <a:cxn ang="0">
                <a:pos x="876" y="921"/>
              </a:cxn>
              <a:cxn ang="0">
                <a:pos x="701" y="606"/>
              </a:cxn>
              <a:cxn ang="0">
                <a:pos x="982" y="175"/>
              </a:cxn>
              <a:cxn ang="0">
                <a:pos x="987" y="59"/>
              </a:cxn>
              <a:cxn ang="0">
                <a:pos x="679" y="226"/>
              </a:cxn>
              <a:cxn ang="0">
                <a:pos x="504" y="495"/>
              </a:cxn>
              <a:cxn ang="0">
                <a:pos x="328" y="226"/>
              </a:cxn>
              <a:cxn ang="0">
                <a:pos x="679" y="226"/>
              </a:cxn>
              <a:cxn ang="0">
                <a:pos x="730" y="824"/>
              </a:cxn>
              <a:cxn ang="0">
                <a:pos x="759" y="848"/>
              </a:cxn>
              <a:cxn ang="0">
                <a:pos x="750" y="884"/>
              </a:cxn>
              <a:cxn ang="0">
                <a:pos x="652" y="979"/>
              </a:cxn>
              <a:cxn ang="0">
                <a:pos x="675" y="1114"/>
              </a:cxn>
              <a:cxn ang="0">
                <a:pos x="661" y="1148"/>
              </a:cxn>
              <a:cxn ang="0">
                <a:pos x="640" y="1155"/>
              </a:cxn>
              <a:cxn ang="0">
                <a:pos x="624" y="1151"/>
              </a:cxn>
              <a:cxn ang="0">
                <a:pos x="504" y="1087"/>
              </a:cxn>
              <a:cxn ang="0">
                <a:pos x="383" y="1151"/>
              </a:cxn>
              <a:cxn ang="0">
                <a:pos x="346" y="1148"/>
              </a:cxn>
              <a:cxn ang="0">
                <a:pos x="332" y="1114"/>
              </a:cxn>
              <a:cxn ang="0">
                <a:pos x="355" y="979"/>
              </a:cxn>
              <a:cxn ang="0">
                <a:pos x="257" y="884"/>
              </a:cxn>
              <a:cxn ang="0">
                <a:pos x="249" y="848"/>
              </a:cxn>
              <a:cxn ang="0">
                <a:pos x="277" y="824"/>
              </a:cxn>
              <a:cxn ang="0">
                <a:pos x="412" y="805"/>
              </a:cxn>
              <a:cxn ang="0">
                <a:pos x="472" y="683"/>
              </a:cxn>
              <a:cxn ang="0">
                <a:pos x="504" y="663"/>
              </a:cxn>
              <a:cxn ang="0">
                <a:pos x="535" y="683"/>
              </a:cxn>
              <a:cxn ang="0">
                <a:pos x="595" y="805"/>
              </a:cxn>
              <a:cxn ang="0">
                <a:pos x="730" y="824"/>
              </a:cxn>
            </a:cxnLst>
            <a:rect l="0" t="0" r="r" b="b"/>
            <a:pathLst>
              <a:path w="1007" h="1293">
                <a:moveTo>
                  <a:pt x="987" y="59"/>
                </a:moveTo>
                <a:cubicBezTo>
                  <a:pt x="967" y="23"/>
                  <a:pt x="929" y="0"/>
                  <a:pt x="888" y="0"/>
                </a:cubicBezTo>
                <a:lnTo>
                  <a:pt x="119" y="0"/>
                </a:lnTo>
                <a:cubicBezTo>
                  <a:pt x="78" y="0"/>
                  <a:pt x="40" y="23"/>
                  <a:pt x="20" y="59"/>
                </a:cubicBezTo>
                <a:cubicBezTo>
                  <a:pt x="0" y="96"/>
                  <a:pt x="2" y="140"/>
                  <a:pt x="25" y="175"/>
                </a:cubicBezTo>
                <a:lnTo>
                  <a:pt x="306" y="606"/>
                </a:lnTo>
                <a:cubicBezTo>
                  <a:pt x="201" y="671"/>
                  <a:pt x="131" y="788"/>
                  <a:pt x="131" y="921"/>
                </a:cubicBezTo>
                <a:cubicBezTo>
                  <a:pt x="131" y="1126"/>
                  <a:pt x="298" y="1293"/>
                  <a:pt x="504" y="1293"/>
                </a:cubicBezTo>
                <a:cubicBezTo>
                  <a:pt x="709" y="1293"/>
                  <a:pt x="876" y="1126"/>
                  <a:pt x="876" y="921"/>
                </a:cubicBezTo>
                <a:cubicBezTo>
                  <a:pt x="876" y="788"/>
                  <a:pt x="806" y="671"/>
                  <a:pt x="701" y="606"/>
                </a:cubicBezTo>
                <a:lnTo>
                  <a:pt x="982" y="175"/>
                </a:lnTo>
                <a:cubicBezTo>
                  <a:pt x="1005" y="140"/>
                  <a:pt x="1007" y="96"/>
                  <a:pt x="987" y="59"/>
                </a:cubicBezTo>
                <a:close/>
                <a:moveTo>
                  <a:pt x="679" y="226"/>
                </a:moveTo>
                <a:lnTo>
                  <a:pt x="504" y="495"/>
                </a:lnTo>
                <a:lnTo>
                  <a:pt x="328" y="226"/>
                </a:lnTo>
                <a:lnTo>
                  <a:pt x="679" y="226"/>
                </a:lnTo>
                <a:close/>
                <a:moveTo>
                  <a:pt x="730" y="824"/>
                </a:moveTo>
                <a:cubicBezTo>
                  <a:pt x="743" y="826"/>
                  <a:pt x="754" y="836"/>
                  <a:pt x="759" y="848"/>
                </a:cubicBezTo>
                <a:cubicBezTo>
                  <a:pt x="763" y="861"/>
                  <a:pt x="759" y="875"/>
                  <a:pt x="750" y="884"/>
                </a:cubicBezTo>
                <a:lnTo>
                  <a:pt x="652" y="979"/>
                </a:lnTo>
                <a:lnTo>
                  <a:pt x="675" y="1114"/>
                </a:lnTo>
                <a:cubicBezTo>
                  <a:pt x="677" y="1127"/>
                  <a:pt x="672" y="1140"/>
                  <a:pt x="661" y="1148"/>
                </a:cubicBezTo>
                <a:cubicBezTo>
                  <a:pt x="655" y="1153"/>
                  <a:pt x="648" y="1155"/>
                  <a:pt x="640" y="1155"/>
                </a:cubicBezTo>
                <a:cubicBezTo>
                  <a:pt x="635" y="1155"/>
                  <a:pt x="629" y="1154"/>
                  <a:pt x="624" y="1151"/>
                </a:cubicBezTo>
                <a:lnTo>
                  <a:pt x="504" y="1087"/>
                </a:lnTo>
                <a:lnTo>
                  <a:pt x="383" y="1151"/>
                </a:lnTo>
                <a:cubicBezTo>
                  <a:pt x="371" y="1157"/>
                  <a:pt x="357" y="1156"/>
                  <a:pt x="346" y="1148"/>
                </a:cubicBezTo>
                <a:cubicBezTo>
                  <a:pt x="335" y="1140"/>
                  <a:pt x="330" y="1127"/>
                  <a:pt x="332" y="1114"/>
                </a:cubicBezTo>
                <a:lnTo>
                  <a:pt x="355" y="979"/>
                </a:lnTo>
                <a:lnTo>
                  <a:pt x="257" y="884"/>
                </a:lnTo>
                <a:cubicBezTo>
                  <a:pt x="248" y="875"/>
                  <a:pt x="244" y="861"/>
                  <a:pt x="249" y="848"/>
                </a:cubicBezTo>
                <a:cubicBezTo>
                  <a:pt x="253" y="836"/>
                  <a:pt x="264" y="826"/>
                  <a:pt x="277" y="824"/>
                </a:cubicBezTo>
                <a:lnTo>
                  <a:pt x="412" y="805"/>
                </a:lnTo>
                <a:lnTo>
                  <a:pt x="472" y="683"/>
                </a:lnTo>
                <a:cubicBezTo>
                  <a:pt x="478" y="671"/>
                  <a:pt x="490" y="663"/>
                  <a:pt x="504" y="663"/>
                </a:cubicBezTo>
                <a:cubicBezTo>
                  <a:pt x="517" y="663"/>
                  <a:pt x="529" y="671"/>
                  <a:pt x="535" y="683"/>
                </a:cubicBezTo>
                <a:lnTo>
                  <a:pt x="595" y="805"/>
                </a:lnTo>
                <a:lnTo>
                  <a:pt x="730" y="824"/>
                </a:lnTo>
                <a:close/>
              </a:path>
            </a:pathLst>
          </a:cu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15" name="Freeform 6"/>
          <p:cNvSpPr>
            <a:spLocks noEditPoints="1"/>
          </p:cNvSpPr>
          <p:nvPr/>
        </p:nvSpPr>
        <p:spPr bwMode="auto">
          <a:xfrm>
            <a:off x="10136608" y="2377096"/>
            <a:ext cx="537760" cy="266563"/>
          </a:xfrm>
          <a:custGeom>
            <a:avLst/>
            <a:gdLst/>
            <a:ahLst/>
            <a:cxnLst>
              <a:cxn ang="0">
                <a:pos x="658" y="329"/>
              </a:cxn>
              <a:cxn ang="0">
                <a:pos x="329" y="0"/>
              </a:cxn>
              <a:cxn ang="0">
                <a:pos x="0" y="329"/>
              </a:cxn>
              <a:cxn ang="0">
                <a:pos x="1" y="335"/>
              </a:cxn>
              <a:cxn ang="0">
                <a:pos x="256" y="335"/>
              </a:cxn>
              <a:cxn ang="0">
                <a:pos x="255" y="329"/>
              </a:cxn>
              <a:cxn ang="0">
                <a:pos x="329" y="256"/>
              </a:cxn>
              <a:cxn ang="0">
                <a:pos x="366" y="266"/>
              </a:cxn>
              <a:cxn ang="0">
                <a:pos x="541" y="109"/>
              </a:cxn>
              <a:cxn ang="0">
                <a:pos x="548" y="115"/>
              </a:cxn>
              <a:cxn ang="0">
                <a:pos x="392" y="292"/>
              </a:cxn>
              <a:cxn ang="0">
                <a:pos x="403" y="329"/>
              </a:cxn>
              <a:cxn ang="0">
                <a:pos x="402" y="335"/>
              </a:cxn>
              <a:cxn ang="0">
                <a:pos x="657" y="335"/>
              </a:cxn>
              <a:cxn ang="0">
                <a:pos x="657" y="335"/>
              </a:cxn>
              <a:cxn ang="0">
                <a:pos x="658" y="329"/>
              </a:cxn>
              <a:cxn ang="0">
                <a:pos x="81" y="306"/>
              </a:cxn>
              <a:cxn ang="0">
                <a:pos x="51" y="306"/>
              </a:cxn>
              <a:cxn ang="0">
                <a:pos x="38" y="293"/>
              </a:cxn>
              <a:cxn ang="0">
                <a:pos x="51" y="280"/>
              </a:cxn>
              <a:cxn ang="0">
                <a:pos x="81" y="280"/>
              </a:cxn>
              <a:cxn ang="0">
                <a:pos x="94" y="293"/>
              </a:cxn>
              <a:cxn ang="0">
                <a:pos x="81" y="306"/>
              </a:cxn>
              <a:cxn ang="0">
                <a:pos x="342" y="78"/>
              </a:cxn>
              <a:cxn ang="0">
                <a:pos x="329" y="91"/>
              </a:cxn>
              <a:cxn ang="0">
                <a:pos x="316" y="78"/>
              </a:cxn>
              <a:cxn ang="0">
                <a:pos x="316" y="48"/>
              </a:cxn>
              <a:cxn ang="0">
                <a:pos x="329" y="35"/>
              </a:cxn>
              <a:cxn ang="0">
                <a:pos x="342" y="48"/>
              </a:cxn>
              <a:cxn ang="0">
                <a:pos x="342" y="78"/>
              </a:cxn>
              <a:cxn ang="0">
                <a:pos x="607" y="306"/>
              </a:cxn>
              <a:cxn ang="0">
                <a:pos x="577" y="306"/>
              </a:cxn>
              <a:cxn ang="0">
                <a:pos x="564" y="293"/>
              </a:cxn>
              <a:cxn ang="0">
                <a:pos x="577" y="280"/>
              </a:cxn>
              <a:cxn ang="0">
                <a:pos x="607" y="280"/>
              </a:cxn>
              <a:cxn ang="0">
                <a:pos x="620" y="293"/>
              </a:cxn>
              <a:cxn ang="0">
                <a:pos x="607" y="306"/>
              </a:cxn>
            </a:cxnLst>
            <a:rect l="0" t="0" r="r" b="b"/>
            <a:pathLst>
              <a:path w="658" h="335">
                <a:moveTo>
                  <a:pt x="658" y="329"/>
                </a:moveTo>
                <a:cubicBezTo>
                  <a:pt x="658" y="148"/>
                  <a:pt x="510" y="0"/>
                  <a:pt x="329" y="0"/>
                </a:cubicBezTo>
                <a:cubicBezTo>
                  <a:pt x="147" y="0"/>
                  <a:pt x="0" y="148"/>
                  <a:pt x="0" y="329"/>
                </a:cubicBezTo>
                <a:cubicBezTo>
                  <a:pt x="0" y="331"/>
                  <a:pt x="1" y="333"/>
                  <a:pt x="1" y="335"/>
                </a:cubicBezTo>
                <a:lnTo>
                  <a:pt x="256" y="335"/>
                </a:lnTo>
                <a:cubicBezTo>
                  <a:pt x="256" y="333"/>
                  <a:pt x="255" y="331"/>
                  <a:pt x="255" y="329"/>
                </a:cubicBezTo>
                <a:cubicBezTo>
                  <a:pt x="255" y="289"/>
                  <a:pt x="288" y="256"/>
                  <a:pt x="329" y="256"/>
                </a:cubicBezTo>
                <a:cubicBezTo>
                  <a:pt x="342" y="256"/>
                  <a:pt x="355" y="259"/>
                  <a:pt x="366" y="266"/>
                </a:cubicBezTo>
                <a:lnTo>
                  <a:pt x="541" y="109"/>
                </a:lnTo>
                <a:lnTo>
                  <a:pt x="548" y="115"/>
                </a:lnTo>
                <a:lnTo>
                  <a:pt x="392" y="292"/>
                </a:lnTo>
                <a:cubicBezTo>
                  <a:pt x="399" y="303"/>
                  <a:pt x="403" y="316"/>
                  <a:pt x="403" y="329"/>
                </a:cubicBezTo>
                <a:cubicBezTo>
                  <a:pt x="403" y="331"/>
                  <a:pt x="402" y="333"/>
                  <a:pt x="402" y="335"/>
                </a:cubicBezTo>
                <a:lnTo>
                  <a:pt x="657" y="335"/>
                </a:lnTo>
                <a:lnTo>
                  <a:pt x="657" y="335"/>
                </a:lnTo>
                <a:cubicBezTo>
                  <a:pt x="657" y="333"/>
                  <a:pt x="658" y="331"/>
                  <a:pt x="658" y="329"/>
                </a:cubicBezTo>
                <a:close/>
                <a:moveTo>
                  <a:pt x="81" y="306"/>
                </a:moveTo>
                <a:lnTo>
                  <a:pt x="51" y="306"/>
                </a:lnTo>
                <a:cubicBezTo>
                  <a:pt x="44" y="306"/>
                  <a:pt x="38" y="300"/>
                  <a:pt x="38" y="293"/>
                </a:cubicBezTo>
                <a:cubicBezTo>
                  <a:pt x="38" y="286"/>
                  <a:pt x="44" y="280"/>
                  <a:pt x="51" y="280"/>
                </a:cubicBezTo>
                <a:lnTo>
                  <a:pt x="81" y="280"/>
                </a:lnTo>
                <a:cubicBezTo>
                  <a:pt x="88" y="280"/>
                  <a:pt x="94" y="286"/>
                  <a:pt x="94" y="293"/>
                </a:cubicBezTo>
                <a:cubicBezTo>
                  <a:pt x="94" y="300"/>
                  <a:pt x="88" y="306"/>
                  <a:pt x="81" y="306"/>
                </a:cubicBezTo>
                <a:close/>
                <a:moveTo>
                  <a:pt x="342" y="78"/>
                </a:moveTo>
                <a:cubicBezTo>
                  <a:pt x="342" y="85"/>
                  <a:pt x="336" y="91"/>
                  <a:pt x="329" y="91"/>
                </a:cubicBezTo>
                <a:cubicBezTo>
                  <a:pt x="322" y="91"/>
                  <a:pt x="316" y="85"/>
                  <a:pt x="316" y="78"/>
                </a:cubicBezTo>
                <a:lnTo>
                  <a:pt x="316" y="48"/>
                </a:lnTo>
                <a:cubicBezTo>
                  <a:pt x="316" y="40"/>
                  <a:pt x="322" y="35"/>
                  <a:pt x="329" y="35"/>
                </a:cubicBezTo>
                <a:cubicBezTo>
                  <a:pt x="336" y="35"/>
                  <a:pt x="342" y="40"/>
                  <a:pt x="342" y="48"/>
                </a:cubicBezTo>
                <a:lnTo>
                  <a:pt x="342" y="78"/>
                </a:lnTo>
                <a:close/>
                <a:moveTo>
                  <a:pt x="607" y="306"/>
                </a:moveTo>
                <a:lnTo>
                  <a:pt x="577" y="306"/>
                </a:lnTo>
                <a:cubicBezTo>
                  <a:pt x="570" y="306"/>
                  <a:pt x="564" y="300"/>
                  <a:pt x="564" y="293"/>
                </a:cubicBezTo>
                <a:cubicBezTo>
                  <a:pt x="564" y="286"/>
                  <a:pt x="570" y="280"/>
                  <a:pt x="577" y="280"/>
                </a:cubicBezTo>
                <a:lnTo>
                  <a:pt x="607" y="280"/>
                </a:lnTo>
                <a:cubicBezTo>
                  <a:pt x="614" y="280"/>
                  <a:pt x="620" y="286"/>
                  <a:pt x="620" y="293"/>
                </a:cubicBezTo>
                <a:cubicBezTo>
                  <a:pt x="620" y="300"/>
                  <a:pt x="614" y="306"/>
                  <a:pt x="607" y="306"/>
                </a:cubicBezTo>
                <a:close/>
              </a:path>
            </a:pathLst>
          </a:cu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grpSp>
        <p:nvGrpSpPr>
          <p:cNvPr id="217" name="Group 336"/>
          <p:cNvGrpSpPr/>
          <p:nvPr/>
        </p:nvGrpSpPr>
        <p:grpSpPr>
          <a:xfrm>
            <a:off x="11150342" y="3616752"/>
            <a:ext cx="737729" cy="603868"/>
            <a:chOff x="8652314" y="1411730"/>
            <a:chExt cx="845581" cy="692151"/>
          </a:xfrm>
        </p:grpSpPr>
        <p:sp>
          <p:nvSpPr>
            <p:cNvPr id="218" name="Freeform 43"/>
            <p:cNvSpPr>
              <a:spLocks/>
            </p:cNvSpPr>
            <p:nvPr/>
          </p:nvSpPr>
          <p:spPr bwMode="auto">
            <a:xfrm>
              <a:off x="9262944" y="1625390"/>
              <a:ext cx="158750" cy="244475"/>
            </a:xfrm>
            <a:custGeom>
              <a:avLst/>
              <a:gdLst/>
              <a:ahLst/>
              <a:cxnLst>
                <a:cxn ang="0">
                  <a:pos x="46" y="232"/>
                </a:cxn>
                <a:cxn ang="0">
                  <a:pos x="173" y="83"/>
                </a:cxn>
                <a:cxn ang="0">
                  <a:pos x="173" y="116"/>
                </a:cxn>
                <a:cxn ang="0">
                  <a:pos x="266" y="58"/>
                </a:cxn>
                <a:cxn ang="0">
                  <a:pos x="173" y="0"/>
                </a:cxn>
                <a:cxn ang="0">
                  <a:pos x="173" y="37"/>
                </a:cxn>
                <a:cxn ang="0">
                  <a:pos x="0" y="232"/>
                </a:cxn>
                <a:cxn ang="0">
                  <a:pos x="93" y="400"/>
                </a:cxn>
                <a:cxn ang="0">
                  <a:pos x="139" y="371"/>
                </a:cxn>
                <a:cxn ang="0">
                  <a:pos x="46" y="232"/>
                </a:cxn>
              </a:cxnLst>
              <a:rect l="0" t="0" r="r" b="b"/>
              <a:pathLst>
                <a:path w="266" h="400">
                  <a:moveTo>
                    <a:pt x="46" y="232"/>
                  </a:moveTo>
                  <a:cubicBezTo>
                    <a:pt x="46" y="157"/>
                    <a:pt x="101" y="95"/>
                    <a:pt x="173" y="83"/>
                  </a:cubicBezTo>
                  <a:lnTo>
                    <a:pt x="173" y="116"/>
                  </a:lnTo>
                  <a:lnTo>
                    <a:pt x="266" y="58"/>
                  </a:lnTo>
                  <a:lnTo>
                    <a:pt x="173" y="0"/>
                  </a:lnTo>
                  <a:lnTo>
                    <a:pt x="173" y="37"/>
                  </a:lnTo>
                  <a:cubicBezTo>
                    <a:pt x="76" y="48"/>
                    <a:pt x="0" y="131"/>
                    <a:pt x="0" y="232"/>
                  </a:cubicBezTo>
                  <a:cubicBezTo>
                    <a:pt x="0" y="303"/>
                    <a:pt x="37" y="365"/>
                    <a:pt x="93" y="400"/>
                  </a:cubicBezTo>
                  <a:lnTo>
                    <a:pt x="139" y="371"/>
                  </a:lnTo>
                  <a:cubicBezTo>
                    <a:pt x="84" y="349"/>
                    <a:pt x="46" y="295"/>
                    <a:pt x="46" y="232"/>
                  </a:cubicBezTo>
                  <a:close/>
                </a:path>
              </a:pathLst>
            </a:cu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19" name="Freeform 44"/>
            <p:cNvSpPr>
              <a:spLocks/>
            </p:cNvSpPr>
            <p:nvPr/>
          </p:nvSpPr>
          <p:spPr bwMode="auto">
            <a:xfrm>
              <a:off x="9337557" y="1665077"/>
              <a:ext cx="160338" cy="242888"/>
            </a:xfrm>
            <a:custGeom>
              <a:avLst/>
              <a:gdLst/>
              <a:ahLst/>
              <a:cxnLst>
                <a:cxn ang="0">
                  <a:pos x="173" y="0"/>
                </a:cxn>
                <a:cxn ang="0">
                  <a:pos x="127" y="28"/>
                </a:cxn>
                <a:cxn ang="0">
                  <a:pos x="220" y="167"/>
                </a:cxn>
                <a:cxn ang="0">
                  <a:pos x="93" y="316"/>
                </a:cxn>
                <a:cxn ang="0">
                  <a:pos x="93" y="283"/>
                </a:cxn>
                <a:cxn ang="0">
                  <a:pos x="0" y="341"/>
                </a:cxn>
                <a:cxn ang="0">
                  <a:pos x="93" y="399"/>
                </a:cxn>
                <a:cxn ang="0">
                  <a:pos x="93" y="363"/>
                </a:cxn>
                <a:cxn ang="0">
                  <a:pos x="267" y="167"/>
                </a:cxn>
                <a:cxn ang="0">
                  <a:pos x="173" y="0"/>
                </a:cxn>
              </a:cxnLst>
              <a:rect l="0" t="0" r="r" b="b"/>
              <a:pathLst>
                <a:path w="267" h="399">
                  <a:moveTo>
                    <a:pt x="173" y="0"/>
                  </a:moveTo>
                  <a:lnTo>
                    <a:pt x="127" y="28"/>
                  </a:lnTo>
                  <a:cubicBezTo>
                    <a:pt x="182" y="51"/>
                    <a:pt x="220" y="104"/>
                    <a:pt x="220" y="167"/>
                  </a:cubicBezTo>
                  <a:cubicBezTo>
                    <a:pt x="220" y="242"/>
                    <a:pt x="165" y="305"/>
                    <a:pt x="93" y="316"/>
                  </a:cubicBezTo>
                  <a:lnTo>
                    <a:pt x="93" y="283"/>
                  </a:lnTo>
                  <a:lnTo>
                    <a:pt x="0" y="341"/>
                  </a:lnTo>
                  <a:lnTo>
                    <a:pt x="93" y="399"/>
                  </a:lnTo>
                  <a:lnTo>
                    <a:pt x="93" y="363"/>
                  </a:lnTo>
                  <a:cubicBezTo>
                    <a:pt x="190" y="351"/>
                    <a:pt x="267" y="268"/>
                    <a:pt x="267" y="167"/>
                  </a:cubicBezTo>
                  <a:cubicBezTo>
                    <a:pt x="267" y="96"/>
                    <a:pt x="229" y="34"/>
                    <a:pt x="173" y="0"/>
                  </a:cubicBezTo>
                  <a:close/>
                </a:path>
              </a:pathLst>
            </a:cu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grpSp>
          <p:nvGrpSpPr>
            <p:cNvPr id="220" name="Group 326"/>
            <p:cNvGrpSpPr/>
            <p:nvPr/>
          </p:nvGrpSpPr>
          <p:grpSpPr>
            <a:xfrm>
              <a:off x="8652314" y="1411730"/>
              <a:ext cx="553059" cy="692151"/>
              <a:chOff x="3886200" y="5291138"/>
              <a:chExt cx="530226" cy="663576"/>
            </a:xfrm>
          </p:grpSpPr>
          <p:sp>
            <p:nvSpPr>
              <p:cNvPr id="221" name="Freeform 13"/>
              <p:cNvSpPr>
                <a:spLocks/>
              </p:cNvSpPr>
              <p:nvPr/>
            </p:nvSpPr>
            <p:spPr bwMode="auto">
              <a:xfrm>
                <a:off x="4098925" y="5365751"/>
                <a:ext cx="168275" cy="560388"/>
              </a:xfrm>
              <a:custGeom>
                <a:avLst/>
                <a:gdLst/>
                <a:ahLst/>
                <a:cxnLst>
                  <a:cxn ang="0">
                    <a:pos x="0" y="1478"/>
                  </a:cxn>
                  <a:cxn ang="0">
                    <a:pos x="302" y="1478"/>
                  </a:cxn>
                  <a:cxn ang="0">
                    <a:pos x="302" y="2924"/>
                  </a:cxn>
                  <a:cxn ang="0">
                    <a:pos x="870" y="2924"/>
                  </a:cxn>
                  <a:cxn ang="0">
                    <a:pos x="870" y="2831"/>
                  </a:cxn>
                  <a:cxn ang="0">
                    <a:pos x="396" y="2831"/>
                  </a:cxn>
                  <a:cxn ang="0">
                    <a:pos x="396" y="1478"/>
                  </a:cxn>
                  <a:cxn ang="0">
                    <a:pos x="787" y="1478"/>
                  </a:cxn>
                  <a:cxn ang="0">
                    <a:pos x="787" y="1384"/>
                  </a:cxn>
                  <a:cxn ang="0">
                    <a:pos x="396" y="1384"/>
                  </a:cxn>
                  <a:cxn ang="0">
                    <a:pos x="396" y="94"/>
                  </a:cxn>
                  <a:cxn ang="0">
                    <a:pos x="870" y="94"/>
                  </a:cxn>
                  <a:cxn ang="0">
                    <a:pos x="870" y="0"/>
                  </a:cxn>
                  <a:cxn ang="0">
                    <a:pos x="302" y="0"/>
                  </a:cxn>
                  <a:cxn ang="0">
                    <a:pos x="302" y="1384"/>
                  </a:cxn>
                  <a:cxn ang="0">
                    <a:pos x="0" y="1384"/>
                  </a:cxn>
                  <a:cxn ang="0">
                    <a:pos x="0" y="1478"/>
                  </a:cxn>
                </a:cxnLst>
                <a:rect l="0" t="0" r="r" b="b"/>
                <a:pathLst>
                  <a:path w="870" h="2924">
                    <a:moveTo>
                      <a:pt x="0" y="1478"/>
                    </a:moveTo>
                    <a:lnTo>
                      <a:pt x="302" y="1478"/>
                    </a:lnTo>
                    <a:lnTo>
                      <a:pt x="302" y="2924"/>
                    </a:lnTo>
                    <a:lnTo>
                      <a:pt x="870" y="2924"/>
                    </a:lnTo>
                    <a:lnTo>
                      <a:pt x="870" y="2831"/>
                    </a:lnTo>
                    <a:lnTo>
                      <a:pt x="396" y="2831"/>
                    </a:lnTo>
                    <a:lnTo>
                      <a:pt x="396" y="1478"/>
                    </a:lnTo>
                    <a:lnTo>
                      <a:pt x="787" y="1478"/>
                    </a:lnTo>
                    <a:lnTo>
                      <a:pt x="787" y="1384"/>
                    </a:lnTo>
                    <a:lnTo>
                      <a:pt x="396" y="1384"/>
                    </a:lnTo>
                    <a:lnTo>
                      <a:pt x="396" y="94"/>
                    </a:lnTo>
                    <a:lnTo>
                      <a:pt x="870" y="94"/>
                    </a:lnTo>
                    <a:lnTo>
                      <a:pt x="870" y="0"/>
                    </a:lnTo>
                    <a:lnTo>
                      <a:pt x="302" y="0"/>
                    </a:lnTo>
                    <a:lnTo>
                      <a:pt x="302" y="1384"/>
                    </a:lnTo>
                    <a:lnTo>
                      <a:pt x="0" y="1384"/>
                    </a:lnTo>
                    <a:lnTo>
                      <a:pt x="0" y="1478"/>
                    </a:lnTo>
                    <a:close/>
                  </a:path>
                </a:pathLst>
              </a:cu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22" name="Oval 14"/>
              <p:cNvSpPr>
                <a:spLocks noChangeArrowheads="1"/>
              </p:cNvSpPr>
              <p:nvPr/>
            </p:nvSpPr>
            <p:spPr bwMode="auto">
              <a:xfrm>
                <a:off x="3935413" y="5381626"/>
                <a:ext cx="95250" cy="95250"/>
              </a:xfrm>
              <a:prstGeom prst="ellipse">
                <a:avLst/>
              </a:pr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23" name="Freeform 15"/>
              <p:cNvSpPr>
                <a:spLocks noEditPoints="1"/>
              </p:cNvSpPr>
              <p:nvPr/>
            </p:nvSpPr>
            <p:spPr bwMode="auto">
              <a:xfrm>
                <a:off x="3886200" y="5478463"/>
                <a:ext cx="193675" cy="360363"/>
              </a:xfrm>
              <a:custGeom>
                <a:avLst/>
                <a:gdLst/>
                <a:ahLst/>
                <a:cxnLst>
                  <a:cxn ang="0">
                    <a:pos x="667" y="46"/>
                  </a:cxn>
                  <a:cxn ang="0">
                    <a:pos x="654" y="40"/>
                  </a:cxn>
                  <a:cxn ang="0">
                    <a:pos x="564" y="0"/>
                  </a:cxn>
                  <a:cxn ang="0">
                    <a:pos x="503" y="62"/>
                  </a:cxn>
                  <a:cxn ang="0">
                    <a:pos x="443" y="0"/>
                  </a:cxn>
                  <a:cxn ang="0">
                    <a:pos x="443" y="0"/>
                  </a:cxn>
                  <a:cxn ang="0">
                    <a:pos x="352" y="39"/>
                  </a:cxn>
                  <a:cxn ang="0">
                    <a:pos x="338" y="46"/>
                  </a:cxn>
                  <a:cxn ang="0">
                    <a:pos x="3" y="799"/>
                  </a:cxn>
                  <a:cxn ang="0">
                    <a:pos x="92" y="901"/>
                  </a:cxn>
                  <a:cxn ang="0">
                    <a:pos x="98" y="901"/>
                  </a:cxn>
                  <a:cxn ang="0">
                    <a:pos x="194" y="811"/>
                  </a:cxn>
                  <a:cxn ang="0">
                    <a:pos x="250" y="427"/>
                  </a:cxn>
                  <a:cxn ang="0">
                    <a:pos x="250" y="758"/>
                  </a:cxn>
                  <a:cxn ang="0">
                    <a:pos x="264" y="830"/>
                  </a:cxn>
                  <a:cxn ang="0">
                    <a:pos x="263" y="845"/>
                  </a:cxn>
                  <a:cxn ang="0">
                    <a:pos x="263" y="1762"/>
                  </a:cxn>
                  <a:cxn ang="0">
                    <a:pos x="376" y="1875"/>
                  </a:cxn>
                  <a:cxn ang="0">
                    <a:pos x="489" y="1762"/>
                  </a:cxn>
                  <a:cxn ang="0">
                    <a:pos x="489" y="975"/>
                  </a:cxn>
                  <a:cxn ang="0">
                    <a:pos x="503" y="976"/>
                  </a:cxn>
                  <a:cxn ang="0">
                    <a:pos x="505" y="976"/>
                  </a:cxn>
                  <a:cxn ang="0">
                    <a:pos x="505" y="1762"/>
                  </a:cxn>
                  <a:cxn ang="0">
                    <a:pos x="618" y="1875"/>
                  </a:cxn>
                  <a:cxn ang="0">
                    <a:pos x="731" y="1762"/>
                  </a:cxn>
                  <a:cxn ang="0">
                    <a:pos x="732" y="851"/>
                  </a:cxn>
                  <a:cxn ang="0">
                    <a:pos x="755" y="758"/>
                  </a:cxn>
                  <a:cxn ang="0">
                    <a:pos x="755" y="430"/>
                  </a:cxn>
                  <a:cxn ang="0">
                    <a:pos x="811" y="811"/>
                  </a:cxn>
                  <a:cxn ang="0">
                    <a:pos x="906" y="901"/>
                  </a:cxn>
                  <a:cxn ang="0">
                    <a:pos x="912" y="901"/>
                  </a:cxn>
                  <a:cxn ang="0">
                    <a:pos x="1002" y="799"/>
                  </a:cxn>
                  <a:cxn ang="0">
                    <a:pos x="667" y="46"/>
                  </a:cxn>
                  <a:cxn ang="0">
                    <a:pos x="503" y="550"/>
                  </a:cxn>
                  <a:cxn ang="0">
                    <a:pos x="502" y="550"/>
                  </a:cxn>
                  <a:cxn ang="0">
                    <a:pos x="443" y="468"/>
                  </a:cxn>
                  <a:cxn ang="0">
                    <a:pos x="502" y="71"/>
                  </a:cxn>
                  <a:cxn ang="0">
                    <a:pos x="503" y="71"/>
                  </a:cxn>
                  <a:cxn ang="0">
                    <a:pos x="563" y="468"/>
                  </a:cxn>
                  <a:cxn ang="0">
                    <a:pos x="503" y="550"/>
                  </a:cxn>
                </a:cxnLst>
                <a:rect l="0" t="0" r="r" b="b"/>
                <a:pathLst>
                  <a:path w="1005" h="1875">
                    <a:moveTo>
                      <a:pt x="667" y="46"/>
                    </a:moveTo>
                    <a:cubicBezTo>
                      <a:pt x="662" y="43"/>
                      <a:pt x="658" y="42"/>
                      <a:pt x="654" y="40"/>
                    </a:cubicBezTo>
                    <a:cubicBezTo>
                      <a:pt x="626" y="21"/>
                      <a:pt x="596" y="8"/>
                      <a:pt x="564" y="0"/>
                    </a:cubicBezTo>
                    <a:lnTo>
                      <a:pt x="503" y="62"/>
                    </a:lnTo>
                    <a:lnTo>
                      <a:pt x="443" y="0"/>
                    </a:lnTo>
                    <a:cubicBezTo>
                      <a:pt x="443" y="0"/>
                      <a:pt x="443" y="0"/>
                      <a:pt x="443" y="0"/>
                    </a:cubicBezTo>
                    <a:cubicBezTo>
                      <a:pt x="411" y="7"/>
                      <a:pt x="380" y="21"/>
                      <a:pt x="352" y="39"/>
                    </a:cubicBezTo>
                    <a:cubicBezTo>
                      <a:pt x="348" y="41"/>
                      <a:pt x="343" y="43"/>
                      <a:pt x="338" y="46"/>
                    </a:cubicBezTo>
                    <a:cubicBezTo>
                      <a:pt x="147" y="163"/>
                      <a:pt x="37" y="256"/>
                      <a:pt x="3" y="799"/>
                    </a:cubicBezTo>
                    <a:cubicBezTo>
                      <a:pt x="0" y="852"/>
                      <a:pt x="40" y="897"/>
                      <a:pt x="92" y="901"/>
                    </a:cubicBezTo>
                    <a:cubicBezTo>
                      <a:pt x="94" y="901"/>
                      <a:pt x="96" y="901"/>
                      <a:pt x="98" y="901"/>
                    </a:cubicBezTo>
                    <a:cubicBezTo>
                      <a:pt x="149" y="901"/>
                      <a:pt x="191" y="862"/>
                      <a:pt x="194" y="811"/>
                    </a:cubicBezTo>
                    <a:cubicBezTo>
                      <a:pt x="205" y="628"/>
                      <a:pt x="224" y="509"/>
                      <a:pt x="250" y="427"/>
                    </a:cubicBezTo>
                    <a:lnTo>
                      <a:pt x="250" y="758"/>
                    </a:lnTo>
                    <a:cubicBezTo>
                      <a:pt x="250" y="784"/>
                      <a:pt x="255" y="808"/>
                      <a:pt x="264" y="830"/>
                    </a:cubicBezTo>
                    <a:cubicBezTo>
                      <a:pt x="264" y="835"/>
                      <a:pt x="263" y="840"/>
                      <a:pt x="263" y="845"/>
                    </a:cubicBezTo>
                    <a:lnTo>
                      <a:pt x="263" y="1762"/>
                    </a:lnTo>
                    <a:cubicBezTo>
                      <a:pt x="263" y="1824"/>
                      <a:pt x="314" y="1875"/>
                      <a:pt x="376" y="1875"/>
                    </a:cubicBezTo>
                    <a:cubicBezTo>
                      <a:pt x="439" y="1875"/>
                      <a:pt x="489" y="1824"/>
                      <a:pt x="489" y="1762"/>
                    </a:cubicBezTo>
                    <a:lnTo>
                      <a:pt x="489" y="975"/>
                    </a:lnTo>
                    <a:cubicBezTo>
                      <a:pt x="494" y="976"/>
                      <a:pt x="498" y="976"/>
                      <a:pt x="503" y="976"/>
                    </a:cubicBezTo>
                    <a:cubicBezTo>
                      <a:pt x="504" y="976"/>
                      <a:pt x="504" y="976"/>
                      <a:pt x="505" y="976"/>
                    </a:cubicBezTo>
                    <a:lnTo>
                      <a:pt x="505" y="1762"/>
                    </a:lnTo>
                    <a:cubicBezTo>
                      <a:pt x="505" y="1824"/>
                      <a:pt x="556" y="1875"/>
                      <a:pt x="618" y="1875"/>
                    </a:cubicBezTo>
                    <a:cubicBezTo>
                      <a:pt x="681" y="1875"/>
                      <a:pt x="731" y="1824"/>
                      <a:pt x="731" y="1762"/>
                    </a:cubicBezTo>
                    <a:lnTo>
                      <a:pt x="732" y="851"/>
                    </a:lnTo>
                    <a:cubicBezTo>
                      <a:pt x="746" y="824"/>
                      <a:pt x="755" y="793"/>
                      <a:pt x="755" y="758"/>
                    </a:cubicBezTo>
                    <a:lnTo>
                      <a:pt x="755" y="430"/>
                    </a:lnTo>
                    <a:cubicBezTo>
                      <a:pt x="781" y="512"/>
                      <a:pt x="799" y="630"/>
                      <a:pt x="811" y="811"/>
                    </a:cubicBezTo>
                    <a:cubicBezTo>
                      <a:pt x="814" y="862"/>
                      <a:pt x="856" y="901"/>
                      <a:pt x="906" y="901"/>
                    </a:cubicBezTo>
                    <a:cubicBezTo>
                      <a:pt x="908" y="901"/>
                      <a:pt x="910" y="901"/>
                      <a:pt x="912" y="901"/>
                    </a:cubicBezTo>
                    <a:cubicBezTo>
                      <a:pt x="965" y="897"/>
                      <a:pt x="1005" y="852"/>
                      <a:pt x="1002" y="799"/>
                    </a:cubicBezTo>
                    <a:cubicBezTo>
                      <a:pt x="968" y="256"/>
                      <a:pt x="858" y="163"/>
                      <a:pt x="667" y="46"/>
                    </a:cubicBezTo>
                    <a:close/>
                    <a:moveTo>
                      <a:pt x="503" y="550"/>
                    </a:moveTo>
                    <a:lnTo>
                      <a:pt x="502" y="550"/>
                    </a:lnTo>
                    <a:lnTo>
                      <a:pt x="443" y="468"/>
                    </a:lnTo>
                    <a:lnTo>
                      <a:pt x="502" y="71"/>
                    </a:lnTo>
                    <a:lnTo>
                      <a:pt x="503" y="71"/>
                    </a:lnTo>
                    <a:lnTo>
                      <a:pt x="563" y="468"/>
                    </a:lnTo>
                    <a:lnTo>
                      <a:pt x="503" y="550"/>
                    </a:lnTo>
                    <a:close/>
                  </a:path>
                </a:pathLst>
              </a:cu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24" name="Oval 16"/>
              <p:cNvSpPr>
                <a:spLocks noChangeArrowheads="1"/>
              </p:cNvSpPr>
              <p:nvPr/>
            </p:nvSpPr>
            <p:spPr bwMode="auto">
              <a:xfrm>
                <a:off x="4311650" y="5291138"/>
                <a:ext cx="73025" cy="73025"/>
              </a:xfrm>
              <a:prstGeom prst="ellipse">
                <a:avLst/>
              </a:pr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25" name="Freeform 17"/>
              <p:cNvSpPr>
                <a:spLocks/>
              </p:cNvSpPr>
              <p:nvPr/>
            </p:nvSpPr>
            <p:spPr bwMode="auto">
              <a:xfrm>
                <a:off x="4278313" y="5365751"/>
                <a:ext cx="138113" cy="74613"/>
              </a:xfrm>
              <a:custGeom>
                <a:avLst/>
                <a:gdLst/>
                <a:ahLst/>
                <a:cxnLst>
                  <a:cxn ang="0">
                    <a:pos x="314" y="361"/>
                  </a:cxn>
                  <a:cxn ang="0">
                    <a:pos x="359" y="55"/>
                  </a:cxn>
                  <a:cxn ang="0">
                    <a:pos x="360" y="55"/>
                  </a:cxn>
                  <a:cxn ang="0">
                    <a:pos x="406" y="361"/>
                  </a:cxn>
                  <a:cxn ang="0">
                    <a:pos x="411" y="388"/>
                  </a:cxn>
                  <a:cxn ang="0">
                    <a:pos x="718" y="388"/>
                  </a:cxn>
                  <a:cxn ang="0">
                    <a:pos x="486" y="36"/>
                  </a:cxn>
                  <a:cxn ang="0">
                    <a:pos x="476" y="31"/>
                  </a:cxn>
                  <a:cxn ang="0">
                    <a:pos x="407" y="1"/>
                  </a:cxn>
                  <a:cxn ang="0">
                    <a:pos x="360" y="48"/>
                  </a:cxn>
                  <a:cxn ang="0">
                    <a:pos x="314" y="0"/>
                  </a:cxn>
                  <a:cxn ang="0">
                    <a:pos x="314" y="0"/>
                  </a:cxn>
                  <a:cxn ang="0">
                    <a:pos x="244" y="30"/>
                  </a:cxn>
                  <a:cxn ang="0">
                    <a:pos x="233" y="36"/>
                  </a:cxn>
                  <a:cxn ang="0">
                    <a:pos x="0" y="388"/>
                  </a:cxn>
                  <a:cxn ang="0">
                    <a:pos x="309" y="388"/>
                  </a:cxn>
                  <a:cxn ang="0">
                    <a:pos x="314" y="361"/>
                  </a:cxn>
                </a:cxnLst>
                <a:rect l="0" t="0" r="r" b="b"/>
                <a:pathLst>
                  <a:path w="718" h="388">
                    <a:moveTo>
                      <a:pt x="314" y="361"/>
                    </a:moveTo>
                    <a:lnTo>
                      <a:pt x="359" y="55"/>
                    </a:lnTo>
                    <a:lnTo>
                      <a:pt x="360" y="55"/>
                    </a:lnTo>
                    <a:lnTo>
                      <a:pt x="406" y="361"/>
                    </a:lnTo>
                    <a:lnTo>
                      <a:pt x="411" y="388"/>
                    </a:lnTo>
                    <a:lnTo>
                      <a:pt x="718" y="388"/>
                    </a:lnTo>
                    <a:cubicBezTo>
                      <a:pt x="678" y="165"/>
                      <a:pt x="601" y="106"/>
                      <a:pt x="486" y="36"/>
                    </a:cubicBezTo>
                    <a:cubicBezTo>
                      <a:pt x="483" y="34"/>
                      <a:pt x="479" y="32"/>
                      <a:pt x="476" y="31"/>
                    </a:cubicBezTo>
                    <a:cubicBezTo>
                      <a:pt x="455" y="17"/>
                      <a:pt x="431" y="6"/>
                      <a:pt x="407" y="1"/>
                    </a:cubicBezTo>
                    <a:lnTo>
                      <a:pt x="360" y="48"/>
                    </a:lnTo>
                    <a:lnTo>
                      <a:pt x="314" y="0"/>
                    </a:lnTo>
                    <a:cubicBezTo>
                      <a:pt x="314" y="0"/>
                      <a:pt x="314" y="0"/>
                      <a:pt x="314" y="0"/>
                    </a:cubicBezTo>
                    <a:cubicBezTo>
                      <a:pt x="289" y="6"/>
                      <a:pt x="265" y="16"/>
                      <a:pt x="244" y="30"/>
                    </a:cubicBezTo>
                    <a:cubicBezTo>
                      <a:pt x="240" y="32"/>
                      <a:pt x="237" y="33"/>
                      <a:pt x="233" y="36"/>
                    </a:cubicBezTo>
                    <a:cubicBezTo>
                      <a:pt x="118" y="106"/>
                      <a:pt x="41" y="165"/>
                      <a:pt x="0" y="388"/>
                    </a:cubicBezTo>
                    <a:lnTo>
                      <a:pt x="309" y="388"/>
                    </a:lnTo>
                    <a:lnTo>
                      <a:pt x="314" y="361"/>
                    </a:lnTo>
                    <a:close/>
                  </a:path>
                </a:pathLst>
              </a:cu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26" name="Oval 18"/>
              <p:cNvSpPr>
                <a:spLocks noChangeArrowheads="1"/>
              </p:cNvSpPr>
              <p:nvPr/>
            </p:nvSpPr>
            <p:spPr bwMode="auto">
              <a:xfrm>
                <a:off x="4311650" y="5534026"/>
                <a:ext cx="73025" cy="73025"/>
              </a:xfrm>
              <a:prstGeom prst="ellipse">
                <a:avLst/>
              </a:pr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28" name="Freeform 19"/>
              <p:cNvSpPr>
                <a:spLocks/>
              </p:cNvSpPr>
              <p:nvPr/>
            </p:nvSpPr>
            <p:spPr bwMode="auto">
              <a:xfrm>
                <a:off x="4278313" y="5608638"/>
                <a:ext cx="138113" cy="74613"/>
              </a:xfrm>
              <a:custGeom>
                <a:avLst/>
                <a:gdLst/>
                <a:ahLst/>
                <a:cxnLst>
                  <a:cxn ang="0">
                    <a:pos x="486" y="35"/>
                  </a:cxn>
                  <a:cxn ang="0">
                    <a:pos x="476" y="30"/>
                  </a:cxn>
                  <a:cxn ang="0">
                    <a:pos x="407" y="0"/>
                  </a:cxn>
                  <a:cxn ang="0">
                    <a:pos x="360" y="48"/>
                  </a:cxn>
                  <a:cxn ang="0">
                    <a:pos x="314" y="0"/>
                  </a:cxn>
                  <a:cxn ang="0">
                    <a:pos x="314" y="0"/>
                  </a:cxn>
                  <a:cxn ang="0">
                    <a:pos x="244" y="30"/>
                  </a:cxn>
                  <a:cxn ang="0">
                    <a:pos x="233" y="35"/>
                  </a:cxn>
                  <a:cxn ang="0">
                    <a:pos x="0" y="388"/>
                  </a:cxn>
                  <a:cxn ang="0">
                    <a:pos x="309" y="388"/>
                  </a:cxn>
                  <a:cxn ang="0">
                    <a:pos x="314" y="360"/>
                  </a:cxn>
                  <a:cxn ang="0">
                    <a:pos x="359" y="55"/>
                  </a:cxn>
                  <a:cxn ang="0">
                    <a:pos x="360" y="55"/>
                  </a:cxn>
                  <a:cxn ang="0">
                    <a:pos x="406" y="360"/>
                  </a:cxn>
                  <a:cxn ang="0">
                    <a:pos x="411" y="388"/>
                  </a:cxn>
                  <a:cxn ang="0">
                    <a:pos x="718" y="388"/>
                  </a:cxn>
                  <a:cxn ang="0">
                    <a:pos x="486" y="35"/>
                  </a:cxn>
                </a:cxnLst>
                <a:rect l="0" t="0" r="r" b="b"/>
                <a:pathLst>
                  <a:path w="718" h="388">
                    <a:moveTo>
                      <a:pt x="486" y="35"/>
                    </a:moveTo>
                    <a:cubicBezTo>
                      <a:pt x="483" y="33"/>
                      <a:pt x="479" y="32"/>
                      <a:pt x="476" y="30"/>
                    </a:cubicBezTo>
                    <a:cubicBezTo>
                      <a:pt x="455" y="16"/>
                      <a:pt x="431" y="6"/>
                      <a:pt x="407" y="0"/>
                    </a:cubicBezTo>
                    <a:lnTo>
                      <a:pt x="360" y="48"/>
                    </a:lnTo>
                    <a:lnTo>
                      <a:pt x="314" y="0"/>
                    </a:lnTo>
                    <a:cubicBezTo>
                      <a:pt x="314" y="0"/>
                      <a:pt x="314" y="0"/>
                      <a:pt x="314" y="0"/>
                    </a:cubicBezTo>
                    <a:cubicBezTo>
                      <a:pt x="289" y="5"/>
                      <a:pt x="265" y="16"/>
                      <a:pt x="244" y="30"/>
                    </a:cubicBezTo>
                    <a:cubicBezTo>
                      <a:pt x="240" y="31"/>
                      <a:pt x="237" y="33"/>
                      <a:pt x="233" y="35"/>
                    </a:cubicBezTo>
                    <a:cubicBezTo>
                      <a:pt x="118" y="106"/>
                      <a:pt x="41" y="165"/>
                      <a:pt x="0" y="388"/>
                    </a:cubicBezTo>
                    <a:lnTo>
                      <a:pt x="309" y="388"/>
                    </a:lnTo>
                    <a:lnTo>
                      <a:pt x="314" y="360"/>
                    </a:lnTo>
                    <a:lnTo>
                      <a:pt x="359" y="55"/>
                    </a:lnTo>
                    <a:lnTo>
                      <a:pt x="360" y="55"/>
                    </a:lnTo>
                    <a:lnTo>
                      <a:pt x="406" y="360"/>
                    </a:lnTo>
                    <a:lnTo>
                      <a:pt x="411" y="388"/>
                    </a:lnTo>
                    <a:lnTo>
                      <a:pt x="718" y="388"/>
                    </a:lnTo>
                    <a:cubicBezTo>
                      <a:pt x="678" y="165"/>
                      <a:pt x="601" y="106"/>
                      <a:pt x="486" y="35"/>
                    </a:cubicBezTo>
                    <a:close/>
                  </a:path>
                </a:pathLst>
              </a:cu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29" name="Oval 20"/>
              <p:cNvSpPr>
                <a:spLocks noChangeArrowheads="1"/>
              </p:cNvSpPr>
              <p:nvPr/>
            </p:nvSpPr>
            <p:spPr bwMode="auto">
              <a:xfrm>
                <a:off x="4311650" y="5805488"/>
                <a:ext cx="73025" cy="73025"/>
              </a:xfrm>
              <a:prstGeom prst="ellipse">
                <a:avLst/>
              </a:pr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30" name="Freeform 21"/>
              <p:cNvSpPr>
                <a:spLocks/>
              </p:cNvSpPr>
              <p:nvPr/>
            </p:nvSpPr>
            <p:spPr bwMode="auto">
              <a:xfrm>
                <a:off x="4278313" y="5880101"/>
                <a:ext cx="138113" cy="74613"/>
              </a:xfrm>
              <a:custGeom>
                <a:avLst/>
                <a:gdLst/>
                <a:ahLst/>
                <a:cxnLst>
                  <a:cxn ang="0">
                    <a:pos x="486" y="35"/>
                  </a:cxn>
                  <a:cxn ang="0">
                    <a:pos x="476" y="30"/>
                  </a:cxn>
                  <a:cxn ang="0">
                    <a:pos x="407" y="0"/>
                  </a:cxn>
                  <a:cxn ang="0">
                    <a:pos x="360" y="48"/>
                  </a:cxn>
                  <a:cxn ang="0">
                    <a:pos x="314" y="0"/>
                  </a:cxn>
                  <a:cxn ang="0">
                    <a:pos x="313" y="0"/>
                  </a:cxn>
                  <a:cxn ang="0">
                    <a:pos x="244" y="30"/>
                  </a:cxn>
                  <a:cxn ang="0">
                    <a:pos x="233" y="35"/>
                  </a:cxn>
                  <a:cxn ang="0">
                    <a:pos x="0" y="388"/>
                  </a:cxn>
                  <a:cxn ang="0">
                    <a:pos x="309" y="388"/>
                  </a:cxn>
                  <a:cxn ang="0">
                    <a:pos x="314" y="360"/>
                  </a:cxn>
                  <a:cxn ang="0">
                    <a:pos x="359" y="55"/>
                  </a:cxn>
                  <a:cxn ang="0">
                    <a:pos x="360" y="55"/>
                  </a:cxn>
                  <a:cxn ang="0">
                    <a:pos x="406" y="360"/>
                  </a:cxn>
                  <a:cxn ang="0">
                    <a:pos x="411" y="388"/>
                  </a:cxn>
                  <a:cxn ang="0">
                    <a:pos x="718" y="388"/>
                  </a:cxn>
                  <a:cxn ang="0">
                    <a:pos x="486" y="35"/>
                  </a:cxn>
                </a:cxnLst>
                <a:rect l="0" t="0" r="r" b="b"/>
                <a:pathLst>
                  <a:path w="718" h="388">
                    <a:moveTo>
                      <a:pt x="486" y="35"/>
                    </a:moveTo>
                    <a:cubicBezTo>
                      <a:pt x="483" y="33"/>
                      <a:pt x="479" y="32"/>
                      <a:pt x="476" y="30"/>
                    </a:cubicBezTo>
                    <a:cubicBezTo>
                      <a:pt x="455" y="16"/>
                      <a:pt x="431" y="6"/>
                      <a:pt x="407" y="0"/>
                    </a:cubicBezTo>
                    <a:lnTo>
                      <a:pt x="360" y="48"/>
                    </a:lnTo>
                    <a:lnTo>
                      <a:pt x="314" y="0"/>
                    </a:lnTo>
                    <a:cubicBezTo>
                      <a:pt x="314" y="0"/>
                      <a:pt x="314" y="0"/>
                      <a:pt x="313" y="0"/>
                    </a:cubicBezTo>
                    <a:cubicBezTo>
                      <a:pt x="289" y="5"/>
                      <a:pt x="265" y="16"/>
                      <a:pt x="244" y="30"/>
                    </a:cubicBezTo>
                    <a:cubicBezTo>
                      <a:pt x="240" y="31"/>
                      <a:pt x="237" y="33"/>
                      <a:pt x="233" y="35"/>
                    </a:cubicBezTo>
                    <a:cubicBezTo>
                      <a:pt x="118" y="106"/>
                      <a:pt x="41" y="165"/>
                      <a:pt x="0" y="388"/>
                    </a:cubicBezTo>
                    <a:lnTo>
                      <a:pt x="309" y="388"/>
                    </a:lnTo>
                    <a:lnTo>
                      <a:pt x="314" y="360"/>
                    </a:lnTo>
                    <a:lnTo>
                      <a:pt x="359" y="55"/>
                    </a:lnTo>
                    <a:lnTo>
                      <a:pt x="360" y="55"/>
                    </a:lnTo>
                    <a:lnTo>
                      <a:pt x="406" y="360"/>
                    </a:lnTo>
                    <a:lnTo>
                      <a:pt x="411" y="388"/>
                    </a:lnTo>
                    <a:lnTo>
                      <a:pt x="718" y="388"/>
                    </a:lnTo>
                    <a:cubicBezTo>
                      <a:pt x="678" y="165"/>
                      <a:pt x="601" y="106"/>
                      <a:pt x="486" y="35"/>
                    </a:cubicBezTo>
                    <a:close/>
                  </a:path>
                </a:pathLst>
              </a:cu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grpSp>
      </p:grpSp>
      <p:grpSp>
        <p:nvGrpSpPr>
          <p:cNvPr id="233" name="Group 369"/>
          <p:cNvGrpSpPr/>
          <p:nvPr/>
        </p:nvGrpSpPr>
        <p:grpSpPr>
          <a:xfrm>
            <a:off x="2141958" y="5355877"/>
            <a:ext cx="342986" cy="437943"/>
            <a:chOff x="7735888" y="4508500"/>
            <a:chExt cx="665162" cy="849313"/>
          </a:xfrm>
        </p:grpSpPr>
        <p:sp>
          <p:nvSpPr>
            <p:cNvPr id="234" name="Freeform 17"/>
            <p:cNvSpPr>
              <a:spLocks/>
            </p:cNvSpPr>
            <p:nvPr/>
          </p:nvSpPr>
          <p:spPr bwMode="auto">
            <a:xfrm>
              <a:off x="7808913" y="4633913"/>
              <a:ext cx="112713" cy="128588"/>
            </a:xfrm>
            <a:custGeom>
              <a:avLst/>
              <a:gdLst/>
              <a:ahLst/>
              <a:cxnLst>
                <a:cxn ang="0">
                  <a:pos x="266" y="531"/>
                </a:cxn>
                <a:cxn ang="0">
                  <a:pos x="460" y="447"/>
                </a:cxn>
                <a:cxn ang="0">
                  <a:pos x="238" y="0"/>
                </a:cxn>
                <a:cxn ang="0">
                  <a:pos x="0" y="265"/>
                </a:cxn>
                <a:cxn ang="0">
                  <a:pos x="266" y="531"/>
                </a:cxn>
              </a:cxnLst>
              <a:rect l="0" t="0" r="r" b="b"/>
              <a:pathLst>
                <a:path w="460" h="531">
                  <a:moveTo>
                    <a:pt x="266" y="531"/>
                  </a:moveTo>
                  <a:cubicBezTo>
                    <a:pt x="342" y="531"/>
                    <a:pt x="411" y="498"/>
                    <a:pt x="460" y="447"/>
                  </a:cubicBezTo>
                  <a:cubicBezTo>
                    <a:pt x="353" y="321"/>
                    <a:pt x="261" y="158"/>
                    <a:pt x="238" y="0"/>
                  </a:cubicBezTo>
                  <a:cubicBezTo>
                    <a:pt x="104" y="14"/>
                    <a:pt x="0" y="127"/>
                    <a:pt x="0" y="265"/>
                  </a:cubicBezTo>
                  <a:cubicBezTo>
                    <a:pt x="0" y="412"/>
                    <a:pt x="119" y="531"/>
                    <a:pt x="266" y="531"/>
                  </a:cubicBezTo>
                  <a:close/>
                </a:path>
              </a:pathLst>
            </a:cu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35" name="Freeform 18"/>
            <p:cNvSpPr>
              <a:spLocks noEditPoints="1"/>
            </p:cNvSpPr>
            <p:nvPr/>
          </p:nvSpPr>
          <p:spPr bwMode="auto">
            <a:xfrm>
              <a:off x="7735888" y="4767263"/>
              <a:ext cx="222250" cy="493713"/>
            </a:xfrm>
            <a:custGeom>
              <a:avLst/>
              <a:gdLst/>
              <a:ahLst/>
              <a:cxnLst>
                <a:cxn ang="0">
                  <a:pos x="736" y="51"/>
                </a:cxn>
                <a:cxn ang="0">
                  <a:pos x="722" y="44"/>
                </a:cxn>
                <a:cxn ang="0">
                  <a:pos x="625" y="1"/>
                </a:cxn>
                <a:cxn ang="0">
                  <a:pos x="559" y="68"/>
                </a:cxn>
                <a:cxn ang="0">
                  <a:pos x="494" y="0"/>
                </a:cxn>
                <a:cxn ang="0">
                  <a:pos x="494" y="1"/>
                </a:cxn>
                <a:cxn ang="0">
                  <a:pos x="359" y="72"/>
                </a:cxn>
                <a:cxn ang="0">
                  <a:pos x="8" y="793"/>
                </a:cxn>
                <a:cxn ang="0">
                  <a:pos x="95" y="910"/>
                </a:cxn>
                <a:cxn ang="0">
                  <a:pos x="111" y="911"/>
                </a:cxn>
                <a:cxn ang="0">
                  <a:pos x="213" y="823"/>
                </a:cxn>
                <a:cxn ang="0">
                  <a:pos x="286" y="495"/>
                </a:cxn>
                <a:cxn ang="0">
                  <a:pos x="286" y="820"/>
                </a:cxn>
                <a:cxn ang="0">
                  <a:pos x="301" y="897"/>
                </a:cxn>
                <a:cxn ang="0">
                  <a:pos x="300" y="914"/>
                </a:cxn>
                <a:cxn ang="0">
                  <a:pos x="300" y="1903"/>
                </a:cxn>
                <a:cxn ang="0">
                  <a:pos x="422" y="2025"/>
                </a:cxn>
                <a:cxn ang="0">
                  <a:pos x="544" y="1903"/>
                </a:cxn>
                <a:cxn ang="0">
                  <a:pos x="544" y="1054"/>
                </a:cxn>
                <a:cxn ang="0">
                  <a:pos x="559" y="1055"/>
                </a:cxn>
                <a:cxn ang="0">
                  <a:pos x="562" y="1055"/>
                </a:cxn>
                <a:cxn ang="0">
                  <a:pos x="562" y="1903"/>
                </a:cxn>
                <a:cxn ang="0">
                  <a:pos x="684" y="2025"/>
                </a:cxn>
                <a:cxn ang="0">
                  <a:pos x="684" y="2025"/>
                </a:cxn>
                <a:cxn ang="0">
                  <a:pos x="806" y="1903"/>
                </a:cxn>
                <a:cxn ang="0">
                  <a:pos x="806" y="920"/>
                </a:cxn>
                <a:cxn ang="0">
                  <a:pos x="831" y="820"/>
                </a:cxn>
                <a:cxn ang="0">
                  <a:pos x="831" y="464"/>
                </a:cxn>
                <a:cxn ang="0">
                  <a:pos x="904" y="747"/>
                </a:cxn>
                <a:cxn ang="0">
                  <a:pos x="904" y="189"/>
                </a:cxn>
                <a:cxn ang="0">
                  <a:pos x="736" y="51"/>
                </a:cxn>
                <a:cxn ang="0">
                  <a:pos x="559" y="595"/>
                </a:cxn>
                <a:cxn ang="0">
                  <a:pos x="558" y="595"/>
                </a:cxn>
                <a:cxn ang="0">
                  <a:pos x="494" y="507"/>
                </a:cxn>
                <a:cxn ang="0">
                  <a:pos x="544" y="175"/>
                </a:cxn>
                <a:cxn ang="0">
                  <a:pos x="550" y="133"/>
                </a:cxn>
                <a:cxn ang="0">
                  <a:pos x="558" y="78"/>
                </a:cxn>
                <a:cxn ang="0">
                  <a:pos x="559" y="78"/>
                </a:cxn>
                <a:cxn ang="0">
                  <a:pos x="623" y="507"/>
                </a:cxn>
                <a:cxn ang="0">
                  <a:pos x="559" y="595"/>
                </a:cxn>
              </a:cxnLst>
              <a:rect l="0" t="0" r="r" b="b"/>
              <a:pathLst>
                <a:path w="904" h="2025">
                  <a:moveTo>
                    <a:pt x="736" y="51"/>
                  </a:moveTo>
                  <a:cubicBezTo>
                    <a:pt x="731" y="48"/>
                    <a:pt x="727" y="46"/>
                    <a:pt x="722" y="44"/>
                  </a:cubicBezTo>
                  <a:cubicBezTo>
                    <a:pt x="692" y="24"/>
                    <a:pt x="659" y="10"/>
                    <a:pt x="625" y="1"/>
                  </a:cubicBezTo>
                  <a:lnTo>
                    <a:pt x="559" y="68"/>
                  </a:lnTo>
                  <a:lnTo>
                    <a:pt x="494" y="0"/>
                  </a:lnTo>
                  <a:cubicBezTo>
                    <a:pt x="494" y="1"/>
                    <a:pt x="494" y="1"/>
                    <a:pt x="494" y="1"/>
                  </a:cubicBezTo>
                  <a:cubicBezTo>
                    <a:pt x="445" y="12"/>
                    <a:pt x="397" y="37"/>
                    <a:pt x="359" y="72"/>
                  </a:cubicBezTo>
                  <a:cubicBezTo>
                    <a:pt x="154" y="210"/>
                    <a:pt x="67" y="393"/>
                    <a:pt x="8" y="793"/>
                  </a:cubicBezTo>
                  <a:cubicBezTo>
                    <a:pt x="0" y="850"/>
                    <a:pt x="39" y="902"/>
                    <a:pt x="95" y="910"/>
                  </a:cubicBezTo>
                  <a:cubicBezTo>
                    <a:pt x="100" y="911"/>
                    <a:pt x="106" y="911"/>
                    <a:pt x="111" y="911"/>
                  </a:cubicBezTo>
                  <a:cubicBezTo>
                    <a:pt x="161" y="911"/>
                    <a:pt x="205" y="874"/>
                    <a:pt x="213" y="823"/>
                  </a:cubicBezTo>
                  <a:cubicBezTo>
                    <a:pt x="234" y="679"/>
                    <a:pt x="258" y="574"/>
                    <a:pt x="286" y="495"/>
                  </a:cubicBezTo>
                  <a:lnTo>
                    <a:pt x="286" y="820"/>
                  </a:lnTo>
                  <a:cubicBezTo>
                    <a:pt x="286" y="848"/>
                    <a:pt x="292" y="874"/>
                    <a:pt x="301" y="897"/>
                  </a:cubicBezTo>
                  <a:cubicBezTo>
                    <a:pt x="300" y="903"/>
                    <a:pt x="300" y="908"/>
                    <a:pt x="300" y="914"/>
                  </a:cubicBezTo>
                  <a:lnTo>
                    <a:pt x="300" y="1903"/>
                  </a:lnTo>
                  <a:cubicBezTo>
                    <a:pt x="300" y="1971"/>
                    <a:pt x="355" y="2025"/>
                    <a:pt x="422" y="2025"/>
                  </a:cubicBezTo>
                  <a:cubicBezTo>
                    <a:pt x="490" y="2025"/>
                    <a:pt x="544" y="1970"/>
                    <a:pt x="544" y="1903"/>
                  </a:cubicBezTo>
                  <a:lnTo>
                    <a:pt x="544" y="1054"/>
                  </a:lnTo>
                  <a:cubicBezTo>
                    <a:pt x="549" y="1054"/>
                    <a:pt x="554" y="1055"/>
                    <a:pt x="559" y="1055"/>
                  </a:cubicBezTo>
                  <a:cubicBezTo>
                    <a:pt x="560" y="1055"/>
                    <a:pt x="561" y="1055"/>
                    <a:pt x="562" y="1055"/>
                  </a:cubicBezTo>
                  <a:lnTo>
                    <a:pt x="562" y="1903"/>
                  </a:lnTo>
                  <a:cubicBezTo>
                    <a:pt x="562" y="1970"/>
                    <a:pt x="616" y="2025"/>
                    <a:pt x="684" y="2025"/>
                  </a:cubicBezTo>
                  <a:lnTo>
                    <a:pt x="684" y="2025"/>
                  </a:lnTo>
                  <a:cubicBezTo>
                    <a:pt x="751" y="2025"/>
                    <a:pt x="806" y="1970"/>
                    <a:pt x="806" y="1903"/>
                  </a:cubicBezTo>
                  <a:lnTo>
                    <a:pt x="806" y="920"/>
                  </a:lnTo>
                  <a:cubicBezTo>
                    <a:pt x="822" y="890"/>
                    <a:pt x="831" y="857"/>
                    <a:pt x="831" y="820"/>
                  </a:cubicBezTo>
                  <a:lnTo>
                    <a:pt x="831" y="464"/>
                  </a:lnTo>
                  <a:cubicBezTo>
                    <a:pt x="859" y="533"/>
                    <a:pt x="883" y="624"/>
                    <a:pt x="904" y="747"/>
                  </a:cubicBezTo>
                  <a:lnTo>
                    <a:pt x="904" y="189"/>
                  </a:lnTo>
                  <a:cubicBezTo>
                    <a:pt x="858" y="136"/>
                    <a:pt x="802" y="92"/>
                    <a:pt x="736" y="51"/>
                  </a:cubicBezTo>
                  <a:close/>
                  <a:moveTo>
                    <a:pt x="559" y="595"/>
                  </a:moveTo>
                  <a:lnTo>
                    <a:pt x="558" y="595"/>
                  </a:lnTo>
                  <a:lnTo>
                    <a:pt x="494" y="507"/>
                  </a:lnTo>
                  <a:lnTo>
                    <a:pt x="544" y="175"/>
                  </a:lnTo>
                  <a:cubicBezTo>
                    <a:pt x="549" y="161"/>
                    <a:pt x="551" y="147"/>
                    <a:pt x="550" y="133"/>
                  </a:cubicBezTo>
                  <a:lnTo>
                    <a:pt x="558" y="78"/>
                  </a:lnTo>
                  <a:lnTo>
                    <a:pt x="559" y="78"/>
                  </a:lnTo>
                  <a:lnTo>
                    <a:pt x="623" y="507"/>
                  </a:lnTo>
                  <a:lnTo>
                    <a:pt x="559" y="595"/>
                  </a:lnTo>
                  <a:close/>
                </a:path>
              </a:pathLst>
            </a:cu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36" name="Freeform 19"/>
            <p:cNvSpPr>
              <a:spLocks/>
            </p:cNvSpPr>
            <p:nvPr/>
          </p:nvSpPr>
          <p:spPr bwMode="auto">
            <a:xfrm>
              <a:off x="8215313" y="4633913"/>
              <a:ext cx="111125" cy="128588"/>
            </a:xfrm>
            <a:custGeom>
              <a:avLst/>
              <a:gdLst/>
              <a:ahLst/>
              <a:cxnLst>
                <a:cxn ang="0">
                  <a:pos x="188" y="529"/>
                </a:cxn>
                <a:cxn ang="0">
                  <a:pos x="454" y="263"/>
                </a:cxn>
                <a:cxn ang="0">
                  <a:pos x="227" y="0"/>
                </a:cxn>
                <a:cxn ang="0">
                  <a:pos x="0" y="451"/>
                </a:cxn>
                <a:cxn ang="0">
                  <a:pos x="188" y="529"/>
                </a:cxn>
              </a:cxnLst>
              <a:rect l="0" t="0" r="r" b="b"/>
              <a:pathLst>
                <a:path w="454" h="529">
                  <a:moveTo>
                    <a:pt x="188" y="529"/>
                  </a:moveTo>
                  <a:cubicBezTo>
                    <a:pt x="335" y="529"/>
                    <a:pt x="454" y="410"/>
                    <a:pt x="454" y="263"/>
                  </a:cubicBezTo>
                  <a:cubicBezTo>
                    <a:pt x="454" y="129"/>
                    <a:pt x="356" y="19"/>
                    <a:pt x="227" y="0"/>
                  </a:cubicBezTo>
                  <a:cubicBezTo>
                    <a:pt x="203" y="160"/>
                    <a:pt x="108" y="325"/>
                    <a:pt x="0" y="451"/>
                  </a:cubicBezTo>
                  <a:cubicBezTo>
                    <a:pt x="48" y="499"/>
                    <a:pt x="115" y="529"/>
                    <a:pt x="188" y="529"/>
                  </a:cubicBezTo>
                  <a:close/>
                </a:path>
              </a:pathLst>
            </a:cu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37" name="Freeform 20"/>
            <p:cNvSpPr>
              <a:spLocks noEditPoints="1"/>
            </p:cNvSpPr>
            <p:nvPr/>
          </p:nvSpPr>
          <p:spPr bwMode="auto">
            <a:xfrm>
              <a:off x="8175625" y="4767263"/>
              <a:ext cx="225425" cy="493713"/>
            </a:xfrm>
            <a:custGeom>
              <a:avLst/>
              <a:gdLst/>
              <a:ahLst/>
              <a:cxnLst>
                <a:cxn ang="0">
                  <a:pos x="912" y="793"/>
                </a:cxn>
                <a:cxn ang="0">
                  <a:pos x="527" y="51"/>
                </a:cxn>
                <a:cxn ang="0">
                  <a:pos x="513" y="44"/>
                </a:cxn>
                <a:cxn ang="0">
                  <a:pos x="416" y="1"/>
                </a:cxn>
                <a:cxn ang="0">
                  <a:pos x="350" y="68"/>
                </a:cxn>
                <a:cxn ang="0">
                  <a:pos x="286" y="0"/>
                </a:cxn>
                <a:cxn ang="0">
                  <a:pos x="285" y="1"/>
                </a:cxn>
                <a:cxn ang="0">
                  <a:pos x="151" y="72"/>
                </a:cxn>
                <a:cxn ang="0">
                  <a:pos x="0" y="207"/>
                </a:cxn>
                <a:cxn ang="0">
                  <a:pos x="0" y="837"/>
                </a:cxn>
                <a:cxn ang="0">
                  <a:pos x="4" y="823"/>
                </a:cxn>
                <a:cxn ang="0">
                  <a:pos x="77" y="495"/>
                </a:cxn>
                <a:cxn ang="0">
                  <a:pos x="77" y="820"/>
                </a:cxn>
                <a:cxn ang="0">
                  <a:pos x="92" y="897"/>
                </a:cxn>
                <a:cxn ang="0">
                  <a:pos x="91" y="914"/>
                </a:cxn>
                <a:cxn ang="0">
                  <a:pos x="91" y="1903"/>
                </a:cxn>
                <a:cxn ang="0">
                  <a:pos x="213" y="2025"/>
                </a:cxn>
                <a:cxn ang="0">
                  <a:pos x="335" y="1903"/>
                </a:cxn>
                <a:cxn ang="0">
                  <a:pos x="335" y="1054"/>
                </a:cxn>
                <a:cxn ang="0">
                  <a:pos x="350" y="1055"/>
                </a:cxn>
                <a:cxn ang="0">
                  <a:pos x="353" y="1055"/>
                </a:cxn>
                <a:cxn ang="0">
                  <a:pos x="353" y="1903"/>
                </a:cxn>
                <a:cxn ang="0">
                  <a:pos x="475" y="2025"/>
                </a:cxn>
                <a:cxn ang="0">
                  <a:pos x="597" y="1903"/>
                </a:cxn>
                <a:cxn ang="0">
                  <a:pos x="597" y="920"/>
                </a:cxn>
                <a:cxn ang="0">
                  <a:pos x="622" y="820"/>
                </a:cxn>
                <a:cxn ang="0">
                  <a:pos x="622" y="464"/>
                </a:cxn>
                <a:cxn ang="0">
                  <a:pos x="707" y="823"/>
                </a:cxn>
                <a:cxn ang="0">
                  <a:pos x="809" y="911"/>
                </a:cxn>
                <a:cxn ang="0">
                  <a:pos x="825" y="910"/>
                </a:cxn>
                <a:cxn ang="0">
                  <a:pos x="912" y="793"/>
                </a:cxn>
                <a:cxn ang="0">
                  <a:pos x="350" y="595"/>
                </a:cxn>
                <a:cxn ang="0">
                  <a:pos x="349" y="595"/>
                </a:cxn>
                <a:cxn ang="0">
                  <a:pos x="285" y="507"/>
                </a:cxn>
                <a:cxn ang="0">
                  <a:pos x="335" y="175"/>
                </a:cxn>
                <a:cxn ang="0">
                  <a:pos x="341" y="133"/>
                </a:cxn>
                <a:cxn ang="0">
                  <a:pos x="349" y="78"/>
                </a:cxn>
                <a:cxn ang="0">
                  <a:pos x="350" y="78"/>
                </a:cxn>
                <a:cxn ang="0">
                  <a:pos x="415" y="507"/>
                </a:cxn>
                <a:cxn ang="0">
                  <a:pos x="350" y="595"/>
                </a:cxn>
              </a:cxnLst>
              <a:rect l="0" t="0" r="r" b="b"/>
              <a:pathLst>
                <a:path w="920" h="2025">
                  <a:moveTo>
                    <a:pt x="912" y="793"/>
                  </a:moveTo>
                  <a:cubicBezTo>
                    <a:pt x="850" y="372"/>
                    <a:pt x="756" y="191"/>
                    <a:pt x="527" y="51"/>
                  </a:cubicBezTo>
                  <a:cubicBezTo>
                    <a:pt x="522" y="48"/>
                    <a:pt x="518" y="46"/>
                    <a:pt x="513" y="44"/>
                  </a:cubicBezTo>
                  <a:cubicBezTo>
                    <a:pt x="483" y="24"/>
                    <a:pt x="450" y="10"/>
                    <a:pt x="416" y="1"/>
                  </a:cubicBezTo>
                  <a:lnTo>
                    <a:pt x="350" y="68"/>
                  </a:lnTo>
                  <a:lnTo>
                    <a:pt x="286" y="0"/>
                  </a:lnTo>
                  <a:cubicBezTo>
                    <a:pt x="285" y="1"/>
                    <a:pt x="285" y="1"/>
                    <a:pt x="285" y="1"/>
                  </a:cubicBezTo>
                  <a:cubicBezTo>
                    <a:pt x="236" y="12"/>
                    <a:pt x="188" y="37"/>
                    <a:pt x="151" y="72"/>
                  </a:cubicBezTo>
                  <a:cubicBezTo>
                    <a:pt x="91" y="112"/>
                    <a:pt x="42" y="156"/>
                    <a:pt x="0" y="207"/>
                  </a:cubicBezTo>
                  <a:lnTo>
                    <a:pt x="0" y="837"/>
                  </a:lnTo>
                  <a:cubicBezTo>
                    <a:pt x="2" y="832"/>
                    <a:pt x="3" y="828"/>
                    <a:pt x="4" y="823"/>
                  </a:cubicBezTo>
                  <a:cubicBezTo>
                    <a:pt x="25" y="679"/>
                    <a:pt x="49" y="574"/>
                    <a:pt x="77" y="495"/>
                  </a:cubicBezTo>
                  <a:lnTo>
                    <a:pt x="77" y="820"/>
                  </a:lnTo>
                  <a:cubicBezTo>
                    <a:pt x="77" y="848"/>
                    <a:pt x="83" y="874"/>
                    <a:pt x="92" y="897"/>
                  </a:cubicBezTo>
                  <a:cubicBezTo>
                    <a:pt x="92" y="903"/>
                    <a:pt x="91" y="908"/>
                    <a:pt x="91" y="914"/>
                  </a:cubicBezTo>
                  <a:lnTo>
                    <a:pt x="91" y="1903"/>
                  </a:lnTo>
                  <a:cubicBezTo>
                    <a:pt x="91" y="1970"/>
                    <a:pt x="146" y="2025"/>
                    <a:pt x="213" y="2025"/>
                  </a:cubicBezTo>
                  <a:cubicBezTo>
                    <a:pt x="281" y="2025"/>
                    <a:pt x="335" y="1970"/>
                    <a:pt x="335" y="1903"/>
                  </a:cubicBezTo>
                  <a:lnTo>
                    <a:pt x="335" y="1054"/>
                  </a:lnTo>
                  <a:cubicBezTo>
                    <a:pt x="340" y="1054"/>
                    <a:pt x="345" y="1055"/>
                    <a:pt x="350" y="1055"/>
                  </a:cubicBezTo>
                  <a:cubicBezTo>
                    <a:pt x="351" y="1055"/>
                    <a:pt x="352" y="1055"/>
                    <a:pt x="353" y="1055"/>
                  </a:cubicBezTo>
                  <a:lnTo>
                    <a:pt x="353" y="1903"/>
                  </a:lnTo>
                  <a:cubicBezTo>
                    <a:pt x="353" y="1970"/>
                    <a:pt x="407" y="2025"/>
                    <a:pt x="475" y="2025"/>
                  </a:cubicBezTo>
                  <a:cubicBezTo>
                    <a:pt x="542" y="2025"/>
                    <a:pt x="597" y="1970"/>
                    <a:pt x="597" y="1903"/>
                  </a:cubicBezTo>
                  <a:lnTo>
                    <a:pt x="597" y="920"/>
                  </a:lnTo>
                  <a:cubicBezTo>
                    <a:pt x="613" y="890"/>
                    <a:pt x="622" y="857"/>
                    <a:pt x="622" y="820"/>
                  </a:cubicBezTo>
                  <a:lnTo>
                    <a:pt x="622" y="464"/>
                  </a:lnTo>
                  <a:cubicBezTo>
                    <a:pt x="655" y="547"/>
                    <a:pt x="683" y="660"/>
                    <a:pt x="707" y="823"/>
                  </a:cubicBezTo>
                  <a:cubicBezTo>
                    <a:pt x="715" y="874"/>
                    <a:pt x="759" y="911"/>
                    <a:pt x="809" y="911"/>
                  </a:cubicBezTo>
                  <a:cubicBezTo>
                    <a:pt x="814" y="911"/>
                    <a:pt x="819" y="911"/>
                    <a:pt x="825" y="910"/>
                  </a:cubicBezTo>
                  <a:cubicBezTo>
                    <a:pt x="881" y="902"/>
                    <a:pt x="920" y="850"/>
                    <a:pt x="912" y="793"/>
                  </a:cubicBezTo>
                  <a:close/>
                  <a:moveTo>
                    <a:pt x="350" y="595"/>
                  </a:moveTo>
                  <a:lnTo>
                    <a:pt x="349" y="595"/>
                  </a:lnTo>
                  <a:lnTo>
                    <a:pt x="285" y="507"/>
                  </a:lnTo>
                  <a:lnTo>
                    <a:pt x="335" y="175"/>
                  </a:lnTo>
                  <a:cubicBezTo>
                    <a:pt x="340" y="161"/>
                    <a:pt x="342" y="147"/>
                    <a:pt x="341" y="133"/>
                  </a:cubicBezTo>
                  <a:lnTo>
                    <a:pt x="349" y="78"/>
                  </a:lnTo>
                  <a:lnTo>
                    <a:pt x="350" y="78"/>
                  </a:lnTo>
                  <a:lnTo>
                    <a:pt x="415" y="507"/>
                  </a:lnTo>
                  <a:lnTo>
                    <a:pt x="350" y="595"/>
                  </a:lnTo>
                  <a:close/>
                </a:path>
              </a:pathLst>
            </a:cu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38" name="Oval 21"/>
            <p:cNvSpPr>
              <a:spLocks noChangeArrowheads="1"/>
            </p:cNvSpPr>
            <p:nvPr/>
          </p:nvSpPr>
          <p:spPr bwMode="auto">
            <a:xfrm>
              <a:off x="7978775" y="4508500"/>
              <a:ext cx="176213" cy="176213"/>
            </a:xfrm>
            <a:prstGeom prst="ellipse">
              <a:avLst/>
            </a:pr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39" name="Freeform 22"/>
            <p:cNvSpPr>
              <a:spLocks noEditPoints="1"/>
            </p:cNvSpPr>
            <p:nvPr/>
          </p:nvSpPr>
          <p:spPr bwMode="auto">
            <a:xfrm>
              <a:off x="7875588" y="4556125"/>
              <a:ext cx="385763" cy="801688"/>
            </a:xfrm>
            <a:custGeom>
              <a:avLst/>
              <a:gdLst/>
              <a:ahLst/>
              <a:cxnLst>
                <a:cxn ang="0">
                  <a:pos x="1540" y="129"/>
                </a:cxn>
                <a:cxn ang="0">
                  <a:pos x="1381" y="11"/>
                </a:cxn>
                <a:cxn ang="0">
                  <a:pos x="1263" y="169"/>
                </a:cxn>
                <a:cxn ang="0">
                  <a:pos x="988" y="593"/>
                </a:cxn>
                <a:cxn ang="0">
                  <a:pos x="870" y="543"/>
                </a:cxn>
                <a:cxn ang="0">
                  <a:pos x="780" y="634"/>
                </a:cxn>
                <a:cxn ang="0">
                  <a:pos x="693" y="542"/>
                </a:cxn>
                <a:cxn ang="0">
                  <a:pos x="692" y="543"/>
                </a:cxn>
                <a:cxn ang="0">
                  <a:pos x="579" y="589"/>
                </a:cxn>
                <a:cxn ang="0">
                  <a:pos x="313" y="169"/>
                </a:cxn>
                <a:cxn ang="0">
                  <a:pos x="195" y="11"/>
                </a:cxn>
                <a:cxn ang="0">
                  <a:pos x="36" y="129"/>
                </a:cxn>
                <a:cxn ang="0">
                  <a:pos x="416" y="815"/>
                </a:cxn>
                <a:cxn ang="0">
                  <a:pos x="412" y="856"/>
                </a:cxn>
                <a:cxn ang="0">
                  <a:pos x="412" y="1650"/>
                </a:cxn>
                <a:cxn ang="0">
                  <a:pos x="432" y="1755"/>
                </a:cxn>
                <a:cxn ang="0">
                  <a:pos x="431" y="1777"/>
                </a:cxn>
                <a:cxn ang="0">
                  <a:pos x="431" y="3114"/>
                </a:cxn>
                <a:cxn ang="0">
                  <a:pos x="596" y="3279"/>
                </a:cxn>
                <a:cxn ang="0">
                  <a:pos x="761" y="3114"/>
                </a:cxn>
                <a:cxn ang="0">
                  <a:pos x="761" y="1966"/>
                </a:cxn>
                <a:cxn ang="0">
                  <a:pos x="780" y="1967"/>
                </a:cxn>
                <a:cxn ang="0">
                  <a:pos x="784" y="1967"/>
                </a:cxn>
                <a:cxn ang="0">
                  <a:pos x="784" y="3114"/>
                </a:cxn>
                <a:cxn ang="0">
                  <a:pos x="949" y="3279"/>
                </a:cxn>
                <a:cxn ang="0">
                  <a:pos x="949" y="3279"/>
                </a:cxn>
                <a:cxn ang="0">
                  <a:pos x="1114" y="3114"/>
                </a:cxn>
                <a:cxn ang="0">
                  <a:pos x="1114" y="1785"/>
                </a:cxn>
                <a:cxn ang="0">
                  <a:pos x="1148" y="1650"/>
                </a:cxn>
                <a:cxn ang="0">
                  <a:pos x="1148" y="856"/>
                </a:cxn>
                <a:cxn ang="0">
                  <a:pos x="1146" y="823"/>
                </a:cxn>
                <a:cxn ang="0">
                  <a:pos x="1159" y="816"/>
                </a:cxn>
                <a:cxn ang="0">
                  <a:pos x="1540" y="129"/>
                </a:cxn>
                <a:cxn ang="0">
                  <a:pos x="781" y="1345"/>
                </a:cxn>
                <a:cxn ang="0">
                  <a:pos x="779" y="1345"/>
                </a:cxn>
                <a:cxn ang="0">
                  <a:pos x="693" y="1227"/>
                </a:cxn>
                <a:cxn ang="0">
                  <a:pos x="760" y="778"/>
                </a:cxn>
                <a:cxn ang="0">
                  <a:pos x="768" y="721"/>
                </a:cxn>
                <a:cxn ang="0">
                  <a:pos x="779" y="647"/>
                </a:cxn>
                <a:cxn ang="0">
                  <a:pos x="781" y="647"/>
                </a:cxn>
                <a:cxn ang="0">
                  <a:pos x="868" y="1227"/>
                </a:cxn>
                <a:cxn ang="0">
                  <a:pos x="781" y="1345"/>
                </a:cxn>
              </a:cxnLst>
              <a:rect l="0" t="0" r="r" b="b"/>
              <a:pathLst>
                <a:path w="1576" h="3279">
                  <a:moveTo>
                    <a:pt x="1540" y="129"/>
                  </a:moveTo>
                  <a:cubicBezTo>
                    <a:pt x="1528" y="52"/>
                    <a:pt x="1457" y="0"/>
                    <a:pt x="1381" y="11"/>
                  </a:cubicBezTo>
                  <a:cubicBezTo>
                    <a:pt x="1305" y="22"/>
                    <a:pt x="1252" y="93"/>
                    <a:pt x="1263" y="169"/>
                  </a:cubicBezTo>
                  <a:cubicBezTo>
                    <a:pt x="1282" y="298"/>
                    <a:pt x="1078" y="549"/>
                    <a:pt x="988" y="593"/>
                  </a:cubicBezTo>
                  <a:cubicBezTo>
                    <a:pt x="951" y="571"/>
                    <a:pt x="911" y="554"/>
                    <a:pt x="870" y="543"/>
                  </a:cubicBezTo>
                  <a:lnTo>
                    <a:pt x="780" y="634"/>
                  </a:lnTo>
                  <a:lnTo>
                    <a:pt x="693" y="542"/>
                  </a:lnTo>
                  <a:cubicBezTo>
                    <a:pt x="693" y="543"/>
                    <a:pt x="693" y="543"/>
                    <a:pt x="692" y="543"/>
                  </a:cubicBezTo>
                  <a:cubicBezTo>
                    <a:pt x="653" y="552"/>
                    <a:pt x="615" y="568"/>
                    <a:pt x="579" y="589"/>
                  </a:cubicBezTo>
                  <a:cubicBezTo>
                    <a:pt x="486" y="534"/>
                    <a:pt x="294" y="294"/>
                    <a:pt x="313" y="169"/>
                  </a:cubicBezTo>
                  <a:cubicBezTo>
                    <a:pt x="324" y="93"/>
                    <a:pt x="271" y="22"/>
                    <a:pt x="195" y="11"/>
                  </a:cubicBezTo>
                  <a:cubicBezTo>
                    <a:pt x="118" y="0"/>
                    <a:pt x="48" y="52"/>
                    <a:pt x="36" y="129"/>
                  </a:cubicBezTo>
                  <a:cubicBezTo>
                    <a:pt x="0" y="374"/>
                    <a:pt x="232" y="693"/>
                    <a:pt x="416" y="815"/>
                  </a:cubicBezTo>
                  <a:cubicBezTo>
                    <a:pt x="414" y="828"/>
                    <a:pt x="412" y="842"/>
                    <a:pt x="412" y="856"/>
                  </a:cubicBezTo>
                  <a:lnTo>
                    <a:pt x="412" y="1650"/>
                  </a:lnTo>
                  <a:cubicBezTo>
                    <a:pt x="412" y="1687"/>
                    <a:pt x="419" y="1722"/>
                    <a:pt x="432" y="1755"/>
                  </a:cubicBezTo>
                  <a:cubicBezTo>
                    <a:pt x="431" y="1762"/>
                    <a:pt x="431" y="1769"/>
                    <a:pt x="431" y="1777"/>
                  </a:cubicBezTo>
                  <a:lnTo>
                    <a:pt x="431" y="3114"/>
                  </a:lnTo>
                  <a:cubicBezTo>
                    <a:pt x="431" y="3205"/>
                    <a:pt x="505" y="3279"/>
                    <a:pt x="596" y="3279"/>
                  </a:cubicBezTo>
                  <a:cubicBezTo>
                    <a:pt x="687" y="3279"/>
                    <a:pt x="761" y="3205"/>
                    <a:pt x="761" y="3114"/>
                  </a:cubicBezTo>
                  <a:lnTo>
                    <a:pt x="761" y="1966"/>
                  </a:lnTo>
                  <a:cubicBezTo>
                    <a:pt x="767" y="1967"/>
                    <a:pt x="774" y="1967"/>
                    <a:pt x="780" y="1967"/>
                  </a:cubicBezTo>
                  <a:cubicBezTo>
                    <a:pt x="782" y="1967"/>
                    <a:pt x="783" y="1967"/>
                    <a:pt x="784" y="1967"/>
                  </a:cubicBezTo>
                  <a:lnTo>
                    <a:pt x="784" y="3114"/>
                  </a:lnTo>
                  <a:cubicBezTo>
                    <a:pt x="784" y="3205"/>
                    <a:pt x="858" y="3279"/>
                    <a:pt x="949" y="3279"/>
                  </a:cubicBezTo>
                  <a:lnTo>
                    <a:pt x="949" y="3279"/>
                  </a:lnTo>
                  <a:cubicBezTo>
                    <a:pt x="1040" y="3279"/>
                    <a:pt x="1114" y="3205"/>
                    <a:pt x="1114" y="3114"/>
                  </a:cubicBezTo>
                  <a:lnTo>
                    <a:pt x="1114" y="1785"/>
                  </a:lnTo>
                  <a:cubicBezTo>
                    <a:pt x="1136" y="1745"/>
                    <a:pt x="1148" y="1700"/>
                    <a:pt x="1148" y="1650"/>
                  </a:cubicBezTo>
                  <a:lnTo>
                    <a:pt x="1148" y="856"/>
                  </a:lnTo>
                  <a:cubicBezTo>
                    <a:pt x="1148" y="845"/>
                    <a:pt x="1148" y="834"/>
                    <a:pt x="1146" y="823"/>
                  </a:cubicBezTo>
                  <a:cubicBezTo>
                    <a:pt x="1150" y="821"/>
                    <a:pt x="1155" y="818"/>
                    <a:pt x="1159" y="816"/>
                  </a:cubicBezTo>
                  <a:cubicBezTo>
                    <a:pt x="1342" y="695"/>
                    <a:pt x="1576" y="375"/>
                    <a:pt x="1540" y="129"/>
                  </a:cubicBezTo>
                  <a:close/>
                  <a:moveTo>
                    <a:pt x="781" y="1345"/>
                  </a:moveTo>
                  <a:lnTo>
                    <a:pt x="779" y="1345"/>
                  </a:lnTo>
                  <a:lnTo>
                    <a:pt x="693" y="1227"/>
                  </a:lnTo>
                  <a:lnTo>
                    <a:pt x="760" y="778"/>
                  </a:lnTo>
                  <a:cubicBezTo>
                    <a:pt x="767" y="760"/>
                    <a:pt x="769" y="740"/>
                    <a:pt x="768" y="721"/>
                  </a:cubicBezTo>
                  <a:lnTo>
                    <a:pt x="779" y="647"/>
                  </a:lnTo>
                  <a:lnTo>
                    <a:pt x="781" y="647"/>
                  </a:lnTo>
                  <a:lnTo>
                    <a:pt x="868" y="1227"/>
                  </a:lnTo>
                  <a:lnTo>
                    <a:pt x="781" y="1345"/>
                  </a:lnTo>
                  <a:close/>
                </a:path>
              </a:pathLst>
            </a:cu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grpSp>
      <p:sp>
        <p:nvSpPr>
          <p:cNvPr id="240" name="Freeform 6"/>
          <p:cNvSpPr>
            <a:spLocks noEditPoints="1"/>
          </p:cNvSpPr>
          <p:nvPr/>
        </p:nvSpPr>
        <p:spPr bwMode="auto">
          <a:xfrm>
            <a:off x="5355307" y="5705576"/>
            <a:ext cx="458441" cy="425200"/>
          </a:xfrm>
          <a:custGeom>
            <a:avLst/>
            <a:gdLst/>
            <a:ahLst/>
            <a:cxnLst>
              <a:cxn ang="0">
                <a:pos x="895" y="415"/>
              </a:cxn>
              <a:cxn ang="0">
                <a:pos x="851" y="519"/>
              </a:cxn>
              <a:cxn ang="0">
                <a:pos x="1016" y="678"/>
              </a:cxn>
              <a:cxn ang="0">
                <a:pos x="762" y="847"/>
              </a:cxn>
              <a:cxn ang="0">
                <a:pos x="519" y="726"/>
              </a:cxn>
              <a:cxn ang="0">
                <a:pos x="424" y="734"/>
              </a:cxn>
              <a:cxn ang="0">
                <a:pos x="403" y="733"/>
              </a:cxn>
              <a:cxn ang="0">
                <a:pos x="565" y="915"/>
              </a:cxn>
              <a:cxn ang="0">
                <a:pos x="565" y="1016"/>
              </a:cxn>
              <a:cxn ang="0">
                <a:pos x="596" y="1026"/>
              </a:cxn>
              <a:cxn ang="0">
                <a:pos x="650" y="946"/>
              </a:cxn>
              <a:cxn ang="0">
                <a:pos x="762" y="960"/>
              </a:cxn>
              <a:cxn ang="0">
                <a:pos x="1129" y="678"/>
              </a:cxn>
              <a:cxn ang="0">
                <a:pos x="895" y="415"/>
              </a:cxn>
              <a:cxn ang="0">
                <a:pos x="847" y="339"/>
              </a:cxn>
              <a:cxn ang="0">
                <a:pos x="424" y="0"/>
              </a:cxn>
              <a:cxn ang="0">
                <a:pos x="0" y="339"/>
              </a:cxn>
              <a:cxn ang="0">
                <a:pos x="226" y="639"/>
              </a:cxn>
              <a:cxn ang="0">
                <a:pos x="226" y="791"/>
              </a:cxn>
              <a:cxn ang="0">
                <a:pos x="260" y="802"/>
              </a:cxn>
              <a:cxn ang="0">
                <a:pos x="357" y="673"/>
              </a:cxn>
              <a:cxn ang="0">
                <a:pos x="424" y="678"/>
              </a:cxn>
              <a:cxn ang="0">
                <a:pos x="847" y="339"/>
              </a:cxn>
              <a:cxn ang="0">
                <a:pos x="113" y="339"/>
              </a:cxn>
              <a:cxn ang="0">
                <a:pos x="424" y="113"/>
              </a:cxn>
              <a:cxn ang="0">
                <a:pos x="734" y="339"/>
              </a:cxn>
              <a:cxn ang="0">
                <a:pos x="424" y="565"/>
              </a:cxn>
              <a:cxn ang="0">
                <a:pos x="113" y="339"/>
              </a:cxn>
            </a:cxnLst>
            <a:rect l="0" t="0" r="r" b="b"/>
            <a:pathLst>
              <a:path w="1129" h="1052">
                <a:moveTo>
                  <a:pt x="895" y="415"/>
                </a:moveTo>
                <a:cubicBezTo>
                  <a:pt x="886" y="452"/>
                  <a:pt x="871" y="487"/>
                  <a:pt x="851" y="519"/>
                </a:cubicBezTo>
                <a:cubicBezTo>
                  <a:pt x="947" y="543"/>
                  <a:pt x="1016" y="605"/>
                  <a:pt x="1016" y="678"/>
                </a:cubicBezTo>
                <a:cubicBezTo>
                  <a:pt x="1016" y="771"/>
                  <a:pt x="903" y="847"/>
                  <a:pt x="762" y="847"/>
                </a:cubicBezTo>
                <a:cubicBezTo>
                  <a:pt x="647" y="847"/>
                  <a:pt x="550" y="796"/>
                  <a:pt x="519" y="726"/>
                </a:cubicBezTo>
                <a:cubicBezTo>
                  <a:pt x="488" y="732"/>
                  <a:pt x="456" y="734"/>
                  <a:pt x="424" y="734"/>
                </a:cubicBezTo>
                <a:cubicBezTo>
                  <a:pt x="417" y="734"/>
                  <a:pt x="410" y="734"/>
                  <a:pt x="403" y="733"/>
                </a:cubicBezTo>
                <a:cubicBezTo>
                  <a:pt x="423" y="810"/>
                  <a:pt x="483" y="875"/>
                  <a:pt x="565" y="915"/>
                </a:cubicBezTo>
                <a:lnTo>
                  <a:pt x="565" y="1016"/>
                </a:lnTo>
                <a:cubicBezTo>
                  <a:pt x="565" y="1048"/>
                  <a:pt x="579" y="1052"/>
                  <a:pt x="596" y="1026"/>
                </a:cubicBezTo>
                <a:lnTo>
                  <a:pt x="650" y="946"/>
                </a:lnTo>
                <a:cubicBezTo>
                  <a:pt x="685" y="955"/>
                  <a:pt x="723" y="960"/>
                  <a:pt x="762" y="960"/>
                </a:cubicBezTo>
                <a:cubicBezTo>
                  <a:pt x="965" y="960"/>
                  <a:pt x="1129" y="834"/>
                  <a:pt x="1129" y="678"/>
                </a:cubicBezTo>
                <a:cubicBezTo>
                  <a:pt x="1129" y="558"/>
                  <a:pt x="1032" y="456"/>
                  <a:pt x="895" y="415"/>
                </a:cubicBezTo>
                <a:close/>
                <a:moveTo>
                  <a:pt x="847" y="339"/>
                </a:moveTo>
                <a:cubicBezTo>
                  <a:pt x="847" y="152"/>
                  <a:pt x="658" y="0"/>
                  <a:pt x="424" y="0"/>
                </a:cubicBezTo>
                <a:cubicBezTo>
                  <a:pt x="190" y="0"/>
                  <a:pt x="0" y="152"/>
                  <a:pt x="0" y="339"/>
                </a:cubicBezTo>
                <a:cubicBezTo>
                  <a:pt x="0" y="469"/>
                  <a:pt x="92" y="582"/>
                  <a:pt x="226" y="639"/>
                </a:cubicBezTo>
                <a:lnTo>
                  <a:pt x="226" y="791"/>
                </a:lnTo>
                <a:cubicBezTo>
                  <a:pt x="226" y="822"/>
                  <a:pt x="241" y="827"/>
                  <a:pt x="260" y="802"/>
                </a:cubicBezTo>
                <a:lnTo>
                  <a:pt x="357" y="673"/>
                </a:lnTo>
                <a:cubicBezTo>
                  <a:pt x="379" y="676"/>
                  <a:pt x="401" y="678"/>
                  <a:pt x="424" y="678"/>
                </a:cubicBezTo>
                <a:cubicBezTo>
                  <a:pt x="658" y="678"/>
                  <a:pt x="847" y="526"/>
                  <a:pt x="847" y="339"/>
                </a:cubicBezTo>
                <a:close/>
                <a:moveTo>
                  <a:pt x="113" y="339"/>
                </a:moveTo>
                <a:cubicBezTo>
                  <a:pt x="113" y="214"/>
                  <a:pt x="252" y="113"/>
                  <a:pt x="424" y="113"/>
                </a:cubicBezTo>
                <a:cubicBezTo>
                  <a:pt x="595" y="113"/>
                  <a:pt x="734" y="214"/>
                  <a:pt x="734" y="339"/>
                </a:cubicBezTo>
                <a:cubicBezTo>
                  <a:pt x="734" y="464"/>
                  <a:pt x="595" y="565"/>
                  <a:pt x="424" y="565"/>
                </a:cubicBezTo>
                <a:cubicBezTo>
                  <a:pt x="252" y="565"/>
                  <a:pt x="113" y="464"/>
                  <a:pt x="113" y="339"/>
                </a:cubicBezTo>
                <a:close/>
              </a:path>
            </a:pathLst>
          </a:cu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41" name="Freeform 48"/>
          <p:cNvSpPr>
            <a:spLocks noEditPoints="1"/>
          </p:cNvSpPr>
          <p:nvPr/>
        </p:nvSpPr>
        <p:spPr bwMode="auto">
          <a:xfrm>
            <a:off x="1459388" y="3236397"/>
            <a:ext cx="511072" cy="504147"/>
          </a:xfrm>
          <a:custGeom>
            <a:avLst/>
            <a:gdLst/>
            <a:ahLst/>
            <a:cxnLst>
              <a:cxn ang="0">
                <a:pos x="568" y="645"/>
              </a:cxn>
              <a:cxn ang="0">
                <a:pos x="591" y="628"/>
              </a:cxn>
              <a:cxn ang="0">
                <a:pos x="591" y="628"/>
              </a:cxn>
              <a:cxn ang="0">
                <a:pos x="1195" y="0"/>
              </a:cxn>
              <a:cxn ang="0">
                <a:pos x="1195" y="328"/>
              </a:cxn>
              <a:cxn ang="0">
                <a:pos x="1195" y="0"/>
              </a:cxn>
              <a:cxn ang="0">
                <a:pos x="256" y="703"/>
              </a:cxn>
              <a:cxn ang="0">
                <a:pos x="212" y="682"/>
              </a:cxn>
              <a:cxn ang="0">
                <a:pos x="187" y="668"/>
              </a:cxn>
              <a:cxn ang="0">
                <a:pos x="166" y="541"/>
              </a:cxn>
              <a:cxn ang="0">
                <a:pos x="171" y="688"/>
              </a:cxn>
              <a:cxn ang="0">
                <a:pos x="1600" y="1002"/>
              </a:cxn>
              <a:cxn ang="0">
                <a:pos x="1578" y="426"/>
              </a:cxn>
              <a:cxn ang="0">
                <a:pos x="1536" y="424"/>
              </a:cxn>
              <a:cxn ang="0">
                <a:pos x="1558" y="1008"/>
              </a:cxn>
              <a:cxn ang="0">
                <a:pos x="1490" y="1099"/>
              </a:cxn>
              <a:cxn ang="0">
                <a:pos x="1124" y="1183"/>
              </a:cxn>
              <a:cxn ang="0">
                <a:pos x="1153" y="1192"/>
              </a:cxn>
              <a:cxn ang="0">
                <a:pos x="1338" y="1461"/>
              </a:cxn>
              <a:cxn ang="0">
                <a:pos x="1218" y="1493"/>
              </a:cxn>
              <a:cxn ang="0">
                <a:pos x="1500" y="1526"/>
              </a:cxn>
              <a:cxn ang="0">
                <a:pos x="1500" y="1461"/>
              </a:cxn>
              <a:cxn ang="0">
                <a:pos x="1419" y="1129"/>
              </a:cxn>
              <a:cxn ang="0">
                <a:pos x="1568" y="1132"/>
              </a:cxn>
              <a:cxn ang="0">
                <a:pos x="1499" y="907"/>
              </a:cxn>
              <a:cxn ang="0">
                <a:pos x="1130" y="487"/>
              </a:cxn>
              <a:cxn ang="0">
                <a:pos x="773" y="681"/>
              </a:cxn>
              <a:cxn ang="0">
                <a:pos x="1181" y="876"/>
              </a:cxn>
              <a:cxn ang="0">
                <a:pos x="745" y="1466"/>
              </a:cxn>
              <a:cxn ang="0">
                <a:pos x="907" y="854"/>
              </a:cxn>
              <a:cxn ang="0">
                <a:pos x="326" y="709"/>
              </a:cxn>
              <a:cxn ang="0">
                <a:pos x="327" y="697"/>
              </a:cxn>
              <a:cxn ang="0">
                <a:pos x="352" y="678"/>
              </a:cxn>
              <a:cxn ang="0">
                <a:pos x="508" y="688"/>
              </a:cxn>
              <a:cxn ang="0">
                <a:pos x="537" y="684"/>
              </a:cxn>
              <a:cxn ang="0">
                <a:pos x="540" y="667"/>
              </a:cxn>
              <a:cxn ang="0">
                <a:pos x="545" y="682"/>
              </a:cxn>
              <a:cxn ang="0">
                <a:pos x="633" y="621"/>
              </a:cxn>
              <a:cxn ang="0">
                <a:pos x="556" y="652"/>
              </a:cxn>
              <a:cxn ang="0">
                <a:pos x="551" y="657"/>
              </a:cxn>
              <a:cxn ang="0">
                <a:pos x="534" y="675"/>
              </a:cxn>
              <a:cxn ang="0">
                <a:pos x="523" y="684"/>
              </a:cxn>
              <a:cxn ang="0">
                <a:pos x="352" y="660"/>
              </a:cxn>
              <a:cxn ang="0">
                <a:pos x="341" y="674"/>
              </a:cxn>
              <a:cxn ang="0">
                <a:pos x="321" y="703"/>
              </a:cxn>
              <a:cxn ang="0">
                <a:pos x="0" y="709"/>
              </a:cxn>
              <a:cxn ang="0">
                <a:pos x="88" y="854"/>
              </a:cxn>
              <a:cxn ang="0">
                <a:pos x="745" y="1556"/>
              </a:cxn>
              <a:cxn ang="0">
                <a:pos x="956" y="1460"/>
              </a:cxn>
              <a:cxn ang="0">
                <a:pos x="1499" y="907"/>
              </a:cxn>
              <a:cxn ang="0">
                <a:pos x="265" y="612"/>
              </a:cxn>
              <a:cxn ang="0">
                <a:pos x="168" y="238"/>
              </a:cxn>
            </a:cxnLst>
            <a:rect l="0" t="0" r="r" b="b"/>
            <a:pathLst>
              <a:path w="1608" h="1593">
                <a:moveTo>
                  <a:pt x="589" y="631"/>
                </a:moveTo>
                <a:cubicBezTo>
                  <a:pt x="584" y="631"/>
                  <a:pt x="568" y="645"/>
                  <a:pt x="568" y="645"/>
                </a:cubicBezTo>
                <a:cubicBezTo>
                  <a:pt x="576" y="649"/>
                  <a:pt x="594" y="631"/>
                  <a:pt x="589" y="631"/>
                </a:cubicBezTo>
                <a:close/>
                <a:moveTo>
                  <a:pt x="591" y="628"/>
                </a:moveTo>
                <a:lnTo>
                  <a:pt x="590" y="629"/>
                </a:lnTo>
                <a:cubicBezTo>
                  <a:pt x="590" y="629"/>
                  <a:pt x="591" y="629"/>
                  <a:pt x="591" y="628"/>
                </a:cubicBezTo>
                <a:cubicBezTo>
                  <a:pt x="591" y="628"/>
                  <a:pt x="591" y="628"/>
                  <a:pt x="591" y="628"/>
                </a:cubicBezTo>
                <a:close/>
                <a:moveTo>
                  <a:pt x="1195" y="0"/>
                </a:moveTo>
                <a:cubicBezTo>
                  <a:pt x="1286" y="0"/>
                  <a:pt x="1359" y="74"/>
                  <a:pt x="1359" y="164"/>
                </a:cubicBezTo>
                <a:cubicBezTo>
                  <a:pt x="1359" y="255"/>
                  <a:pt x="1286" y="328"/>
                  <a:pt x="1195" y="328"/>
                </a:cubicBezTo>
                <a:cubicBezTo>
                  <a:pt x="1105" y="328"/>
                  <a:pt x="1032" y="255"/>
                  <a:pt x="1032" y="164"/>
                </a:cubicBezTo>
                <a:cubicBezTo>
                  <a:pt x="1032" y="74"/>
                  <a:pt x="1105" y="0"/>
                  <a:pt x="1195" y="0"/>
                </a:cubicBezTo>
                <a:close/>
                <a:moveTo>
                  <a:pt x="212" y="703"/>
                </a:moveTo>
                <a:lnTo>
                  <a:pt x="256" y="703"/>
                </a:lnTo>
                <a:lnTo>
                  <a:pt x="256" y="682"/>
                </a:lnTo>
                <a:lnTo>
                  <a:pt x="212" y="682"/>
                </a:lnTo>
                <a:cubicBezTo>
                  <a:pt x="200" y="682"/>
                  <a:pt x="191" y="679"/>
                  <a:pt x="188" y="675"/>
                </a:cubicBezTo>
                <a:cubicBezTo>
                  <a:pt x="185" y="672"/>
                  <a:pt x="187" y="668"/>
                  <a:pt x="187" y="668"/>
                </a:cubicBezTo>
                <a:lnTo>
                  <a:pt x="187" y="541"/>
                </a:lnTo>
                <a:lnTo>
                  <a:pt x="166" y="541"/>
                </a:lnTo>
                <a:lnTo>
                  <a:pt x="166" y="664"/>
                </a:lnTo>
                <a:cubicBezTo>
                  <a:pt x="165" y="668"/>
                  <a:pt x="164" y="678"/>
                  <a:pt x="171" y="688"/>
                </a:cubicBezTo>
                <a:cubicBezTo>
                  <a:pt x="178" y="698"/>
                  <a:pt x="192" y="703"/>
                  <a:pt x="212" y="703"/>
                </a:cubicBezTo>
                <a:close/>
                <a:moveTo>
                  <a:pt x="1600" y="1002"/>
                </a:moveTo>
                <a:lnTo>
                  <a:pt x="1594" y="954"/>
                </a:lnTo>
                <a:cubicBezTo>
                  <a:pt x="1570" y="765"/>
                  <a:pt x="1569" y="758"/>
                  <a:pt x="1578" y="426"/>
                </a:cubicBezTo>
                <a:cubicBezTo>
                  <a:pt x="1579" y="414"/>
                  <a:pt x="1570" y="404"/>
                  <a:pt x="1558" y="404"/>
                </a:cubicBezTo>
                <a:cubicBezTo>
                  <a:pt x="1547" y="403"/>
                  <a:pt x="1537" y="413"/>
                  <a:pt x="1536" y="424"/>
                </a:cubicBezTo>
                <a:cubicBezTo>
                  <a:pt x="1527" y="760"/>
                  <a:pt x="1528" y="768"/>
                  <a:pt x="1552" y="959"/>
                </a:cubicBezTo>
                <a:lnTo>
                  <a:pt x="1558" y="1008"/>
                </a:lnTo>
                <a:cubicBezTo>
                  <a:pt x="1564" y="1054"/>
                  <a:pt x="1559" y="1086"/>
                  <a:pt x="1543" y="1098"/>
                </a:cubicBezTo>
                <a:cubicBezTo>
                  <a:pt x="1524" y="1113"/>
                  <a:pt x="1492" y="1100"/>
                  <a:pt x="1490" y="1099"/>
                </a:cubicBezTo>
                <a:cubicBezTo>
                  <a:pt x="1335" y="1051"/>
                  <a:pt x="1141" y="1150"/>
                  <a:pt x="1133" y="1154"/>
                </a:cubicBezTo>
                <a:cubicBezTo>
                  <a:pt x="1123" y="1159"/>
                  <a:pt x="1119" y="1172"/>
                  <a:pt x="1124" y="1183"/>
                </a:cubicBezTo>
                <a:cubicBezTo>
                  <a:pt x="1128" y="1190"/>
                  <a:pt x="1135" y="1194"/>
                  <a:pt x="1143" y="1194"/>
                </a:cubicBezTo>
                <a:cubicBezTo>
                  <a:pt x="1146" y="1194"/>
                  <a:pt x="1149" y="1193"/>
                  <a:pt x="1153" y="1192"/>
                </a:cubicBezTo>
                <a:cubicBezTo>
                  <a:pt x="1154" y="1191"/>
                  <a:pt x="1240" y="1147"/>
                  <a:pt x="1338" y="1132"/>
                </a:cubicBezTo>
                <a:lnTo>
                  <a:pt x="1338" y="1461"/>
                </a:lnTo>
                <a:lnTo>
                  <a:pt x="1251" y="1461"/>
                </a:lnTo>
                <a:cubicBezTo>
                  <a:pt x="1233" y="1461"/>
                  <a:pt x="1218" y="1476"/>
                  <a:pt x="1218" y="1493"/>
                </a:cubicBezTo>
                <a:cubicBezTo>
                  <a:pt x="1218" y="1511"/>
                  <a:pt x="1233" y="1526"/>
                  <a:pt x="1251" y="1526"/>
                </a:cubicBezTo>
                <a:lnTo>
                  <a:pt x="1500" y="1526"/>
                </a:lnTo>
                <a:cubicBezTo>
                  <a:pt x="1518" y="1526"/>
                  <a:pt x="1532" y="1511"/>
                  <a:pt x="1532" y="1493"/>
                </a:cubicBezTo>
                <a:cubicBezTo>
                  <a:pt x="1532" y="1476"/>
                  <a:pt x="1517" y="1461"/>
                  <a:pt x="1500" y="1461"/>
                </a:cubicBezTo>
                <a:lnTo>
                  <a:pt x="1419" y="1461"/>
                </a:lnTo>
                <a:lnTo>
                  <a:pt x="1419" y="1129"/>
                </a:lnTo>
                <a:cubicBezTo>
                  <a:pt x="1438" y="1130"/>
                  <a:pt x="1457" y="1133"/>
                  <a:pt x="1476" y="1139"/>
                </a:cubicBezTo>
                <a:cubicBezTo>
                  <a:pt x="1478" y="1140"/>
                  <a:pt x="1530" y="1161"/>
                  <a:pt x="1568" y="1132"/>
                </a:cubicBezTo>
                <a:cubicBezTo>
                  <a:pt x="1598" y="1110"/>
                  <a:pt x="1608" y="1066"/>
                  <a:pt x="1600" y="1002"/>
                </a:cubicBezTo>
                <a:close/>
                <a:moveTo>
                  <a:pt x="1499" y="907"/>
                </a:moveTo>
                <a:cubicBezTo>
                  <a:pt x="1496" y="768"/>
                  <a:pt x="1450" y="635"/>
                  <a:pt x="1447" y="496"/>
                </a:cubicBezTo>
                <a:cubicBezTo>
                  <a:pt x="1441" y="295"/>
                  <a:pt x="1133" y="291"/>
                  <a:pt x="1130" y="487"/>
                </a:cubicBezTo>
                <a:cubicBezTo>
                  <a:pt x="1012" y="507"/>
                  <a:pt x="894" y="518"/>
                  <a:pt x="774" y="512"/>
                </a:cubicBezTo>
                <a:cubicBezTo>
                  <a:pt x="665" y="507"/>
                  <a:pt x="665" y="676"/>
                  <a:pt x="773" y="681"/>
                </a:cubicBezTo>
                <a:cubicBezTo>
                  <a:pt x="899" y="687"/>
                  <a:pt x="1024" y="675"/>
                  <a:pt x="1149" y="654"/>
                </a:cubicBezTo>
                <a:cubicBezTo>
                  <a:pt x="1161" y="728"/>
                  <a:pt x="1176" y="802"/>
                  <a:pt x="1181" y="876"/>
                </a:cubicBezTo>
                <a:cubicBezTo>
                  <a:pt x="924" y="966"/>
                  <a:pt x="782" y="1184"/>
                  <a:pt x="746" y="1460"/>
                </a:cubicBezTo>
                <a:cubicBezTo>
                  <a:pt x="745" y="1462"/>
                  <a:pt x="745" y="1464"/>
                  <a:pt x="745" y="1466"/>
                </a:cubicBezTo>
                <a:lnTo>
                  <a:pt x="745" y="854"/>
                </a:lnTo>
                <a:lnTo>
                  <a:pt x="907" y="854"/>
                </a:lnTo>
                <a:lnTo>
                  <a:pt x="907" y="709"/>
                </a:lnTo>
                <a:lnTo>
                  <a:pt x="326" y="709"/>
                </a:lnTo>
                <a:cubicBezTo>
                  <a:pt x="326" y="708"/>
                  <a:pt x="326" y="705"/>
                  <a:pt x="327" y="703"/>
                </a:cubicBezTo>
                <a:cubicBezTo>
                  <a:pt x="327" y="701"/>
                  <a:pt x="327" y="699"/>
                  <a:pt x="327" y="697"/>
                </a:cubicBezTo>
                <a:cubicBezTo>
                  <a:pt x="328" y="685"/>
                  <a:pt x="330" y="681"/>
                  <a:pt x="342" y="679"/>
                </a:cubicBezTo>
                <a:cubicBezTo>
                  <a:pt x="345" y="678"/>
                  <a:pt x="349" y="678"/>
                  <a:pt x="352" y="678"/>
                </a:cubicBezTo>
                <a:lnTo>
                  <a:pt x="352" y="688"/>
                </a:lnTo>
                <a:lnTo>
                  <a:pt x="508" y="688"/>
                </a:lnTo>
                <a:cubicBezTo>
                  <a:pt x="513" y="689"/>
                  <a:pt x="517" y="690"/>
                  <a:pt x="522" y="690"/>
                </a:cubicBezTo>
                <a:cubicBezTo>
                  <a:pt x="528" y="690"/>
                  <a:pt x="534" y="688"/>
                  <a:pt x="537" y="684"/>
                </a:cubicBezTo>
                <a:cubicBezTo>
                  <a:pt x="539" y="681"/>
                  <a:pt x="539" y="678"/>
                  <a:pt x="539" y="675"/>
                </a:cubicBezTo>
                <a:cubicBezTo>
                  <a:pt x="539" y="672"/>
                  <a:pt x="539" y="669"/>
                  <a:pt x="540" y="667"/>
                </a:cubicBezTo>
                <a:cubicBezTo>
                  <a:pt x="543" y="664"/>
                  <a:pt x="547" y="663"/>
                  <a:pt x="550" y="662"/>
                </a:cubicBezTo>
                <a:cubicBezTo>
                  <a:pt x="547" y="668"/>
                  <a:pt x="545" y="675"/>
                  <a:pt x="545" y="682"/>
                </a:cubicBezTo>
                <a:lnTo>
                  <a:pt x="721" y="682"/>
                </a:lnTo>
                <a:cubicBezTo>
                  <a:pt x="721" y="648"/>
                  <a:pt x="682" y="621"/>
                  <a:pt x="633" y="621"/>
                </a:cubicBezTo>
                <a:cubicBezTo>
                  <a:pt x="618" y="621"/>
                  <a:pt x="604" y="624"/>
                  <a:pt x="591" y="628"/>
                </a:cubicBezTo>
                <a:cubicBezTo>
                  <a:pt x="594" y="657"/>
                  <a:pt x="567" y="655"/>
                  <a:pt x="556" y="652"/>
                </a:cubicBezTo>
                <a:cubicBezTo>
                  <a:pt x="555" y="654"/>
                  <a:pt x="554" y="656"/>
                  <a:pt x="553" y="657"/>
                </a:cubicBezTo>
                <a:cubicBezTo>
                  <a:pt x="552" y="657"/>
                  <a:pt x="552" y="657"/>
                  <a:pt x="551" y="657"/>
                </a:cubicBezTo>
                <a:cubicBezTo>
                  <a:pt x="547" y="657"/>
                  <a:pt x="540" y="659"/>
                  <a:pt x="536" y="664"/>
                </a:cubicBezTo>
                <a:cubicBezTo>
                  <a:pt x="534" y="667"/>
                  <a:pt x="534" y="671"/>
                  <a:pt x="534" y="675"/>
                </a:cubicBezTo>
                <a:cubicBezTo>
                  <a:pt x="534" y="677"/>
                  <a:pt x="534" y="680"/>
                  <a:pt x="533" y="681"/>
                </a:cubicBezTo>
                <a:cubicBezTo>
                  <a:pt x="531" y="683"/>
                  <a:pt x="527" y="684"/>
                  <a:pt x="523" y="684"/>
                </a:cubicBezTo>
                <a:lnTo>
                  <a:pt x="523" y="660"/>
                </a:lnTo>
                <a:lnTo>
                  <a:pt x="352" y="660"/>
                </a:lnTo>
                <a:lnTo>
                  <a:pt x="352" y="673"/>
                </a:lnTo>
                <a:cubicBezTo>
                  <a:pt x="348" y="673"/>
                  <a:pt x="344" y="673"/>
                  <a:pt x="341" y="674"/>
                </a:cubicBezTo>
                <a:cubicBezTo>
                  <a:pt x="326" y="677"/>
                  <a:pt x="323" y="684"/>
                  <a:pt x="322" y="697"/>
                </a:cubicBezTo>
                <a:cubicBezTo>
                  <a:pt x="322" y="699"/>
                  <a:pt x="322" y="701"/>
                  <a:pt x="321" y="703"/>
                </a:cubicBezTo>
                <a:cubicBezTo>
                  <a:pt x="321" y="706"/>
                  <a:pt x="321" y="708"/>
                  <a:pt x="321" y="709"/>
                </a:cubicBezTo>
                <a:lnTo>
                  <a:pt x="0" y="709"/>
                </a:lnTo>
                <a:lnTo>
                  <a:pt x="0" y="854"/>
                </a:lnTo>
                <a:lnTo>
                  <a:pt x="88" y="854"/>
                </a:lnTo>
                <a:lnTo>
                  <a:pt x="88" y="1556"/>
                </a:lnTo>
                <a:lnTo>
                  <a:pt x="745" y="1556"/>
                </a:lnTo>
                <a:lnTo>
                  <a:pt x="745" y="1485"/>
                </a:lnTo>
                <a:cubicBezTo>
                  <a:pt x="756" y="1593"/>
                  <a:pt x="940" y="1584"/>
                  <a:pt x="956" y="1460"/>
                </a:cubicBezTo>
                <a:cubicBezTo>
                  <a:pt x="985" y="1246"/>
                  <a:pt x="1109" y="1103"/>
                  <a:pt x="1319" y="1056"/>
                </a:cubicBezTo>
                <a:cubicBezTo>
                  <a:pt x="1406" y="1069"/>
                  <a:pt x="1502" y="1020"/>
                  <a:pt x="1499" y="907"/>
                </a:cubicBezTo>
                <a:close/>
                <a:moveTo>
                  <a:pt x="238" y="233"/>
                </a:moveTo>
                <a:lnTo>
                  <a:pt x="265" y="612"/>
                </a:lnTo>
                <a:lnTo>
                  <a:pt x="195" y="617"/>
                </a:lnTo>
                <a:lnTo>
                  <a:pt x="168" y="238"/>
                </a:lnTo>
                <a:lnTo>
                  <a:pt x="238" y="233"/>
                </a:lnTo>
                <a:close/>
              </a:path>
            </a:pathLst>
          </a:custGeom>
          <a:solidFill>
            <a:srgbClr val="4D4D4D"/>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prstClr val="black"/>
              </a:solidFill>
              <a:latin typeface="Calibri" panose="020F0502020204030204"/>
            </a:endParaRPr>
          </a:p>
        </p:txBody>
      </p:sp>
      <p:sp>
        <p:nvSpPr>
          <p:cNvPr id="249" name="TextBox 54"/>
          <p:cNvSpPr txBox="1"/>
          <p:nvPr/>
        </p:nvSpPr>
        <p:spPr bwMode="gray">
          <a:xfrm>
            <a:off x="3561445" y="3288619"/>
            <a:ext cx="1142794" cy="668830"/>
          </a:xfrm>
          <a:prstGeom prst="rect">
            <a:avLst/>
          </a:prstGeom>
          <a:noFill/>
        </p:spPr>
        <p:txBody>
          <a:bodyPr wrap="square" lIns="113726" tIns="56861" rIns="113726" bIns="5686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r" defTabSz="774588" rtl="0" eaLnBrk="1" fontAlgn="base"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gradFill flip="none" rotWithShape="1">
                  <a:gsLst>
                    <a:gs pos="0">
                      <a:srgbClr val="575757"/>
                    </a:gs>
                    <a:gs pos="100000">
                      <a:srgbClr val="505050">
                        <a:lumMod val="75000"/>
                      </a:srgbClr>
                    </a:gs>
                  </a:gsLst>
                  <a:lin ang="5400000" scaled="1"/>
                  <a:tileRect/>
                </a:gradFill>
                <a:effectLst/>
                <a:uLnTx/>
                <a:uFillTx/>
                <a:latin typeface="Calibri" panose="020F0502020204030204"/>
                <a:ea typeface="+mn-ea"/>
                <a:cs typeface="Segoe UI Semibold" panose="020B0702040204020203" pitchFamily="34" charset="0"/>
              </a:rPr>
              <a:t>Customer obsessed</a:t>
            </a:r>
          </a:p>
        </p:txBody>
      </p:sp>
      <p:sp>
        <p:nvSpPr>
          <p:cNvPr id="250" name="TextBox 55"/>
          <p:cNvSpPr txBox="1"/>
          <p:nvPr/>
        </p:nvSpPr>
        <p:spPr bwMode="gray">
          <a:xfrm>
            <a:off x="7642825" y="3334389"/>
            <a:ext cx="1100171" cy="668830"/>
          </a:xfrm>
          <a:prstGeom prst="rect">
            <a:avLst/>
          </a:prstGeom>
          <a:noFill/>
        </p:spPr>
        <p:txBody>
          <a:bodyPr wrap="square" lIns="113726" tIns="56861" rIns="113726" bIns="5686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774588" rtl="0" eaLnBrk="1" fontAlgn="base"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gradFill flip="none" rotWithShape="1">
                  <a:gsLst>
                    <a:gs pos="0">
                      <a:srgbClr val="575757"/>
                    </a:gs>
                    <a:gs pos="100000">
                      <a:srgbClr val="505050">
                        <a:lumMod val="75000"/>
                      </a:srgbClr>
                    </a:gs>
                  </a:gsLst>
                  <a:lin ang="5400000" scaled="1"/>
                  <a:tileRect/>
                </a:gradFill>
                <a:effectLst/>
                <a:uLnTx/>
                <a:uFillTx/>
                <a:latin typeface="Calibri" panose="020F0502020204030204"/>
                <a:ea typeface="+mn-ea"/>
                <a:cs typeface="Segoe UI Semibold" panose="020B0702040204020203" pitchFamily="34" charset="0"/>
              </a:rPr>
              <a:t>One</a:t>
            </a:r>
            <a:br>
              <a:rPr kumimoji="0" lang="en-US" b="0" i="0" u="none" strike="noStrike" kern="1200" cap="none" spc="0" normalizeH="0" baseline="0" noProof="0" dirty="0">
                <a:ln>
                  <a:noFill/>
                </a:ln>
                <a:gradFill flip="none" rotWithShape="1">
                  <a:gsLst>
                    <a:gs pos="0">
                      <a:srgbClr val="575757"/>
                    </a:gs>
                    <a:gs pos="100000">
                      <a:srgbClr val="505050">
                        <a:lumMod val="75000"/>
                      </a:srgbClr>
                    </a:gs>
                  </a:gsLst>
                  <a:lin ang="5400000" scaled="1"/>
                  <a:tileRect/>
                </a:gradFill>
                <a:effectLst/>
                <a:uLnTx/>
                <a:uFillTx/>
                <a:latin typeface="Calibri" panose="020F0502020204030204"/>
                <a:ea typeface="+mn-ea"/>
                <a:cs typeface="Segoe UI Semibold" panose="020B0702040204020203" pitchFamily="34" charset="0"/>
              </a:rPr>
            </a:br>
            <a:r>
              <a:rPr kumimoji="0" lang="en-US" b="0" i="0" u="none" strike="noStrike" kern="1200" cap="none" spc="0" normalizeH="0" baseline="0" noProof="0" dirty="0">
                <a:ln>
                  <a:noFill/>
                </a:ln>
                <a:gradFill flip="none" rotWithShape="1">
                  <a:gsLst>
                    <a:gs pos="0">
                      <a:srgbClr val="575757"/>
                    </a:gs>
                    <a:gs pos="100000">
                      <a:srgbClr val="505050">
                        <a:lumMod val="75000"/>
                      </a:srgbClr>
                    </a:gs>
                  </a:gsLst>
                  <a:lin ang="5400000" scaled="1"/>
                  <a:tileRect/>
                </a:gradFill>
                <a:effectLst/>
                <a:uLnTx/>
                <a:uFillTx/>
                <a:latin typeface="Calibri" panose="020F0502020204030204"/>
                <a:ea typeface="+mn-ea"/>
                <a:cs typeface="Segoe UI Semibold" panose="020B0702040204020203" pitchFamily="34" charset="0"/>
              </a:rPr>
              <a:t>company</a:t>
            </a:r>
          </a:p>
        </p:txBody>
      </p:sp>
      <p:sp>
        <p:nvSpPr>
          <p:cNvPr id="251" name="TextBox 56"/>
          <p:cNvSpPr txBox="1"/>
          <p:nvPr/>
        </p:nvSpPr>
        <p:spPr bwMode="gray">
          <a:xfrm>
            <a:off x="3472952" y="4240432"/>
            <a:ext cx="1203258" cy="945829"/>
          </a:xfrm>
          <a:prstGeom prst="rect">
            <a:avLst/>
          </a:prstGeom>
          <a:noFill/>
        </p:spPr>
        <p:txBody>
          <a:bodyPr wrap="square" lIns="113726" tIns="56861" rIns="113726" bIns="5686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r" defTabSz="774588" rtl="0" eaLnBrk="1" fontAlgn="base"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gradFill flip="none" rotWithShape="1">
                  <a:gsLst>
                    <a:gs pos="0">
                      <a:srgbClr val="575757"/>
                    </a:gs>
                    <a:gs pos="100000">
                      <a:srgbClr val="505050">
                        <a:lumMod val="75000"/>
                      </a:srgbClr>
                    </a:gs>
                  </a:gsLst>
                  <a:lin ang="5400000" scaled="1"/>
                  <a:tileRect/>
                </a:gradFill>
                <a:effectLst/>
                <a:uLnTx/>
                <a:uFillTx/>
                <a:latin typeface="Calibri" panose="020F0502020204030204"/>
                <a:ea typeface="+mn-ea"/>
                <a:cs typeface="Segoe UI Semibold" panose="020B0702040204020203" pitchFamily="34" charset="0"/>
              </a:rPr>
              <a:t>Diverse and inclusive</a:t>
            </a:r>
          </a:p>
        </p:txBody>
      </p:sp>
      <p:sp>
        <p:nvSpPr>
          <p:cNvPr id="252" name="TextBox 57"/>
          <p:cNvSpPr txBox="1"/>
          <p:nvPr/>
        </p:nvSpPr>
        <p:spPr bwMode="gray">
          <a:xfrm>
            <a:off x="7642304" y="4283085"/>
            <a:ext cx="1233115" cy="668830"/>
          </a:xfrm>
          <a:prstGeom prst="rect">
            <a:avLst/>
          </a:prstGeom>
          <a:noFill/>
        </p:spPr>
        <p:txBody>
          <a:bodyPr wrap="square" lIns="113726" tIns="56861" rIns="113726" bIns="5686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774588" rtl="0" eaLnBrk="1" fontAlgn="base"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gradFill flip="none" rotWithShape="1">
                  <a:gsLst>
                    <a:gs pos="0">
                      <a:srgbClr val="575757"/>
                    </a:gs>
                    <a:gs pos="100000">
                      <a:srgbClr val="505050">
                        <a:lumMod val="75000"/>
                      </a:srgbClr>
                    </a:gs>
                  </a:gsLst>
                  <a:lin ang="5400000" scaled="1"/>
                  <a:tileRect/>
                </a:gradFill>
                <a:effectLst/>
                <a:uLnTx/>
                <a:uFillTx/>
                <a:latin typeface="Calibri" panose="020F0502020204030204"/>
                <a:ea typeface="+mn-ea"/>
                <a:cs typeface="Segoe UI Semibold" panose="020B0702040204020203" pitchFamily="34" charset="0"/>
              </a:rPr>
              <a:t>Making a difference</a:t>
            </a:r>
          </a:p>
        </p:txBody>
      </p:sp>
      <p:sp>
        <p:nvSpPr>
          <p:cNvPr id="258" name="AutoShape 8">
            <a:extLst>
              <a:ext uri="{FF2B5EF4-FFF2-40B4-BE49-F238E27FC236}">
                <a16:creationId xmlns:a16="http://schemas.microsoft.com/office/drawing/2014/main" id="{1816D24F-2544-490E-ADDB-08DF26EACAF2}"/>
              </a:ext>
            </a:extLst>
          </p:cNvPr>
          <p:cNvSpPr>
            <a:spLocks noChangeAspect="1" noChangeArrowheads="1" noTextEdit="1"/>
          </p:cNvSpPr>
          <p:nvPr/>
        </p:nvSpPr>
        <p:spPr bwMode="auto">
          <a:xfrm>
            <a:off x="7013307" y="4051112"/>
            <a:ext cx="572101" cy="572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black"/>
              </a:solidFill>
              <a:effectLst/>
              <a:uLnTx/>
              <a:uFillTx/>
              <a:latin typeface="Calibri" panose="020F0502020204030204"/>
            </a:endParaRPr>
          </a:p>
        </p:txBody>
      </p:sp>
      <p:sp>
        <p:nvSpPr>
          <p:cNvPr id="245" name="Oval 244"/>
          <p:cNvSpPr/>
          <p:nvPr/>
        </p:nvSpPr>
        <p:spPr bwMode="auto">
          <a:xfrm>
            <a:off x="4950751" y="2942191"/>
            <a:ext cx="2387872" cy="2388826"/>
          </a:xfrm>
          <a:prstGeom prst="ellipse">
            <a:avLst/>
          </a:prstGeom>
          <a:gradFill flip="none" rotWithShape="1">
            <a:gsLst>
              <a:gs pos="0">
                <a:srgbClr val="FFC000"/>
              </a:gs>
              <a:gs pos="100000">
                <a:srgbClr val="4472C4"/>
              </a:gs>
            </a:gsLst>
            <a:lin ang="13500000" scaled="1"/>
            <a:tileRect/>
          </a:gradFill>
          <a:ln w="12700" cap="flat" cmpd="sng" algn="ctr">
            <a:noFill/>
            <a:prstDash val="solid"/>
            <a:miter lim="800000"/>
          </a:ln>
          <a:effectLst/>
        </p:spPr>
        <p:txBody>
          <a:bodyPr lIns="111100" tIns="111100" rIns="111100" bIns="11110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6" name="Freeform 245"/>
          <p:cNvSpPr/>
          <p:nvPr/>
        </p:nvSpPr>
        <p:spPr bwMode="auto">
          <a:xfrm>
            <a:off x="5179541" y="3171528"/>
            <a:ext cx="1930295" cy="1930155"/>
          </a:xfrm>
          <a:custGeom>
            <a:avLst/>
            <a:gdLst>
              <a:gd name="connsiteX0" fmla="*/ 2107086 w 4109828"/>
              <a:gd name="connsiteY0" fmla="*/ 2107270 h 4109531"/>
              <a:gd name="connsiteX1" fmla="*/ 4109828 w 4109828"/>
              <a:gd name="connsiteY1" fmla="*/ 2107270 h 4109531"/>
              <a:gd name="connsiteX2" fmla="*/ 4102969 w 4109828"/>
              <a:gd name="connsiteY2" fmla="*/ 2252142 h 4109531"/>
              <a:gd name="connsiteX3" fmla="*/ 2265272 w 4109828"/>
              <a:gd name="connsiteY3" fmla="*/ 4101543 h 4109531"/>
              <a:gd name="connsiteX4" fmla="*/ 2107086 w 4109828"/>
              <a:gd name="connsiteY4" fmla="*/ 4109531 h 4109531"/>
              <a:gd name="connsiteX5" fmla="*/ 0 w 4109828"/>
              <a:gd name="connsiteY5" fmla="*/ 2107270 h 4109531"/>
              <a:gd name="connsiteX6" fmla="*/ 2002742 w 4109828"/>
              <a:gd name="connsiteY6" fmla="*/ 2107270 h 4109531"/>
              <a:gd name="connsiteX7" fmla="*/ 2002742 w 4109828"/>
              <a:gd name="connsiteY7" fmla="*/ 4109531 h 4109531"/>
              <a:gd name="connsiteX8" fmla="*/ 1844557 w 4109828"/>
              <a:gd name="connsiteY8" fmla="*/ 4101543 h 4109531"/>
              <a:gd name="connsiteX9" fmla="*/ 6859 w 4109828"/>
              <a:gd name="connsiteY9" fmla="*/ 2252142 h 4109531"/>
              <a:gd name="connsiteX10" fmla="*/ 2107086 w 4109828"/>
              <a:gd name="connsiteY10" fmla="*/ 0 h 4109531"/>
              <a:gd name="connsiteX11" fmla="*/ 2265272 w 4109828"/>
              <a:gd name="connsiteY11" fmla="*/ 7987 h 4109531"/>
              <a:gd name="connsiteX12" fmla="*/ 4102969 w 4109828"/>
              <a:gd name="connsiteY12" fmla="*/ 1857388 h 4109531"/>
              <a:gd name="connsiteX13" fmla="*/ 4109828 w 4109828"/>
              <a:gd name="connsiteY13" fmla="*/ 2002257 h 4109531"/>
              <a:gd name="connsiteX14" fmla="*/ 2107086 w 4109828"/>
              <a:gd name="connsiteY14" fmla="*/ 2002257 h 4109531"/>
              <a:gd name="connsiteX15" fmla="*/ 2002742 w 4109828"/>
              <a:gd name="connsiteY15" fmla="*/ 0 h 4109531"/>
              <a:gd name="connsiteX16" fmla="*/ 2002742 w 4109828"/>
              <a:gd name="connsiteY16" fmla="*/ 2002257 h 4109531"/>
              <a:gd name="connsiteX17" fmla="*/ 0 w 4109828"/>
              <a:gd name="connsiteY17" fmla="*/ 2002257 h 4109531"/>
              <a:gd name="connsiteX18" fmla="*/ 6859 w 4109828"/>
              <a:gd name="connsiteY18" fmla="*/ 1857388 h 4109531"/>
              <a:gd name="connsiteX19" fmla="*/ 1844557 w 4109828"/>
              <a:gd name="connsiteY19" fmla="*/ 7987 h 4109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09828" h="4109531">
                <a:moveTo>
                  <a:pt x="2107086" y="2107270"/>
                </a:moveTo>
                <a:lnTo>
                  <a:pt x="4109828" y="2107270"/>
                </a:lnTo>
                <a:lnTo>
                  <a:pt x="4102969" y="2252142"/>
                </a:lnTo>
                <a:cubicBezTo>
                  <a:pt x="4010226" y="3226529"/>
                  <a:pt x="3237887" y="4002769"/>
                  <a:pt x="2265272" y="4101543"/>
                </a:cubicBezTo>
                <a:lnTo>
                  <a:pt x="2107086" y="4109531"/>
                </a:lnTo>
                <a:close/>
                <a:moveTo>
                  <a:pt x="0" y="2107270"/>
                </a:moveTo>
                <a:lnTo>
                  <a:pt x="2002742" y="2107270"/>
                </a:lnTo>
                <a:lnTo>
                  <a:pt x="2002742" y="4109531"/>
                </a:lnTo>
                <a:lnTo>
                  <a:pt x="1844557" y="4101543"/>
                </a:lnTo>
                <a:cubicBezTo>
                  <a:pt x="871941" y="4002769"/>
                  <a:pt x="99603" y="3226529"/>
                  <a:pt x="6859" y="2252142"/>
                </a:cubicBezTo>
                <a:close/>
                <a:moveTo>
                  <a:pt x="2107086" y="0"/>
                </a:moveTo>
                <a:lnTo>
                  <a:pt x="2265272" y="7987"/>
                </a:lnTo>
                <a:cubicBezTo>
                  <a:pt x="3237887" y="106762"/>
                  <a:pt x="4010226" y="883002"/>
                  <a:pt x="4102969" y="1857388"/>
                </a:cubicBezTo>
                <a:lnTo>
                  <a:pt x="4109828" y="2002257"/>
                </a:lnTo>
                <a:lnTo>
                  <a:pt x="2107086" y="2002257"/>
                </a:lnTo>
                <a:close/>
                <a:moveTo>
                  <a:pt x="2002742" y="0"/>
                </a:moveTo>
                <a:lnTo>
                  <a:pt x="2002742" y="2002257"/>
                </a:lnTo>
                <a:lnTo>
                  <a:pt x="0" y="2002257"/>
                </a:lnTo>
                <a:lnTo>
                  <a:pt x="6859" y="1857388"/>
                </a:lnTo>
                <a:cubicBezTo>
                  <a:pt x="99603" y="883002"/>
                  <a:pt x="871941" y="106762"/>
                  <a:pt x="1844557" y="7987"/>
                </a:cubicBezTo>
                <a:close/>
              </a:path>
            </a:pathLst>
          </a:custGeom>
          <a:solidFill>
            <a:srgbClr val="FFFFFF">
              <a:lumMod val="95000"/>
            </a:srgbClr>
          </a:solidFill>
          <a:ln w="9525" cap="flat" cmpd="sng" algn="ctr">
            <a:noFill/>
            <a:prstDash val="solid"/>
            <a:headEnd type="none" w="med" len="med"/>
            <a:tailEnd type="none" w="med" len="med"/>
          </a:ln>
          <a:effectLst/>
        </p:spPr>
        <p:txBody>
          <a:bodyPr rot="0" spcFirstLastPara="0" vert="horz" wrap="square" lIns="217831" tIns="174265" rIns="217831" bIns="174265"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74336" rtl="0" eaLnBrk="1" fontAlgn="base" latinLnBrk="0" hangingPunct="1">
              <a:lnSpc>
                <a:spcPct val="90000"/>
              </a:lnSpc>
              <a:spcBef>
                <a:spcPct val="0"/>
              </a:spcBef>
              <a:spcAft>
                <a:spcPct val="0"/>
              </a:spcAft>
              <a:buClrTx/>
              <a:buSzTx/>
              <a:buFontTx/>
              <a:buNone/>
              <a:tabLst/>
              <a:defRPr/>
            </a:pPr>
            <a:endParaRPr kumimoji="0" lang="en-US" sz="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7" name="Oval 246"/>
          <p:cNvSpPr/>
          <p:nvPr/>
        </p:nvSpPr>
        <p:spPr bwMode="auto">
          <a:xfrm>
            <a:off x="5770170" y="3759686"/>
            <a:ext cx="749035" cy="753839"/>
          </a:xfrm>
          <a:prstGeom prst="ellipse">
            <a:avLst/>
          </a:prstGeom>
          <a:gradFill flip="none" rotWithShape="1">
            <a:gsLst>
              <a:gs pos="0">
                <a:srgbClr val="44546A"/>
              </a:gs>
              <a:gs pos="100000">
                <a:srgbClr val="ED7D31"/>
              </a:gs>
            </a:gsLst>
            <a:lin ang="13500000" scaled="1"/>
            <a:tileRect/>
          </a:gradFill>
          <a:ln w="12700" cap="flat" cmpd="sng" algn="ctr">
            <a:noFill/>
            <a:prstDash val="solid"/>
            <a:miter lim="800000"/>
          </a:ln>
          <a:effectLst/>
        </p:spPr>
        <p:txBody>
          <a:bodyPr lIns="111100" tIns="111100" rIns="111100" bIns="11110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8" name="Rectangle 247"/>
          <p:cNvSpPr/>
          <p:nvPr/>
        </p:nvSpPr>
        <p:spPr>
          <a:xfrm>
            <a:off x="5696984" y="3859049"/>
            <a:ext cx="895406" cy="1206539"/>
          </a:xfrm>
          <a:prstGeom prst="rect">
            <a:avLst/>
          </a:prstGeom>
        </p:spPr>
        <p:txBody>
          <a:bodyPr wrap="square" lIns="144428" tIns="72213" rIns="144428" bIns="72213">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ctr" defTabSz="774588" rtl="0" eaLnBrk="1" fontAlgn="auto" latinLnBrk="0" hangingPunct="1">
              <a:lnSpc>
                <a:spcPct val="100000"/>
              </a:lnSpc>
              <a:spcBef>
                <a:spcPts val="0"/>
              </a:spcBef>
              <a:spcAft>
                <a:spcPts val="0"/>
              </a:spcAft>
              <a:buClrTx/>
              <a:buSzTx/>
              <a:buFontTx/>
              <a:buNone/>
              <a:tabLst/>
              <a:defRPr/>
            </a:pPr>
            <a:r>
              <a:rPr kumimoji="0" lang="en-US" sz="1215" b="1" i="0" u="none" strike="noStrike" kern="1200" cap="none" spc="0" normalizeH="0" baseline="0" noProof="0" dirty="0">
                <a:ln>
                  <a:noFill/>
                </a:ln>
                <a:gradFill>
                  <a:gsLst>
                    <a:gs pos="0">
                      <a:srgbClr val="FFFFFF"/>
                    </a:gs>
                    <a:gs pos="100000">
                      <a:srgbClr val="FFFFFF"/>
                    </a:gs>
                  </a:gsLst>
                  <a:lin ang="5400000" scaled="1"/>
                </a:gradFill>
                <a:effectLst/>
                <a:uLnTx/>
                <a:uFillTx/>
                <a:latin typeface="Calibri" panose="020F0502020204030204"/>
                <a:ea typeface="+mn-ea"/>
                <a:cs typeface="Segoe UI Semibold" panose="020B0702040204020203" pitchFamily="34" charset="0"/>
                <a:sym typeface="Segoe UI"/>
              </a:rPr>
              <a:t>Growth Mindset</a:t>
            </a:r>
          </a:p>
        </p:txBody>
      </p:sp>
      <p:grpSp>
        <p:nvGrpSpPr>
          <p:cNvPr id="257" name="Group 256"/>
          <p:cNvGrpSpPr/>
          <p:nvPr/>
        </p:nvGrpSpPr>
        <p:grpSpPr>
          <a:xfrm>
            <a:off x="5550231" y="3712028"/>
            <a:ext cx="211220" cy="297742"/>
            <a:chOff x="5617051" y="3614642"/>
            <a:chExt cx="154352" cy="217580"/>
          </a:xfrm>
        </p:grpSpPr>
        <p:sp>
          <p:nvSpPr>
            <p:cNvPr id="278" name="Freeform 277"/>
            <p:cNvSpPr>
              <a:spLocks/>
            </p:cNvSpPr>
            <p:nvPr/>
          </p:nvSpPr>
          <p:spPr bwMode="auto">
            <a:xfrm>
              <a:off x="5665533" y="3647752"/>
              <a:ext cx="72724" cy="72942"/>
            </a:xfrm>
            <a:custGeom>
              <a:avLst/>
              <a:gdLst>
                <a:gd name="T0" fmla="*/ 97 w 123"/>
                <a:gd name="T1" fmla="*/ 123 h 123"/>
                <a:gd name="T2" fmla="*/ 81 w 123"/>
                <a:gd name="T3" fmla="*/ 107 h 123"/>
                <a:gd name="T4" fmla="*/ 81 w 123"/>
                <a:gd name="T5" fmla="*/ 43 h 123"/>
                <a:gd name="T6" fmla="*/ 16 w 123"/>
                <a:gd name="T7" fmla="*/ 43 h 123"/>
                <a:gd name="T8" fmla="*/ 0 w 123"/>
                <a:gd name="T9" fmla="*/ 27 h 123"/>
                <a:gd name="T10" fmla="*/ 97 w 123"/>
                <a:gd name="T11" fmla="*/ 27 h 123"/>
                <a:gd name="T12" fmla="*/ 97 w 123"/>
                <a:gd name="T13" fmla="*/ 123 h 123"/>
              </a:gdLst>
              <a:ahLst/>
              <a:cxnLst>
                <a:cxn ang="0">
                  <a:pos x="T0" y="T1"/>
                </a:cxn>
                <a:cxn ang="0">
                  <a:pos x="T2" y="T3"/>
                </a:cxn>
                <a:cxn ang="0">
                  <a:pos x="T4" y="T5"/>
                </a:cxn>
                <a:cxn ang="0">
                  <a:pos x="T6" y="T7"/>
                </a:cxn>
                <a:cxn ang="0">
                  <a:pos x="T8" y="T9"/>
                </a:cxn>
                <a:cxn ang="0">
                  <a:pos x="T10" y="T11"/>
                </a:cxn>
                <a:cxn ang="0">
                  <a:pos x="T12" y="T13"/>
                </a:cxn>
              </a:cxnLst>
              <a:rect l="0" t="0" r="r" b="b"/>
              <a:pathLst>
                <a:path w="123" h="123">
                  <a:moveTo>
                    <a:pt x="97" y="123"/>
                  </a:moveTo>
                  <a:cubicBezTo>
                    <a:pt x="81" y="107"/>
                    <a:pt x="81" y="107"/>
                    <a:pt x="81" y="107"/>
                  </a:cubicBezTo>
                  <a:cubicBezTo>
                    <a:pt x="98" y="89"/>
                    <a:pt x="98" y="60"/>
                    <a:pt x="81" y="43"/>
                  </a:cubicBezTo>
                  <a:cubicBezTo>
                    <a:pt x="63" y="25"/>
                    <a:pt x="34" y="25"/>
                    <a:pt x="16" y="43"/>
                  </a:cubicBezTo>
                  <a:cubicBezTo>
                    <a:pt x="0" y="27"/>
                    <a:pt x="0" y="27"/>
                    <a:pt x="0" y="27"/>
                  </a:cubicBezTo>
                  <a:cubicBezTo>
                    <a:pt x="27" y="0"/>
                    <a:pt x="70" y="0"/>
                    <a:pt x="97" y="27"/>
                  </a:cubicBezTo>
                  <a:cubicBezTo>
                    <a:pt x="123" y="53"/>
                    <a:pt x="123" y="96"/>
                    <a:pt x="97" y="123"/>
                  </a:cubicBezTo>
                  <a:close/>
                </a:path>
              </a:pathLst>
            </a:custGeom>
            <a:solidFill>
              <a:srgbClr val="4472C4"/>
            </a:solidFill>
            <a:ln>
              <a:noFill/>
            </a:ln>
          </p:spPr>
          <p:txBody>
            <a:bodyPr vert="horz" wrap="square" lIns="108915" tIns="54458" rIns="108915" bIns="5445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74588" rtl="0" eaLnBrk="1" fontAlgn="base"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sp>
          <p:nvSpPr>
            <p:cNvPr id="279" name="Freeform 278"/>
            <p:cNvSpPr>
              <a:spLocks/>
            </p:cNvSpPr>
            <p:nvPr/>
          </p:nvSpPr>
          <p:spPr bwMode="auto">
            <a:xfrm>
              <a:off x="5617051" y="3614642"/>
              <a:ext cx="154352" cy="217580"/>
            </a:xfrm>
            <a:custGeom>
              <a:avLst/>
              <a:gdLst>
                <a:gd name="T0" fmla="*/ 123 w 261"/>
                <a:gd name="T1" fmla="*/ 367 h 367"/>
                <a:gd name="T2" fmla="*/ 55 w 261"/>
                <a:gd name="T3" fmla="*/ 299 h 367"/>
                <a:gd name="T4" fmla="*/ 78 w 261"/>
                <a:gd name="T5" fmla="*/ 299 h 367"/>
                <a:gd name="T6" fmla="*/ 123 w 261"/>
                <a:gd name="T7" fmla="*/ 345 h 367"/>
                <a:gd name="T8" fmla="*/ 169 w 261"/>
                <a:gd name="T9" fmla="*/ 299 h 367"/>
                <a:gd name="T10" fmla="*/ 207 w 261"/>
                <a:gd name="T11" fmla="*/ 207 h 367"/>
                <a:gd name="T12" fmla="*/ 238 w 261"/>
                <a:gd name="T13" fmla="*/ 131 h 367"/>
                <a:gd name="T14" fmla="*/ 131 w 261"/>
                <a:gd name="T15" fmla="*/ 23 h 367"/>
                <a:gd name="T16" fmla="*/ 23 w 261"/>
                <a:gd name="T17" fmla="*/ 131 h 367"/>
                <a:gd name="T18" fmla="*/ 0 w 261"/>
                <a:gd name="T19" fmla="*/ 131 h 367"/>
                <a:gd name="T20" fmla="*/ 131 w 261"/>
                <a:gd name="T21" fmla="*/ 0 h 367"/>
                <a:gd name="T22" fmla="*/ 261 w 261"/>
                <a:gd name="T23" fmla="*/ 131 h 367"/>
                <a:gd name="T24" fmla="*/ 223 w 261"/>
                <a:gd name="T25" fmla="*/ 223 h 367"/>
                <a:gd name="T26" fmla="*/ 191 w 261"/>
                <a:gd name="T27" fmla="*/ 299 h 367"/>
                <a:gd name="T28" fmla="*/ 123 w 261"/>
                <a:gd name="T29" fmla="*/ 36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1" h="367">
                  <a:moveTo>
                    <a:pt x="123" y="367"/>
                  </a:moveTo>
                  <a:cubicBezTo>
                    <a:pt x="86" y="367"/>
                    <a:pt x="55" y="337"/>
                    <a:pt x="55" y="299"/>
                  </a:cubicBezTo>
                  <a:cubicBezTo>
                    <a:pt x="78" y="299"/>
                    <a:pt x="78" y="299"/>
                    <a:pt x="78" y="299"/>
                  </a:cubicBezTo>
                  <a:cubicBezTo>
                    <a:pt x="78" y="324"/>
                    <a:pt x="98" y="345"/>
                    <a:pt x="123" y="345"/>
                  </a:cubicBezTo>
                  <a:cubicBezTo>
                    <a:pt x="148" y="345"/>
                    <a:pt x="169" y="324"/>
                    <a:pt x="169" y="299"/>
                  </a:cubicBezTo>
                  <a:cubicBezTo>
                    <a:pt x="169" y="265"/>
                    <a:pt x="182" y="232"/>
                    <a:pt x="207" y="207"/>
                  </a:cubicBezTo>
                  <a:cubicBezTo>
                    <a:pt x="227" y="187"/>
                    <a:pt x="238" y="160"/>
                    <a:pt x="238" y="131"/>
                  </a:cubicBezTo>
                  <a:cubicBezTo>
                    <a:pt x="238" y="71"/>
                    <a:pt x="190" y="23"/>
                    <a:pt x="131" y="23"/>
                  </a:cubicBezTo>
                  <a:cubicBezTo>
                    <a:pt x="71" y="23"/>
                    <a:pt x="23" y="71"/>
                    <a:pt x="23" y="131"/>
                  </a:cubicBezTo>
                  <a:cubicBezTo>
                    <a:pt x="0" y="131"/>
                    <a:pt x="0" y="131"/>
                    <a:pt x="0" y="131"/>
                  </a:cubicBezTo>
                  <a:cubicBezTo>
                    <a:pt x="0" y="59"/>
                    <a:pt x="59" y="0"/>
                    <a:pt x="131" y="0"/>
                  </a:cubicBezTo>
                  <a:cubicBezTo>
                    <a:pt x="202" y="0"/>
                    <a:pt x="261" y="59"/>
                    <a:pt x="261" y="131"/>
                  </a:cubicBezTo>
                  <a:cubicBezTo>
                    <a:pt x="261" y="166"/>
                    <a:pt x="247" y="199"/>
                    <a:pt x="223" y="223"/>
                  </a:cubicBezTo>
                  <a:cubicBezTo>
                    <a:pt x="202" y="244"/>
                    <a:pt x="191" y="271"/>
                    <a:pt x="191" y="299"/>
                  </a:cubicBezTo>
                  <a:cubicBezTo>
                    <a:pt x="191" y="337"/>
                    <a:pt x="161" y="367"/>
                    <a:pt x="123" y="367"/>
                  </a:cubicBezTo>
                  <a:close/>
                </a:path>
              </a:pathLst>
            </a:custGeom>
            <a:solidFill>
              <a:srgbClr val="29BA74"/>
            </a:solidFill>
            <a:ln>
              <a:noFill/>
            </a:ln>
          </p:spPr>
          <p:txBody>
            <a:bodyPr vert="horz" wrap="square" lIns="108915" tIns="54458" rIns="108915" bIns="5445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774588" rtl="0" eaLnBrk="1" fontAlgn="base"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505050"/>
                </a:solidFill>
                <a:effectLst/>
                <a:uLnTx/>
                <a:uFillTx/>
                <a:latin typeface="Calibri" panose="020F0502020204030204"/>
                <a:ea typeface="+mn-ea"/>
                <a:cs typeface="+mn-cs"/>
              </a:endParaRPr>
            </a:p>
          </p:txBody>
        </p:sp>
      </p:grpSp>
      <p:grpSp>
        <p:nvGrpSpPr>
          <p:cNvPr id="259" name="Group 258"/>
          <p:cNvGrpSpPr/>
          <p:nvPr/>
        </p:nvGrpSpPr>
        <p:grpSpPr>
          <a:xfrm>
            <a:off x="6522484" y="3721673"/>
            <a:ext cx="422797" cy="278454"/>
            <a:chOff x="6643563" y="2989046"/>
            <a:chExt cx="1763268" cy="1161288"/>
          </a:xfrm>
        </p:grpSpPr>
        <p:sp>
          <p:nvSpPr>
            <p:cNvPr id="276" name="Freeform 10">
              <a:extLst>
                <a:ext uri="{FF2B5EF4-FFF2-40B4-BE49-F238E27FC236}">
                  <a16:creationId xmlns:a16="http://schemas.microsoft.com/office/drawing/2014/main" id="{BAE07190-5EC4-430A-B5CB-4404B5DC3C68}"/>
                </a:ext>
              </a:extLst>
            </p:cNvPr>
            <p:cNvSpPr>
              <a:spLocks noEditPoints="1"/>
            </p:cNvSpPr>
            <p:nvPr/>
          </p:nvSpPr>
          <p:spPr bwMode="auto">
            <a:xfrm>
              <a:off x="6959412" y="2989046"/>
              <a:ext cx="1447419" cy="939927"/>
            </a:xfrm>
            <a:custGeom>
              <a:avLst/>
              <a:gdLst>
                <a:gd name="T0" fmla="*/ 1302 w 2028"/>
                <a:gd name="T1" fmla="*/ 197 h 1316"/>
                <a:gd name="T2" fmla="*/ 1300 w 2028"/>
                <a:gd name="T3" fmla="*/ 201 h 1316"/>
                <a:gd name="T4" fmla="*/ 1300 w 2028"/>
                <a:gd name="T5" fmla="*/ 201 h 1316"/>
                <a:gd name="T6" fmla="*/ 1297 w 2028"/>
                <a:gd name="T7" fmla="*/ 204 h 1316"/>
                <a:gd name="T8" fmla="*/ 1294 w 2028"/>
                <a:gd name="T9" fmla="*/ 207 h 1316"/>
                <a:gd name="T10" fmla="*/ 1290 w 2028"/>
                <a:gd name="T11" fmla="*/ 209 h 1316"/>
                <a:gd name="T12" fmla="*/ 1285 w 2028"/>
                <a:gd name="T13" fmla="*/ 209 h 1316"/>
                <a:gd name="T14" fmla="*/ 1189 w 2028"/>
                <a:gd name="T15" fmla="*/ 213 h 1316"/>
                <a:gd name="T16" fmla="*/ 1166 w 2028"/>
                <a:gd name="T17" fmla="*/ 192 h 1316"/>
                <a:gd name="T18" fmla="*/ 1218 w 2028"/>
                <a:gd name="T19" fmla="*/ 168 h 1316"/>
                <a:gd name="T20" fmla="*/ 329 w 2028"/>
                <a:gd name="T21" fmla="*/ 205 h 1316"/>
                <a:gd name="T22" fmla="*/ 298 w 2028"/>
                <a:gd name="T23" fmla="*/ 201 h 1316"/>
                <a:gd name="T24" fmla="*/ 799 w 2028"/>
                <a:gd name="T25" fmla="*/ 0 h 1316"/>
                <a:gd name="T26" fmla="*/ 1232 w 2028"/>
                <a:gd name="T27" fmla="*/ 104 h 1316"/>
                <a:gd name="T28" fmla="*/ 1273 w 2028"/>
                <a:gd name="T29" fmla="*/ 90 h 1316"/>
                <a:gd name="T30" fmla="*/ 1304 w 2028"/>
                <a:gd name="T31" fmla="*/ 181 h 1316"/>
                <a:gd name="T32" fmla="*/ 1305 w 2028"/>
                <a:gd name="T33" fmla="*/ 184 h 1316"/>
                <a:gd name="T34" fmla="*/ 1305 w 2028"/>
                <a:gd name="T35" fmla="*/ 189 h 1316"/>
                <a:gd name="T36" fmla="*/ 1304 w 2028"/>
                <a:gd name="T37" fmla="*/ 193 h 1316"/>
                <a:gd name="T38" fmla="*/ 1303 w 2028"/>
                <a:gd name="T39" fmla="*/ 197 h 1316"/>
                <a:gd name="T40" fmla="*/ 1602 w 2028"/>
                <a:gd name="T41" fmla="*/ 891 h 1316"/>
                <a:gd name="T42" fmla="*/ 1791 w 2028"/>
                <a:gd name="T43" fmla="*/ 545 h 1316"/>
                <a:gd name="T44" fmla="*/ 1087 w 2028"/>
                <a:gd name="T45" fmla="*/ 483 h 1316"/>
                <a:gd name="T46" fmla="*/ 521 w 2028"/>
                <a:gd name="T47" fmla="*/ 719 h 1316"/>
                <a:gd name="T48" fmla="*/ 515 w 2028"/>
                <a:gd name="T49" fmla="*/ 619 h 1316"/>
                <a:gd name="T50" fmla="*/ 469 w 2028"/>
                <a:gd name="T51" fmla="*/ 602 h 1316"/>
                <a:gd name="T52" fmla="*/ 473 w 2028"/>
                <a:gd name="T53" fmla="*/ 659 h 1316"/>
                <a:gd name="T54" fmla="*/ 532 w 2028"/>
                <a:gd name="T55" fmla="*/ 817 h 1316"/>
                <a:gd name="T56" fmla="*/ 488 w 2028"/>
                <a:gd name="T57" fmla="*/ 867 h 1316"/>
                <a:gd name="T58" fmla="*/ 464 w 2028"/>
                <a:gd name="T59" fmla="*/ 891 h 1316"/>
                <a:gd name="T60" fmla="*/ 369 w 2028"/>
                <a:gd name="T61" fmla="*/ 1086 h 1316"/>
                <a:gd name="T62" fmla="*/ 265 w 2028"/>
                <a:gd name="T63" fmla="*/ 1084 h 1316"/>
                <a:gd name="T64" fmla="*/ 255 w 2028"/>
                <a:gd name="T65" fmla="*/ 1272 h 1316"/>
                <a:gd name="T66" fmla="*/ 44 w 2028"/>
                <a:gd name="T67" fmla="*/ 1190 h 1316"/>
                <a:gd name="T68" fmla="*/ 0 w 2028"/>
                <a:gd name="T69" fmla="*/ 1237 h 1316"/>
                <a:gd name="T70" fmla="*/ 256 w 2028"/>
                <a:gd name="T71" fmla="*/ 1316 h 1316"/>
                <a:gd name="T72" fmla="*/ 299 w 2028"/>
                <a:gd name="T73" fmla="*/ 1293 h 1316"/>
                <a:gd name="T74" fmla="*/ 367 w 2028"/>
                <a:gd name="T75" fmla="*/ 1130 h 1316"/>
                <a:gd name="T76" fmla="*/ 511 w 2028"/>
                <a:gd name="T77" fmla="*/ 980 h 1316"/>
                <a:gd name="T78" fmla="*/ 600 w 2028"/>
                <a:gd name="T79" fmla="*/ 868 h 1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28" h="1316">
                  <a:moveTo>
                    <a:pt x="1303" y="197"/>
                  </a:moveTo>
                  <a:cubicBezTo>
                    <a:pt x="1303" y="197"/>
                    <a:pt x="1303" y="197"/>
                    <a:pt x="1302" y="197"/>
                  </a:cubicBezTo>
                  <a:cubicBezTo>
                    <a:pt x="1302" y="198"/>
                    <a:pt x="1302" y="199"/>
                    <a:pt x="1301" y="200"/>
                  </a:cubicBezTo>
                  <a:cubicBezTo>
                    <a:pt x="1301" y="200"/>
                    <a:pt x="1301" y="201"/>
                    <a:pt x="1300" y="201"/>
                  </a:cubicBezTo>
                  <a:cubicBezTo>
                    <a:pt x="1300" y="201"/>
                    <a:pt x="1300" y="201"/>
                    <a:pt x="1300" y="201"/>
                  </a:cubicBezTo>
                  <a:cubicBezTo>
                    <a:pt x="1300" y="201"/>
                    <a:pt x="1300" y="201"/>
                    <a:pt x="1300" y="201"/>
                  </a:cubicBezTo>
                  <a:cubicBezTo>
                    <a:pt x="1299" y="202"/>
                    <a:pt x="1298" y="203"/>
                    <a:pt x="1297" y="204"/>
                  </a:cubicBezTo>
                  <a:cubicBezTo>
                    <a:pt x="1297" y="204"/>
                    <a:pt x="1297" y="204"/>
                    <a:pt x="1297" y="204"/>
                  </a:cubicBezTo>
                  <a:cubicBezTo>
                    <a:pt x="1296" y="205"/>
                    <a:pt x="1295" y="206"/>
                    <a:pt x="1294" y="207"/>
                  </a:cubicBezTo>
                  <a:cubicBezTo>
                    <a:pt x="1294" y="207"/>
                    <a:pt x="1294" y="207"/>
                    <a:pt x="1294" y="207"/>
                  </a:cubicBezTo>
                  <a:cubicBezTo>
                    <a:pt x="1292" y="207"/>
                    <a:pt x="1291" y="208"/>
                    <a:pt x="1290" y="208"/>
                  </a:cubicBezTo>
                  <a:cubicBezTo>
                    <a:pt x="1290" y="208"/>
                    <a:pt x="1290" y="209"/>
                    <a:pt x="1290" y="209"/>
                  </a:cubicBezTo>
                  <a:cubicBezTo>
                    <a:pt x="1288" y="209"/>
                    <a:pt x="1287" y="209"/>
                    <a:pt x="1286" y="209"/>
                  </a:cubicBezTo>
                  <a:cubicBezTo>
                    <a:pt x="1286" y="209"/>
                    <a:pt x="1286" y="209"/>
                    <a:pt x="1285" y="209"/>
                  </a:cubicBezTo>
                  <a:cubicBezTo>
                    <a:pt x="1285" y="210"/>
                    <a:pt x="1284" y="210"/>
                    <a:pt x="1284" y="210"/>
                  </a:cubicBezTo>
                  <a:cubicBezTo>
                    <a:pt x="1189" y="213"/>
                    <a:pt x="1189" y="213"/>
                    <a:pt x="1189" y="213"/>
                  </a:cubicBezTo>
                  <a:cubicBezTo>
                    <a:pt x="1188" y="213"/>
                    <a:pt x="1188" y="213"/>
                    <a:pt x="1188" y="213"/>
                  </a:cubicBezTo>
                  <a:cubicBezTo>
                    <a:pt x="1176" y="213"/>
                    <a:pt x="1166" y="204"/>
                    <a:pt x="1166" y="192"/>
                  </a:cubicBezTo>
                  <a:cubicBezTo>
                    <a:pt x="1165" y="180"/>
                    <a:pt x="1175" y="170"/>
                    <a:pt x="1187" y="169"/>
                  </a:cubicBezTo>
                  <a:cubicBezTo>
                    <a:pt x="1218" y="168"/>
                    <a:pt x="1218" y="168"/>
                    <a:pt x="1218" y="168"/>
                  </a:cubicBezTo>
                  <a:cubicBezTo>
                    <a:pt x="1093" y="87"/>
                    <a:pt x="950" y="44"/>
                    <a:pt x="799" y="44"/>
                  </a:cubicBezTo>
                  <a:cubicBezTo>
                    <a:pt x="627" y="44"/>
                    <a:pt x="464" y="100"/>
                    <a:pt x="329" y="205"/>
                  </a:cubicBezTo>
                  <a:cubicBezTo>
                    <a:pt x="325" y="208"/>
                    <a:pt x="320" y="210"/>
                    <a:pt x="315" y="210"/>
                  </a:cubicBezTo>
                  <a:cubicBezTo>
                    <a:pt x="309" y="210"/>
                    <a:pt x="302" y="207"/>
                    <a:pt x="298" y="201"/>
                  </a:cubicBezTo>
                  <a:cubicBezTo>
                    <a:pt x="290" y="192"/>
                    <a:pt x="292" y="178"/>
                    <a:pt x="302" y="170"/>
                  </a:cubicBezTo>
                  <a:cubicBezTo>
                    <a:pt x="445" y="59"/>
                    <a:pt x="617" y="0"/>
                    <a:pt x="799" y="0"/>
                  </a:cubicBezTo>
                  <a:cubicBezTo>
                    <a:pt x="958" y="0"/>
                    <a:pt x="1109" y="45"/>
                    <a:pt x="1240" y="130"/>
                  </a:cubicBezTo>
                  <a:cubicBezTo>
                    <a:pt x="1232" y="104"/>
                    <a:pt x="1232" y="104"/>
                    <a:pt x="1232" y="104"/>
                  </a:cubicBezTo>
                  <a:cubicBezTo>
                    <a:pt x="1228" y="93"/>
                    <a:pt x="1234" y="80"/>
                    <a:pt x="1245" y="77"/>
                  </a:cubicBezTo>
                  <a:cubicBezTo>
                    <a:pt x="1257" y="73"/>
                    <a:pt x="1269" y="79"/>
                    <a:pt x="1273" y="90"/>
                  </a:cubicBezTo>
                  <a:cubicBezTo>
                    <a:pt x="1304" y="181"/>
                    <a:pt x="1304" y="181"/>
                    <a:pt x="1304" y="181"/>
                  </a:cubicBezTo>
                  <a:cubicBezTo>
                    <a:pt x="1304" y="181"/>
                    <a:pt x="1304" y="181"/>
                    <a:pt x="1304" y="181"/>
                  </a:cubicBezTo>
                  <a:cubicBezTo>
                    <a:pt x="1304" y="181"/>
                    <a:pt x="1304" y="181"/>
                    <a:pt x="1304" y="181"/>
                  </a:cubicBezTo>
                  <a:cubicBezTo>
                    <a:pt x="1304" y="182"/>
                    <a:pt x="1304" y="183"/>
                    <a:pt x="1305" y="184"/>
                  </a:cubicBezTo>
                  <a:cubicBezTo>
                    <a:pt x="1305" y="185"/>
                    <a:pt x="1305" y="185"/>
                    <a:pt x="1305" y="185"/>
                  </a:cubicBezTo>
                  <a:cubicBezTo>
                    <a:pt x="1305" y="186"/>
                    <a:pt x="1305" y="188"/>
                    <a:pt x="1305" y="189"/>
                  </a:cubicBezTo>
                  <a:cubicBezTo>
                    <a:pt x="1305" y="189"/>
                    <a:pt x="1305" y="189"/>
                    <a:pt x="1305" y="189"/>
                  </a:cubicBezTo>
                  <a:cubicBezTo>
                    <a:pt x="1305" y="191"/>
                    <a:pt x="1304" y="192"/>
                    <a:pt x="1304" y="193"/>
                  </a:cubicBezTo>
                  <a:cubicBezTo>
                    <a:pt x="1304" y="193"/>
                    <a:pt x="1304" y="193"/>
                    <a:pt x="1304" y="193"/>
                  </a:cubicBezTo>
                  <a:cubicBezTo>
                    <a:pt x="1304" y="195"/>
                    <a:pt x="1303" y="196"/>
                    <a:pt x="1303" y="197"/>
                  </a:cubicBezTo>
                  <a:close/>
                  <a:moveTo>
                    <a:pt x="1087" y="483"/>
                  </a:moveTo>
                  <a:cubicBezTo>
                    <a:pt x="1232" y="744"/>
                    <a:pt x="1602" y="891"/>
                    <a:pt x="1602" y="891"/>
                  </a:cubicBezTo>
                  <a:cubicBezTo>
                    <a:pt x="1658" y="1021"/>
                    <a:pt x="1473" y="1128"/>
                    <a:pt x="1491" y="1149"/>
                  </a:cubicBezTo>
                  <a:cubicBezTo>
                    <a:pt x="1509" y="1170"/>
                    <a:pt x="2028" y="1036"/>
                    <a:pt x="1791" y="545"/>
                  </a:cubicBezTo>
                  <a:cubicBezTo>
                    <a:pt x="1739" y="438"/>
                    <a:pt x="1615" y="327"/>
                    <a:pt x="1409" y="327"/>
                  </a:cubicBezTo>
                  <a:cubicBezTo>
                    <a:pt x="1174" y="327"/>
                    <a:pt x="1077" y="434"/>
                    <a:pt x="1087" y="483"/>
                  </a:cubicBezTo>
                  <a:close/>
                  <a:moveTo>
                    <a:pt x="563" y="785"/>
                  </a:moveTo>
                  <a:cubicBezTo>
                    <a:pt x="545" y="767"/>
                    <a:pt x="529" y="739"/>
                    <a:pt x="521" y="719"/>
                  </a:cubicBezTo>
                  <a:cubicBezTo>
                    <a:pt x="518" y="711"/>
                    <a:pt x="517" y="678"/>
                    <a:pt x="517" y="658"/>
                  </a:cubicBezTo>
                  <a:cubicBezTo>
                    <a:pt x="516" y="643"/>
                    <a:pt x="516" y="629"/>
                    <a:pt x="515" y="619"/>
                  </a:cubicBezTo>
                  <a:cubicBezTo>
                    <a:pt x="514" y="601"/>
                    <a:pt x="509" y="575"/>
                    <a:pt x="504" y="555"/>
                  </a:cubicBezTo>
                  <a:cubicBezTo>
                    <a:pt x="493" y="571"/>
                    <a:pt x="481" y="587"/>
                    <a:pt x="469" y="602"/>
                  </a:cubicBezTo>
                  <a:cubicBezTo>
                    <a:pt x="470" y="610"/>
                    <a:pt x="471" y="617"/>
                    <a:pt x="471" y="622"/>
                  </a:cubicBezTo>
                  <a:cubicBezTo>
                    <a:pt x="472" y="632"/>
                    <a:pt x="472" y="645"/>
                    <a:pt x="473" y="659"/>
                  </a:cubicBezTo>
                  <a:cubicBezTo>
                    <a:pt x="474" y="697"/>
                    <a:pt x="475" y="721"/>
                    <a:pt x="480" y="735"/>
                  </a:cubicBezTo>
                  <a:cubicBezTo>
                    <a:pt x="485" y="747"/>
                    <a:pt x="503" y="788"/>
                    <a:pt x="532" y="817"/>
                  </a:cubicBezTo>
                  <a:cubicBezTo>
                    <a:pt x="546" y="831"/>
                    <a:pt x="555" y="845"/>
                    <a:pt x="557" y="853"/>
                  </a:cubicBezTo>
                  <a:cubicBezTo>
                    <a:pt x="550" y="860"/>
                    <a:pt x="529" y="872"/>
                    <a:pt x="488" y="867"/>
                  </a:cubicBezTo>
                  <a:cubicBezTo>
                    <a:pt x="481" y="867"/>
                    <a:pt x="475" y="869"/>
                    <a:pt x="470" y="873"/>
                  </a:cubicBezTo>
                  <a:cubicBezTo>
                    <a:pt x="465" y="878"/>
                    <a:pt x="463" y="884"/>
                    <a:pt x="464" y="891"/>
                  </a:cubicBezTo>
                  <a:cubicBezTo>
                    <a:pt x="470" y="977"/>
                    <a:pt x="467" y="1061"/>
                    <a:pt x="457" y="1076"/>
                  </a:cubicBezTo>
                  <a:cubicBezTo>
                    <a:pt x="455" y="1078"/>
                    <a:pt x="438" y="1086"/>
                    <a:pt x="369" y="1086"/>
                  </a:cubicBezTo>
                  <a:cubicBezTo>
                    <a:pt x="327" y="1086"/>
                    <a:pt x="289" y="1082"/>
                    <a:pt x="283" y="1081"/>
                  </a:cubicBezTo>
                  <a:cubicBezTo>
                    <a:pt x="277" y="1080"/>
                    <a:pt x="270" y="1081"/>
                    <a:pt x="265" y="1084"/>
                  </a:cubicBezTo>
                  <a:cubicBezTo>
                    <a:pt x="259" y="1088"/>
                    <a:pt x="255" y="1095"/>
                    <a:pt x="255" y="1102"/>
                  </a:cubicBezTo>
                  <a:cubicBezTo>
                    <a:pt x="255" y="1272"/>
                    <a:pt x="255" y="1272"/>
                    <a:pt x="255" y="1272"/>
                  </a:cubicBezTo>
                  <a:cubicBezTo>
                    <a:pt x="215" y="1272"/>
                    <a:pt x="121" y="1266"/>
                    <a:pt x="44" y="1224"/>
                  </a:cubicBezTo>
                  <a:cubicBezTo>
                    <a:pt x="44" y="1190"/>
                    <a:pt x="44" y="1190"/>
                    <a:pt x="44" y="1190"/>
                  </a:cubicBezTo>
                  <a:cubicBezTo>
                    <a:pt x="31" y="1187"/>
                    <a:pt x="16" y="1183"/>
                    <a:pt x="0" y="1177"/>
                  </a:cubicBezTo>
                  <a:cubicBezTo>
                    <a:pt x="0" y="1237"/>
                    <a:pt x="0" y="1237"/>
                    <a:pt x="0" y="1237"/>
                  </a:cubicBezTo>
                  <a:cubicBezTo>
                    <a:pt x="0" y="1245"/>
                    <a:pt x="5" y="1252"/>
                    <a:pt x="11" y="1256"/>
                  </a:cubicBezTo>
                  <a:cubicBezTo>
                    <a:pt x="100" y="1310"/>
                    <a:pt x="210" y="1316"/>
                    <a:pt x="256" y="1316"/>
                  </a:cubicBezTo>
                  <a:cubicBezTo>
                    <a:pt x="269" y="1316"/>
                    <a:pt x="277" y="1315"/>
                    <a:pt x="279" y="1315"/>
                  </a:cubicBezTo>
                  <a:cubicBezTo>
                    <a:pt x="290" y="1315"/>
                    <a:pt x="299" y="1305"/>
                    <a:pt x="299" y="1293"/>
                  </a:cubicBezTo>
                  <a:cubicBezTo>
                    <a:pt x="299" y="1127"/>
                    <a:pt x="299" y="1127"/>
                    <a:pt x="299" y="1127"/>
                  </a:cubicBezTo>
                  <a:cubicBezTo>
                    <a:pt x="323" y="1129"/>
                    <a:pt x="353" y="1130"/>
                    <a:pt x="367" y="1130"/>
                  </a:cubicBezTo>
                  <a:cubicBezTo>
                    <a:pt x="454" y="1131"/>
                    <a:pt x="478" y="1118"/>
                    <a:pt x="488" y="1107"/>
                  </a:cubicBezTo>
                  <a:cubicBezTo>
                    <a:pt x="500" y="1095"/>
                    <a:pt x="511" y="1071"/>
                    <a:pt x="511" y="980"/>
                  </a:cubicBezTo>
                  <a:cubicBezTo>
                    <a:pt x="511" y="954"/>
                    <a:pt x="510" y="930"/>
                    <a:pt x="509" y="912"/>
                  </a:cubicBezTo>
                  <a:cubicBezTo>
                    <a:pt x="565" y="911"/>
                    <a:pt x="593" y="884"/>
                    <a:pt x="600" y="868"/>
                  </a:cubicBezTo>
                  <a:cubicBezTo>
                    <a:pt x="610" y="843"/>
                    <a:pt x="582" y="804"/>
                    <a:pt x="563" y="785"/>
                  </a:cubicBezTo>
                  <a:close/>
                </a:path>
              </a:pathLst>
            </a:custGeom>
            <a:solidFill>
              <a:srgbClr val="4472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100" tIns="55550" rIns="111100" bIns="5555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black"/>
                </a:solidFill>
                <a:effectLst/>
                <a:uLnTx/>
                <a:uFillTx/>
                <a:latin typeface="Calibri" panose="020F0502020204030204"/>
              </a:endParaRPr>
            </a:p>
          </p:txBody>
        </p:sp>
        <p:sp>
          <p:nvSpPr>
            <p:cNvPr id="277" name="Freeform 11">
              <a:extLst>
                <a:ext uri="{FF2B5EF4-FFF2-40B4-BE49-F238E27FC236}">
                  <a16:creationId xmlns:a16="http://schemas.microsoft.com/office/drawing/2014/main" id="{21CCF091-D2CB-494D-AED7-8F09F8B271BC}"/>
                </a:ext>
              </a:extLst>
            </p:cNvPr>
            <p:cNvSpPr>
              <a:spLocks noEditPoints="1"/>
            </p:cNvSpPr>
            <p:nvPr/>
          </p:nvSpPr>
          <p:spPr bwMode="auto">
            <a:xfrm>
              <a:off x="6643563" y="3222599"/>
              <a:ext cx="1446657" cy="927735"/>
            </a:xfrm>
            <a:custGeom>
              <a:avLst/>
              <a:gdLst>
                <a:gd name="T0" fmla="*/ 1242 w 2027"/>
                <a:gd name="T1" fmla="*/ 1299 h 1299"/>
                <a:gd name="T2" fmla="*/ 809 w 2027"/>
                <a:gd name="T3" fmla="*/ 1195 h 1299"/>
                <a:gd name="T4" fmla="*/ 789 w 2027"/>
                <a:gd name="T5" fmla="*/ 1224 h 1299"/>
                <a:gd name="T6" fmla="*/ 737 w 2027"/>
                <a:gd name="T7" fmla="*/ 1118 h 1299"/>
                <a:gd name="T8" fmla="*/ 737 w 2027"/>
                <a:gd name="T9" fmla="*/ 1118 h 1299"/>
                <a:gd name="T10" fmla="*/ 736 w 2027"/>
                <a:gd name="T11" fmla="*/ 1114 h 1299"/>
                <a:gd name="T12" fmla="*/ 736 w 2027"/>
                <a:gd name="T13" fmla="*/ 1110 h 1299"/>
                <a:gd name="T14" fmla="*/ 737 w 2027"/>
                <a:gd name="T15" fmla="*/ 1106 h 1299"/>
                <a:gd name="T16" fmla="*/ 738 w 2027"/>
                <a:gd name="T17" fmla="*/ 1102 h 1299"/>
                <a:gd name="T18" fmla="*/ 741 w 2027"/>
                <a:gd name="T19" fmla="*/ 1098 h 1299"/>
                <a:gd name="T20" fmla="*/ 741 w 2027"/>
                <a:gd name="T21" fmla="*/ 1098 h 1299"/>
                <a:gd name="T22" fmla="*/ 744 w 2027"/>
                <a:gd name="T23" fmla="*/ 1095 h 1299"/>
                <a:gd name="T24" fmla="*/ 747 w 2027"/>
                <a:gd name="T25" fmla="*/ 1092 h 1299"/>
                <a:gd name="T26" fmla="*/ 751 w 2027"/>
                <a:gd name="T27" fmla="*/ 1090 h 1299"/>
                <a:gd name="T28" fmla="*/ 756 w 2027"/>
                <a:gd name="T29" fmla="*/ 1090 h 1299"/>
                <a:gd name="T30" fmla="*/ 852 w 2027"/>
                <a:gd name="T31" fmla="*/ 1086 h 1299"/>
                <a:gd name="T32" fmla="*/ 854 w 2027"/>
                <a:gd name="T33" fmla="*/ 1130 h 1299"/>
                <a:gd name="T34" fmla="*/ 1242 w 2027"/>
                <a:gd name="T35" fmla="*/ 1255 h 1299"/>
                <a:gd name="T36" fmla="*/ 1743 w 2027"/>
                <a:gd name="T37" fmla="*/ 1098 h 1299"/>
                <a:gd name="T38" fmla="*/ 1983 w 2027"/>
                <a:gd name="T39" fmla="*/ 863 h 1299"/>
                <a:gd name="T40" fmla="*/ 1773 w 2027"/>
                <a:gd name="T41" fmla="*/ 945 h 1299"/>
                <a:gd name="T42" fmla="*/ 1763 w 2027"/>
                <a:gd name="T43" fmla="*/ 757 h 1299"/>
                <a:gd name="T44" fmla="*/ 1659 w 2027"/>
                <a:gd name="T45" fmla="*/ 759 h 1299"/>
                <a:gd name="T46" fmla="*/ 1564 w 2027"/>
                <a:gd name="T47" fmla="*/ 564 h 1299"/>
                <a:gd name="T48" fmla="*/ 1540 w 2027"/>
                <a:gd name="T49" fmla="*/ 540 h 1299"/>
                <a:gd name="T50" fmla="*/ 1496 w 2027"/>
                <a:gd name="T51" fmla="*/ 490 h 1299"/>
                <a:gd name="T52" fmla="*/ 1555 w 2027"/>
                <a:gd name="T53" fmla="*/ 332 h 1299"/>
                <a:gd name="T54" fmla="*/ 1559 w 2027"/>
                <a:gd name="T55" fmla="*/ 275 h 1299"/>
                <a:gd name="T56" fmla="*/ 1513 w 2027"/>
                <a:gd name="T57" fmla="*/ 292 h 1299"/>
                <a:gd name="T58" fmla="*/ 1507 w 2027"/>
                <a:gd name="T59" fmla="*/ 392 h 1299"/>
                <a:gd name="T60" fmla="*/ 1428 w 2027"/>
                <a:gd name="T61" fmla="*/ 541 h 1299"/>
                <a:gd name="T62" fmla="*/ 1517 w 2027"/>
                <a:gd name="T63" fmla="*/ 653 h 1299"/>
                <a:gd name="T64" fmla="*/ 1661 w 2027"/>
                <a:gd name="T65" fmla="*/ 803 h 1299"/>
                <a:gd name="T66" fmla="*/ 1729 w 2027"/>
                <a:gd name="T67" fmla="*/ 966 h 1299"/>
                <a:gd name="T68" fmla="*/ 1772 w 2027"/>
                <a:gd name="T69" fmla="*/ 989 h 1299"/>
                <a:gd name="T70" fmla="*/ 2027 w 2027"/>
                <a:gd name="T71" fmla="*/ 910 h 1299"/>
                <a:gd name="T72" fmla="*/ 1983 w 2027"/>
                <a:gd name="T73" fmla="*/ 863 h 1299"/>
                <a:gd name="T74" fmla="*/ 619 w 2027"/>
                <a:gd name="T75" fmla="*/ 0 h 1299"/>
                <a:gd name="T76" fmla="*/ 537 w 2027"/>
                <a:gd name="T77" fmla="*/ 822 h 1299"/>
                <a:gd name="T78" fmla="*/ 940 w 2027"/>
                <a:gd name="T79" fmla="*/ 156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27" h="1299">
                  <a:moveTo>
                    <a:pt x="1739" y="1129"/>
                  </a:moveTo>
                  <a:cubicBezTo>
                    <a:pt x="1596" y="1240"/>
                    <a:pt x="1424" y="1299"/>
                    <a:pt x="1242" y="1299"/>
                  </a:cubicBezTo>
                  <a:cubicBezTo>
                    <a:pt x="1083" y="1299"/>
                    <a:pt x="932" y="1254"/>
                    <a:pt x="801" y="1169"/>
                  </a:cubicBezTo>
                  <a:cubicBezTo>
                    <a:pt x="809" y="1195"/>
                    <a:pt x="809" y="1195"/>
                    <a:pt x="809" y="1195"/>
                  </a:cubicBezTo>
                  <a:cubicBezTo>
                    <a:pt x="813" y="1206"/>
                    <a:pt x="807" y="1219"/>
                    <a:pt x="796" y="1222"/>
                  </a:cubicBezTo>
                  <a:cubicBezTo>
                    <a:pt x="793" y="1223"/>
                    <a:pt x="791" y="1224"/>
                    <a:pt x="789" y="1224"/>
                  </a:cubicBezTo>
                  <a:cubicBezTo>
                    <a:pt x="779" y="1224"/>
                    <a:pt x="771" y="1218"/>
                    <a:pt x="768" y="1209"/>
                  </a:cubicBezTo>
                  <a:cubicBezTo>
                    <a:pt x="737" y="1118"/>
                    <a:pt x="737" y="1118"/>
                    <a:pt x="737" y="1118"/>
                  </a:cubicBezTo>
                  <a:cubicBezTo>
                    <a:pt x="737" y="1118"/>
                    <a:pt x="737" y="1118"/>
                    <a:pt x="737" y="1118"/>
                  </a:cubicBezTo>
                  <a:cubicBezTo>
                    <a:pt x="737" y="1118"/>
                    <a:pt x="737" y="1118"/>
                    <a:pt x="737" y="1118"/>
                  </a:cubicBezTo>
                  <a:cubicBezTo>
                    <a:pt x="737" y="1117"/>
                    <a:pt x="737" y="1116"/>
                    <a:pt x="736" y="1115"/>
                  </a:cubicBezTo>
                  <a:cubicBezTo>
                    <a:pt x="736" y="1114"/>
                    <a:pt x="736" y="1114"/>
                    <a:pt x="736" y="1114"/>
                  </a:cubicBezTo>
                  <a:cubicBezTo>
                    <a:pt x="736" y="1113"/>
                    <a:pt x="736" y="1111"/>
                    <a:pt x="736" y="1110"/>
                  </a:cubicBezTo>
                  <a:cubicBezTo>
                    <a:pt x="736" y="1110"/>
                    <a:pt x="736" y="1110"/>
                    <a:pt x="736" y="1110"/>
                  </a:cubicBezTo>
                  <a:cubicBezTo>
                    <a:pt x="736" y="1108"/>
                    <a:pt x="737" y="1107"/>
                    <a:pt x="737" y="1106"/>
                  </a:cubicBezTo>
                  <a:cubicBezTo>
                    <a:pt x="737" y="1106"/>
                    <a:pt x="737" y="1106"/>
                    <a:pt x="737" y="1106"/>
                  </a:cubicBezTo>
                  <a:cubicBezTo>
                    <a:pt x="737" y="1104"/>
                    <a:pt x="738" y="1103"/>
                    <a:pt x="738" y="1102"/>
                  </a:cubicBezTo>
                  <a:cubicBezTo>
                    <a:pt x="738" y="1102"/>
                    <a:pt x="738" y="1102"/>
                    <a:pt x="738" y="1102"/>
                  </a:cubicBezTo>
                  <a:cubicBezTo>
                    <a:pt x="739" y="1101"/>
                    <a:pt x="739" y="1100"/>
                    <a:pt x="740" y="1099"/>
                  </a:cubicBezTo>
                  <a:cubicBezTo>
                    <a:pt x="740" y="1099"/>
                    <a:pt x="740" y="1098"/>
                    <a:pt x="741" y="1098"/>
                  </a:cubicBezTo>
                  <a:cubicBezTo>
                    <a:pt x="741" y="1098"/>
                    <a:pt x="741" y="1098"/>
                    <a:pt x="741" y="1098"/>
                  </a:cubicBezTo>
                  <a:cubicBezTo>
                    <a:pt x="741" y="1098"/>
                    <a:pt x="741" y="1098"/>
                    <a:pt x="741" y="1098"/>
                  </a:cubicBezTo>
                  <a:cubicBezTo>
                    <a:pt x="742" y="1097"/>
                    <a:pt x="743" y="1096"/>
                    <a:pt x="744" y="1095"/>
                  </a:cubicBezTo>
                  <a:cubicBezTo>
                    <a:pt x="744" y="1095"/>
                    <a:pt x="744" y="1095"/>
                    <a:pt x="744" y="1095"/>
                  </a:cubicBezTo>
                  <a:cubicBezTo>
                    <a:pt x="745" y="1094"/>
                    <a:pt x="746" y="1093"/>
                    <a:pt x="747" y="1092"/>
                  </a:cubicBezTo>
                  <a:cubicBezTo>
                    <a:pt x="747" y="1092"/>
                    <a:pt x="747" y="1092"/>
                    <a:pt x="747" y="1092"/>
                  </a:cubicBezTo>
                  <a:cubicBezTo>
                    <a:pt x="749" y="1092"/>
                    <a:pt x="750" y="1091"/>
                    <a:pt x="751" y="1091"/>
                  </a:cubicBezTo>
                  <a:cubicBezTo>
                    <a:pt x="751" y="1091"/>
                    <a:pt x="751" y="1090"/>
                    <a:pt x="751" y="1090"/>
                  </a:cubicBezTo>
                  <a:cubicBezTo>
                    <a:pt x="753" y="1090"/>
                    <a:pt x="754" y="1090"/>
                    <a:pt x="755" y="1090"/>
                  </a:cubicBezTo>
                  <a:cubicBezTo>
                    <a:pt x="755" y="1090"/>
                    <a:pt x="755" y="1090"/>
                    <a:pt x="756" y="1090"/>
                  </a:cubicBezTo>
                  <a:cubicBezTo>
                    <a:pt x="756" y="1089"/>
                    <a:pt x="757" y="1089"/>
                    <a:pt x="757" y="1089"/>
                  </a:cubicBezTo>
                  <a:cubicBezTo>
                    <a:pt x="852" y="1086"/>
                    <a:pt x="852" y="1086"/>
                    <a:pt x="852" y="1086"/>
                  </a:cubicBezTo>
                  <a:cubicBezTo>
                    <a:pt x="865" y="1085"/>
                    <a:pt x="875" y="1095"/>
                    <a:pt x="875" y="1107"/>
                  </a:cubicBezTo>
                  <a:cubicBezTo>
                    <a:pt x="876" y="1119"/>
                    <a:pt x="866" y="1129"/>
                    <a:pt x="854" y="1130"/>
                  </a:cubicBezTo>
                  <a:cubicBezTo>
                    <a:pt x="823" y="1131"/>
                    <a:pt x="823" y="1131"/>
                    <a:pt x="823" y="1131"/>
                  </a:cubicBezTo>
                  <a:cubicBezTo>
                    <a:pt x="948" y="1212"/>
                    <a:pt x="1091" y="1255"/>
                    <a:pt x="1242" y="1255"/>
                  </a:cubicBezTo>
                  <a:cubicBezTo>
                    <a:pt x="1414" y="1255"/>
                    <a:pt x="1577" y="1199"/>
                    <a:pt x="1712" y="1094"/>
                  </a:cubicBezTo>
                  <a:cubicBezTo>
                    <a:pt x="1722" y="1087"/>
                    <a:pt x="1736" y="1088"/>
                    <a:pt x="1743" y="1098"/>
                  </a:cubicBezTo>
                  <a:cubicBezTo>
                    <a:pt x="1751" y="1108"/>
                    <a:pt x="1749" y="1121"/>
                    <a:pt x="1739" y="1129"/>
                  </a:cubicBezTo>
                  <a:close/>
                  <a:moveTo>
                    <a:pt x="1983" y="863"/>
                  </a:moveTo>
                  <a:cubicBezTo>
                    <a:pt x="1983" y="897"/>
                    <a:pt x="1983" y="897"/>
                    <a:pt x="1983" y="897"/>
                  </a:cubicBezTo>
                  <a:cubicBezTo>
                    <a:pt x="1907" y="939"/>
                    <a:pt x="1813" y="945"/>
                    <a:pt x="1773" y="945"/>
                  </a:cubicBezTo>
                  <a:cubicBezTo>
                    <a:pt x="1773" y="775"/>
                    <a:pt x="1773" y="775"/>
                    <a:pt x="1773" y="775"/>
                  </a:cubicBezTo>
                  <a:cubicBezTo>
                    <a:pt x="1773" y="768"/>
                    <a:pt x="1769" y="761"/>
                    <a:pt x="1763" y="757"/>
                  </a:cubicBezTo>
                  <a:cubicBezTo>
                    <a:pt x="1757" y="754"/>
                    <a:pt x="1751" y="753"/>
                    <a:pt x="1745" y="754"/>
                  </a:cubicBezTo>
                  <a:cubicBezTo>
                    <a:pt x="1739" y="755"/>
                    <a:pt x="1701" y="759"/>
                    <a:pt x="1659" y="759"/>
                  </a:cubicBezTo>
                  <a:cubicBezTo>
                    <a:pt x="1588" y="759"/>
                    <a:pt x="1572" y="750"/>
                    <a:pt x="1571" y="749"/>
                  </a:cubicBezTo>
                  <a:cubicBezTo>
                    <a:pt x="1561" y="735"/>
                    <a:pt x="1558" y="650"/>
                    <a:pt x="1564" y="564"/>
                  </a:cubicBezTo>
                  <a:cubicBezTo>
                    <a:pt x="1565" y="557"/>
                    <a:pt x="1562" y="551"/>
                    <a:pt x="1558" y="546"/>
                  </a:cubicBezTo>
                  <a:cubicBezTo>
                    <a:pt x="1553" y="542"/>
                    <a:pt x="1546" y="540"/>
                    <a:pt x="1540" y="540"/>
                  </a:cubicBezTo>
                  <a:cubicBezTo>
                    <a:pt x="1499" y="545"/>
                    <a:pt x="1478" y="533"/>
                    <a:pt x="1471" y="526"/>
                  </a:cubicBezTo>
                  <a:cubicBezTo>
                    <a:pt x="1473" y="518"/>
                    <a:pt x="1481" y="504"/>
                    <a:pt x="1496" y="490"/>
                  </a:cubicBezTo>
                  <a:cubicBezTo>
                    <a:pt x="1525" y="461"/>
                    <a:pt x="1543" y="420"/>
                    <a:pt x="1547" y="408"/>
                  </a:cubicBezTo>
                  <a:cubicBezTo>
                    <a:pt x="1553" y="394"/>
                    <a:pt x="1554" y="370"/>
                    <a:pt x="1555" y="332"/>
                  </a:cubicBezTo>
                  <a:cubicBezTo>
                    <a:pt x="1555" y="318"/>
                    <a:pt x="1556" y="305"/>
                    <a:pt x="1557" y="295"/>
                  </a:cubicBezTo>
                  <a:cubicBezTo>
                    <a:pt x="1557" y="290"/>
                    <a:pt x="1558" y="283"/>
                    <a:pt x="1559" y="275"/>
                  </a:cubicBezTo>
                  <a:cubicBezTo>
                    <a:pt x="1547" y="260"/>
                    <a:pt x="1535" y="244"/>
                    <a:pt x="1524" y="228"/>
                  </a:cubicBezTo>
                  <a:cubicBezTo>
                    <a:pt x="1519" y="248"/>
                    <a:pt x="1514" y="274"/>
                    <a:pt x="1513" y="292"/>
                  </a:cubicBezTo>
                  <a:cubicBezTo>
                    <a:pt x="1512" y="302"/>
                    <a:pt x="1511" y="316"/>
                    <a:pt x="1511" y="331"/>
                  </a:cubicBezTo>
                  <a:cubicBezTo>
                    <a:pt x="1511" y="351"/>
                    <a:pt x="1510" y="384"/>
                    <a:pt x="1507" y="392"/>
                  </a:cubicBezTo>
                  <a:cubicBezTo>
                    <a:pt x="1498" y="412"/>
                    <a:pt x="1483" y="440"/>
                    <a:pt x="1465" y="458"/>
                  </a:cubicBezTo>
                  <a:cubicBezTo>
                    <a:pt x="1446" y="477"/>
                    <a:pt x="1417" y="516"/>
                    <a:pt x="1428" y="541"/>
                  </a:cubicBezTo>
                  <a:cubicBezTo>
                    <a:pt x="1435" y="557"/>
                    <a:pt x="1462" y="584"/>
                    <a:pt x="1519" y="585"/>
                  </a:cubicBezTo>
                  <a:cubicBezTo>
                    <a:pt x="1518" y="603"/>
                    <a:pt x="1517" y="627"/>
                    <a:pt x="1517" y="653"/>
                  </a:cubicBezTo>
                  <a:cubicBezTo>
                    <a:pt x="1517" y="744"/>
                    <a:pt x="1528" y="768"/>
                    <a:pt x="1539" y="780"/>
                  </a:cubicBezTo>
                  <a:cubicBezTo>
                    <a:pt x="1550" y="791"/>
                    <a:pt x="1574" y="804"/>
                    <a:pt x="1661" y="803"/>
                  </a:cubicBezTo>
                  <a:cubicBezTo>
                    <a:pt x="1675" y="803"/>
                    <a:pt x="1705" y="802"/>
                    <a:pt x="1729" y="800"/>
                  </a:cubicBezTo>
                  <a:cubicBezTo>
                    <a:pt x="1729" y="966"/>
                    <a:pt x="1729" y="966"/>
                    <a:pt x="1729" y="966"/>
                  </a:cubicBezTo>
                  <a:cubicBezTo>
                    <a:pt x="1729" y="978"/>
                    <a:pt x="1737" y="988"/>
                    <a:pt x="1749" y="988"/>
                  </a:cubicBezTo>
                  <a:cubicBezTo>
                    <a:pt x="1750" y="988"/>
                    <a:pt x="1759" y="989"/>
                    <a:pt x="1772" y="989"/>
                  </a:cubicBezTo>
                  <a:cubicBezTo>
                    <a:pt x="1818" y="989"/>
                    <a:pt x="1928" y="983"/>
                    <a:pt x="2017" y="929"/>
                  </a:cubicBezTo>
                  <a:cubicBezTo>
                    <a:pt x="2023" y="925"/>
                    <a:pt x="2027" y="918"/>
                    <a:pt x="2027" y="910"/>
                  </a:cubicBezTo>
                  <a:cubicBezTo>
                    <a:pt x="2027" y="850"/>
                    <a:pt x="2027" y="850"/>
                    <a:pt x="2027" y="850"/>
                  </a:cubicBezTo>
                  <a:cubicBezTo>
                    <a:pt x="2011" y="856"/>
                    <a:pt x="1997" y="860"/>
                    <a:pt x="1983" y="863"/>
                  </a:cubicBezTo>
                  <a:close/>
                  <a:moveTo>
                    <a:pt x="940" y="156"/>
                  </a:moveTo>
                  <a:cubicBezTo>
                    <a:pt x="951" y="107"/>
                    <a:pt x="854" y="0"/>
                    <a:pt x="619" y="0"/>
                  </a:cubicBezTo>
                  <a:cubicBezTo>
                    <a:pt x="413" y="0"/>
                    <a:pt x="289" y="111"/>
                    <a:pt x="237" y="218"/>
                  </a:cubicBezTo>
                  <a:cubicBezTo>
                    <a:pt x="0" y="709"/>
                    <a:pt x="519" y="843"/>
                    <a:pt x="537" y="822"/>
                  </a:cubicBezTo>
                  <a:cubicBezTo>
                    <a:pt x="554" y="801"/>
                    <a:pt x="370" y="694"/>
                    <a:pt x="426" y="564"/>
                  </a:cubicBezTo>
                  <a:cubicBezTo>
                    <a:pt x="426" y="564"/>
                    <a:pt x="796" y="417"/>
                    <a:pt x="940" y="156"/>
                  </a:cubicBezTo>
                  <a:close/>
                </a:path>
              </a:pathLst>
            </a:custGeom>
            <a:solidFill>
              <a:srgbClr val="29BA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100" tIns="55550" rIns="111100" bIns="5555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black"/>
                </a:solidFill>
                <a:effectLst/>
                <a:uLnTx/>
                <a:uFillTx/>
                <a:latin typeface="Calibri" panose="020F0502020204030204"/>
              </a:endParaRPr>
            </a:p>
          </p:txBody>
        </p:sp>
      </p:grpSp>
      <p:grpSp>
        <p:nvGrpSpPr>
          <p:cNvPr id="260" name="bcgIcons_GroupCollaboration">
            <a:extLst>
              <a:ext uri="{FF2B5EF4-FFF2-40B4-BE49-F238E27FC236}">
                <a16:creationId xmlns:a16="http://schemas.microsoft.com/office/drawing/2014/main" id="{F1FCE58C-E99B-4A9D-B08D-17EF6910E484}"/>
              </a:ext>
            </a:extLst>
          </p:cNvPr>
          <p:cNvGrpSpPr>
            <a:grpSpLocks noChangeAspect="1"/>
          </p:cNvGrpSpPr>
          <p:nvPr/>
        </p:nvGrpSpPr>
        <p:grpSpPr bwMode="auto">
          <a:xfrm>
            <a:off x="6525168" y="4222243"/>
            <a:ext cx="375442" cy="375791"/>
            <a:chOff x="1682" y="0"/>
            <a:chExt cx="4316" cy="4320"/>
          </a:xfrm>
        </p:grpSpPr>
        <p:sp>
          <p:nvSpPr>
            <p:cNvPr id="273" name="AutoShape 23">
              <a:extLst>
                <a:ext uri="{FF2B5EF4-FFF2-40B4-BE49-F238E27FC236}">
                  <a16:creationId xmlns:a16="http://schemas.microsoft.com/office/drawing/2014/main" id="{2223E742-6BC3-46DF-8D0B-A65A35FD837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1100" tIns="55550" rIns="111100" bIns="5555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black"/>
                </a:solidFill>
                <a:effectLst/>
                <a:uLnTx/>
                <a:uFillTx/>
                <a:latin typeface="Calibri" panose="020F0502020204030204"/>
              </a:endParaRPr>
            </a:p>
          </p:txBody>
        </p:sp>
        <p:sp>
          <p:nvSpPr>
            <p:cNvPr id="274" name="Freeform 25">
              <a:extLst>
                <a:ext uri="{FF2B5EF4-FFF2-40B4-BE49-F238E27FC236}">
                  <a16:creationId xmlns:a16="http://schemas.microsoft.com/office/drawing/2014/main" id="{6A05DAAB-CE48-4DE4-B1B3-210686AAEDBC}"/>
                </a:ext>
              </a:extLst>
            </p:cNvPr>
            <p:cNvSpPr>
              <a:spLocks noEditPoints="1"/>
            </p:cNvSpPr>
            <p:nvPr/>
          </p:nvSpPr>
          <p:spPr bwMode="auto">
            <a:xfrm>
              <a:off x="2237" y="1031"/>
              <a:ext cx="3210" cy="2892"/>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100" tIns="55550" rIns="111100" bIns="5555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black"/>
                </a:solidFill>
                <a:effectLst/>
                <a:uLnTx/>
                <a:uFillTx/>
                <a:latin typeface="Calibri" panose="020F0502020204030204"/>
              </a:endParaRPr>
            </a:p>
          </p:txBody>
        </p:sp>
        <p:sp>
          <p:nvSpPr>
            <p:cNvPr id="275" name="Freeform 26">
              <a:extLst>
                <a:ext uri="{FF2B5EF4-FFF2-40B4-BE49-F238E27FC236}">
                  <a16:creationId xmlns:a16="http://schemas.microsoft.com/office/drawing/2014/main" id="{F072E607-07EE-40A8-B1F8-71806F7BE30A}"/>
                </a:ext>
              </a:extLst>
            </p:cNvPr>
            <p:cNvSpPr>
              <a:spLocks noEditPoints="1"/>
            </p:cNvSpPr>
            <p:nvPr/>
          </p:nvSpPr>
          <p:spPr bwMode="auto">
            <a:xfrm>
              <a:off x="2237" y="401"/>
              <a:ext cx="3210" cy="2892"/>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rgbClr val="4472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100" tIns="55550" rIns="111100" bIns="5555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black"/>
                </a:solidFill>
                <a:effectLst/>
                <a:uLnTx/>
                <a:uFillTx/>
                <a:latin typeface="Calibri" panose="020F0502020204030204"/>
              </a:endParaRPr>
            </a:p>
          </p:txBody>
        </p:sp>
      </p:grpSp>
      <p:grpSp>
        <p:nvGrpSpPr>
          <p:cNvPr id="261" name="bcgIcons_Scalable">
            <a:extLst>
              <a:ext uri="{FF2B5EF4-FFF2-40B4-BE49-F238E27FC236}">
                <a16:creationId xmlns:a16="http://schemas.microsoft.com/office/drawing/2014/main" id="{D678D14B-6C3C-4A99-83B6-3866C167103F}"/>
              </a:ext>
            </a:extLst>
          </p:cNvPr>
          <p:cNvGrpSpPr>
            <a:grpSpLocks noChangeAspect="1"/>
          </p:cNvGrpSpPr>
          <p:nvPr/>
        </p:nvGrpSpPr>
        <p:grpSpPr bwMode="auto">
          <a:xfrm>
            <a:off x="5428853" y="4222243"/>
            <a:ext cx="375442" cy="375791"/>
            <a:chOff x="1682" y="0"/>
            <a:chExt cx="4316" cy="4320"/>
          </a:xfrm>
        </p:grpSpPr>
        <p:sp>
          <p:nvSpPr>
            <p:cNvPr id="270" name="AutoShape 18">
              <a:extLst>
                <a:ext uri="{FF2B5EF4-FFF2-40B4-BE49-F238E27FC236}">
                  <a16:creationId xmlns:a16="http://schemas.microsoft.com/office/drawing/2014/main" id="{84474120-6176-41A5-AE3C-BFAC5EC482D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1100" tIns="55550" rIns="111100" bIns="5555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black"/>
                </a:solidFill>
                <a:effectLst/>
                <a:uLnTx/>
                <a:uFillTx/>
                <a:latin typeface="Calibri" panose="020F0502020204030204"/>
              </a:endParaRPr>
            </a:p>
          </p:txBody>
        </p:sp>
        <p:sp>
          <p:nvSpPr>
            <p:cNvPr id="271" name="Freeform 20">
              <a:extLst>
                <a:ext uri="{FF2B5EF4-FFF2-40B4-BE49-F238E27FC236}">
                  <a16:creationId xmlns:a16="http://schemas.microsoft.com/office/drawing/2014/main" id="{C67455F9-C571-4F67-9A09-44F1F70462F5}"/>
                </a:ext>
              </a:extLst>
            </p:cNvPr>
            <p:cNvSpPr>
              <a:spLocks noEditPoints="1"/>
            </p:cNvSpPr>
            <p:nvPr/>
          </p:nvSpPr>
          <p:spPr bwMode="auto">
            <a:xfrm>
              <a:off x="2171" y="493"/>
              <a:ext cx="3316" cy="3338"/>
            </a:xfrm>
            <a:custGeom>
              <a:avLst/>
              <a:gdLst>
                <a:gd name="T0" fmla="*/ 1770 w 1770"/>
                <a:gd name="T1" fmla="*/ 22 h 1780"/>
                <a:gd name="T2" fmla="*/ 1770 w 1770"/>
                <a:gd name="T3" fmla="*/ 1474 h 1780"/>
                <a:gd name="T4" fmla="*/ 1748 w 1770"/>
                <a:gd name="T5" fmla="*/ 1496 h 1780"/>
                <a:gd name="T6" fmla="*/ 740 w 1770"/>
                <a:gd name="T7" fmla="*/ 1496 h 1780"/>
                <a:gd name="T8" fmla="*/ 740 w 1770"/>
                <a:gd name="T9" fmla="*/ 1452 h 1780"/>
                <a:gd name="T10" fmla="*/ 1726 w 1770"/>
                <a:gd name="T11" fmla="*/ 1452 h 1780"/>
                <a:gd name="T12" fmla="*/ 1726 w 1770"/>
                <a:gd name="T13" fmla="*/ 44 h 1780"/>
                <a:gd name="T14" fmla="*/ 317 w 1770"/>
                <a:gd name="T15" fmla="*/ 44 h 1780"/>
                <a:gd name="T16" fmla="*/ 317 w 1770"/>
                <a:gd name="T17" fmla="*/ 1039 h 1780"/>
                <a:gd name="T18" fmla="*/ 273 w 1770"/>
                <a:gd name="T19" fmla="*/ 1039 h 1780"/>
                <a:gd name="T20" fmla="*/ 273 w 1770"/>
                <a:gd name="T21" fmla="*/ 22 h 1780"/>
                <a:gd name="T22" fmla="*/ 295 w 1770"/>
                <a:gd name="T23" fmla="*/ 0 h 1780"/>
                <a:gd name="T24" fmla="*/ 1748 w 1770"/>
                <a:gd name="T25" fmla="*/ 0 h 1780"/>
                <a:gd name="T26" fmla="*/ 1770 w 1770"/>
                <a:gd name="T27" fmla="*/ 22 h 1780"/>
                <a:gd name="T28" fmla="*/ 1393 w 1770"/>
                <a:gd name="T29" fmla="*/ 409 h 1780"/>
                <a:gd name="T30" fmla="*/ 1393 w 1770"/>
                <a:gd name="T31" fmla="*/ 823 h 1780"/>
                <a:gd name="T32" fmla="*/ 1371 w 1770"/>
                <a:gd name="T33" fmla="*/ 845 h 1780"/>
                <a:gd name="T34" fmla="*/ 1349 w 1770"/>
                <a:gd name="T35" fmla="*/ 823 h 1780"/>
                <a:gd name="T36" fmla="*/ 1349 w 1770"/>
                <a:gd name="T37" fmla="*/ 462 h 1780"/>
                <a:gd name="T38" fmla="*/ 696 w 1770"/>
                <a:gd name="T39" fmla="*/ 1114 h 1780"/>
                <a:gd name="T40" fmla="*/ 696 w 1770"/>
                <a:gd name="T41" fmla="*/ 1758 h 1780"/>
                <a:gd name="T42" fmla="*/ 674 w 1770"/>
                <a:gd name="T43" fmla="*/ 1780 h 1780"/>
                <a:gd name="T44" fmla="*/ 22 w 1770"/>
                <a:gd name="T45" fmla="*/ 1780 h 1780"/>
                <a:gd name="T46" fmla="*/ 0 w 1770"/>
                <a:gd name="T47" fmla="*/ 1758 h 1780"/>
                <a:gd name="T48" fmla="*/ 0 w 1770"/>
                <a:gd name="T49" fmla="*/ 1105 h 1780"/>
                <a:gd name="T50" fmla="*/ 22 w 1770"/>
                <a:gd name="T51" fmla="*/ 1083 h 1780"/>
                <a:gd name="T52" fmla="*/ 665 w 1770"/>
                <a:gd name="T53" fmla="*/ 1083 h 1780"/>
                <a:gd name="T54" fmla="*/ 1317 w 1770"/>
                <a:gd name="T55" fmla="*/ 431 h 1780"/>
                <a:gd name="T56" fmla="*/ 956 w 1770"/>
                <a:gd name="T57" fmla="*/ 431 h 1780"/>
                <a:gd name="T58" fmla="*/ 934 w 1770"/>
                <a:gd name="T59" fmla="*/ 409 h 1780"/>
                <a:gd name="T60" fmla="*/ 956 w 1770"/>
                <a:gd name="T61" fmla="*/ 387 h 1780"/>
                <a:gd name="T62" fmla="*/ 1371 w 1770"/>
                <a:gd name="T63" fmla="*/ 387 h 1780"/>
                <a:gd name="T64" fmla="*/ 1375 w 1770"/>
                <a:gd name="T65" fmla="*/ 387 h 1780"/>
                <a:gd name="T66" fmla="*/ 1375 w 1770"/>
                <a:gd name="T67" fmla="*/ 387 h 1780"/>
                <a:gd name="T68" fmla="*/ 1379 w 1770"/>
                <a:gd name="T69" fmla="*/ 388 h 1780"/>
                <a:gd name="T70" fmla="*/ 1379 w 1770"/>
                <a:gd name="T71" fmla="*/ 388 h 1780"/>
                <a:gd name="T72" fmla="*/ 1383 w 1770"/>
                <a:gd name="T73" fmla="*/ 390 h 1780"/>
                <a:gd name="T74" fmla="*/ 1383 w 1770"/>
                <a:gd name="T75" fmla="*/ 390 h 1780"/>
                <a:gd name="T76" fmla="*/ 1389 w 1770"/>
                <a:gd name="T77" fmla="*/ 396 h 1780"/>
                <a:gd name="T78" fmla="*/ 1389 w 1770"/>
                <a:gd name="T79" fmla="*/ 397 h 1780"/>
                <a:gd name="T80" fmla="*/ 1391 w 1770"/>
                <a:gd name="T81" fmla="*/ 400 h 1780"/>
                <a:gd name="T82" fmla="*/ 1391 w 1770"/>
                <a:gd name="T83" fmla="*/ 401 h 1780"/>
                <a:gd name="T84" fmla="*/ 1392 w 1770"/>
                <a:gd name="T85" fmla="*/ 404 h 1780"/>
                <a:gd name="T86" fmla="*/ 1392 w 1770"/>
                <a:gd name="T87" fmla="*/ 405 h 1780"/>
                <a:gd name="T88" fmla="*/ 1393 w 1770"/>
                <a:gd name="T89" fmla="*/ 409 h 1780"/>
                <a:gd name="T90" fmla="*/ 652 w 1770"/>
                <a:gd name="T91" fmla="*/ 1127 h 1780"/>
                <a:gd name="T92" fmla="*/ 44 w 1770"/>
                <a:gd name="T93" fmla="*/ 1127 h 1780"/>
                <a:gd name="T94" fmla="*/ 44 w 1770"/>
                <a:gd name="T95" fmla="*/ 1736 h 1780"/>
                <a:gd name="T96" fmla="*/ 652 w 1770"/>
                <a:gd name="T97" fmla="*/ 1736 h 1780"/>
                <a:gd name="T98" fmla="*/ 652 w 1770"/>
                <a:gd name="T99" fmla="*/ 1127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70" h="1780">
                  <a:moveTo>
                    <a:pt x="1770" y="22"/>
                  </a:moveTo>
                  <a:cubicBezTo>
                    <a:pt x="1770" y="1474"/>
                    <a:pt x="1770" y="1474"/>
                    <a:pt x="1770" y="1474"/>
                  </a:cubicBezTo>
                  <a:cubicBezTo>
                    <a:pt x="1770" y="1486"/>
                    <a:pt x="1760" y="1496"/>
                    <a:pt x="1748" y="1496"/>
                  </a:cubicBezTo>
                  <a:cubicBezTo>
                    <a:pt x="740" y="1496"/>
                    <a:pt x="740" y="1496"/>
                    <a:pt x="740" y="1496"/>
                  </a:cubicBezTo>
                  <a:cubicBezTo>
                    <a:pt x="740" y="1452"/>
                    <a:pt x="740" y="1452"/>
                    <a:pt x="740" y="1452"/>
                  </a:cubicBezTo>
                  <a:cubicBezTo>
                    <a:pt x="1726" y="1452"/>
                    <a:pt x="1726" y="1452"/>
                    <a:pt x="1726" y="1452"/>
                  </a:cubicBezTo>
                  <a:cubicBezTo>
                    <a:pt x="1726" y="44"/>
                    <a:pt x="1726" y="44"/>
                    <a:pt x="1726" y="44"/>
                  </a:cubicBezTo>
                  <a:cubicBezTo>
                    <a:pt x="317" y="44"/>
                    <a:pt x="317" y="44"/>
                    <a:pt x="317" y="44"/>
                  </a:cubicBezTo>
                  <a:cubicBezTo>
                    <a:pt x="317" y="1039"/>
                    <a:pt x="317" y="1039"/>
                    <a:pt x="317" y="1039"/>
                  </a:cubicBezTo>
                  <a:cubicBezTo>
                    <a:pt x="273" y="1039"/>
                    <a:pt x="273" y="1039"/>
                    <a:pt x="273" y="1039"/>
                  </a:cubicBezTo>
                  <a:cubicBezTo>
                    <a:pt x="273" y="22"/>
                    <a:pt x="273" y="22"/>
                    <a:pt x="273" y="22"/>
                  </a:cubicBezTo>
                  <a:cubicBezTo>
                    <a:pt x="273" y="9"/>
                    <a:pt x="283" y="0"/>
                    <a:pt x="295" y="0"/>
                  </a:cubicBezTo>
                  <a:cubicBezTo>
                    <a:pt x="1748" y="0"/>
                    <a:pt x="1748" y="0"/>
                    <a:pt x="1748" y="0"/>
                  </a:cubicBezTo>
                  <a:cubicBezTo>
                    <a:pt x="1760" y="0"/>
                    <a:pt x="1770" y="9"/>
                    <a:pt x="1770" y="22"/>
                  </a:cubicBezTo>
                  <a:close/>
                  <a:moveTo>
                    <a:pt x="1393" y="409"/>
                  </a:moveTo>
                  <a:cubicBezTo>
                    <a:pt x="1393" y="823"/>
                    <a:pt x="1393" y="823"/>
                    <a:pt x="1393" y="823"/>
                  </a:cubicBezTo>
                  <a:cubicBezTo>
                    <a:pt x="1393" y="835"/>
                    <a:pt x="1383" y="845"/>
                    <a:pt x="1371" y="845"/>
                  </a:cubicBezTo>
                  <a:cubicBezTo>
                    <a:pt x="1358" y="845"/>
                    <a:pt x="1349" y="835"/>
                    <a:pt x="1349" y="823"/>
                  </a:cubicBezTo>
                  <a:cubicBezTo>
                    <a:pt x="1349" y="462"/>
                    <a:pt x="1349" y="462"/>
                    <a:pt x="1349" y="462"/>
                  </a:cubicBezTo>
                  <a:cubicBezTo>
                    <a:pt x="696" y="1114"/>
                    <a:pt x="696" y="1114"/>
                    <a:pt x="696" y="1114"/>
                  </a:cubicBezTo>
                  <a:cubicBezTo>
                    <a:pt x="696" y="1758"/>
                    <a:pt x="696" y="1758"/>
                    <a:pt x="696" y="1758"/>
                  </a:cubicBezTo>
                  <a:cubicBezTo>
                    <a:pt x="696" y="1770"/>
                    <a:pt x="686" y="1780"/>
                    <a:pt x="674" y="1780"/>
                  </a:cubicBezTo>
                  <a:cubicBezTo>
                    <a:pt x="22" y="1780"/>
                    <a:pt x="22" y="1780"/>
                    <a:pt x="22" y="1780"/>
                  </a:cubicBezTo>
                  <a:cubicBezTo>
                    <a:pt x="9" y="1780"/>
                    <a:pt x="0" y="1770"/>
                    <a:pt x="0" y="1758"/>
                  </a:cubicBezTo>
                  <a:cubicBezTo>
                    <a:pt x="0" y="1105"/>
                    <a:pt x="0" y="1105"/>
                    <a:pt x="0" y="1105"/>
                  </a:cubicBezTo>
                  <a:cubicBezTo>
                    <a:pt x="0" y="1093"/>
                    <a:pt x="9" y="1083"/>
                    <a:pt x="22" y="1083"/>
                  </a:cubicBezTo>
                  <a:cubicBezTo>
                    <a:pt x="665" y="1083"/>
                    <a:pt x="665" y="1083"/>
                    <a:pt x="665" y="1083"/>
                  </a:cubicBezTo>
                  <a:cubicBezTo>
                    <a:pt x="1317" y="431"/>
                    <a:pt x="1317" y="431"/>
                    <a:pt x="1317" y="431"/>
                  </a:cubicBezTo>
                  <a:cubicBezTo>
                    <a:pt x="956" y="431"/>
                    <a:pt x="956" y="431"/>
                    <a:pt x="956" y="431"/>
                  </a:cubicBezTo>
                  <a:cubicBezTo>
                    <a:pt x="944" y="431"/>
                    <a:pt x="934" y="421"/>
                    <a:pt x="934" y="409"/>
                  </a:cubicBezTo>
                  <a:cubicBezTo>
                    <a:pt x="934" y="396"/>
                    <a:pt x="944" y="387"/>
                    <a:pt x="956" y="387"/>
                  </a:cubicBezTo>
                  <a:cubicBezTo>
                    <a:pt x="1371" y="387"/>
                    <a:pt x="1371" y="387"/>
                    <a:pt x="1371" y="387"/>
                  </a:cubicBezTo>
                  <a:cubicBezTo>
                    <a:pt x="1372" y="387"/>
                    <a:pt x="1373" y="387"/>
                    <a:pt x="1375" y="387"/>
                  </a:cubicBezTo>
                  <a:cubicBezTo>
                    <a:pt x="1375" y="387"/>
                    <a:pt x="1375" y="387"/>
                    <a:pt x="1375" y="387"/>
                  </a:cubicBezTo>
                  <a:cubicBezTo>
                    <a:pt x="1376" y="387"/>
                    <a:pt x="1377" y="388"/>
                    <a:pt x="1379" y="388"/>
                  </a:cubicBezTo>
                  <a:cubicBezTo>
                    <a:pt x="1379" y="388"/>
                    <a:pt x="1379" y="388"/>
                    <a:pt x="1379" y="388"/>
                  </a:cubicBezTo>
                  <a:cubicBezTo>
                    <a:pt x="1380" y="389"/>
                    <a:pt x="1381" y="389"/>
                    <a:pt x="1383" y="390"/>
                  </a:cubicBezTo>
                  <a:cubicBezTo>
                    <a:pt x="1383" y="390"/>
                    <a:pt x="1383" y="390"/>
                    <a:pt x="1383" y="390"/>
                  </a:cubicBezTo>
                  <a:cubicBezTo>
                    <a:pt x="1385" y="392"/>
                    <a:pt x="1387" y="394"/>
                    <a:pt x="1389" y="396"/>
                  </a:cubicBezTo>
                  <a:cubicBezTo>
                    <a:pt x="1389" y="396"/>
                    <a:pt x="1389" y="397"/>
                    <a:pt x="1389" y="397"/>
                  </a:cubicBezTo>
                  <a:cubicBezTo>
                    <a:pt x="1390" y="398"/>
                    <a:pt x="1390" y="399"/>
                    <a:pt x="1391" y="400"/>
                  </a:cubicBezTo>
                  <a:cubicBezTo>
                    <a:pt x="1391" y="400"/>
                    <a:pt x="1391" y="400"/>
                    <a:pt x="1391" y="401"/>
                  </a:cubicBezTo>
                  <a:cubicBezTo>
                    <a:pt x="1392" y="402"/>
                    <a:pt x="1392" y="403"/>
                    <a:pt x="1392" y="404"/>
                  </a:cubicBezTo>
                  <a:cubicBezTo>
                    <a:pt x="1392" y="404"/>
                    <a:pt x="1392" y="404"/>
                    <a:pt x="1392" y="405"/>
                  </a:cubicBezTo>
                  <a:cubicBezTo>
                    <a:pt x="1392" y="406"/>
                    <a:pt x="1393" y="407"/>
                    <a:pt x="1393" y="409"/>
                  </a:cubicBezTo>
                  <a:close/>
                  <a:moveTo>
                    <a:pt x="652" y="1127"/>
                  </a:moveTo>
                  <a:cubicBezTo>
                    <a:pt x="44" y="1127"/>
                    <a:pt x="44" y="1127"/>
                    <a:pt x="44" y="1127"/>
                  </a:cubicBezTo>
                  <a:cubicBezTo>
                    <a:pt x="44" y="1736"/>
                    <a:pt x="44" y="1736"/>
                    <a:pt x="44" y="1736"/>
                  </a:cubicBezTo>
                  <a:cubicBezTo>
                    <a:pt x="652" y="1736"/>
                    <a:pt x="652" y="1736"/>
                    <a:pt x="652" y="1736"/>
                  </a:cubicBezTo>
                  <a:lnTo>
                    <a:pt x="652" y="1127"/>
                  </a:lnTo>
                  <a:close/>
                </a:path>
              </a:pathLst>
            </a:custGeom>
            <a:solidFill>
              <a:srgbClr val="4472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100" tIns="55550" rIns="111100" bIns="5555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black"/>
                </a:solidFill>
                <a:effectLst/>
                <a:uLnTx/>
                <a:uFillTx/>
                <a:latin typeface="Calibri" panose="020F0502020204030204"/>
              </a:endParaRPr>
            </a:p>
          </p:txBody>
        </p:sp>
        <p:sp>
          <p:nvSpPr>
            <p:cNvPr id="272" name="Freeform 21">
              <a:extLst>
                <a:ext uri="{FF2B5EF4-FFF2-40B4-BE49-F238E27FC236}">
                  <a16:creationId xmlns:a16="http://schemas.microsoft.com/office/drawing/2014/main" id="{DF89A459-790F-4203-97CE-B50459D27040}"/>
                </a:ext>
              </a:extLst>
            </p:cNvPr>
            <p:cNvSpPr>
              <a:spLocks noEditPoints="1"/>
            </p:cNvSpPr>
            <p:nvPr/>
          </p:nvSpPr>
          <p:spPr bwMode="auto">
            <a:xfrm>
              <a:off x="2336" y="656"/>
              <a:ext cx="2986" cy="3010"/>
            </a:xfrm>
            <a:custGeom>
              <a:avLst/>
              <a:gdLst>
                <a:gd name="T0" fmla="*/ 284 w 1594"/>
                <a:gd name="T1" fmla="*/ 0 h 1605"/>
                <a:gd name="T2" fmla="*/ 1584 w 1594"/>
                <a:gd name="T3" fmla="*/ 0 h 1605"/>
                <a:gd name="T4" fmla="*/ 1594 w 1594"/>
                <a:gd name="T5" fmla="*/ 10 h 1605"/>
                <a:gd name="T6" fmla="*/ 1594 w 1594"/>
                <a:gd name="T7" fmla="*/ 1312 h 1605"/>
                <a:gd name="T8" fmla="*/ 1584 w 1594"/>
                <a:gd name="T9" fmla="*/ 1322 h 1605"/>
                <a:gd name="T10" fmla="*/ 652 w 1594"/>
                <a:gd name="T11" fmla="*/ 1322 h 1605"/>
                <a:gd name="T12" fmla="*/ 652 w 1594"/>
                <a:gd name="T13" fmla="*/ 1046 h 1605"/>
                <a:gd name="T14" fmla="*/ 1217 w 1594"/>
                <a:gd name="T15" fmla="*/ 481 h 1605"/>
                <a:gd name="T16" fmla="*/ 1217 w 1594"/>
                <a:gd name="T17" fmla="*/ 736 h 1605"/>
                <a:gd name="T18" fmla="*/ 1281 w 1594"/>
                <a:gd name="T19" fmla="*/ 802 h 1605"/>
                <a:gd name="T20" fmla="*/ 1349 w 1594"/>
                <a:gd name="T21" fmla="*/ 734 h 1605"/>
                <a:gd name="T22" fmla="*/ 1349 w 1594"/>
                <a:gd name="T23" fmla="*/ 296 h 1605"/>
                <a:gd name="T24" fmla="*/ 1309 w 1594"/>
                <a:gd name="T25" fmla="*/ 256 h 1605"/>
                <a:gd name="T26" fmla="*/ 868 w 1594"/>
                <a:gd name="T27" fmla="*/ 256 h 1605"/>
                <a:gd name="T28" fmla="*/ 802 w 1594"/>
                <a:gd name="T29" fmla="*/ 322 h 1605"/>
                <a:gd name="T30" fmla="*/ 802 w 1594"/>
                <a:gd name="T31" fmla="*/ 322 h 1605"/>
                <a:gd name="T32" fmla="*/ 868 w 1594"/>
                <a:gd name="T33" fmla="*/ 388 h 1605"/>
                <a:gd name="T34" fmla="*/ 1123 w 1594"/>
                <a:gd name="T35" fmla="*/ 388 h 1605"/>
                <a:gd name="T36" fmla="*/ 559 w 1594"/>
                <a:gd name="T37" fmla="*/ 952 h 1605"/>
                <a:gd name="T38" fmla="*/ 274 w 1594"/>
                <a:gd name="T39" fmla="*/ 952 h 1605"/>
                <a:gd name="T40" fmla="*/ 274 w 1594"/>
                <a:gd name="T41" fmla="*/ 10 h 1605"/>
                <a:gd name="T42" fmla="*/ 284 w 1594"/>
                <a:gd name="T43" fmla="*/ 0 h 1605"/>
                <a:gd name="T44" fmla="*/ 510 w 1594"/>
                <a:gd name="T45" fmla="*/ 1084 h 1605"/>
                <a:gd name="T46" fmla="*/ 10 w 1594"/>
                <a:gd name="T47" fmla="*/ 1084 h 1605"/>
                <a:gd name="T48" fmla="*/ 0 w 1594"/>
                <a:gd name="T49" fmla="*/ 1094 h 1605"/>
                <a:gd name="T50" fmla="*/ 0 w 1594"/>
                <a:gd name="T51" fmla="*/ 1595 h 1605"/>
                <a:gd name="T52" fmla="*/ 10 w 1594"/>
                <a:gd name="T53" fmla="*/ 1605 h 1605"/>
                <a:gd name="T54" fmla="*/ 510 w 1594"/>
                <a:gd name="T55" fmla="*/ 1605 h 1605"/>
                <a:gd name="T56" fmla="*/ 520 w 1594"/>
                <a:gd name="T57" fmla="*/ 1595 h 1605"/>
                <a:gd name="T58" fmla="*/ 520 w 1594"/>
                <a:gd name="T59" fmla="*/ 1094 h 1605"/>
                <a:gd name="T60" fmla="*/ 510 w 1594"/>
                <a:gd name="T61" fmla="*/ 1084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94" h="1605">
                  <a:moveTo>
                    <a:pt x="284" y="0"/>
                  </a:moveTo>
                  <a:cubicBezTo>
                    <a:pt x="1584" y="0"/>
                    <a:pt x="1584" y="0"/>
                    <a:pt x="1584" y="0"/>
                  </a:cubicBezTo>
                  <a:cubicBezTo>
                    <a:pt x="1589" y="0"/>
                    <a:pt x="1594" y="5"/>
                    <a:pt x="1594" y="10"/>
                  </a:cubicBezTo>
                  <a:cubicBezTo>
                    <a:pt x="1594" y="1312"/>
                    <a:pt x="1594" y="1312"/>
                    <a:pt x="1594" y="1312"/>
                  </a:cubicBezTo>
                  <a:cubicBezTo>
                    <a:pt x="1594" y="1317"/>
                    <a:pt x="1589" y="1322"/>
                    <a:pt x="1584" y="1322"/>
                  </a:cubicBezTo>
                  <a:cubicBezTo>
                    <a:pt x="652" y="1322"/>
                    <a:pt x="652" y="1322"/>
                    <a:pt x="652" y="1322"/>
                  </a:cubicBezTo>
                  <a:cubicBezTo>
                    <a:pt x="652" y="1046"/>
                    <a:pt x="652" y="1046"/>
                    <a:pt x="652" y="1046"/>
                  </a:cubicBezTo>
                  <a:cubicBezTo>
                    <a:pt x="1217" y="481"/>
                    <a:pt x="1217" y="481"/>
                    <a:pt x="1217" y="481"/>
                  </a:cubicBezTo>
                  <a:cubicBezTo>
                    <a:pt x="1217" y="736"/>
                    <a:pt x="1217" y="736"/>
                    <a:pt x="1217" y="736"/>
                  </a:cubicBezTo>
                  <a:cubicBezTo>
                    <a:pt x="1217" y="772"/>
                    <a:pt x="1245" y="801"/>
                    <a:pt x="1281" y="802"/>
                  </a:cubicBezTo>
                  <a:cubicBezTo>
                    <a:pt x="1318" y="802"/>
                    <a:pt x="1349" y="771"/>
                    <a:pt x="1349" y="734"/>
                  </a:cubicBezTo>
                  <a:cubicBezTo>
                    <a:pt x="1349" y="296"/>
                    <a:pt x="1349" y="296"/>
                    <a:pt x="1349" y="296"/>
                  </a:cubicBezTo>
                  <a:cubicBezTo>
                    <a:pt x="1349" y="273"/>
                    <a:pt x="1331" y="256"/>
                    <a:pt x="1309" y="256"/>
                  </a:cubicBezTo>
                  <a:cubicBezTo>
                    <a:pt x="868" y="256"/>
                    <a:pt x="868" y="256"/>
                    <a:pt x="868" y="256"/>
                  </a:cubicBezTo>
                  <a:cubicBezTo>
                    <a:pt x="832" y="256"/>
                    <a:pt x="802" y="285"/>
                    <a:pt x="802" y="322"/>
                  </a:cubicBezTo>
                  <a:cubicBezTo>
                    <a:pt x="802" y="322"/>
                    <a:pt x="802" y="322"/>
                    <a:pt x="802" y="322"/>
                  </a:cubicBezTo>
                  <a:cubicBezTo>
                    <a:pt x="802" y="358"/>
                    <a:pt x="832" y="388"/>
                    <a:pt x="868" y="388"/>
                  </a:cubicBezTo>
                  <a:cubicBezTo>
                    <a:pt x="1123" y="388"/>
                    <a:pt x="1123" y="388"/>
                    <a:pt x="1123" y="388"/>
                  </a:cubicBezTo>
                  <a:cubicBezTo>
                    <a:pt x="559" y="952"/>
                    <a:pt x="559" y="952"/>
                    <a:pt x="559" y="952"/>
                  </a:cubicBezTo>
                  <a:cubicBezTo>
                    <a:pt x="274" y="952"/>
                    <a:pt x="274" y="952"/>
                    <a:pt x="274" y="952"/>
                  </a:cubicBezTo>
                  <a:cubicBezTo>
                    <a:pt x="274" y="10"/>
                    <a:pt x="274" y="10"/>
                    <a:pt x="274" y="10"/>
                  </a:cubicBezTo>
                  <a:cubicBezTo>
                    <a:pt x="274" y="5"/>
                    <a:pt x="278" y="0"/>
                    <a:pt x="284" y="0"/>
                  </a:cubicBezTo>
                  <a:close/>
                  <a:moveTo>
                    <a:pt x="510" y="1084"/>
                  </a:moveTo>
                  <a:cubicBezTo>
                    <a:pt x="10" y="1084"/>
                    <a:pt x="10" y="1084"/>
                    <a:pt x="10" y="1084"/>
                  </a:cubicBezTo>
                  <a:cubicBezTo>
                    <a:pt x="4" y="1084"/>
                    <a:pt x="0" y="1089"/>
                    <a:pt x="0" y="1094"/>
                  </a:cubicBezTo>
                  <a:cubicBezTo>
                    <a:pt x="0" y="1595"/>
                    <a:pt x="0" y="1595"/>
                    <a:pt x="0" y="1595"/>
                  </a:cubicBezTo>
                  <a:cubicBezTo>
                    <a:pt x="0" y="1600"/>
                    <a:pt x="4" y="1605"/>
                    <a:pt x="10" y="1605"/>
                  </a:cubicBezTo>
                  <a:cubicBezTo>
                    <a:pt x="510" y="1605"/>
                    <a:pt x="510" y="1605"/>
                    <a:pt x="510" y="1605"/>
                  </a:cubicBezTo>
                  <a:cubicBezTo>
                    <a:pt x="515" y="1605"/>
                    <a:pt x="520" y="1600"/>
                    <a:pt x="520" y="1595"/>
                  </a:cubicBezTo>
                  <a:cubicBezTo>
                    <a:pt x="520" y="1094"/>
                    <a:pt x="520" y="1094"/>
                    <a:pt x="520" y="1094"/>
                  </a:cubicBezTo>
                  <a:cubicBezTo>
                    <a:pt x="520" y="1089"/>
                    <a:pt x="515" y="1084"/>
                    <a:pt x="510" y="1084"/>
                  </a:cubicBezTo>
                  <a:close/>
                </a:path>
              </a:pathLst>
            </a:custGeom>
            <a:solidFill>
              <a:srgbClr val="4454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1100" tIns="55550" rIns="111100" bIns="5555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prstClr val="black"/>
                </a:solidFill>
                <a:effectLst/>
                <a:uLnTx/>
                <a:uFillTx/>
                <a:latin typeface="Calibri" panose="020F0502020204030204"/>
              </a:endParaRPr>
            </a:p>
          </p:txBody>
        </p:sp>
      </p:grpSp>
      <p:cxnSp>
        <p:nvCxnSpPr>
          <p:cNvPr id="262" name="Straight Connector 261"/>
          <p:cNvCxnSpPr/>
          <p:nvPr/>
        </p:nvCxnSpPr>
        <p:spPr>
          <a:xfrm flipH="1">
            <a:off x="6855976" y="3641180"/>
            <a:ext cx="793670" cy="0"/>
          </a:xfrm>
          <a:prstGeom prst="line">
            <a:avLst/>
          </a:prstGeom>
          <a:noFill/>
          <a:ln w="15431" cap="rnd" cmpd="sng" algn="ctr">
            <a:solidFill>
              <a:srgbClr val="6E6F73"/>
            </a:solidFill>
            <a:prstDash val="solid"/>
            <a:round/>
            <a:headEnd type="none" w="med" len="med"/>
            <a:tailEnd type="oval" w="sm" len="sm"/>
          </a:ln>
          <a:effectLst/>
        </p:spPr>
      </p:cxnSp>
      <p:cxnSp>
        <p:nvCxnSpPr>
          <p:cNvPr id="263" name="Straight Connector 262"/>
          <p:cNvCxnSpPr/>
          <p:nvPr/>
        </p:nvCxnSpPr>
        <p:spPr>
          <a:xfrm flipH="1" flipV="1">
            <a:off x="6855976" y="4633387"/>
            <a:ext cx="793670" cy="3749"/>
          </a:xfrm>
          <a:prstGeom prst="line">
            <a:avLst/>
          </a:prstGeom>
          <a:noFill/>
          <a:ln w="15431" cap="rnd" cmpd="sng" algn="ctr">
            <a:solidFill>
              <a:srgbClr val="6E6F73"/>
            </a:solidFill>
            <a:prstDash val="solid"/>
            <a:round/>
            <a:headEnd type="none" w="med" len="med"/>
            <a:tailEnd type="oval" w="sm" len="sm"/>
          </a:ln>
          <a:effectLst/>
        </p:spPr>
      </p:cxnSp>
      <p:cxnSp>
        <p:nvCxnSpPr>
          <p:cNvPr id="264" name="Straight Connector 263"/>
          <p:cNvCxnSpPr/>
          <p:nvPr/>
        </p:nvCxnSpPr>
        <p:spPr>
          <a:xfrm flipH="1">
            <a:off x="4643518" y="3638031"/>
            <a:ext cx="793670" cy="1"/>
          </a:xfrm>
          <a:prstGeom prst="line">
            <a:avLst/>
          </a:prstGeom>
          <a:noFill/>
          <a:ln w="15431" cap="rnd" cmpd="sng" algn="ctr">
            <a:solidFill>
              <a:srgbClr val="6E6F73"/>
            </a:solidFill>
            <a:prstDash val="solid"/>
            <a:round/>
            <a:headEnd type="oval" w="sm" len="sm"/>
            <a:tailEnd type="none" w="med" len="med"/>
          </a:ln>
          <a:effectLst/>
        </p:spPr>
      </p:cxnSp>
      <p:cxnSp>
        <p:nvCxnSpPr>
          <p:cNvPr id="265" name="Straight Connector 264"/>
          <p:cNvCxnSpPr/>
          <p:nvPr/>
        </p:nvCxnSpPr>
        <p:spPr>
          <a:xfrm flipH="1" flipV="1">
            <a:off x="4643518" y="4633387"/>
            <a:ext cx="793670" cy="3749"/>
          </a:xfrm>
          <a:prstGeom prst="line">
            <a:avLst/>
          </a:prstGeom>
          <a:noFill/>
          <a:ln w="15431" cap="rnd" cmpd="sng" algn="ctr">
            <a:solidFill>
              <a:srgbClr val="6E6F73"/>
            </a:solidFill>
            <a:prstDash val="solid"/>
            <a:round/>
            <a:headEnd type="oval" w="sm" len="sm"/>
            <a:tailEnd type="none" w="med" len="med"/>
          </a:ln>
          <a:effectLst/>
        </p:spPr>
      </p:cxnSp>
      <p:cxnSp>
        <p:nvCxnSpPr>
          <p:cNvPr id="266" name="Straight Connector 265"/>
          <p:cNvCxnSpPr/>
          <p:nvPr/>
        </p:nvCxnSpPr>
        <p:spPr>
          <a:xfrm>
            <a:off x="7649648" y="3437750"/>
            <a:ext cx="0" cy="406862"/>
          </a:xfrm>
          <a:prstGeom prst="line">
            <a:avLst/>
          </a:prstGeom>
          <a:noFill/>
          <a:ln w="15431" cap="rnd" cmpd="sng" algn="ctr">
            <a:solidFill>
              <a:srgbClr val="6E6F73"/>
            </a:solidFill>
            <a:prstDash val="solid"/>
            <a:round/>
            <a:headEnd type="none" w="med" len="med"/>
            <a:tailEnd type="none" w="med" len="med"/>
          </a:ln>
          <a:effectLst/>
        </p:spPr>
      </p:cxnSp>
      <p:cxnSp>
        <p:nvCxnSpPr>
          <p:cNvPr id="267" name="Straight Connector 266"/>
          <p:cNvCxnSpPr/>
          <p:nvPr/>
        </p:nvCxnSpPr>
        <p:spPr>
          <a:xfrm>
            <a:off x="7649648" y="4431831"/>
            <a:ext cx="0" cy="406862"/>
          </a:xfrm>
          <a:prstGeom prst="line">
            <a:avLst/>
          </a:prstGeom>
          <a:noFill/>
          <a:ln w="15431" cap="rnd" cmpd="sng" algn="ctr">
            <a:solidFill>
              <a:srgbClr val="6E6F73"/>
            </a:solidFill>
            <a:prstDash val="solid"/>
            <a:round/>
            <a:headEnd type="none" w="med" len="med"/>
            <a:tailEnd type="none" w="med" len="med"/>
          </a:ln>
          <a:effectLst/>
        </p:spPr>
      </p:cxnSp>
      <p:cxnSp>
        <p:nvCxnSpPr>
          <p:cNvPr id="268" name="Straight Connector 267"/>
          <p:cNvCxnSpPr/>
          <p:nvPr/>
        </p:nvCxnSpPr>
        <p:spPr>
          <a:xfrm>
            <a:off x="4643518" y="3437750"/>
            <a:ext cx="0" cy="406862"/>
          </a:xfrm>
          <a:prstGeom prst="line">
            <a:avLst/>
          </a:prstGeom>
          <a:noFill/>
          <a:ln w="15431" cap="rnd" cmpd="sng" algn="ctr">
            <a:solidFill>
              <a:srgbClr val="6E6F73"/>
            </a:solidFill>
            <a:prstDash val="solid"/>
            <a:round/>
            <a:headEnd type="none" w="med" len="med"/>
            <a:tailEnd type="none" w="med" len="med"/>
          </a:ln>
          <a:effectLst/>
        </p:spPr>
      </p:cxnSp>
      <p:cxnSp>
        <p:nvCxnSpPr>
          <p:cNvPr id="269" name="Straight Connector 268"/>
          <p:cNvCxnSpPr/>
          <p:nvPr/>
        </p:nvCxnSpPr>
        <p:spPr>
          <a:xfrm>
            <a:off x="4643518" y="4431831"/>
            <a:ext cx="0" cy="406862"/>
          </a:xfrm>
          <a:prstGeom prst="line">
            <a:avLst/>
          </a:prstGeom>
          <a:noFill/>
          <a:ln w="15431" cap="rnd" cmpd="sng" algn="ctr">
            <a:solidFill>
              <a:srgbClr val="6E6F73"/>
            </a:solidFill>
            <a:prstDash val="solid"/>
            <a:round/>
            <a:headEnd type="none" w="med" len="med"/>
            <a:tailEnd type="none" w="med" len="med"/>
          </a:ln>
          <a:effectLst/>
        </p:spPr>
      </p:cxnSp>
      <p:sp>
        <p:nvSpPr>
          <p:cNvPr id="280" name="Text Box 96"/>
          <p:cNvSpPr txBox="1">
            <a:spLocks noChangeArrowheads="1"/>
          </p:cNvSpPr>
          <p:nvPr/>
        </p:nvSpPr>
        <p:spPr bwMode="auto">
          <a:xfrm>
            <a:off x="8528470" y="5513489"/>
            <a:ext cx="2327208" cy="626346"/>
          </a:xfrm>
          <a:prstGeom prst="rect">
            <a:avLst/>
          </a:prstGeom>
          <a:noFill/>
          <a:ln w="9525">
            <a:noFill/>
            <a:miter lim="800000"/>
            <a:headEnd/>
            <a:tailEnd/>
          </a:ln>
        </p:spPr>
        <p:txBody>
          <a:bodyPr wrap="square" lIns="0" tIns="35824" rIns="71649" bIns="35824">
            <a:spAutoFit/>
          </a:bodyPr>
          <a:lstStyle/>
          <a:p>
            <a:pPr defTabSz="1122860" eaLnBrk="0" hangingPunct="0">
              <a:lnSpc>
                <a:spcPct val="90000"/>
              </a:lnSpc>
            </a:pPr>
            <a:r>
              <a:rPr lang="en-US" sz="2000" b="1" dirty="0">
                <a:solidFill>
                  <a:srgbClr val="29BA74"/>
                </a:solidFill>
                <a:latin typeface="Calibri" panose="020F0502020204030204"/>
                <a:cs typeface="Arial"/>
              </a:rPr>
              <a:t>Organization structure</a:t>
            </a:r>
          </a:p>
        </p:txBody>
      </p:sp>
      <p:grpSp>
        <p:nvGrpSpPr>
          <p:cNvPr id="306" name="bcgIcons_LogicTree">
            <a:extLst>
              <a:ext uri="{FF2B5EF4-FFF2-40B4-BE49-F238E27FC236}">
                <a16:creationId xmlns:a16="http://schemas.microsoft.com/office/drawing/2014/main" id="{75517C07-F054-4829-ABCD-E121AE22A1D1}"/>
              </a:ext>
            </a:extLst>
          </p:cNvPr>
          <p:cNvGrpSpPr>
            <a:grpSpLocks noChangeAspect="1"/>
          </p:cNvGrpSpPr>
          <p:nvPr/>
        </p:nvGrpSpPr>
        <p:grpSpPr bwMode="auto">
          <a:xfrm>
            <a:off x="9966187" y="5370692"/>
            <a:ext cx="718804" cy="719470"/>
            <a:chOff x="1682" y="0"/>
            <a:chExt cx="4316" cy="4320"/>
          </a:xfrm>
        </p:grpSpPr>
        <p:sp>
          <p:nvSpPr>
            <p:cNvPr id="307" name="AutoShape 3">
              <a:extLst>
                <a:ext uri="{FF2B5EF4-FFF2-40B4-BE49-F238E27FC236}">
                  <a16:creationId xmlns:a16="http://schemas.microsoft.com/office/drawing/2014/main" id="{0752A4AF-84B3-4F20-B02C-7CECC8D059F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308" name="Freeform 5">
              <a:extLst>
                <a:ext uri="{FF2B5EF4-FFF2-40B4-BE49-F238E27FC236}">
                  <a16:creationId xmlns:a16="http://schemas.microsoft.com/office/drawing/2014/main" id="{0543821B-2536-48B5-A624-D843C5D76085}"/>
                </a:ext>
              </a:extLst>
            </p:cNvPr>
            <p:cNvSpPr>
              <a:spLocks noEditPoints="1"/>
            </p:cNvSpPr>
            <p:nvPr/>
          </p:nvSpPr>
          <p:spPr bwMode="auto">
            <a:xfrm>
              <a:off x="2126" y="446"/>
              <a:ext cx="3424" cy="3428"/>
            </a:xfrm>
            <a:custGeom>
              <a:avLst/>
              <a:gdLst>
                <a:gd name="T0" fmla="*/ 914 w 1828"/>
                <a:gd name="T1" fmla="*/ 491 h 1828"/>
                <a:gd name="T2" fmla="*/ 668 w 1828"/>
                <a:gd name="T3" fmla="*/ 246 h 1828"/>
                <a:gd name="T4" fmla="*/ 914 w 1828"/>
                <a:gd name="T5" fmla="*/ 0 h 1828"/>
                <a:gd name="T6" fmla="*/ 1160 w 1828"/>
                <a:gd name="T7" fmla="*/ 246 h 1828"/>
                <a:gd name="T8" fmla="*/ 914 w 1828"/>
                <a:gd name="T9" fmla="*/ 491 h 1828"/>
                <a:gd name="T10" fmla="*/ 881 w 1828"/>
                <a:gd name="T11" fmla="*/ 1704 h 1828"/>
                <a:gd name="T12" fmla="*/ 757 w 1828"/>
                <a:gd name="T13" fmla="*/ 1580 h 1828"/>
                <a:gd name="T14" fmla="*/ 633 w 1828"/>
                <a:gd name="T15" fmla="*/ 1704 h 1828"/>
                <a:gd name="T16" fmla="*/ 757 w 1828"/>
                <a:gd name="T17" fmla="*/ 1828 h 1828"/>
                <a:gd name="T18" fmla="*/ 881 w 1828"/>
                <a:gd name="T19" fmla="*/ 1704 h 1828"/>
                <a:gd name="T20" fmla="*/ 1195 w 1828"/>
                <a:gd name="T21" fmla="*/ 1704 h 1828"/>
                <a:gd name="T22" fmla="*/ 1071 w 1828"/>
                <a:gd name="T23" fmla="*/ 1580 h 1828"/>
                <a:gd name="T24" fmla="*/ 947 w 1828"/>
                <a:gd name="T25" fmla="*/ 1704 h 1828"/>
                <a:gd name="T26" fmla="*/ 1071 w 1828"/>
                <a:gd name="T27" fmla="*/ 1828 h 1828"/>
                <a:gd name="T28" fmla="*/ 1195 w 1828"/>
                <a:gd name="T29" fmla="*/ 1704 h 1828"/>
                <a:gd name="T30" fmla="*/ 1513 w 1828"/>
                <a:gd name="T31" fmla="*/ 1704 h 1828"/>
                <a:gd name="T32" fmla="*/ 1389 w 1828"/>
                <a:gd name="T33" fmla="*/ 1580 h 1828"/>
                <a:gd name="T34" fmla="*/ 1265 w 1828"/>
                <a:gd name="T35" fmla="*/ 1704 h 1828"/>
                <a:gd name="T36" fmla="*/ 1389 w 1828"/>
                <a:gd name="T37" fmla="*/ 1828 h 1828"/>
                <a:gd name="T38" fmla="*/ 1513 w 1828"/>
                <a:gd name="T39" fmla="*/ 1704 h 1828"/>
                <a:gd name="T40" fmla="*/ 1828 w 1828"/>
                <a:gd name="T41" fmla="*/ 1704 h 1828"/>
                <a:gd name="T42" fmla="*/ 1704 w 1828"/>
                <a:gd name="T43" fmla="*/ 1580 h 1828"/>
                <a:gd name="T44" fmla="*/ 1580 w 1828"/>
                <a:gd name="T45" fmla="*/ 1704 h 1828"/>
                <a:gd name="T46" fmla="*/ 1704 w 1828"/>
                <a:gd name="T47" fmla="*/ 1828 h 1828"/>
                <a:gd name="T48" fmla="*/ 1828 w 1828"/>
                <a:gd name="T49" fmla="*/ 1704 h 1828"/>
                <a:gd name="T50" fmla="*/ 248 w 1828"/>
                <a:gd name="T51" fmla="*/ 1704 h 1828"/>
                <a:gd name="T52" fmla="*/ 124 w 1828"/>
                <a:gd name="T53" fmla="*/ 1580 h 1828"/>
                <a:gd name="T54" fmla="*/ 0 w 1828"/>
                <a:gd name="T55" fmla="*/ 1704 h 1828"/>
                <a:gd name="T56" fmla="*/ 124 w 1828"/>
                <a:gd name="T57" fmla="*/ 1828 h 1828"/>
                <a:gd name="T58" fmla="*/ 248 w 1828"/>
                <a:gd name="T59" fmla="*/ 1704 h 1828"/>
                <a:gd name="T60" fmla="*/ 563 w 1828"/>
                <a:gd name="T61" fmla="*/ 1704 h 1828"/>
                <a:gd name="T62" fmla="*/ 439 w 1828"/>
                <a:gd name="T63" fmla="*/ 1580 h 1828"/>
                <a:gd name="T64" fmla="*/ 315 w 1828"/>
                <a:gd name="T65" fmla="*/ 1704 h 1828"/>
                <a:gd name="T66" fmla="*/ 439 w 1828"/>
                <a:gd name="T67" fmla="*/ 1828 h 1828"/>
                <a:gd name="T68" fmla="*/ 563 w 1828"/>
                <a:gd name="T69" fmla="*/ 1704 h 1828"/>
                <a:gd name="T70" fmla="*/ 468 w 1828"/>
                <a:gd name="T71" fmla="*/ 1200 h 1828"/>
                <a:gd name="T72" fmla="*/ 468 w 1828"/>
                <a:gd name="T73" fmla="*/ 871 h 1828"/>
                <a:gd name="T74" fmla="*/ 446 w 1828"/>
                <a:gd name="T75" fmla="*/ 849 h 1828"/>
                <a:gd name="T76" fmla="*/ 117 w 1828"/>
                <a:gd name="T77" fmla="*/ 849 h 1828"/>
                <a:gd name="T78" fmla="*/ 95 w 1828"/>
                <a:gd name="T79" fmla="*/ 871 h 1828"/>
                <a:gd name="T80" fmla="*/ 95 w 1828"/>
                <a:gd name="T81" fmla="*/ 1200 h 1828"/>
                <a:gd name="T82" fmla="*/ 117 w 1828"/>
                <a:gd name="T83" fmla="*/ 1222 h 1828"/>
                <a:gd name="T84" fmla="*/ 446 w 1828"/>
                <a:gd name="T85" fmla="*/ 1222 h 1828"/>
                <a:gd name="T86" fmla="*/ 468 w 1828"/>
                <a:gd name="T87" fmla="*/ 1200 h 1828"/>
                <a:gd name="T88" fmla="*/ 1101 w 1828"/>
                <a:gd name="T89" fmla="*/ 1200 h 1828"/>
                <a:gd name="T90" fmla="*/ 1101 w 1828"/>
                <a:gd name="T91" fmla="*/ 871 h 1828"/>
                <a:gd name="T92" fmla="*/ 1079 w 1828"/>
                <a:gd name="T93" fmla="*/ 849 h 1828"/>
                <a:gd name="T94" fmla="*/ 749 w 1828"/>
                <a:gd name="T95" fmla="*/ 849 h 1828"/>
                <a:gd name="T96" fmla="*/ 727 w 1828"/>
                <a:gd name="T97" fmla="*/ 871 h 1828"/>
                <a:gd name="T98" fmla="*/ 727 w 1828"/>
                <a:gd name="T99" fmla="*/ 1200 h 1828"/>
                <a:gd name="T100" fmla="*/ 749 w 1828"/>
                <a:gd name="T101" fmla="*/ 1222 h 1828"/>
                <a:gd name="T102" fmla="*/ 1079 w 1828"/>
                <a:gd name="T103" fmla="*/ 1222 h 1828"/>
                <a:gd name="T104" fmla="*/ 1101 w 1828"/>
                <a:gd name="T105" fmla="*/ 1200 h 1828"/>
                <a:gd name="T106" fmla="*/ 1733 w 1828"/>
                <a:gd name="T107" fmla="*/ 1200 h 1828"/>
                <a:gd name="T108" fmla="*/ 1733 w 1828"/>
                <a:gd name="T109" fmla="*/ 871 h 1828"/>
                <a:gd name="T110" fmla="*/ 1711 w 1828"/>
                <a:gd name="T111" fmla="*/ 849 h 1828"/>
                <a:gd name="T112" fmla="*/ 1382 w 1828"/>
                <a:gd name="T113" fmla="*/ 849 h 1828"/>
                <a:gd name="T114" fmla="*/ 1360 w 1828"/>
                <a:gd name="T115" fmla="*/ 871 h 1828"/>
                <a:gd name="T116" fmla="*/ 1360 w 1828"/>
                <a:gd name="T117" fmla="*/ 1200 h 1828"/>
                <a:gd name="T118" fmla="*/ 1382 w 1828"/>
                <a:gd name="T119" fmla="*/ 1222 h 1828"/>
                <a:gd name="T120" fmla="*/ 1711 w 1828"/>
                <a:gd name="T121" fmla="*/ 1222 h 1828"/>
                <a:gd name="T122" fmla="*/ 1733 w 1828"/>
                <a:gd name="T123" fmla="*/ 120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28" h="1828">
                  <a:moveTo>
                    <a:pt x="914" y="491"/>
                  </a:moveTo>
                  <a:cubicBezTo>
                    <a:pt x="778" y="491"/>
                    <a:pt x="668" y="381"/>
                    <a:pt x="668" y="246"/>
                  </a:cubicBezTo>
                  <a:cubicBezTo>
                    <a:pt x="668" y="110"/>
                    <a:pt x="778" y="0"/>
                    <a:pt x="914" y="0"/>
                  </a:cubicBezTo>
                  <a:cubicBezTo>
                    <a:pt x="1050" y="0"/>
                    <a:pt x="1160" y="110"/>
                    <a:pt x="1160" y="246"/>
                  </a:cubicBezTo>
                  <a:cubicBezTo>
                    <a:pt x="1160" y="381"/>
                    <a:pt x="1050" y="491"/>
                    <a:pt x="914" y="491"/>
                  </a:cubicBezTo>
                  <a:close/>
                  <a:moveTo>
                    <a:pt x="881" y="1704"/>
                  </a:moveTo>
                  <a:cubicBezTo>
                    <a:pt x="881" y="1635"/>
                    <a:pt x="825" y="1580"/>
                    <a:pt x="757" y="1580"/>
                  </a:cubicBezTo>
                  <a:cubicBezTo>
                    <a:pt x="688" y="1580"/>
                    <a:pt x="633" y="1635"/>
                    <a:pt x="633" y="1704"/>
                  </a:cubicBezTo>
                  <a:cubicBezTo>
                    <a:pt x="633" y="1772"/>
                    <a:pt x="688" y="1828"/>
                    <a:pt x="757" y="1828"/>
                  </a:cubicBezTo>
                  <a:cubicBezTo>
                    <a:pt x="825" y="1828"/>
                    <a:pt x="881" y="1772"/>
                    <a:pt x="881" y="1704"/>
                  </a:cubicBezTo>
                  <a:close/>
                  <a:moveTo>
                    <a:pt x="1195" y="1704"/>
                  </a:moveTo>
                  <a:cubicBezTo>
                    <a:pt x="1195" y="1635"/>
                    <a:pt x="1140" y="1580"/>
                    <a:pt x="1071" y="1580"/>
                  </a:cubicBezTo>
                  <a:cubicBezTo>
                    <a:pt x="1003" y="1580"/>
                    <a:pt x="947" y="1635"/>
                    <a:pt x="947" y="1704"/>
                  </a:cubicBezTo>
                  <a:cubicBezTo>
                    <a:pt x="947" y="1772"/>
                    <a:pt x="1003" y="1828"/>
                    <a:pt x="1071" y="1828"/>
                  </a:cubicBezTo>
                  <a:cubicBezTo>
                    <a:pt x="1140" y="1828"/>
                    <a:pt x="1195" y="1772"/>
                    <a:pt x="1195" y="1704"/>
                  </a:cubicBezTo>
                  <a:close/>
                  <a:moveTo>
                    <a:pt x="1513" y="1704"/>
                  </a:moveTo>
                  <a:cubicBezTo>
                    <a:pt x="1513" y="1635"/>
                    <a:pt x="1458" y="1580"/>
                    <a:pt x="1389" y="1580"/>
                  </a:cubicBezTo>
                  <a:cubicBezTo>
                    <a:pt x="1321" y="1580"/>
                    <a:pt x="1265" y="1635"/>
                    <a:pt x="1265" y="1704"/>
                  </a:cubicBezTo>
                  <a:cubicBezTo>
                    <a:pt x="1265" y="1772"/>
                    <a:pt x="1321" y="1828"/>
                    <a:pt x="1389" y="1828"/>
                  </a:cubicBezTo>
                  <a:cubicBezTo>
                    <a:pt x="1458" y="1828"/>
                    <a:pt x="1513" y="1772"/>
                    <a:pt x="1513" y="1704"/>
                  </a:cubicBezTo>
                  <a:close/>
                  <a:moveTo>
                    <a:pt x="1828" y="1704"/>
                  </a:moveTo>
                  <a:cubicBezTo>
                    <a:pt x="1828" y="1635"/>
                    <a:pt x="1772" y="1580"/>
                    <a:pt x="1704" y="1580"/>
                  </a:cubicBezTo>
                  <a:cubicBezTo>
                    <a:pt x="1635" y="1580"/>
                    <a:pt x="1580" y="1635"/>
                    <a:pt x="1580" y="1704"/>
                  </a:cubicBezTo>
                  <a:cubicBezTo>
                    <a:pt x="1580" y="1772"/>
                    <a:pt x="1635" y="1828"/>
                    <a:pt x="1704" y="1828"/>
                  </a:cubicBezTo>
                  <a:cubicBezTo>
                    <a:pt x="1772" y="1828"/>
                    <a:pt x="1828" y="1772"/>
                    <a:pt x="1828" y="1704"/>
                  </a:cubicBezTo>
                  <a:close/>
                  <a:moveTo>
                    <a:pt x="248" y="1704"/>
                  </a:moveTo>
                  <a:cubicBezTo>
                    <a:pt x="248" y="1635"/>
                    <a:pt x="193" y="1580"/>
                    <a:pt x="124" y="1580"/>
                  </a:cubicBezTo>
                  <a:cubicBezTo>
                    <a:pt x="56" y="1580"/>
                    <a:pt x="0" y="1635"/>
                    <a:pt x="0" y="1704"/>
                  </a:cubicBezTo>
                  <a:cubicBezTo>
                    <a:pt x="0" y="1772"/>
                    <a:pt x="56" y="1828"/>
                    <a:pt x="124" y="1828"/>
                  </a:cubicBezTo>
                  <a:cubicBezTo>
                    <a:pt x="193" y="1828"/>
                    <a:pt x="248" y="1772"/>
                    <a:pt x="248" y="1704"/>
                  </a:cubicBezTo>
                  <a:close/>
                  <a:moveTo>
                    <a:pt x="563" y="1704"/>
                  </a:moveTo>
                  <a:cubicBezTo>
                    <a:pt x="563" y="1635"/>
                    <a:pt x="507" y="1580"/>
                    <a:pt x="439" y="1580"/>
                  </a:cubicBezTo>
                  <a:cubicBezTo>
                    <a:pt x="370" y="1580"/>
                    <a:pt x="315" y="1635"/>
                    <a:pt x="315" y="1704"/>
                  </a:cubicBezTo>
                  <a:cubicBezTo>
                    <a:pt x="315" y="1772"/>
                    <a:pt x="370" y="1828"/>
                    <a:pt x="439" y="1828"/>
                  </a:cubicBezTo>
                  <a:cubicBezTo>
                    <a:pt x="507" y="1828"/>
                    <a:pt x="563" y="1772"/>
                    <a:pt x="563" y="1704"/>
                  </a:cubicBezTo>
                  <a:close/>
                  <a:moveTo>
                    <a:pt x="468" y="1200"/>
                  </a:moveTo>
                  <a:cubicBezTo>
                    <a:pt x="468" y="871"/>
                    <a:pt x="468" y="871"/>
                    <a:pt x="468" y="871"/>
                  </a:cubicBezTo>
                  <a:cubicBezTo>
                    <a:pt x="468" y="859"/>
                    <a:pt x="458" y="849"/>
                    <a:pt x="446" y="849"/>
                  </a:cubicBezTo>
                  <a:cubicBezTo>
                    <a:pt x="117" y="849"/>
                    <a:pt x="117" y="849"/>
                    <a:pt x="117" y="849"/>
                  </a:cubicBezTo>
                  <a:cubicBezTo>
                    <a:pt x="105" y="849"/>
                    <a:pt x="95" y="859"/>
                    <a:pt x="95" y="871"/>
                  </a:cubicBezTo>
                  <a:cubicBezTo>
                    <a:pt x="95" y="1200"/>
                    <a:pt x="95" y="1200"/>
                    <a:pt x="95" y="1200"/>
                  </a:cubicBezTo>
                  <a:cubicBezTo>
                    <a:pt x="95" y="1212"/>
                    <a:pt x="105" y="1222"/>
                    <a:pt x="117" y="1222"/>
                  </a:cubicBezTo>
                  <a:cubicBezTo>
                    <a:pt x="446" y="1222"/>
                    <a:pt x="446" y="1222"/>
                    <a:pt x="446" y="1222"/>
                  </a:cubicBezTo>
                  <a:cubicBezTo>
                    <a:pt x="458" y="1222"/>
                    <a:pt x="468" y="1212"/>
                    <a:pt x="468" y="1200"/>
                  </a:cubicBezTo>
                  <a:close/>
                  <a:moveTo>
                    <a:pt x="1101" y="1200"/>
                  </a:moveTo>
                  <a:cubicBezTo>
                    <a:pt x="1101" y="871"/>
                    <a:pt x="1101" y="871"/>
                    <a:pt x="1101" y="871"/>
                  </a:cubicBezTo>
                  <a:cubicBezTo>
                    <a:pt x="1101" y="859"/>
                    <a:pt x="1091" y="849"/>
                    <a:pt x="1079" y="849"/>
                  </a:cubicBezTo>
                  <a:cubicBezTo>
                    <a:pt x="749" y="849"/>
                    <a:pt x="749" y="849"/>
                    <a:pt x="749" y="849"/>
                  </a:cubicBezTo>
                  <a:cubicBezTo>
                    <a:pt x="737" y="849"/>
                    <a:pt x="727" y="859"/>
                    <a:pt x="727" y="871"/>
                  </a:cubicBezTo>
                  <a:cubicBezTo>
                    <a:pt x="727" y="1200"/>
                    <a:pt x="727" y="1200"/>
                    <a:pt x="727" y="1200"/>
                  </a:cubicBezTo>
                  <a:cubicBezTo>
                    <a:pt x="727" y="1212"/>
                    <a:pt x="737" y="1222"/>
                    <a:pt x="749" y="1222"/>
                  </a:cubicBezTo>
                  <a:cubicBezTo>
                    <a:pt x="1079" y="1222"/>
                    <a:pt x="1079" y="1222"/>
                    <a:pt x="1079" y="1222"/>
                  </a:cubicBezTo>
                  <a:cubicBezTo>
                    <a:pt x="1091" y="1222"/>
                    <a:pt x="1101" y="1212"/>
                    <a:pt x="1101" y="1200"/>
                  </a:cubicBezTo>
                  <a:close/>
                  <a:moveTo>
                    <a:pt x="1733" y="1200"/>
                  </a:moveTo>
                  <a:cubicBezTo>
                    <a:pt x="1733" y="871"/>
                    <a:pt x="1733" y="871"/>
                    <a:pt x="1733" y="871"/>
                  </a:cubicBezTo>
                  <a:cubicBezTo>
                    <a:pt x="1733" y="859"/>
                    <a:pt x="1723" y="849"/>
                    <a:pt x="1711" y="849"/>
                  </a:cubicBezTo>
                  <a:cubicBezTo>
                    <a:pt x="1382" y="849"/>
                    <a:pt x="1382" y="849"/>
                    <a:pt x="1382" y="849"/>
                  </a:cubicBezTo>
                  <a:cubicBezTo>
                    <a:pt x="1370" y="849"/>
                    <a:pt x="1360" y="859"/>
                    <a:pt x="1360" y="871"/>
                  </a:cubicBezTo>
                  <a:cubicBezTo>
                    <a:pt x="1360" y="1200"/>
                    <a:pt x="1360" y="1200"/>
                    <a:pt x="1360" y="1200"/>
                  </a:cubicBezTo>
                  <a:cubicBezTo>
                    <a:pt x="1360" y="1212"/>
                    <a:pt x="1370" y="1222"/>
                    <a:pt x="1382" y="1222"/>
                  </a:cubicBezTo>
                  <a:cubicBezTo>
                    <a:pt x="1711" y="1222"/>
                    <a:pt x="1711" y="1222"/>
                    <a:pt x="1711" y="1222"/>
                  </a:cubicBezTo>
                  <a:cubicBezTo>
                    <a:pt x="1723" y="1222"/>
                    <a:pt x="1733" y="1212"/>
                    <a:pt x="1733" y="1200"/>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309" name="Freeform 6">
              <a:extLst>
                <a:ext uri="{FF2B5EF4-FFF2-40B4-BE49-F238E27FC236}">
                  <a16:creationId xmlns:a16="http://schemas.microsoft.com/office/drawing/2014/main" id="{8A79B397-1A17-4C6E-907C-ACCE065809FA}"/>
                </a:ext>
              </a:extLst>
            </p:cNvPr>
            <p:cNvSpPr>
              <a:spLocks noEditPoints="1"/>
            </p:cNvSpPr>
            <p:nvPr/>
          </p:nvSpPr>
          <p:spPr bwMode="auto">
            <a:xfrm>
              <a:off x="2317" y="1448"/>
              <a:ext cx="3042" cy="1880"/>
            </a:xfrm>
            <a:custGeom>
              <a:avLst/>
              <a:gdLst>
                <a:gd name="T0" fmla="*/ 359 w 1624"/>
                <a:gd name="T1" fmla="*/ 1003 h 1003"/>
                <a:gd name="T2" fmla="*/ 315 w 1624"/>
                <a:gd name="T3" fmla="*/ 1003 h 1003"/>
                <a:gd name="T4" fmla="*/ 44 w 1624"/>
                <a:gd name="T5" fmla="*/ 889 h 1003"/>
                <a:gd name="T6" fmla="*/ 22 w 1624"/>
                <a:gd name="T7" fmla="*/ 1002 h 1003"/>
                <a:gd name="T8" fmla="*/ 0 w 1624"/>
                <a:gd name="T9" fmla="*/ 867 h 1003"/>
                <a:gd name="T10" fmla="*/ 157 w 1624"/>
                <a:gd name="T11" fmla="*/ 845 h 1003"/>
                <a:gd name="T12" fmla="*/ 201 w 1624"/>
                <a:gd name="T13" fmla="*/ 732 h 1003"/>
                <a:gd name="T14" fmla="*/ 337 w 1624"/>
                <a:gd name="T15" fmla="*/ 845 h 1003"/>
                <a:gd name="T16" fmla="*/ 969 w 1624"/>
                <a:gd name="T17" fmla="*/ 845 h 1003"/>
                <a:gd name="T18" fmla="*/ 834 w 1624"/>
                <a:gd name="T19" fmla="*/ 732 h 1003"/>
                <a:gd name="T20" fmla="*/ 790 w 1624"/>
                <a:gd name="T21" fmla="*/ 845 h 1003"/>
                <a:gd name="T22" fmla="*/ 633 w 1624"/>
                <a:gd name="T23" fmla="*/ 867 h 1003"/>
                <a:gd name="T24" fmla="*/ 655 w 1624"/>
                <a:gd name="T25" fmla="*/ 1002 h 1003"/>
                <a:gd name="T26" fmla="*/ 677 w 1624"/>
                <a:gd name="T27" fmla="*/ 889 h 1003"/>
                <a:gd name="T28" fmla="*/ 947 w 1624"/>
                <a:gd name="T29" fmla="*/ 1003 h 1003"/>
                <a:gd name="T30" fmla="*/ 991 w 1624"/>
                <a:gd name="T31" fmla="*/ 1003 h 1003"/>
                <a:gd name="T32" fmla="*/ 969 w 1624"/>
                <a:gd name="T33" fmla="*/ 845 h 1003"/>
                <a:gd name="T34" fmla="*/ 1467 w 1624"/>
                <a:gd name="T35" fmla="*/ 845 h 1003"/>
                <a:gd name="T36" fmla="*/ 1423 w 1624"/>
                <a:gd name="T37" fmla="*/ 732 h 1003"/>
                <a:gd name="T38" fmla="*/ 1287 w 1624"/>
                <a:gd name="T39" fmla="*/ 845 h 1003"/>
                <a:gd name="T40" fmla="*/ 1265 w 1624"/>
                <a:gd name="T41" fmla="*/ 1003 h 1003"/>
                <a:gd name="T42" fmla="*/ 1309 w 1624"/>
                <a:gd name="T43" fmla="*/ 1003 h 1003"/>
                <a:gd name="T44" fmla="*/ 1580 w 1624"/>
                <a:gd name="T45" fmla="*/ 889 h 1003"/>
                <a:gd name="T46" fmla="*/ 1602 w 1624"/>
                <a:gd name="T47" fmla="*/ 1002 h 1003"/>
                <a:gd name="T48" fmla="*/ 1624 w 1624"/>
                <a:gd name="T49" fmla="*/ 867 h 1003"/>
                <a:gd name="T50" fmla="*/ 1445 w 1624"/>
                <a:gd name="T51" fmla="*/ 114 h 1003"/>
                <a:gd name="T52" fmla="*/ 834 w 1624"/>
                <a:gd name="T53" fmla="*/ 0 h 1003"/>
                <a:gd name="T54" fmla="*/ 790 w 1624"/>
                <a:gd name="T55" fmla="*/ 0 h 1003"/>
                <a:gd name="T56" fmla="*/ 179 w 1624"/>
                <a:gd name="T57" fmla="*/ 114 h 1003"/>
                <a:gd name="T58" fmla="*/ 157 w 1624"/>
                <a:gd name="T59" fmla="*/ 271 h 1003"/>
                <a:gd name="T60" fmla="*/ 201 w 1624"/>
                <a:gd name="T61" fmla="*/ 158 h 1003"/>
                <a:gd name="T62" fmla="*/ 790 w 1624"/>
                <a:gd name="T63" fmla="*/ 271 h 1003"/>
                <a:gd name="T64" fmla="*/ 834 w 1624"/>
                <a:gd name="T65" fmla="*/ 158 h 1003"/>
                <a:gd name="T66" fmla="*/ 1423 w 1624"/>
                <a:gd name="T67" fmla="*/ 271 h 1003"/>
                <a:gd name="T68" fmla="*/ 1467 w 1624"/>
                <a:gd name="T69" fmla="*/ 136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4" h="1003">
                  <a:moveTo>
                    <a:pt x="359" y="867"/>
                  </a:moveTo>
                  <a:cubicBezTo>
                    <a:pt x="359" y="1003"/>
                    <a:pt x="359" y="1003"/>
                    <a:pt x="359" y="1003"/>
                  </a:cubicBezTo>
                  <a:cubicBezTo>
                    <a:pt x="352" y="1002"/>
                    <a:pt x="344" y="1002"/>
                    <a:pt x="337" y="1002"/>
                  </a:cubicBezTo>
                  <a:cubicBezTo>
                    <a:pt x="329" y="1002"/>
                    <a:pt x="322" y="1002"/>
                    <a:pt x="315" y="1003"/>
                  </a:cubicBezTo>
                  <a:cubicBezTo>
                    <a:pt x="315" y="889"/>
                    <a:pt x="315" y="889"/>
                    <a:pt x="315" y="889"/>
                  </a:cubicBezTo>
                  <a:cubicBezTo>
                    <a:pt x="44" y="889"/>
                    <a:pt x="44" y="889"/>
                    <a:pt x="44" y="889"/>
                  </a:cubicBezTo>
                  <a:cubicBezTo>
                    <a:pt x="44" y="1003"/>
                    <a:pt x="44" y="1003"/>
                    <a:pt x="44" y="1003"/>
                  </a:cubicBezTo>
                  <a:cubicBezTo>
                    <a:pt x="37" y="1002"/>
                    <a:pt x="30" y="1002"/>
                    <a:pt x="22" y="1002"/>
                  </a:cubicBezTo>
                  <a:cubicBezTo>
                    <a:pt x="15" y="1002"/>
                    <a:pt x="7" y="1002"/>
                    <a:pt x="0" y="1003"/>
                  </a:cubicBezTo>
                  <a:cubicBezTo>
                    <a:pt x="0" y="867"/>
                    <a:pt x="0" y="867"/>
                    <a:pt x="0" y="867"/>
                  </a:cubicBezTo>
                  <a:cubicBezTo>
                    <a:pt x="0" y="855"/>
                    <a:pt x="10" y="845"/>
                    <a:pt x="22" y="845"/>
                  </a:cubicBezTo>
                  <a:cubicBezTo>
                    <a:pt x="157" y="845"/>
                    <a:pt x="157" y="845"/>
                    <a:pt x="157" y="845"/>
                  </a:cubicBezTo>
                  <a:cubicBezTo>
                    <a:pt x="157" y="732"/>
                    <a:pt x="157" y="732"/>
                    <a:pt x="157" y="732"/>
                  </a:cubicBezTo>
                  <a:cubicBezTo>
                    <a:pt x="201" y="732"/>
                    <a:pt x="201" y="732"/>
                    <a:pt x="201" y="732"/>
                  </a:cubicBezTo>
                  <a:cubicBezTo>
                    <a:pt x="201" y="845"/>
                    <a:pt x="201" y="845"/>
                    <a:pt x="201" y="845"/>
                  </a:cubicBezTo>
                  <a:cubicBezTo>
                    <a:pt x="337" y="845"/>
                    <a:pt x="337" y="845"/>
                    <a:pt x="337" y="845"/>
                  </a:cubicBezTo>
                  <a:cubicBezTo>
                    <a:pt x="349" y="845"/>
                    <a:pt x="359" y="855"/>
                    <a:pt x="359" y="867"/>
                  </a:cubicBezTo>
                  <a:close/>
                  <a:moveTo>
                    <a:pt x="969" y="845"/>
                  </a:moveTo>
                  <a:cubicBezTo>
                    <a:pt x="834" y="845"/>
                    <a:pt x="834" y="845"/>
                    <a:pt x="834" y="845"/>
                  </a:cubicBezTo>
                  <a:cubicBezTo>
                    <a:pt x="834" y="732"/>
                    <a:pt x="834" y="732"/>
                    <a:pt x="834" y="732"/>
                  </a:cubicBezTo>
                  <a:cubicBezTo>
                    <a:pt x="790" y="732"/>
                    <a:pt x="790" y="732"/>
                    <a:pt x="790" y="732"/>
                  </a:cubicBezTo>
                  <a:cubicBezTo>
                    <a:pt x="790" y="845"/>
                    <a:pt x="790" y="845"/>
                    <a:pt x="790" y="845"/>
                  </a:cubicBezTo>
                  <a:cubicBezTo>
                    <a:pt x="655" y="845"/>
                    <a:pt x="655" y="845"/>
                    <a:pt x="655" y="845"/>
                  </a:cubicBezTo>
                  <a:cubicBezTo>
                    <a:pt x="643" y="845"/>
                    <a:pt x="633" y="855"/>
                    <a:pt x="633" y="867"/>
                  </a:cubicBezTo>
                  <a:cubicBezTo>
                    <a:pt x="633" y="1003"/>
                    <a:pt x="633" y="1003"/>
                    <a:pt x="633" y="1003"/>
                  </a:cubicBezTo>
                  <a:cubicBezTo>
                    <a:pt x="640" y="1002"/>
                    <a:pt x="647" y="1002"/>
                    <a:pt x="655" y="1002"/>
                  </a:cubicBezTo>
                  <a:cubicBezTo>
                    <a:pt x="662" y="1002"/>
                    <a:pt x="669" y="1002"/>
                    <a:pt x="677" y="1003"/>
                  </a:cubicBezTo>
                  <a:cubicBezTo>
                    <a:pt x="677" y="889"/>
                    <a:pt x="677" y="889"/>
                    <a:pt x="677" y="889"/>
                  </a:cubicBezTo>
                  <a:cubicBezTo>
                    <a:pt x="947" y="889"/>
                    <a:pt x="947" y="889"/>
                    <a:pt x="947" y="889"/>
                  </a:cubicBezTo>
                  <a:cubicBezTo>
                    <a:pt x="947" y="1003"/>
                    <a:pt x="947" y="1003"/>
                    <a:pt x="947" y="1003"/>
                  </a:cubicBezTo>
                  <a:cubicBezTo>
                    <a:pt x="955" y="1002"/>
                    <a:pt x="962" y="1002"/>
                    <a:pt x="969" y="1002"/>
                  </a:cubicBezTo>
                  <a:cubicBezTo>
                    <a:pt x="977" y="1002"/>
                    <a:pt x="984" y="1002"/>
                    <a:pt x="991" y="1003"/>
                  </a:cubicBezTo>
                  <a:cubicBezTo>
                    <a:pt x="991" y="867"/>
                    <a:pt x="991" y="867"/>
                    <a:pt x="991" y="867"/>
                  </a:cubicBezTo>
                  <a:cubicBezTo>
                    <a:pt x="991" y="855"/>
                    <a:pt x="981" y="845"/>
                    <a:pt x="969" y="845"/>
                  </a:cubicBezTo>
                  <a:close/>
                  <a:moveTo>
                    <a:pt x="1602" y="845"/>
                  </a:moveTo>
                  <a:cubicBezTo>
                    <a:pt x="1467" y="845"/>
                    <a:pt x="1467" y="845"/>
                    <a:pt x="1467" y="845"/>
                  </a:cubicBezTo>
                  <a:cubicBezTo>
                    <a:pt x="1467" y="732"/>
                    <a:pt x="1467" y="732"/>
                    <a:pt x="1467" y="732"/>
                  </a:cubicBezTo>
                  <a:cubicBezTo>
                    <a:pt x="1423" y="732"/>
                    <a:pt x="1423" y="732"/>
                    <a:pt x="1423" y="732"/>
                  </a:cubicBezTo>
                  <a:cubicBezTo>
                    <a:pt x="1423" y="845"/>
                    <a:pt x="1423" y="845"/>
                    <a:pt x="1423" y="845"/>
                  </a:cubicBezTo>
                  <a:cubicBezTo>
                    <a:pt x="1287" y="845"/>
                    <a:pt x="1287" y="845"/>
                    <a:pt x="1287" y="845"/>
                  </a:cubicBezTo>
                  <a:cubicBezTo>
                    <a:pt x="1275" y="845"/>
                    <a:pt x="1265" y="855"/>
                    <a:pt x="1265" y="867"/>
                  </a:cubicBezTo>
                  <a:cubicBezTo>
                    <a:pt x="1265" y="1003"/>
                    <a:pt x="1265" y="1003"/>
                    <a:pt x="1265" y="1003"/>
                  </a:cubicBezTo>
                  <a:cubicBezTo>
                    <a:pt x="1272" y="1002"/>
                    <a:pt x="1280" y="1002"/>
                    <a:pt x="1287" y="1002"/>
                  </a:cubicBezTo>
                  <a:cubicBezTo>
                    <a:pt x="1295" y="1002"/>
                    <a:pt x="1302" y="1002"/>
                    <a:pt x="1309" y="1003"/>
                  </a:cubicBezTo>
                  <a:cubicBezTo>
                    <a:pt x="1309" y="889"/>
                    <a:pt x="1309" y="889"/>
                    <a:pt x="1309" y="889"/>
                  </a:cubicBezTo>
                  <a:cubicBezTo>
                    <a:pt x="1580" y="889"/>
                    <a:pt x="1580" y="889"/>
                    <a:pt x="1580" y="889"/>
                  </a:cubicBezTo>
                  <a:cubicBezTo>
                    <a:pt x="1580" y="1003"/>
                    <a:pt x="1580" y="1003"/>
                    <a:pt x="1580" y="1003"/>
                  </a:cubicBezTo>
                  <a:cubicBezTo>
                    <a:pt x="1587" y="1002"/>
                    <a:pt x="1594" y="1002"/>
                    <a:pt x="1602" y="1002"/>
                  </a:cubicBezTo>
                  <a:cubicBezTo>
                    <a:pt x="1609" y="1002"/>
                    <a:pt x="1617" y="1002"/>
                    <a:pt x="1624" y="1003"/>
                  </a:cubicBezTo>
                  <a:cubicBezTo>
                    <a:pt x="1624" y="867"/>
                    <a:pt x="1624" y="867"/>
                    <a:pt x="1624" y="867"/>
                  </a:cubicBezTo>
                  <a:cubicBezTo>
                    <a:pt x="1624" y="855"/>
                    <a:pt x="1614" y="845"/>
                    <a:pt x="1602" y="845"/>
                  </a:cubicBezTo>
                  <a:close/>
                  <a:moveTo>
                    <a:pt x="1445" y="114"/>
                  </a:moveTo>
                  <a:cubicBezTo>
                    <a:pt x="834" y="114"/>
                    <a:pt x="834" y="114"/>
                    <a:pt x="834" y="114"/>
                  </a:cubicBezTo>
                  <a:cubicBezTo>
                    <a:pt x="834" y="0"/>
                    <a:pt x="834" y="0"/>
                    <a:pt x="834" y="0"/>
                  </a:cubicBezTo>
                  <a:cubicBezTo>
                    <a:pt x="827" y="1"/>
                    <a:pt x="819" y="1"/>
                    <a:pt x="812" y="1"/>
                  </a:cubicBezTo>
                  <a:cubicBezTo>
                    <a:pt x="805" y="1"/>
                    <a:pt x="797" y="1"/>
                    <a:pt x="790" y="0"/>
                  </a:cubicBezTo>
                  <a:cubicBezTo>
                    <a:pt x="790" y="114"/>
                    <a:pt x="790" y="114"/>
                    <a:pt x="790" y="114"/>
                  </a:cubicBezTo>
                  <a:cubicBezTo>
                    <a:pt x="179" y="114"/>
                    <a:pt x="179" y="114"/>
                    <a:pt x="179" y="114"/>
                  </a:cubicBezTo>
                  <a:cubicBezTo>
                    <a:pt x="167" y="114"/>
                    <a:pt x="157" y="124"/>
                    <a:pt x="157" y="136"/>
                  </a:cubicBezTo>
                  <a:cubicBezTo>
                    <a:pt x="157" y="271"/>
                    <a:pt x="157" y="271"/>
                    <a:pt x="157" y="271"/>
                  </a:cubicBezTo>
                  <a:cubicBezTo>
                    <a:pt x="201" y="271"/>
                    <a:pt x="201" y="271"/>
                    <a:pt x="201" y="271"/>
                  </a:cubicBezTo>
                  <a:cubicBezTo>
                    <a:pt x="201" y="158"/>
                    <a:pt x="201" y="158"/>
                    <a:pt x="201" y="158"/>
                  </a:cubicBezTo>
                  <a:cubicBezTo>
                    <a:pt x="790" y="158"/>
                    <a:pt x="790" y="158"/>
                    <a:pt x="790" y="158"/>
                  </a:cubicBezTo>
                  <a:cubicBezTo>
                    <a:pt x="790" y="271"/>
                    <a:pt x="790" y="271"/>
                    <a:pt x="790" y="271"/>
                  </a:cubicBezTo>
                  <a:cubicBezTo>
                    <a:pt x="834" y="271"/>
                    <a:pt x="834" y="271"/>
                    <a:pt x="834" y="271"/>
                  </a:cubicBezTo>
                  <a:cubicBezTo>
                    <a:pt x="834" y="158"/>
                    <a:pt x="834" y="158"/>
                    <a:pt x="834" y="158"/>
                  </a:cubicBezTo>
                  <a:cubicBezTo>
                    <a:pt x="1423" y="158"/>
                    <a:pt x="1423" y="158"/>
                    <a:pt x="1423" y="158"/>
                  </a:cubicBezTo>
                  <a:cubicBezTo>
                    <a:pt x="1423" y="271"/>
                    <a:pt x="1423" y="271"/>
                    <a:pt x="1423" y="271"/>
                  </a:cubicBezTo>
                  <a:cubicBezTo>
                    <a:pt x="1467" y="271"/>
                    <a:pt x="1467" y="271"/>
                    <a:pt x="1467" y="271"/>
                  </a:cubicBezTo>
                  <a:cubicBezTo>
                    <a:pt x="1467" y="136"/>
                    <a:pt x="1467" y="136"/>
                    <a:pt x="1467" y="136"/>
                  </a:cubicBezTo>
                  <a:cubicBezTo>
                    <a:pt x="1467" y="124"/>
                    <a:pt x="1457" y="114"/>
                    <a:pt x="1445" y="114"/>
                  </a:cubicBezTo>
                  <a:close/>
                </a:path>
              </a:pathLst>
            </a:custGeom>
            <a:solidFill>
              <a:srgbClr val="6E6F73"/>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6E6F73"/>
                  </a:solidFill>
                  <a:prstDash val="solid"/>
                  <a:round/>
                  <a:headEnd type="none" w="med" len="med"/>
                  <a:tailEnd type="none" w="med" len="med"/>
                </a14:hiddenLine>
              </a:ext>
            </a:extLst>
          </p:spPr>
          <p:txBody>
            <a:bodyPr vert="horz" wrap="square" lIns="82296" tIns="41148" rIns="82296" bIns="41148" numCol="1" anchor="t" anchorCtr="0" compatLnSpc="1">
              <a:prstTxWarp prst="textNoShape">
                <a:avLst/>
              </a:prstTxWarp>
            </a:bodyPr>
            <a:lstStyle/>
            <a:p>
              <a:endParaRPr lang="en-US" dirty="0"/>
            </a:p>
          </p:txBody>
        </p:sp>
      </p:grpSp>
      <p:grpSp>
        <p:nvGrpSpPr>
          <p:cNvPr id="310" name="bcgBugs_Network"/>
          <p:cNvGrpSpPr>
            <a:grpSpLocks noChangeAspect="1"/>
          </p:cNvGrpSpPr>
          <p:nvPr/>
        </p:nvGrpSpPr>
        <p:grpSpPr bwMode="auto">
          <a:xfrm>
            <a:off x="710289" y="4286011"/>
            <a:ext cx="411078" cy="411480"/>
            <a:chOff x="2818" y="1137"/>
            <a:chExt cx="2044" cy="2046"/>
          </a:xfrm>
        </p:grpSpPr>
        <p:sp>
          <p:nvSpPr>
            <p:cNvPr id="311"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312" name="Freeform 5"/>
            <p:cNvSpPr>
              <a:spLocks noEditPoints="1"/>
            </p:cNvSpPr>
            <p:nvPr/>
          </p:nvSpPr>
          <p:spPr bwMode="auto">
            <a:xfrm>
              <a:off x="3066" y="1262"/>
              <a:ext cx="1551" cy="1796"/>
            </a:xfrm>
            <a:custGeom>
              <a:avLst/>
              <a:gdLst>
                <a:gd name="T0" fmla="*/ 655 w 758"/>
                <a:gd name="T1" fmla="*/ 373 h 877"/>
                <a:gd name="T2" fmla="*/ 747 w 758"/>
                <a:gd name="T3" fmla="*/ 332 h 877"/>
                <a:gd name="T4" fmla="*/ 747 w 758"/>
                <a:gd name="T5" fmla="*/ 212 h 877"/>
                <a:gd name="T6" fmla="*/ 584 w 758"/>
                <a:gd name="T7" fmla="*/ 212 h 877"/>
                <a:gd name="T8" fmla="*/ 516 w 758"/>
                <a:gd name="T9" fmla="*/ 334 h 877"/>
                <a:gd name="T10" fmla="*/ 460 w 758"/>
                <a:gd name="T11" fmla="*/ 165 h 877"/>
                <a:gd name="T12" fmla="*/ 460 w 758"/>
                <a:gd name="T13" fmla="*/ 45 h 877"/>
                <a:gd name="T14" fmla="*/ 297 w 758"/>
                <a:gd name="T15" fmla="*/ 45 h 877"/>
                <a:gd name="T16" fmla="*/ 297 w 758"/>
                <a:gd name="T17" fmla="*/ 165 h 877"/>
                <a:gd name="T18" fmla="*/ 240 w 758"/>
                <a:gd name="T19" fmla="*/ 334 h 877"/>
                <a:gd name="T20" fmla="*/ 174 w 758"/>
                <a:gd name="T21" fmla="*/ 212 h 877"/>
                <a:gd name="T22" fmla="*/ 11 w 758"/>
                <a:gd name="T23" fmla="*/ 212 h 877"/>
                <a:gd name="T24" fmla="*/ 11 w 758"/>
                <a:gd name="T25" fmla="*/ 332 h 877"/>
                <a:gd name="T26" fmla="*/ 103 w 758"/>
                <a:gd name="T27" fmla="*/ 373 h 877"/>
                <a:gd name="T28" fmla="*/ 218 w 758"/>
                <a:gd name="T29" fmla="*/ 506 h 877"/>
                <a:gd name="T30" fmla="*/ 81 w 758"/>
                <a:gd name="T31" fmla="*/ 505 h 877"/>
                <a:gd name="T32" fmla="*/ 0 w 758"/>
                <a:gd name="T33" fmla="*/ 647 h 877"/>
                <a:gd name="T34" fmla="*/ 92 w 758"/>
                <a:gd name="T35" fmla="*/ 710 h 877"/>
                <a:gd name="T36" fmla="*/ 185 w 758"/>
                <a:gd name="T37" fmla="*/ 647 h 877"/>
                <a:gd name="T38" fmla="*/ 356 w 758"/>
                <a:gd name="T39" fmla="*/ 611 h 877"/>
                <a:gd name="T40" fmla="*/ 286 w 758"/>
                <a:gd name="T41" fmla="*/ 732 h 877"/>
                <a:gd name="T42" fmla="*/ 367 w 758"/>
                <a:gd name="T43" fmla="*/ 874 h 877"/>
                <a:gd name="T44" fmla="*/ 460 w 758"/>
                <a:gd name="T45" fmla="*/ 833 h 877"/>
                <a:gd name="T46" fmla="*/ 460 w 758"/>
                <a:gd name="T47" fmla="*/ 713 h 877"/>
                <a:gd name="T48" fmla="*/ 516 w 758"/>
                <a:gd name="T49" fmla="*/ 544 h 877"/>
                <a:gd name="T50" fmla="*/ 584 w 758"/>
                <a:gd name="T51" fmla="*/ 666 h 877"/>
                <a:gd name="T52" fmla="*/ 677 w 758"/>
                <a:gd name="T53" fmla="*/ 707 h 877"/>
                <a:gd name="T54" fmla="*/ 758 w 758"/>
                <a:gd name="T55" fmla="*/ 565 h 877"/>
                <a:gd name="T56" fmla="*/ 655 w 758"/>
                <a:gd name="T57" fmla="*/ 505 h 877"/>
                <a:gd name="T58" fmla="*/ 538 w 758"/>
                <a:gd name="T59" fmla="*/ 372 h 877"/>
                <a:gd name="T60" fmla="*/ 378 w 758"/>
                <a:gd name="T61" fmla="*/ 305 h 877"/>
                <a:gd name="T62" fmla="*/ 617 w 758"/>
                <a:gd name="T63" fmla="*/ 244 h 877"/>
                <a:gd name="T64" fmla="*/ 714 w 758"/>
                <a:gd name="T65" fmla="*/ 300 h 877"/>
                <a:gd name="T66" fmla="*/ 617 w 758"/>
                <a:gd name="T67" fmla="*/ 244 h 877"/>
                <a:gd name="T68" fmla="*/ 427 w 758"/>
                <a:gd name="T69" fmla="*/ 77 h 877"/>
                <a:gd name="T70" fmla="*/ 330 w 758"/>
                <a:gd name="T71" fmla="*/ 133 h 877"/>
                <a:gd name="T72" fmla="*/ 92 w 758"/>
                <a:gd name="T73" fmla="*/ 328 h 877"/>
                <a:gd name="T74" fmla="*/ 92 w 758"/>
                <a:gd name="T75" fmla="*/ 216 h 877"/>
                <a:gd name="T76" fmla="*/ 141 w 758"/>
                <a:gd name="T77" fmla="*/ 634 h 877"/>
                <a:gd name="T78" fmla="*/ 44 w 758"/>
                <a:gd name="T79" fmla="*/ 578 h 877"/>
                <a:gd name="T80" fmla="*/ 141 w 758"/>
                <a:gd name="T81" fmla="*/ 634 h 877"/>
                <a:gd name="T82" fmla="*/ 356 w 758"/>
                <a:gd name="T83" fmla="*/ 560 h 877"/>
                <a:gd name="T84" fmla="*/ 427 w 758"/>
                <a:gd name="T85" fmla="*/ 801 h 877"/>
                <a:gd name="T86" fmla="*/ 330 w 758"/>
                <a:gd name="T87" fmla="*/ 745 h 877"/>
                <a:gd name="T88" fmla="*/ 427 w 758"/>
                <a:gd name="T89" fmla="*/ 801 h 877"/>
                <a:gd name="T90" fmla="*/ 494 w 758"/>
                <a:gd name="T91" fmla="*/ 397 h 877"/>
                <a:gd name="T92" fmla="*/ 617 w 758"/>
                <a:gd name="T93" fmla="*/ 578 h 877"/>
                <a:gd name="T94" fmla="*/ 714 w 758"/>
                <a:gd name="T95" fmla="*/ 634 h 877"/>
                <a:gd name="T96" fmla="*/ 617 w 758"/>
                <a:gd name="T97" fmla="*/ 578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58" h="877">
                  <a:moveTo>
                    <a:pt x="538" y="372"/>
                  </a:moveTo>
                  <a:cubicBezTo>
                    <a:pt x="595" y="338"/>
                    <a:pt x="595" y="338"/>
                    <a:pt x="595" y="338"/>
                  </a:cubicBezTo>
                  <a:cubicBezTo>
                    <a:pt x="655" y="373"/>
                    <a:pt x="655" y="373"/>
                    <a:pt x="655" y="373"/>
                  </a:cubicBezTo>
                  <a:cubicBezTo>
                    <a:pt x="658" y="375"/>
                    <a:pt x="662" y="376"/>
                    <a:pt x="666" y="376"/>
                  </a:cubicBezTo>
                  <a:cubicBezTo>
                    <a:pt x="669" y="376"/>
                    <a:pt x="673" y="375"/>
                    <a:pt x="677" y="373"/>
                  </a:cubicBezTo>
                  <a:cubicBezTo>
                    <a:pt x="747" y="332"/>
                    <a:pt x="747" y="332"/>
                    <a:pt x="747" y="332"/>
                  </a:cubicBezTo>
                  <a:cubicBezTo>
                    <a:pt x="754" y="328"/>
                    <a:pt x="758" y="321"/>
                    <a:pt x="758" y="313"/>
                  </a:cubicBezTo>
                  <a:cubicBezTo>
                    <a:pt x="758" y="231"/>
                    <a:pt x="758" y="231"/>
                    <a:pt x="758" y="231"/>
                  </a:cubicBezTo>
                  <a:cubicBezTo>
                    <a:pt x="758" y="223"/>
                    <a:pt x="754" y="216"/>
                    <a:pt x="747" y="212"/>
                  </a:cubicBezTo>
                  <a:cubicBezTo>
                    <a:pt x="677" y="171"/>
                    <a:pt x="677" y="171"/>
                    <a:pt x="677" y="171"/>
                  </a:cubicBezTo>
                  <a:cubicBezTo>
                    <a:pt x="670" y="168"/>
                    <a:pt x="661" y="168"/>
                    <a:pt x="655" y="171"/>
                  </a:cubicBezTo>
                  <a:cubicBezTo>
                    <a:pt x="584" y="212"/>
                    <a:pt x="584" y="212"/>
                    <a:pt x="584" y="212"/>
                  </a:cubicBezTo>
                  <a:cubicBezTo>
                    <a:pt x="577" y="216"/>
                    <a:pt x="573" y="223"/>
                    <a:pt x="573" y="231"/>
                  </a:cubicBezTo>
                  <a:cubicBezTo>
                    <a:pt x="573" y="300"/>
                    <a:pt x="573" y="300"/>
                    <a:pt x="573" y="300"/>
                  </a:cubicBezTo>
                  <a:cubicBezTo>
                    <a:pt x="516" y="334"/>
                    <a:pt x="516" y="334"/>
                    <a:pt x="516" y="334"/>
                  </a:cubicBezTo>
                  <a:cubicBezTo>
                    <a:pt x="400" y="267"/>
                    <a:pt x="400" y="267"/>
                    <a:pt x="400" y="267"/>
                  </a:cubicBezTo>
                  <a:cubicBezTo>
                    <a:pt x="400" y="199"/>
                    <a:pt x="400" y="199"/>
                    <a:pt x="400" y="199"/>
                  </a:cubicBezTo>
                  <a:cubicBezTo>
                    <a:pt x="460" y="165"/>
                    <a:pt x="460" y="165"/>
                    <a:pt x="460" y="165"/>
                  </a:cubicBezTo>
                  <a:cubicBezTo>
                    <a:pt x="467" y="161"/>
                    <a:pt x="471" y="153"/>
                    <a:pt x="471" y="146"/>
                  </a:cubicBezTo>
                  <a:cubicBezTo>
                    <a:pt x="471" y="64"/>
                    <a:pt x="471" y="64"/>
                    <a:pt x="471" y="64"/>
                  </a:cubicBezTo>
                  <a:cubicBezTo>
                    <a:pt x="471" y="56"/>
                    <a:pt x="467" y="49"/>
                    <a:pt x="460" y="45"/>
                  </a:cubicBezTo>
                  <a:cubicBezTo>
                    <a:pt x="389" y="4"/>
                    <a:pt x="389" y="4"/>
                    <a:pt x="389" y="4"/>
                  </a:cubicBezTo>
                  <a:cubicBezTo>
                    <a:pt x="383" y="0"/>
                    <a:pt x="374" y="0"/>
                    <a:pt x="367" y="4"/>
                  </a:cubicBezTo>
                  <a:cubicBezTo>
                    <a:pt x="297" y="45"/>
                    <a:pt x="297" y="45"/>
                    <a:pt x="297" y="45"/>
                  </a:cubicBezTo>
                  <a:cubicBezTo>
                    <a:pt x="290" y="49"/>
                    <a:pt x="286" y="56"/>
                    <a:pt x="286" y="64"/>
                  </a:cubicBezTo>
                  <a:cubicBezTo>
                    <a:pt x="286" y="146"/>
                    <a:pt x="286" y="146"/>
                    <a:pt x="286" y="146"/>
                  </a:cubicBezTo>
                  <a:cubicBezTo>
                    <a:pt x="286" y="153"/>
                    <a:pt x="290" y="161"/>
                    <a:pt x="297" y="165"/>
                  </a:cubicBezTo>
                  <a:cubicBezTo>
                    <a:pt x="356" y="199"/>
                    <a:pt x="356" y="199"/>
                    <a:pt x="356" y="199"/>
                  </a:cubicBezTo>
                  <a:cubicBezTo>
                    <a:pt x="356" y="267"/>
                    <a:pt x="356" y="267"/>
                    <a:pt x="356" y="267"/>
                  </a:cubicBezTo>
                  <a:cubicBezTo>
                    <a:pt x="240" y="334"/>
                    <a:pt x="240" y="334"/>
                    <a:pt x="240" y="334"/>
                  </a:cubicBezTo>
                  <a:cubicBezTo>
                    <a:pt x="185" y="301"/>
                    <a:pt x="185" y="301"/>
                    <a:pt x="185" y="301"/>
                  </a:cubicBezTo>
                  <a:cubicBezTo>
                    <a:pt x="185" y="231"/>
                    <a:pt x="185" y="231"/>
                    <a:pt x="185" y="231"/>
                  </a:cubicBezTo>
                  <a:cubicBezTo>
                    <a:pt x="185" y="223"/>
                    <a:pt x="181" y="216"/>
                    <a:pt x="174" y="212"/>
                  </a:cubicBezTo>
                  <a:cubicBezTo>
                    <a:pt x="103" y="171"/>
                    <a:pt x="103" y="171"/>
                    <a:pt x="103" y="171"/>
                  </a:cubicBezTo>
                  <a:cubicBezTo>
                    <a:pt x="97" y="168"/>
                    <a:pt x="88" y="168"/>
                    <a:pt x="81" y="171"/>
                  </a:cubicBezTo>
                  <a:cubicBezTo>
                    <a:pt x="11" y="212"/>
                    <a:pt x="11" y="212"/>
                    <a:pt x="11" y="212"/>
                  </a:cubicBezTo>
                  <a:cubicBezTo>
                    <a:pt x="4" y="216"/>
                    <a:pt x="0" y="223"/>
                    <a:pt x="0" y="231"/>
                  </a:cubicBezTo>
                  <a:cubicBezTo>
                    <a:pt x="0" y="313"/>
                    <a:pt x="0" y="313"/>
                    <a:pt x="0" y="313"/>
                  </a:cubicBezTo>
                  <a:cubicBezTo>
                    <a:pt x="0" y="321"/>
                    <a:pt x="4" y="328"/>
                    <a:pt x="11" y="332"/>
                  </a:cubicBezTo>
                  <a:cubicBezTo>
                    <a:pt x="81" y="373"/>
                    <a:pt x="81" y="373"/>
                    <a:pt x="81" y="373"/>
                  </a:cubicBezTo>
                  <a:cubicBezTo>
                    <a:pt x="85" y="375"/>
                    <a:pt x="89" y="376"/>
                    <a:pt x="92" y="376"/>
                  </a:cubicBezTo>
                  <a:cubicBezTo>
                    <a:pt x="96" y="376"/>
                    <a:pt x="100" y="375"/>
                    <a:pt x="103" y="373"/>
                  </a:cubicBezTo>
                  <a:cubicBezTo>
                    <a:pt x="163" y="339"/>
                    <a:pt x="163" y="339"/>
                    <a:pt x="163" y="339"/>
                  </a:cubicBezTo>
                  <a:cubicBezTo>
                    <a:pt x="218" y="372"/>
                    <a:pt x="218" y="372"/>
                    <a:pt x="218" y="372"/>
                  </a:cubicBezTo>
                  <a:cubicBezTo>
                    <a:pt x="218" y="506"/>
                    <a:pt x="218" y="506"/>
                    <a:pt x="218" y="506"/>
                  </a:cubicBezTo>
                  <a:cubicBezTo>
                    <a:pt x="163" y="539"/>
                    <a:pt x="163" y="539"/>
                    <a:pt x="163" y="539"/>
                  </a:cubicBezTo>
                  <a:cubicBezTo>
                    <a:pt x="103" y="505"/>
                    <a:pt x="103" y="505"/>
                    <a:pt x="103" y="505"/>
                  </a:cubicBezTo>
                  <a:cubicBezTo>
                    <a:pt x="97" y="501"/>
                    <a:pt x="88" y="501"/>
                    <a:pt x="81" y="505"/>
                  </a:cubicBezTo>
                  <a:cubicBezTo>
                    <a:pt x="11" y="546"/>
                    <a:pt x="11" y="546"/>
                    <a:pt x="11" y="546"/>
                  </a:cubicBezTo>
                  <a:cubicBezTo>
                    <a:pt x="4" y="550"/>
                    <a:pt x="0" y="557"/>
                    <a:pt x="0" y="565"/>
                  </a:cubicBezTo>
                  <a:cubicBezTo>
                    <a:pt x="0" y="647"/>
                    <a:pt x="0" y="647"/>
                    <a:pt x="0" y="647"/>
                  </a:cubicBezTo>
                  <a:cubicBezTo>
                    <a:pt x="0" y="655"/>
                    <a:pt x="4" y="662"/>
                    <a:pt x="11" y="666"/>
                  </a:cubicBezTo>
                  <a:cubicBezTo>
                    <a:pt x="81" y="707"/>
                    <a:pt x="81" y="707"/>
                    <a:pt x="81" y="707"/>
                  </a:cubicBezTo>
                  <a:cubicBezTo>
                    <a:pt x="85" y="709"/>
                    <a:pt x="89" y="710"/>
                    <a:pt x="92" y="710"/>
                  </a:cubicBezTo>
                  <a:cubicBezTo>
                    <a:pt x="96" y="710"/>
                    <a:pt x="100" y="709"/>
                    <a:pt x="103" y="707"/>
                  </a:cubicBezTo>
                  <a:cubicBezTo>
                    <a:pt x="174" y="666"/>
                    <a:pt x="174" y="666"/>
                    <a:pt x="174" y="666"/>
                  </a:cubicBezTo>
                  <a:cubicBezTo>
                    <a:pt x="181" y="662"/>
                    <a:pt x="185" y="655"/>
                    <a:pt x="185" y="647"/>
                  </a:cubicBezTo>
                  <a:cubicBezTo>
                    <a:pt x="185" y="577"/>
                    <a:pt x="185" y="577"/>
                    <a:pt x="185" y="577"/>
                  </a:cubicBezTo>
                  <a:cubicBezTo>
                    <a:pt x="240" y="544"/>
                    <a:pt x="240" y="544"/>
                    <a:pt x="240" y="544"/>
                  </a:cubicBezTo>
                  <a:cubicBezTo>
                    <a:pt x="356" y="611"/>
                    <a:pt x="356" y="611"/>
                    <a:pt x="356" y="611"/>
                  </a:cubicBezTo>
                  <a:cubicBezTo>
                    <a:pt x="356" y="679"/>
                    <a:pt x="356" y="679"/>
                    <a:pt x="356" y="679"/>
                  </a:cubicBezTo>
                  <a:cubicBezTo>
                    <a:pt x="297" y="713"/>
                    <a:pt x="297" y="713"/>
                    <a:pt x="297" y="713"/>
                  </a:cubicBezTo>
                  <a:cubicBezTo>
                    <a:pt x="290" y="717"/>
                    <a:pt x="286" y="725"/>
                    <a:pt x="286" y="732"/>
                  </a:cubicBezTo>
                  <a:cubicBezTo>
                    <a:pt x="286" y="814"/>
                    <a:pt x="286" y="814"/>
                    <a:pt x="286" y="814"/>
                  </a:cubicBezTo>
                  <a:cubicBezTo>
                    <a:pt x="286" y="822"/>
                    <a:pt x="290" y="829"/>
                    <a:pt x="297" y="833"/>
                  </a:cubicBezTo>
                  <a:cubicBezTo>
                    <a:pt x="367" y="874"/>
                    <a:pt x="367" y="874"/>
                    <a:pt x="367" y="874"/>
                  </a:cubicBezTo>
                  <a:cubicBezTo>
                    <a:pt x="371" y="876"/>
                    <a:pt x="375" y="877"/>
                    <a:pt x="378" y="877"/>
                  </a:cubicBezTo>
                  <a:cubicBezTo>
                    <a:pt x="382" y="877"/>
                    <a:pt x="386" y="876"/>
                    <a:pt x="389" y="874"/>
                  </a:cubicBezTo>
                  <a:cubicBezTo>
                    <a:pt x="460" y="833"/>
                    <a:pt x="460" y="833"/>
                    <a:pt x="460" y="833"/>
                  </a:cubicBezTo>
                  <a:cubicBezTo>
                    <a:pt x="467" y="829"/>
                    <a:pt x="471" y="822"/>
                    <a:pt x="471" y="814"/>
                  </a:cubicBezTo>
                  <a:cubicBezTo>
                    <a:pt x="471" y="732"/>
                    <a:pt x="471" y="732"/>
                    <a:pt x="471" y="732"/>
                  </a:cubicBezTo>
                  <a:cubicBezTo>
                    <a:pt x="471" y="725"/>
                    <a:pt x="467" y="717"/>
                    <a:pt x="460" y="713"/>
                  </a:cubicBezTo>
                  <a:cubicBezTo>
                    <a:pt x="400" y="679"/>
                    <a:pt x="400" y="679"/>
                    <a:pt x="400" y="679"/>
                  </a:cubicBezTo>
                  <a:cubicBezTo>
                    <a:pt x="400" y="611"/>
                    <a:pt x="400" y="611"/>
                    <a:pt x="400" y="611"/>
                  </a:cubicBezTo>
                  <a:cubicBezTo>
                    <a:pt x="516" y="544"/>
                    <a:pt x="516" y="544"/>
                    <a:pt x="516" y="544"/>
                  </a:cubicBezTo>
                  <a:cubicBezTo>
                    <a:pt x="573" y="578"/>
                    <a:pt x="573" y="578"/>
                    <a:pt x="573" y="578"/>
                  </a:cubicBezTo>
                  <a:cubicBezTo>
                    <a:pt x="573" y="647"/>
                    <a:pt x="573" y="647"/>
                    <a:pt x="573" y="647"/>
                  </a:cubicBezTo>
                  <a:cubicBezTo>
                    <a:pt x="573" y="655"/>
                    <a:pt x="577" y="662"/>
                    <a:pt x="584" y="666"/>
                  </a:cubicBezTo>
                  <a:cubicBezTo>
                    <a:pt x="655" y="707"/>
                    <a:pt x="655" y="707"/>
                    <a:pt x="655" y="707"/>
                  </a:cubicBezTo>
                  <a:cubicBezTo>
                    <a:pt x="658" y="709"/>
                    <a:pt x="662" y="710"/>
                    <a:pt x="666" y="710"/>
                  </a:cubicBezTo>
                  <a:cubicBezTo>
                    <a:pt x="669" y="710"/>
                    <a:pt x="673" y="709"/>
                    <a:pt x="677" y="707"/>
                  </a:cubicBezTo>
                  <a:cubicBezTo>
                    <a:pt x="747" y="666"/>
                    <a:pt x="747" y="666"/>
                    <a:pt x="747" y="666"/>
                  </a:cubicBezTo>
                  <a:cubicBezTo>
                    <a:pt x="754" y="662"/>
                    <a:pt x="758" y="655"/>
                    <a:pt x="758" y="647"/>
                  </a:cubicBezTo>
                  <a:cubicBezTo>
                    <a:pt x="758" y="565"/>
                    <a:pt x="758" y="565"/>
                    <a:pt x="758" y="565"/>
                  </a:cubicBezTo>
                  <a:cubicBezTo>
                    <a:pt x="758" y="557"/>
                    <a:pt x="754" y="550"/>
                    <a:pt x="747" y="546"/>
                  </a:cubicBezTo>
                  <a:cubicBezTo>
                    <a:pt x="677" y="505"/>
                    <a:pt x="677" y="505"/>
                    <a:pt x="677" y="505"/>
                  </a:cubicBezTo>
                  <a:cubicBezTo>
                    <a:pt x="670" y="501"/>
                    <a:pt x="661" y="501"/>
                    <a:pt x="655" y="505"/>
                  </a:cubicBezTo>
                  <a:cubicBezTo>
                    <a:pt x="595" y="540"/>
                    <a:pt x="595" y="540"/>
                    <a:pt x="595" y="540"/>
                  </a:cubicBezTo>
                  <a:cubicBezTo>
                    <a:pt x="538" y="506"/>
                    <a:pt x="538" y="506"/>
                    <a:pt x="538" y="506"/>
                  </a:cubicBezTo>
                  <a:lnTo>
                    <a:pt x="538" y="372"/>
                  </a:lnTo>
                  <a:close/>
                  <a:moveTo>
                    <a:pt x="378" y="414"/>
                  </a:moveTo>
                  <a:cubicBezTo>
                    <a:pt x="284" y="359"/>
                    <a:pt x="284" y="359"/>
                    <a:pt x="284" y="359"/>
                  </a:cubicBezTo>
                  <a:cubicBezTo>
                    <a:pt x="378" y="305"/>
                    <a:pt x="378" y="305"/>
                    <a:pt x="378" y="305"/>
                  </a:cubicBezTo>
                  <a:cubicBezTo>
                    <a:pt x="472" y="359"/>
                    <a:pt x="472" y="359"/>
                    <a:pt x="472" y="359"/>
                  </a:cubicBezTo>
                  <a:lnTo>
                    <a:pt x="378" y="414"/>
                  </a:lnTo>
                  <a:close/>
                  <a:moveTo>
                    <a:pt x="617" y="244"/>
                  </a:moveTo>
                  <a:cubicBezTo>
                    <a:pt x="666" y="216"/>
                    <a:pt x="666" y="216"/>
                    <a:pt x="666" y="216"/>
                  </a:cubicBezTo>
                  <a:cubicBezTo>
                    <a:pt x="714" y="244"/>
                    <a:pt x="714" y="244"/>
                    <a:pt x="714" y="244"/>
                  </a:cubicBezTo>
                  <a:cubicBezTo>
                    <a:pt x="714" y="300"/>
                    <a:pt x="714" y="300"/>
                    <a:pt x="714" y="300"/>
                  </a:cubicBezTo>
                  <a:cubicBezTo>
                    <a:pt x="666" y="328"/>
                    <a:pt x="666" y="328"/>
                    <a:pt x="666" y="328"/>
                  </a:cubicBezTo>
                  <a:cubicBezTo>
                    <a:pt x="617" y="300"/>
                    <a:pt x="617" y="300"/>
                    <a:pt x="617" y="300"/>
                  </a:cubicBezTo>
                  <a:lnTo>
                    <a:pt x="617" y="244"/>
                  </a:lnTo>
                  <a:close/>
                  <a:moveTo>
                    <a:pt x="330" y="77"/>
                  </a:moveTo>
                  <a:cubicBezTo>
                    <a:pt x="378" y="48"/>
                    <a:pt x="378" y="48"/>
                    <a:pt x="378" y="48"/>
                  </a:cubicBezTo>
                  <a:cubicBezTo>
                    <a:pt x="427" y="77"/>
                    <a:pt x="427" y="77"/>
                    <a:pt x="427" y="77"/>
                  </a:cubicBezTo>
                  <a:cubicBezTo>
                    <a:pt x="427" y="133"/>
                    <a:pt x="427" y="133"/>
                    <a:pt x="427" y="133"/>
                  </a:cubicBezTo>
                  <a:cubicBezTo>
                    <a:pt x="378" y="161"/>
                    <a:pt x="378" y="161"/>
                    <a:pt x="378" y="161"/>
                  </a:cubicBezTo>
                  <a:cubicBezTo>
                    <a:pt x="330" y="133"/>
                    <a:pt x="330" y="133"/>
                    <a:pt x="330" y="133"/>
                  </a:cubicBezTo>
                  <a:lnTo>
                    <a:pt x="330" y="77"/>
                  </a:lnTo>
                  <a:close/>
                  <a:moveTo>
                    <a:pt x="141" y="300"/>
                  </a:moveTo>
                  <a:cubicBezTo>
                    <a:pt x="92" y="328"/>
                    <a:pt x="92" y="328"/>
                    <a:pt x="92" y="328"/>
                  </a:cubicBezTo>
                  <a:cubicBezTo>
                    <a:pt x="44" y="300"/>
                    <a:pt x="44" y="300"/>
                    <a:pt x="44" y="300"/>
                  </a:cubicBezTo>
                  <a:cubicBezTo>
                    <a:pt x="44" y="244"/>
                    <a:pt x="44" y="244"/>
                    <a:pt x="44" y="244"/>
                  </a:cubicBezTo>
                  <a:cubicBezTo>
                    <a:pt x="92" y="216"/>
                    <a:pt x="92" y="216"/>
                    <a:pt x="92" y="216"/>
                  </a:cubicBezTo>
                  <a:cubicBezTo>
                    <a:pt x="141" y="244"/>
                    <a:pt x="141" y="244"/>
                    <a:pt x="141" y="244"/>
                  </a:cubicBezTo>
                  <a:lnTo>
                    <a:pt x="141" y="300"/>
                  </a:lnTo>
                  <a:close/>
                  <a:moveTo>
                    <a:pt x="141" y="634"/>
                  </a:moveTo>
                  <a:cubicBezTo>
                    <a:pt x="92" y="662"/>
                    <a:pt x="92" y="662"/>
                    <a:pt x="92" y="662"/>
                  </a:cubicBezTo>
                  <a:cubicBezTo>
                    <a:pt x="44" y="634"/>
                    <a:pt x="44" y="634"/>
                    <a:pt x="44" y="634"/>
                  </a:cubicBezTo>
                  <a:cubicBezTo>
                    <a:pt x="44" y="578"/>
                    <a:pt x="44" y="578"/>
                    <a:pt x="44" y="578"/>
                  </a:cubicBezTo>
                  <a:cubicBezTo>
                    <a:pt x="92" y="550"/>
                    <a:pt x="92" y="550"/>
                    <a:pt x="92" y="550"/>
                  </a:cubicBezTo>
                  <a:cubicBezTo>
                    <a:pt x="141" y="578"/>
                    <a:pt x="141" y="578"/>
                    <a:pt x="141" y="578"/>
                  </a:cubicBezTo>
                  <a:lnTo>
                    <a:pt x="141" y="634"/>
                  </a:lnTo>
                  <a:close/>
                  <a:moveTo>
                    <a:pt x="262" y="397"/>
                  </a:moveTo>
                  <a:cubicBezTo>
                    <a:pt x="356" y="452"/>
                    <a:pt x="356" y="452"/>
                    <a:pt x="356" y="452"/>
                  </a:cubicBezTo>
                  <a:cubicBezTo>
                    <a:pt x="356" y="560"/>
                    <a:pt x="356" y="560"/>
                    <a:pt x="356" y="560"/>
                  </a:cubicBezTo>
                  <a:cubicBezTo>
                    <a:pt x="262" y="506"/>
                    <a:pt x="262" y="506"/>
                    <a:pt x="262" y="506"/>
                  </a:cubicBezTo>
                  <a:lnTo>
                    <a:pt x="262" y="397"/>
                  </a:lnTo>
                  <a:close/>
                  <a:moveTo>
                    <a:pt x="427" y="801"/>
                  </a:moveTo>
                  <a:cubicBezTo>
                    <a:pt x="378" y="830"/>
                    <a:pt x="378" y="830"/>
                    <a:pt x="378" y="830"/>
                  </a:cubicBezTo>
                  <a:cubicBezTo>
                    <a:pt x="330" y="801"/>
                    <a:pt x="330" y="801"/>
                    <a:pt x="330" y="801"/>
                  </a:cubicBezTo>
                  <a:cubicBezTo>
                    <a:pt x="330" y="745"/>
                    <a:pt x="330" y="745"/>
                    <a:pt x="330" y="745"/>
                  </a:cubicBezTo>
                  <a:cubicBezTo>
                    <a:pt x="378" y="717"/>
                    <a:pt x="378" y="717"/>
                    <a:pt x="378" y="717"/>
                  </a:cubicBezTo>
                  <a:cubicBezTo>
                    <a:pt x="427" y="745"/>
                    <a:pt x="427" y="745"/>
                    <a:pt x="427" y="745"/>
                  </a:cubicBezTo>
                  <a:lnTo>
                    <a:pt x="427" y="801"/>
                  </a:lnTo>
                  <a:close/>
                  <a:moveTo>
                    <a:pt x="400" y="560"/>
                  </a:moveTo>
                  <a:cubicBezTo>
                    <a:pt x="400" y="452"/>
                    <a:pt x="400" y="452"/>
                    <a:pt x="400" y="452"/>
                  </a:cubicBezTo>
                  <a:cubicBezTo>
                    <a:pt x="494" y="397"/>
                    <a:pt x="494" y="397"/>
                    <a:pt x="494" y="397"/>
                  </a:cubicBezTo>
                  <a:cubicBezTo>
                    <a:pt x="494" y="506"/>
                    <a:pt x="494" y="506"/>
                    <a:pt x="494" y="506"/>
                  </a:cubicBezTo>
                  <a:lnTo>
                    <a:pt x="400" y="560"/>
                  </a:lnTo>
                  <a:close/>
                  <a:moveTo>
                    <a:pt x="617" y="578"/>
                  </a:moveTo>
                  <a:cubicBezTo>
                    <a:pt x="666" y="550"/>
                    <a:pt x="666" y="550"/>
                    <a:pt x="666" y="550"/>
                  </a:cubicBezTo>
                  <a:cubicBezTo>
                    <a:pt x="714" y="578"/>
                    <a:pt x="714" y="578"/>
                    <a:pt x="714" y="578"/>
                  </a:cubicBezTo>
                  <a:cubicBezTo>
                    <a:pt x="714" y="634"/>
                    <a:pt x="714" y="634"/>
                    <a:pt x="714" y="634"/>
                  </a:cubicBezTo>
                  <a:cubicBezTo>
                    <a:pt x="666" y="662"/>
                    <a:pt x="666" y="662"/>
                    <a:pt x="666" y="662"/>
                  </a:cubicBezTo>
                  <a:cubicBezTo>
                    <a:pt x="617" y="634"/>
                    <a:pt x="617" y="634"/>
                    <a:pt x="617" y="634"/>
                  </a:cubicBezTo>
                  <a:lnTo>
                    <a:pt x="617" y="578"/>
                  </a:ln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grpSp>
      <p:sp>
        <p:nvSpPr>
          <p:cNvPr id="313" name="Text Box 96"/>
          <p:cNvSpPr txBox="1">
            <a:spLocks noChangeArrowheads="1"/>
          </p:cNvSpPr>
          <p:nvPr/>
        </p:nvSpPr>
        <p:spPr bwMode="auto">
          <a:xfrm>
            <a:off x="599518" y="3423596"/>
            <a:ext cx="2327208" cy="626346"/>
          </a:xfrm>
          <a:prstGeom prst="rect">
            <a:avLst/>
          </a:prstGeom>
          <a:noFill/>
          <a:ln w="9525">
            <a:noFill/>
            <a:miter lim="800000"/>
            <a:headEnd/>
            <a:tailEnd/>
          </a:ln>
        </p:spPr>
        <p:txBody>
          <a:bodyPr wrap="square" lIns="71649" tIns="35824" rIns="0" bIns="35824">
            <a:spAutoFit/>
          </a:bodyPr>
          <a:lstStyle/>
          <a:p>
            <a:pPr algn="r" defTabSz="1122860" eaLnBrk="0" hangingPunct="0">
              <a:lnSpc>
                <a:spcPct val="90000"/>
              </a:lnSpc>
            </a:pPr>
            <a:r>
              <a:rPr lang="en-US" sz="2000" b="1" dirty="0">
                <a:solidFill>
                  <a:srgbClr val="29BA74"/>
                </a:solidFill>
                <a:latin typeface="Calibri" panose="020F0502020204030204"/>
                <a:cs typeface="Arial"/>
              </a:rPr>
              <a:t>Work </a:t>
            </a:r>
            <a:br>
              <a:rPr lang="en-US" sz="2000" b="1" dirty="0">
                <a:solidFill>
                  <a:srgbClr val="29BA74"/>
                </a:solidFill>
                <a:latin typeface="Calibri" panose="020F0502020204030204"/>
                <a:cs typeface="Arial"/>
              </a:rPr>
            </a:br>
            <a:r>
              <a:rPr lang="en-US" sz="2000" b="1" dirty="0">
                <a:solidFill>
                  <a:srgbClr val="29BA74"/>
                </a:solidFill>
                <a:latin typeface="Calibri" panose="020F0502020204030204"/>
                <a:cs typeface="Arial"/>
              </a:rPr>
              <a:t>environment</a:t>
            </a:r>
          </a:p>
        </p:txBody>
      </p:sp>
      <p:sp>
        <p:nvSpPr>
          <p:cNvPr id="316" name="Text Box 96"/>
          <p:cNvSpPr txBox="1">
            <a:spLocks noChangeArrowheads="1"/>
          </p:cNvSpPr>
          <p:nvPr/>
        </p:nvSpPr>
        <p:spPr bwMode="auto">
          <a:xfrm>
            <a:off x="1265944" y="2358005"/>
            <a:ext cx="2327208" cy="626346"/>
          </a:xfrm>
          <a:prstGeom prst="rect">
            <a:avLst/>
          </a:prstGeom>
          <a:noFill/>
          <a:ln w="9525">
            <a:noFill/>
            <a:miter lim="800000"/>
            <a:headEnd/>
            <a:tailEnd/>
          </a:ln>
        </p:spPr>
        <p:txBody>
          <a:bodyPr wrap="square" lIns="71649" tIns="35824" rIns="0" bIns="35824">
            <a:spAutoFit/>
          </a:bodyPr>
          <a:lstStyle/>
          <a:p>
            <a:pPr algn="r" defTabSz="1122860" eaLnBrk="0" hangingPunct="0">
              <a:lnSpc>
                <a:spcPct val="90000"/>
              </a:lnSpc>
            </a:pPr>
            <a:r>
              <a:rPr lang="en-US" sz="2000" b="1" dirty="0">
                <a:solidFill>
                  <a:srgbClr val="29BA74"/>
                </a:solidFill>
                <a:latin typeface="Calibri" panose="020F0502020204030204"/>
                <a:cs typeface="Arial"/>
              </a:rPr>
              <a:t>Launched new purpose</a:t>
            </a:r>
          </a:p>
        </p:txBody>
      </p:sp>
      <p:grpSp>
        <p:nvGrpSpPr>
          <p:cNvPr id="318" name="bcgBugs_Share"/>
          <p:cNvGrpSpPr>
            <a:grpSpLocks noChangeAspect="1"/>
          </p:cNvGrpSpPr>
          <p:nvPr/>
        </p:nvGrpSpPr>
        <p:grpSpPr bwMode="auto">
          <a:xfrm>
            <a:off x="1522141" y="2328163"/>
            <a:ext cx="411078" cy="411480"/>
            <a:chOff x="2818" y="1137"/>
            <a:chExt cx="2044" cy="2046"/>
          </a:xfrm>
        </p:grpSpPr>
        <p:sp>
          <p:nvSpPr>
            <p:cNvPr id="319" name="AutoShape 8"/>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sp>
          <p:nvSpPr>
            <p:cNvPr id="325" name="Freeform 10"/>
            <p:cNvSpPr>
              <a:spLocks noEditPoints="1"/>
            </p:cNvSpPr>
            <p:nvPr/>
          </p:nvSpPr>
          <p:spPr bwMode="auto">
            <a:xfrm>
              <a:off x="2941" y="1321"/>
              <a:ext cx="1813" cy="1680"/>
            </a:xfrm>
            <a:custGeom>
              <a:avLst/>
              <a:gdLst>
                <a:gd name="T0" fmla="*/ 312 w 886"/>
                <a:gd name="T1" fmla="*/ 361 h 820"/>
                <a:gd name="T2" fmla="*/ 312 w 886"/>
                <a:gd name="T3" fmla="*/ 24 h 820"/>
                <a:gd name="T4" fmla="*/ 336 w 886"/>
                <a:gd name="T5" fmla="*/ 0 h 820"/>
                <a:gd name="T6" fmla="*/ 787 w 886"/>
                <a:gd name="T7" fmla="*/ 0 h 820"/>
                <a:gd name="T8" fmla="*/ 811 w 886"/>
                <a:gd name="T9" fmla="*/ 24 h 820"/>
                <a:gd name="T10" fmla="*/ 811 w 886"/>
                <a:gd name="T11" fmla="*/ 383 h 820"/>
                <a:gd name="T12" fmla="*/ 747 w 886"/>
                <a:gd name="T13" fmla="*/ 417 h 820"/>
                <a:gd name="T14" fmla="*/ 672 w 886"/>
                <a:gd name="T15" fmla="*/ 501 h 820"/>
                <a:gd name="T16" fmla="*/ 653 w 886"/>
                <a:gd name="T17" fmla="*/ 507 h 820"/>
                <a:gd name="T18" fmla="*/ 659 w 886"/>
                <a:gd name="T19" fmla="*/ 472 h 820"/>
                <a:gd name="T20" fmla="*/ 565 w 886"/>
                <a:gd name="T21" fmla="*/ 374 h 820"/>
                <a:gd name="T22" fmla="*/ 320 w 886"/>
                <a:gd name="T23" fmla="*/ 361 h 820"/>
                <a:gd name="T24" fmla="*/ 312 w 886"/>
                <a:gd name="T25" fmla="*/ 361 h 820"/>
                <a:gd name="T26" fmla="*/ 0 w 886"/>
                <a:gd name="T27" fmla="*/ 565 h 820"/>
                <a:gd name="T28" fmla="*/ 0 w 886"/>
                <a:gd name="T29" fmla="*/ 820 h 820"/>
                <a:gd name="T30" fmla="*/ 289 w 886"/>
                <a:gd name="T31" fmla="*/ 708 h 820"/>
                <a:gd name="T32" fmla="*/ 324 w 886"/>
                <a:gd name="T33" fmla="*/ 703 h 820"/>
                <a:gd name="T34" fmla="*/ 528 w 886"/>
                <a:gd name="T35" fmla="*/ 718 h 820"/>
                <a:gd name="T36" fmla="*/ 552 w 886"/>
                <a:gd name="T37" fmla="*/ 715 h 820"/>
                <a:gd name="T38" fmla="*/ 757 w 886"/>
                <a:gd name="T39" fmla="*/ 651 h 820"/>
                <a:gd name="T40" fmla="*/ 867 w 886"/>
                <a:gd name="T41" fmla="*/ 521 h 820"/>
                <a:gd name="T42" fmla="*/ 862 w 886"/>
                <a:gd name="T43" fmla="*/ 444 h 820"/>
                <a:gd name="T44" fmla="*/ 862 w 886"/>
                <a:gd name="T45" fmla="*/ 444 h 820"/>
                <a:gd name="T46" fmla="*/ 783 w 886"/>
                <a:gd name="T47" fmla="*/ 449 h 820"/>
                <a:gd name="T48" fmla="*/ 699 w 886"/>
                <a:gd name="T49" fmla="*/ 543 h 820"/>
                <a:gd name="T50" fmla="*/ 556 w 886"/>
                <a:gd name="T51" fmla="*/ 583 h 820"/>
                <a:gd name="T52" fmla="*/ 438 w 886"/>
                <a:gd name="T53" fmla="*/ 536 h 820"/>
                <a:gd name="T54" fmla="*/ 565 w 886"/>
                <a:gd name="T55" fmla="*/ 523 h 820"/>
                <a:gd name="T56" fmla="*/ 611 w 886"/>
                <a:gd name="T57" fmla="*/ 472 h 820"/>
                <a:gd name="T58" fmla="*/ 611 w 886"/>
                <a:gd name="T59" fmla="*/ 472 h 820"/>
                <a:gd name="T60" fmla="*/ 563 w 886"/>
                <a:gd name="T61" fmla="*/ 421 h 820"/>
                <a:gd name="T62" fmla="*/ 318 w 886"/>
                <a:gd name="T63" fmla="*/ 409 h 820"/>
                <a:gd name="T64" fmla="*/ 243 w 886"/>
                <a:gd name="T65" fmla="*/ 426 h 820"/>
                <a:gd name="T66" fmla="*/ 0 w 886"/>
                <a:gd name="T67" fmla="*/ 565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6" h="820">
                  <a:moveTo>
                    <a:pt x="312" y="361"/>
                  </a:moveTo>
                  <a:cubicBezTo>
                    <a:pt x="312" y="24"/>
                    <a:pt x="312" y="24"/>
                    <a:pt x="312" y="24"/>
                  </a:cubicBezTo>
                  <a:cubicBezTo>
                    <a:pt x="312" y="11"/>
                    <a:pt x="322" y="0"/>
                    <a:pt x="336" y="0"/>
                  </a:cubicBezTo>
                  <a:cubicBezTo>
                    <a:pt x="787" y="0"/>
                    <a:pt x="787" y="0"/>
                    <a:pt x="787" y="0"/>
                  </a:cubicBezTo>
                  <a:cubicBezTo>
                    <a:pt x="800" y="0"/>
                    <a:pt x="811" y="11"/>
                    <a:pt x="811" y="24"/>
                  </a:cubicBezTo>
                  <a:cubicBezTo>
                    <a:pt x="811" y="383"/>
                    <a:pt x="811" y="383"/>
                    <a:pt x="811" y="383"/>
                  </a:cubicBezTo>
                  <a:cubicBezTo>
                    <a:pt x="787" y="386"/>
                    <a:pt x="764" y="398"/>
                    <a:pt x="747" y="417"/>
                  </a:cubicBezTo>
                  <a:cubicBezTo>
                    <a:pt x="672" y="501"/>
                    <a:pt x="672" y="501"/>
                    <a:pt x="672" y="501"/>
                  </a:cubicBezTo>
                  <a:cubicBezTo>
                    <a:pt x="653" y="507"/>
                    <a:pt x="653" y="507"/>
                    <a:pt x="653" y="507"/>
                  </a:cubicBezTo>
                  <a:cubicBezTo>
                    <a:pt x="657" y="496"/>
                    <a:pt x="659" y="484"/>
                    <a:pt x="659" y="472"/>
                  </a:cubicBezTo>
                  <a:cubicBezTo>
                    <a:pt x="659" y="420"/>
                    <a:pt x="618" y="376"/>
                    <a:pt x="565" y="374"/>
                  </a:cubicBezTo>
                  <a:cubicBezTo>
                    <a:pt x="320" y="361"/>
                    <a:pt x="320" y="361"/>
                    <a:pt x="320" y="361"/>
                  </a:cubicBezTo>
                  <a:cubicBezTo>
                    <a:pt x="317" y="361"/>
                    <a:pt x="315" y="361"/>
                    <a:pt x="312" y="361"/>
                  </a:cubicBezTo>
                  <a:close/>
                  <a:moveTo>
                    <a:pt x="0" y="565"/>
                  </a:moveTo>
                  <a:cubicBezTo>
                    <a:pt x="0" y="820"/>
                    <a:pt x="0" y="820"/>
                    <a:pt x="0" y="820"/>
                  </a:cubicBezTo>
                  <a:cubicBezTo>
                    <a:pt x="289" y="708"/>
                    <a:pt x="289" y="708"/>
                    <a:pt x="289" y="708"/>
                  </a:cubicBezTo>
                  <a:cubicBezTo>
                    <a:pt x="300" y="704"/>
                    <a:pt x="312" y="702"/>
                    <a:pt x="324" y="703"/>
                  </a:cubicBezTo>
                  <a:cubicBezTo>
                    <a:pt x="528" y="718"/>
                    <a:pt x="528" y="718"/>
                    <a:pt x="528" y="718"/>
                  </a:cubicBezTo>
                  <a:cubicBezTo>
                    <a:pt x="537" y="718"/>
                    <a:pt x="545" y="717"/>
                    <a:pt x="552" y="715"/>
                  </a:cubicBezTo>
                  <a:cubicBezTo>
                    <a:pt x="757" y="651"/>
                    <a:pt x="757" y="651"/>
                    <a:pt x="757" y="651"/>
                  </a:cubicBezTo>
                  <a:cubicBezTo>
                    <a:pt x="867" y="521"/>
                    <a:pt x="867" y="521"/>
                    <a:pt x="867" y="521"/>
                  </a:cubicBezTo>
                  <a:cubicBezTo>
                    <a:pt x="886" y="499"/>
                    <a:pt x="884" y="464"/>
                    <a:pt x="862" y="444"/>
                  </a:cubicBezTo>
                  <a:cubicBezTo>
                    <a:pt x="862" y="444"/>
                    <a:pt x="862" y="444"/>
                    <a:pt x="862" y="444"/>
                  </a:cubicBezTo>
                  <a:cubicBezTo>
                    <a:pt x="839" y="424"/>
                    <a:pt x="804" y="426"/>
                    <a:pt x="783" y="449"/>
                  </a:cubicBezTo>
                  <a:cubicBezTo>
                    <a:pt x="699" y="543"/>
                    <a:pt x="699" y="543"/>
                    <a:pt x="699" y="543"/>
                  </a:cubicBezTo>
                  <a:cubicBezTo>
                    <a:pt x="556" y="583"/>
                    <a:pt x="556" y="583"/>
                    <a:pt x="556" y="583"/>
                  </a:cubicBezTo>
                  <a:cubicBezTo>
                    <a:pt x="438" y="536"/>
                    <a:pt x="438" y="536"/>
                    <a:pt x="438" y="536"/>
                  </a:cubicBezTo>
                  <a:cubicBezTo>
                    <a:pt x="565" y="523"/>
                    <a:pt x="565" y="523"/>
                    <a:pt x="565" y="523"/>
                  </a:cubicBezTo>
                  <a:cubicBezTo>
                    <a:pt x="591" y="521"/>
                    <a:pt x="611" y="499"/>
                    <a:pt x="611" y="472"/>
                  </a:cubicBezTo>
                  <a:cubicBezTo>
                    <a:pt x="611" y="472"/>
                    <a:pt x="611" y="472"/>
                    <a:pt x="611" y="472"/>
                  </a:cubicBezTo>
                  <a:cubicBezTo>
                    <a:pt x="611" y="445"/>
                    <a:pt x="590" y="423"/>
                    <a:pt x="563" y="421"/>
                  </a:cubicBezTo>
                  <a:cubicBezTo>
                    <a:pt x="318" y="409"/>
                    <a:pt x="318" y="409"/>
                    <a:pt x="318" y="409"/>
                  </a:cubicBezTo>
                  <a:cubicBezTo>
                    <a:pt x="292" y="407"/>
                    <a:pt x="266" y="414"/>
                    <a:pt x="243" y="426"/>
                  </a:cubicBezTo>
                  <a:lnTo>
                    <a:pt x="0" y="565"/>
                  </a:ln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endParaRPr lang="en-US" dirty="0"/>
            </a:p>
          </p:txBody>
        </p:sp>
      </p:grpSp>
      <p:sp>
        <p:nvSpPr>
          <p:cNvPr id="326" name="Freeform 6"/>
          <p:cNvSpPr>
            <a:spLocks/>
          </p:cNvSpPr>
          <p:nvPr/>
        </p:nvSpPr>
        <p:spPr bwMode="auto">
          <a:xfrm rot="15710037">
            <a:off x="3020755" y="4308205"/>
            <a:ext cx="351795" cy="382265"/>
          </a:xfrm>
          <a:custGeom>
            <a:avLst/>
            <a:gdLst/>
            <a:ahLst/>
            <a:cxnLst>
              <a:cxn ang="0">
                <a:pos x="341" y="229"/>
              </a:cxn>
              <a:cxn ang="0">
                <a:pos x="278" y="292"/>
              </a:cxn>
              <a:cxn ang="0">
                <a:pos x="278" y="57"/>
              </a:cxn>
              <a:cxn ang="0">
                <a:pos x="222" y="0"/>
              </a:cxn>
              <a:cxn ang="0">
                <a:pos x="165" y="57"/>
              </a:cxn>
              <a:cxn ang="0">
                <a:pos x="165" y="292"/>
              </a:cxn>
              <a:cxn ang="0">
                <a:pos x="102" y="229"/>
              </a:cxn>
              <a:cxn ang="0">
                <a:pos x="22" y="229"/>
              </a:cxn>
              <a:cxn ang="0">
                <a:pos x="22" y="309"/>
              </a:cxn>
              <a:cxn ang="0">
                <a:pos x="182" y="469"/>
              </a:cxn>
              <a:cxn ang="0">
                <a:pos x="182" y="469"/>
              </a:cxn>
              <a:cxn ang="0">
                <a:pos x="222" y="485"/>
              </a:cxn>
              <a:cxn ang="0">
                <a:pos x="243" y="481"/>
              </a:cxn>
              <a:cxn ang="0">
                <a:pos x="261" y="469"/>
              </a:cxn>
              <a:cxn ang="0">
                <a:pos x="421" y="309"/>
              </a:cxn>
              <a:cxn ang="0">
                <a:pos x="421" y="229"/>
              </a:cxn>
              <a:cxn ang="0">
                <a:pos x="341" y="229"/>
              </a:cxn>
            </a:cxnLst>
            <a:rect l="0" t="0" r="r" b="b"/>
            <a:pathLst>
              <a:path w="443" h="485">
                <a:moveTo>
                  <a:pt x="341" y="229"/>
                </a:moveTo>
                <a:lnTo>
                  <a:pt x="278" y="292"/>
                </a:lnTo>
                <a:lnTo>
                  <a:pt x="278" y="57"/>
                </a:lnTo>
                <a:cubicBezTo>
                  <a:pt x="278" y="26"/>
                  <a:pt x="253" y="0"/>
                  <a:pt x="222" y="0"/>
                </a:cubicBezTo>
                <a:cubicBezTo>
                  <a:pt x="190" y="0"/>
                  <a:pt x="165" y="26"/>
                  <a:pt x="165" y="57"/>
                </a:cubicBezTo>
                <a:lnTo>
                  <a:pt x="165" y="292"/>
                </a:lnTo>
                <a:lnTo>
                  <a:pt x="102" y="229"/>
                </a:lnTo>
                <a:cubicBezTo>
                  <a:pt x="80" y="207"/>
                  <a:pt x="44" y="207"/>
                  <a:pt x="22" y="229"/>
                </a:cubicBezTo>
                <a:cubicBezTo>
                  <a:pt x="0" y="251"/>
                  <a:pt x="0" y="287"/>
                  <a:pt x="22" y="309"/>
                </a:cubicBezTo>
                <a:lnTo>
                  <a:pt x="182" y="469"/>
                </a:lnTo>
                <a:lnTo>
                  <a:pt x="182" y="469"/>
                </a:lnTo>
                <a:cubicBezTo>
                  <a:pt x="193" y="480"/>
                  <a:pt x="207" y="485"/>
                  <a:pt x="222" y="485"/>
                </a:cubicBezTo>
                <a:cubicBezTo>
                  <a:pt x="229" y="485"/>
                  <a:pt x="236" y="484"/>
                  <a:pt x="243" y="481"/>
                </a:cubicBezTo>
                <a:cubicBezTo>
                  <a:pt x="250" y="478"/>
                  <a:pt x="256" y="474"/>
                  <a:pt x="261" y="469"/>
                </a:cubicBezTo>
                <a:lnTo>
                  <a:pt x="421" y="309"/>
                </a:lnTo>
                <a:cubicBezTo>
                  <a:pt x="443" y="287"/>
                  <a:pt x="443" y="251"/>
                  <a:pt x="421" y="229"/>
                </a:cubicBezTo>
                <a:cubicBezTo>
                  <a:pt x="399" y="207"/>
                  <a:pt x="363" y="207"/>
                  <a:pt x="341" y="229"/>
                </a:cubicBezTo>
                <a:close/>
              </a:path>
            </a:pathLst>
          </a:custGeom>
          <a:solidFill>
            <a:srgbClr val="29BA74"/>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srgbClr val="29BA74"/>
              </a:solidFill>
              <a:latin typeface="Calibri" panose="020F0502020204030204"/>
            </a:endParaRPr>
          </a:p>
        </p:txBody>
      </p:sp>
      <p:sp>
        <p:nvSpPr>
          <p:cNvPr id="327" name="Freeform 6"/>
          <p:cNvSpPr>
            <a:spLocks/>
          </p:cNvSpPr>
          <p:nvPr/>
        </p:nvSpPr>
        <p:spPr bwMode="auto">
          <a:xfrm rot="6824672" flipV="1">
            <a:off x="3052355" y="3530350"/>
            <a:ext cx="351795" cy="382265"/>
          </a:xfrm>
          <a:custGeom>
            <a:avLst/>
            <a:gdLst/>
            <a:ahLst/>
            <a:cxnLst>
              <a:cxn ang="0">
                <a:pos x="341" y="229"/>
              </a:cxn>
              <a:cxn ang="0">
                <a:pos x="278" y="292"/>
              </a:cxn>
              <a:cxn ang="0">
                <a:pos x="278" y="57"/>
              </a:cxn>
              <a:cxn ang="0">
                <a:pos x="222" y="0"/>
              </a:cxn>
              <a:cxn ang="0">
                <a:pos x="165" y="57"/>
              </a:cxn>
              <a:cxn ang="0">
                <a:pos x="165" y="292"/>
              </a:cxn>
              <a:cxn ang="0">
                <a:pos x="102" y="229"/>
              </a:cxn>
              <a:cxn ang="0">
                <a:pos x="22" y="229"/>
              </a:cxn>
              <a:cxn ang="0">
                <a:pos x="22" y="309"/>
              </a:cxn>
              <a:cxn ang="0">
                <a:pos x="182" y="469"/>
              </a:cxn>
              <a:cxn ang="0">
                <a:pos x="182" y="469"/>
              </a:cxn>
              <a:cxn ang="0">
                <a:pos x="222" y="485"/>
              </a:cxn>
              <a:cxn ang="0">
                <a:pos x="243" y="481"/>
              </a:cxn>
              <a:cxn ang="0">
                <a:pos x="261" y="469"/>
              </a:cxn>
              <a:cxn ang="0">
                <a:pos x="421" y="309"/>
              </a:cxn>
              <a:cxn ang="0">
                <a:pos x="421" y="229"/>
              </a:cxn>
              <a:cxn ang="0">
                <a:pos x="341" y="229"/>
              </a:cxn>
            </a:cxnLst>
            <a:rect l="0" t="0" r="r" b="b"/>
            <a:pathLst>
              <a:path w="443" h="485">
                <a:moveTo>
                  <a:pt x="341" y="229"/>
                </a:moveTo>
                <a:lnTo>
                  <a:pt x="278" y="292"/>
                </a:lnTo>
                <a:lnTo>
                  <a:pt x="278" y="57"/>
                </a:lnTo>
                <a:cubicBezTo>
                  <a:pt x="278" y="26"/>
                  <a:pt x="253" y="0"/>
                  <a:pt x="222" y="0"/>
                </a:cubicBezTo>
                <a:cubicBezTo>
                  <a:pt x="190" y="0"/>
                  <a:pt x="165" y="26"/>
                  <a:pt x="165" y="57"/>
                </a:cubicBezTo>
                <a:lnTo>
                  <a:pt x="165" y="292"/>
                </a:lnTo>
                <a:lnTo>
                  <a:pt x="102" y="229"/>
                </a:lnTo>
                <a:cubicBezTo>
                  <a:pt x="80" y="207"/>
                  <a:pt x="44" y="207"/>
                  <a:pt x="22" y="229"/>
                </a:cubicBezTo>
                <a:cubicBezTo>
                  <a:pt x="0" y="251"/>
                  <a:pt x="0" y="287"/>
                  <a:pt x="22" y="309"/>
                </a:cubicBezTo>
                <a:lnTo>
                  <a:pt x="182" y="469"/>
                </a:lnTo>
                <a:lnTo>
                  <a:pt x="182" y="469"/>
                </a:lnTo>
                <a:cubicBezTo>
                  <a:pt x="193" y="480"/>
                  <a:pt x="207" y="485"/>
                  <a:pt x="222" y="485"/>
                </a:cubicBezTo>
                <a:cubicBezTo>
                  <a:pt x="229" y="485"/>
                  <a:pt x="236" y="484"/>
                  <a:pt x="243" y="481"/>
                </a:cubicBezTo>
                <a:cubicBezTo>
                  <a:pt x="250" y="478"/>
                  <a:pt x="256" y="474"/>
                  <a:pt x="261" y="469"/>
                </a:cubicBezTo>
                <a:lnTo>
                  <a:pt x="421" y="309"/>
                </a:lnTo>
                <a:cubicBezTo>
                  <a:pt x="443" y="287"/>
                  <a:pt x="443" y="251"/>
                  <a:pt x="421" y="229"/>
                </a:cubicBezTo>
                <a:cubicBezTo>
                  <a:pt x="399" y="207"/>
                  <a:pt x="363" y="207"/>
                  <a:pt x="341" y="229"/>
                </a:cubicBezTo>
                <a:close/>
              </a:path>
            </a:pathLst>
          </a:custGeom>
          <a:solidFill>
            <a:srgbClr val="29BA74"/>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srgbClr val="29BA74"/>
              </a:solidFill>
              <a:latin typeface="Calibri" panose="020F0502020204030204"/>
            </a:endParaRPr>
          </a:p>
        </p:txBody>
      </p:sp>
      <p:sp>
        <p:nvSpPr>
          <p:cNvPr id="337" name="Freeform 6"/>
          <p:cNvSpPr>
            <a:spLocks/>
          </p:cNvSpPr>
          <p:nvPr/>
        </p:nvSpPr>
        <p:spPr bwMode="auto">
          <a:xfrm rot="5400000" flipH="1">
            <a:off x="8716667" y="3958485"/>
            <a:ext cx="351795" cy="382265"/>
          </a:xfrm>
          <a:custGeom>
            <a:avLst/>
            <a:gdLst/>
            <a:ahLst/>
            <a:cxnLst>
              <a:cxn ang="0">
                <a:pos x="341" y="229"/>
              </a:cxn>
              <a:cxn ang="0">
                <a:pos x="278" y="292"/>
              </a:cxn>
              <a:cxn ang="0">
                <a:pos x="278" y="57"/>
              </a:cxn>
              <a:cxn ang="0">
                <a:pos x="222" y="0"/>
              </a:cxn>
              <a:cxn ang="0">
                <a:pos x="165" y="57"/>
              </a:cxn>
              <a:cxn ang="0">
                <a:pos x="165" y="292"/>
              </a:cxn>
              <a:cxn ang="0">
                <a:pos x="102" y="229"/>
              </a:cxn>
              <a:cxn ang="0">
                <a:pos x="22" y="229"/>
              </a:cxn>
              <a:cxn ang="0">
                <a:pos x="22" y="309"/>
              </a:cxn>
              <a:cxn ang="0">
                <a:pos x="182" y="469"/>
              </a:cxn>
              <a:cxn ang="0">
                <a:pos x="182" y="469"/>
              </a:cxn>
              <a:cxn ang="0">
                <a:pos x="222" y="485"/>
              </a:cxn>
              <a:cxn ang="0">
                <a:pos x="243" y="481"/>
              </a:cxn>
              <a:cxn ang="0">
                <a:pos x="261" y="469"/>
              </a:cxn>
              <a:cxn ang="0">
                <a:pos x="421" y="309"/>
              </a:cxn>
              <a:cxn ang="0">
                <a:pos x="421" y="229"/>
              </a:cxn>
              <a:cxn ang="0">
                <a:pos x="341" y="229"/>
              </a:cxn>
            </a:cxnLst>
            <a:rect l="0" t="0" r="r" b="b"/>
            <a:pathLst>
              <a:path w="443" h="485">
                <a:moveTo>
                  <a:pt x="341" y="229"/>
                </a:moveTo>
                <a:lnTo>
                  <a:pt x="278" y="292"/>
                </a:lnTo>
                <a:lnTo>
                  <a:pt x="278" y="57"/>
                </a:lnTo>
                <a:cubicBezTo>
                  <a:pt x="278" y="26"/>
                  <a:pt x="253" y="0"/>
                  <a:pt x="222" y="0"/>
                </a:cubicBezTo>
                <a:cubicBezTo>
                  <a:pt x="190" y="0"/>
                  <a:pt x="165" y="26"/>
                  <a:pt x="165" y="57"/>
                </a:cubicBezTo>
                <a:lnTo>
                  <a:pt x="165" y="292"/>
                </a:lnTo>
                <a:lnTo>
                  <a:pt x="102" y="229"/>
                </a:lnTo>
                <a:cubicBezTo>
                  <a:pt x="80" y="207"/>
                  <a:pt x="44" y="207"/>
                  <a:pt x="22" y="229"/>
                </a:cubicBezTo>
                <a:cubicBezTo>
                  <a:pt x="0" y="251"/>
                  <a:pt x="0" y="287"/>
                  <a:pt x="22" y="309"/>
                </a:cubicBezTo>
                <a:lnTo>
                  <a:pt x="182" y="469"/>
                </a:lnTo>
                <a:lnTo>
                  <a:pt x="182" y="469"/>
                </a:lnTo>
                <a:cubicBezTo>
                  <a:pt x="193" y="480"/>
                  <a:pt x="207" y="485"/>
                  <a:pt x="222" y="485"/>
                </a:cubicBezTo>
                <a:cubicBezTo>
                  <a:pt x="229" y="485"/>
                  <a:pt x="236" y="484"/>
                  <a:pt x="243" y="481"/>
                </a:cubicBezTo>
                <a:cubicBezTo>
                  <a:pt x="250" y="478"/>
                  <a:pt x="256" y="474"/>
                  <a:pt x="261" y="469"/>
                </a:cubicBezTo>
                <a:lnTo>
                  <a:pt x="421" y="309"/>
                </a:lnTo>
                <a:cubicBezTo>
                  <a:pt x="443" y="287"/>
                  <a:pt x="443" y="251"/>
                  <a:pt x="421" y="229"/>
                </a:cubicBezTo>
                <a:cubicBezTo>
                  <a:pt x="399" y="207"/>
                  <a:pt x="363" y="207"/>
                  <a:pt x="341" y="229"/>
                </a:cubicBezTo>
                <a:close/>
              </a:path>
            </a:pathLst>
          </a:custGeom>
          <a:solidFill>
            <a:srgbClr val="29BA74"/>
          </a:solidFill>
          <a:ln w="0">
            <a:noFill/>
            <a:prstDash val="solid"/>
            <a:round/>
            <a:headEnd/>
            <a:tailEnd/>
          </a:ln>
        </p:spPr>
        <p:txBody>
          <a:bodyPr vert="horz" wrap="square" lIns="79777" tIns="39889" rIns="79777" bIns="39889" numCol="1" anchor="t" anchorCtr="0" compatLnSpc="1">
            <a:prstTxWarp prst="textNoShape">
              <a:avLst/>
            </a:prstTxWarp>
          </a:bodyPr>
          <a:lstStyle/>
          <a:p>
            <a:endParaRPr lang="en-US" sz="1745" dirty="0">
              <a:solidFill>
                <a:srgbClr val="29BA74"/>
              </a:solidFill>
              <a:latin typeface="Calibri" panose="020F0502020204030204"/>
            </a:endParaRPr>
          </a:p>
        </p:txBody>
      </p:sp>
    </p:spTree>
    <p:extLst>
      <p:ext uri="{BB962C8B-B14F-4D97-AF65-F5344CB8AC3E}">
        <p14:creationId xmlns:p14="http://schemas.microsoft.com/office/powerpoint/2010/main" val="4267413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83"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a:solidFill>
            <a:srgbClr val="29BA74"/>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29999" y="2764203"/>
            <a:ext cx="3400133" cy="1314311"/>
          </a:xfrm>
        </p:spPr>
        <p:txBody>
          <a:bodyPr/>
          <a:lstStyle/>
          <a:p>
            <a:r>
              <a:rPr lang="en-US" dirty="0"/>
              <a:t>Developed and </a:t>
            </a:r>
            <a:br>
              <a:rPr lang="en-US" dirty="0"/>
            </a:br>
            <a:r>
              <a:rPr lang="en-US" dirty="0"/>
              <a:t>launched new head, heart, and hands leadership model  </a:t>
            </a:r>
            <a:endParaRPr lang="en-US" dirty="0">
              <a:latin typeface="+mj-lt"/>
            </a:endParaRPr>
          </a:p>
        </p:txBody>
      </p:sp>
      <p:sp>
        <p:nvSpPr>
          <p:cNvPr id="3" name="ee4pContent1"/>
          <p:cNvSpPr txBox="1"/>
          <p:nvPr/>
        </p:nvSpPr>
        <p:spPr>
          <a:xfrm>
            <a:off x="4211399" y="2652764"/>
            <a:ext cx="2113202" cy="3488400"/>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lnSpc>
                <a:spcPct val="89000"/>
              </a:lnSpc>
              <a:spcBef>
                <a:spcPts val="600"/>
              </a:spcBef>
              <a:buClr>
                <a:schemeClr val="tx2">
                  <a:lumMod val="100000"/>
                </a:schemeClr>
              </a:buClr>
              <a:buSzPct val="100000"/>
            </a:pPr>
            <a:r>
              <a:rPr lang="en-US" sz="1400" dirty="0">
                <a:solidFill>
                  <a:schemeClr val="tx1">
                    <a:lumMod val="100000"/>
                  </a:schemeClr>
                </a:solidFill>
              </a:rPr>
              <a:t>Gather internal and external inputs</a:t>
            </a:r>
          </a:p>
          <a:p>
            <a:pPr lvl="1">
              <a:lnSpc>
                <a:spcPct val="89000"/>
              </a:lnSpc>
              <a:spcBef>
                <a:spcPts val="600"/>
              </a:spcBef>
              <a:buClr>
                <a:schemeClr val="tx2">
                  <a:lumMod val="100000"/>
                </a:schemeClr>
              </a:buClr>
              <a:buSzPct val="100000"/>
            </a:pPr>
            <a:r>
              <a:rPr lang="en-US" sz="1400" dirty="0">
                <a:solidFill>
                  <a:schemeClr val="tx1">
                    <a:lumMod val="100000"/>
                  </a:schemeClr>
                </a:solidFill>
              </a:rPr>
              <a:t>Distinguish insight from noise</a:t>
            </a:r>
          </a:p>
          <a:p>
            <a:pPr lvl="1">
              <a:lnSpc>
                <a:spcPct val="89000"/>
              </a:lnSpc>
              <a:spcBef>
                <a:spcPts val="600"/>
              </a:spcBef>
              <a:buClr>
                <a:schemeClr val="tx2">
                  <a:lumMod val="100000"/>
                </a:schemeClr>
              </a:buClr>
              <a:buSzPct val="100000"/>
            </a:pPr>
            <a:r>
              <a:rPr lang="en-US" sz="1400" dirty="0">
                <a:solidFill>
                  <a:schemeClr val="tx1">
                    <a:lumMod val="100000"/>
                  </a:schemeClr>
                </a:solidFill>
              </a:rPr>
              <a:t>Synthesize the complex</a:t>
            </a:r>
          </a:p>
          <a:p>
            <a:pPr lvl="1">
              <a:lnSpc>
                <a:spcPct val="89000"/>
              </a:lnSpc>
              <a:spcBef>
                <a:spcPts val="600"/>
              </a:spcBef>
              <a:buClr>
                <a:schemeClr val="tx2">
                  <a:lumMod val="100000"/>
                </a:schemeClr>
              </a:buClr>
              <a:buSzPct val="100000"/>
            </a:pPr>
            <a:r>
              <a:rPr lang="en-US" sz="1400" dirty="0">
                <a:solidFill>
                  <a:schemeClr val="tx1">
                    <a:lumMod val="100000"/>
                  </a:schemeClr>
                </a:solidFill>
              </a:rPr>
              <a:t>Draw upon full team ideas and insights</a:t>
            </a:r>
          </a:p>
          <a:p>
            <a:pPr lvl="1">
              <a:lnSpc>
                <a:spcPct val="89000"/>
              </a:lnSpc>
              <a:spcBef>
                <a:spcPts val="600"/>
              </a:spcBef>
              <a:buClr>
                <a:schemeClr val="tx2">
                  <a:lumMod val="100000"/>
                </a:schemeClr>
              </a:buClr>
              <a:buSzPct val="100000"/>
            </a:pPr>
            <a:r>
              <a:rPr lang="en-US" sz="1400" dirty="0">
                <a:solidFill>
                  <a:schemeClr val="tx1">
                    <a:lumMod val="100000"/>
                  </a:schemeClr>
                </a:solidFill>
              </a:rPr>
              <a:t>Create shared understanding</a:t>
            </a:r>
          </a:p>
          <a:p>
            <a:pPr lvl="1">
              <a:lnSpc>
                <a:spcPct val="89000"/>
              </a:lnSpc>
              <a:spcBef>
                <a:spcPts val="600"/>
              </a:spcBef>
              <a:buClr>
                <a:schemeClr val="tx2">
                  <a:lumMod val="100000"/>
                </a:schemeClr>
              </a:buClr>
              <a:buSzPct val="100000"/>
            </a:pPr>
            <a:r>
              <a:rPr lang="en-US" sz="1400" dirty="0">
                <a:solidFill>
                  <a:schemeClr val="tx1">
                    <a:lumMod val="100000"/>
                  </a:schemeClr>
                </a:solidFill>
              </a:rPr>
              <a:t>Develop clear plan of action</a:t>
            </a:r>
          </a:p>
          <a:p>
            <a:pPr lvl="1">
              <a:lnSpc>
                <a:spcPct val="89000"/>
              </a:lnSpc>
              <a:spcBef>
                <a:spcPts val="600"/>
              </a:spcBef>
              <a:buClr>
                <a:schemeClr val="tx2">
                  <a:lumMod val="100000"/>
                </a:schemeClr>
              </a:buClr>
              <a:buSzPct val="100000"/>
            </a:pPr>
            <a:endParaRPr lang="en-US" sz="1400" dirty="0">
              <a:solidFill>
                <a:schemeClr val="tx1">
                  <a:lumMod val="100000"/>
                </a:schemeClr>
              </a:solidFill>
            </a:endParaRPr>
          </a:p>
        </p:txBody>
      </p:sp>
      <p:sp>
        <p:nvSpPr>
          <p:cNvPr id="4" name="ee4pHeader1"/>
          <p:cNvSpPr txBox="1"/>
          <p:nvPr/>
        </p:nvSpPr>
        <p:spPr>
          <a:xfrm>
            <a:off x="4211398" y="1950171"/>
            <a:ext cx="2003134" cy="513186"/>
          </a:xfrm>
          <a:prstGeom prst="rect">
            <a:avLst/>
          </a:prstGeom>
          <a:noFill/>
          <a:ln cap="rnd">
            <a:noFill/>
          </a:ln>
        </p:spPr>
        <p:txBody>
          <a:bodyPr wrap="square" lIns="0" tIns="0" rIns="0" bIns="0" rtlCol="0" anchor="t" anchorCtr="0">
            <a:noAutofit/>
          </a:bodyPr>
          <a:lstStyle/>
          <a:p>
            <a:pPr marL="0" lvl="3" algn="ctr"/>
            <a:r>
              <a:rPr lang="en-US" dirty="0">
                <a:solidFill>
                  <a:schemeClr val="tx2"/>
                </a:solidFill>
              </a:rPr>
              <a:t>Create clarity</a:t>
            </a:r>
          </a:p>
        </p:txBody>
      </p:sp>
      <p:sp>
        <p:nvSpPr>
          <p:cNvPr id="5" name="ee4pContent2"/>
          <p:cNvSpPr txBox="1"/>
          <p:nvPr/>
        </p:nvSpPr>
        <p:spPr>
          <a:xfrm>
            <a:off x="6609693" y="2699898"/>
            <a:ext cx="2373441" cy="3488400"/>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lnSpc>
                <a:spcPct val="89000"/>
              </a:lnSpc>
              <a:spcBef>
                <a:spcPts val="600"/>
              </a:spcBef>
              <a:buClr>
                <a:schemeClr val="tx2">
                  <a:lumMod val="100000"/>
                </a:schemeClr>
              </a:buClr>
              <a:buSzPct val="100000"/>
            </a:pPr>
            <a:r>
              <a:rPr lang="en-US" sz="1400" dirty="0">
                <a:solidFill>
                  <a:schemeClr val="tx1">
                    <a:lumMod val="100000"/>
                  </a:schemeClr>
                </a:solidFill>
              </a:rPr>
              <a:t>Inspire optimism, creativity, shared commitment and growth</a:t>
            </a:r>
          </a:p>
          <a:p>
            <a:pPr lvl="1">
              <a:lnSpc>
                <a:spcPct val="89000"/>
              </a:lnSpc>
              <a:spcBef>
                <a:spcPts val="600"/>
              </a:spcBef>
              <a:buClr>
                <a:schemeClr val="tx2">
                  <a:lumMod val="100000"/>
                </a:schemeClr>
              </a:buClr>
              <a:buSzPct val="100000"/>
            </a:pPr>
            <a:r>
              <a:rPr lang="en-US" sz="1400" dirty="0">
                <a:solidFill>
                  <a:schemeClr val="tx1">
                    <a:lumMod val="100000"/>
                  </a:schemeClr>
                </a:solidFill>
              </a:rPr>
              <a:t>Focus on own team and broader organization </a:t>
            </a:r>
          </a:p>
          <a:p>
            <a:pPr lvl="1">
              <a:lnSpc>
                <a:spcPct val="89000"/>
              </a:lnSpc>
              <a:spcBef>
                <a:spcPts val="600"/>
              </a:spcBef>
              <a:buClr>
                <a:schemeClr val="tx2">
                  <a:lumMod val="100000"/>
                </a:schemeClr>
              </a:buClr>
              <a:buSzPct val="100000"/>
            </a:pPr>
            <a:r>
              <a:rPr lang="en-US" sz="1400" dirty="0">
                <a:solidFill>
                  <a:schemeClr val="tx1">
                    <a:lumMod val="100000"/>
                  </a:schemeClr>
                </a:solidFill>
              </a:rPr>
              <a:t>Maintain energy through good times and bad</a:t>
            </a:r>
          </a:p>
          <a:p>
            <a:pPr lvl="1">
              <a:lnSpc>
                <a:spcPct val="89000"/>
              </a:lnSpc>
              <a:spcBef>
                <a:spcPts val="600"/>
              </a:spcBef>
              <a:buClr>
                <a:schemeClr val="tx2">
                  <a:lumMod val="100000"/>
                </a:schemeClr>
              </a:buClr>
              <a:buSzPct val="100000"/>
            </a:pPr>
            <a:r>
              <a:rPr lang="en-US" sz="1400" dirty="0">
                <a:solidFill>
                  <a:schemeClr val="tx1">
                    <a:lumMod val="100000"/>
                  </a:schemeClr>
                </a:solidFill>
              </a:rPr>
              <a:t>Create environment where everyone can do their best work</a:t>
            </a:r>
          </a:p>
          <a:p>
            <a:pPr lvl="1">
              <a:lnSpc>
                <a:spcPct val="89000"/>
              </a:lnSpc>
              <a:spcBef>
                <a:spcPts val="600"/>
              </a:spcBef>
              <a:buClr>
                <a:schemeClr val="tx2">
                  <a:lumMod val="100000"/>
                </a:schemeClr>
              </a:buClr>
              <a:buSzPct val="100000"/>
            </a:pPr>
            <a:r>
              <a:rPr lang="en-US" sz="1400" dirty="0">
                <a:solidFill>
                  <a:schemeClr val="tx1">
                    <a:lumMod val="100000"/>
                  </a:schemeClr>
                </a:solidFill>
              </a:rPr>
              <a:t>Build stronger organization and teams</a:t>
            </a:r>
          </a:p>
        </p:txBody>
      </p:sp>
      <p:sp>
        <p:nvSpPr>
          <p:cNvPr id="6" name="ee4pHeader2"/>
          <p:cNvSpPr txBox="1"/>
          <p:nvPr/>
        </p:nvSpPr>
        <p:spPr>
          <a:xfrm>
            <a:off x="6609693" y="1950171"/>
            <a:ext cx="2682145" cy="513186"/>
          </a:xfrm>
          <a:prstGeom prst="rect">
            <a:avLst/>
          </a:prstGeom>
          <a:noFill/>
          <a:ln cap="rnd">
            <a:noFill/>
          </a:ln>
        </p:spPr>
        <p:txBody>
          <a:bodyPr wrap="square" lIns="0" tIns="0" rIns="0" bIns="0" rtlCol="0" anchor="t" anchorCtr="0">
            <a:noAutofit/>
          </a:bodyPr>
          <a:lstStyle/>
          <a:p>
            <a:pPr marL="0" lvl="3" algn="ctr"/>
            <a:r>
              <a:rPr lang="en-US" dirty="0">
                <a:solidFill>
                  <a:schemeClr val="tx2"/>
                </a:solidFill>
              </a:rPr>
              <a:t>Generate Energy</a:t>
            </a:r>
          </a:p>
        </p:txBody>
      </p:sp>
      <p:sp>
        <p:nvSpPr>
          <p:cNvPr id="7" name="ee4pContent3"/>
          <p:cNvSpPr txBox="1"/>
          <p:nvPr/>
        </p:nvSpPr>
        <p:spPr>
          <a:xfrm>
            <a:off x="9228872" y="2652764"/>
            <a:ext cx="2370462" cy="3488400"/>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a:lnSpc>
                <a:spcPct val="89000"/>
              </a:lnSpc>
              <a:spcBef>
                <a:spcPts val="600"/>
              </a:spcBef>
              <a:buClr>
                <a:schemeClr val="tx2">
                  <a:lumMod val="100000"/>
                </a:schemeClr>
              </a:buClr>
              <a:buSzPct val="100000"/>
            </a:pPr>
            <a:r>
              <a:rPr lang="en-US" sz="1400" dirty="0">
                <a:solidFill>
                  <a:schemeClr val="tx1">
                    <a:lumMod val="100000"/>
                  </a:schemeClr>
                </a:solidFill>
              </a:rPr>
              <a:t>Make things happen</a:t>
            </a:r>
          </a:p>
          <a:p>
            <a:pPr lvl="1">
              <a:lnSpc>
                <a:spcPct val="89000"/>
              </a:lnSpc>
              <a:spcBef>
                <a:spcPts val="600"/>
              </a:spcBef>
              <a:buClr>
                <a:schemeClr val="tx2">
                  <a:lumMod val="100000"/>
                </a:schemeClr>
              </a:buClr>
              <a:buSzPct val="100000"/>
            </a:pPr>
            <a:r>
              <a:rPr lang="en-US" sz="1400" dirty="0">
                <a:solidFill>
                  <a:schemeClr val="tx1">
                    <a:lumMod val="100000"/>
                  </a:schemeClr>
                </a:solidFill>
              </a:rPr>
              <a:t>Drive innovation and inspire people to go above and beyond  </a:t>
            </a:r>
          </a:p>
          <a:p>
            <a:pPr lvl="1">
              <a:lnSpc>
                <a:spcPct val="89000"/>
              </a:lnSpc>
              <a:spcBef>
                <a:spcPts val="600"/>
              </a:spcBef>
              <a:buClr>
                <a:schemeClr val="tx2">
                  <a:lumMod val="100000"/>
                </a:schemeClr>
              </a:buClr>
              <a:buSzPct val="100000"/>
            </a:pPr>
            <a:r>
              <a:rPr lang="en-US" sz="1400" dirty="0">
                <a:solidFill>
                  <a:schemeClr val="tx1">
                    <a:lumMod val="100000"/>
                  </a:schemeClr>
                </a:solidFill>
              </a:rPr>
              <a:t>Find balance between long-term and short-term successes</a:t>
            </a:r>
          </a:p>
          <a:p>
            <a:pPr lvl="1">
              <a:lnSpc>
                <a:spcPct val="89000"/>
              </a:lnSpc>
              <a:spcBef>
                <a:spcPts val="600"/>
              </a:spcBef>
              <a:buClr>
                <a:schemeClr val="tx2">
                  <a:lumMod val="100000"/>
                </a:schemeClr>
              </a:buClr>
              <a:buSzPct val="100000"/>
            </a:pPr>
            <a:r>
              <a:rPr lang="en-US" sz="1400" dirty="0">
                <a:solidFill>
                  <a:schemeClr val="tx1">
                    <a:lumMod val="100000"/>
                  </a:schemeClr>
                </a:solidFill>
              </a:rPr>
              <a:t>Be boundary less in delivering solutions</a:t>
            </a:r>
          </a:p>
        </p:txBody>
      </p:sp>
      <p:sp>
        <p:nvSpPr>
          <p:cNvPr id="8" name="ee4pHeader3"/>
          <p:cNvSpPr txBox="1"/>
          <p:nvPr/>
        </p:nvSpPr>
        <p:spPr>
          <a:xfrm>
            <a:off x="9228872" y="1950171"/>
            <a:ext cx="2226529" cy="513186"/>
          </a:xfrm>
          <a:prstGeom prst="rect">
            <a:avLst/>
          </a:prstGeom>
          <a:noFill/>
          <a:ln cap="rnd">
            <a:noFill/>
          </a:ln>
        </p:spPr>
        <p:txBody>
          <a:bodyPr wrap="square" lIns="0" tIns="0" rIns="0" bIns="0" rtlCol="0" anchor="t" anchorCtr="0">
            <a:noAutofit/>
          </a:bodyPr>
          <a:lstStyle/>
          <a:p>
            <a:pPr marL="0" lvl="3" algn="ctr"/>
            <a:r>
              <a:rPr lang="en-US" dirty="0">
                <a:solidFill>
                  <a:schemeClr val="tx2"/>
                </a:solidFill>
              </a:rPr>
              <a:t>Deliver Success</a:t>
            </a:r>
          </a:p>
        </p:txBody>
      </p:sp>
      <p:sp>
        <p:nvSpPr>
          <p:cNvPr id="59" name="ee4pHeader1"/>
          <p:cNvSpPr>
            <a:spLocks noChangeArrowheads="1"/>
          </p:cNvSpPr>
          <p:nvPr>
            <p:custDataLst>
              <p:tags r:id="rId4"/>
            </p:custDataLst>
          </p:nvPr>
        </p:nvSpPr>
        <p:spPr bwMode="gray">
          <a:xfrm flipV="1">
            <a:off x="11597661" y="297531"/>
            <a:ext cx="137976" cy="124457"/>
          </a:xfrm>
          <a:prstGeom prst="homePlate">
            <a:avLst>
              <a:gd name="adj" fmla="val 12004"/>
            </a:avLst>
          </a:prstGeom>
          <a:solidFill>
            <a:srgbClr val="FFFFFF"/>
          </a:solidFill>
          <a:ln w="38100" cap="rnd" algn="ctr">
            <a:noFill/>
            <a:round/>
            <a:headEnd/>
            <a:tailEnd/>
          </a:ln>
        </p:spPr>
        <p:txBody>
          <a:bodyPr lIns="0" tIns="0" rIns="0" bIns="0" anchor="ctr" anchorCtr="0"/>
          <a:lstStyle/>
          <a:p>
            <a:pPr algn="ctr" eaLnBrk="0" hangingPunct="0"/>
            <a:endParaRPr lang="en-US" sz="1600" b="1" dirty="0">
              <a:solidFill>
                <a:srgbClr val="FFFFFF"/>
              </a:solidFill>
              <a:sym typeface="Trebuchet MS" panose="020B0603020202020204" pitchFamily="34" charset="0"/>
            </a:endParaRPr>
          </a:p>
        </p:txBody>
      </p:sp>
      <p:sp>
        <p:nvSpPr>
          <p:cNvPr id="61" name="ee4pHeader3"/>
          <p:cNvSpPr>
            <a:spLocks noChangeArrowheads="1"/>
          </p:cNvSpPr>
          <p:nvPr>
            <p:custDataLst>
              <p:tags r:id="rId5"/>
            </p:custDataLst>
          </p:nvPr>
        </p:nvSpPr>
        <p:spPr bwMode="gray">
          <a:xfrm flipV="1">
            <a:off x="11873329" y="297531"/>
            <a:ext cx="137976" cy="124457"/>
          </a:xfrm>
          <a:prstGeom prst="chevron">
            <a:avLst>
              <a:gd name="adj" fmla="val 12004"/>
            </a:avLst>
          </a:prstGeom>
          <a:solidFill>
            <a:srgbClr val="FFFFFF"/>
          </a:solidFill>
          <a:ln w="38100" cap="rnd" algn="ctr">
            <a:noFill/>
            <a:round/>
            <a:headEnd/>
            <a:tailEnd/>
          </a:ln>
        </p:spPr>
        <p:txBody>
          <a:bodyPr lIns="0" tIns="0" rIns="0" bIns="0" anchor="ctr" anchorCtr="0"/>
          <a:lstStyle/>
          <a:p>
            <a:pPr algn="ctr" eaLnBrk="0" hangingPunct="0"/>
            <a:endParaRPr lang="en-US" sz="1600" b="1" dirty="0">
              <a:solidFill>
                <a:srgbClr val="FFFFFF"/>
              </a:solidFill>
              <a:sym typeface="Trebuchet MS" panose="020B0603020202020204" pitchFamily="34" charset="0"/>
            </a:endParaRPr>
          </a:p>
        </p:txBody>
      </p:sp>
      <p:grpSp>
        <p:nvGrpSpPr>
          <p:cNvPr id="50" name="Group 49"/>
          <p:cNvGrpSpPr/>
          <p:nvPr/>
        </p:nvGrpSpPr>
        <p:grpSpPr>
          <a:xfrm>
            <a:off x="4822989" y="732654"/>
            <a:ext cx="679077" cy="1078883"/>
            <a:chOff x="759440" y="433787"/>
            <a:chExt cx="1931006" cy="5570640"/>
          </a:xfrm>
        </p:grpSpPr>
        <p:pic>
          <p:nvPicPr>
            <p:cNvPr id="51" name="Picture 50"/>
            <p:cNvPicPr>
              <a:picLocks noChangeAspect="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59440" y="433787"/>
              <a:ext cx="1931006" cy="5570640"/>
            </a:xfrm>
            <a:prstGeom prst="rect">
              <a:avLst/>
            </a:prstGeom>
          </p:spPr>
        </p:pic>
        <p:grpSp>
          <p:nvGrpSpPr>
            <p:cNvPr id="52" name="Group 51"/>
            <p:cNvGrpSpPr/>
            <p:nvPr/>
          </p:nvGrpSpPr>
          <p:grpSpPr>
            <a:xfrm>
              <a:off x="1314747" y="476251"/>
              <a:ext cx="883258" cy="2191614"/>
              <a:chOff x="1314747" y="476251"/>
              <a:chExt cx="883258" cy="2191614"/>
            </a:xfrm>
          </p:grpSpPr>
          <p:sp>
            <p:nvSpPr>
              <p:cNvPr id="53" name="Freeform 52"/>
              <p:cNvSpPr/>
              <p:nvPr/>
            </p:nvSpPr>
            <p:spPr>
              <a:xfrm>
                <a:off x="1314747" y="476251"/>
                <a:ext cx="883258" cy="1912441"/>
              </a:xfrm>
              <a:custGeom>
                <a:avLst/>
                <a:gdLst>
                  <a:gd name="connsiteX0" fmla="*/ 0 w 885825"/>
                  <a:gd name="connsiteY0" fmla="*/ 0 h 1909763"/>
                  <a:gd name="connsiteX1" fmla="*/ 119062 w 885825"/>
                  <a:gd name="connsiteY1" fmla="*/ 26194 h 1909763"/>
                  <a:gd name="connsiteX2" fmla="*/ 228600 w 885825"/>
                  <a:gd name="connsiteY2" fmla="*/ 57150 h 1909763"/>
                  <a:gd name="connsiteX3" fmla="*/ 323850 w 885825"/>
                  <a:gd name="connsiteY3" fmla="*/ 83344 h 1909763"/>
                  <a:gd name="connsiteX4" fmla="*/ 409575 w 885825"/>
                  <a:gd name="connsiteY4" fmla="*/ 116681 h 1909763"/>
                  <a:gd name="connsiteX5" fmla="*/ 502443 w 885825"/>
                  <a:gd name="connsiteY5" fmla="*/ 159544 h 1909763"/>
                  <a:gd name="connsiteX6" fmla="*/ 557212 w 885825"/>
                  <a:gd name="connsiteY6" fmla="*/ 192881 h 1909763"/>
                  <a:gd name="connsiteX7" fmla="*/ 621506 w 885825"/>
                  <a:gd name="connsiteY7" fmla="*/ 252413 h 1909763"/>
                  <a:gd name="connsiteX8" fmla="*/ 678656 w 885825"/>
                  <a:gd name="connsiteY8" fmla="*/ 314325 h 1909763"/>
                  <a:gd name="connsiteX9" fmla="*/ 709612 w 885825"/>
                  <a:gd name="connsiteY9" fmla="*/ 369094 h 1909763"/>
                  <a:gd name="connsiteX10" fmla="*/ 735806 w 885825"/>
                  <a:gd name="connsiteY10" fmla="*/ 431006 h 1909763"/>
                  <a:gd name="connsiteX11" fmla="*/ 762000 w 885825"/>
                  <a:gd name="connsiteY11" fmla="*/ 519113 h 1909763"/>
                  <a:gd name="connsiteX12" fmla="*/ 766762 w 885825"/>
                  <a:gd name="connsiteY12" fmla="*/ 614363 h 1909763"/>
                  <a:gd name="connsiteX13" fmla="*/ 776287 w 885825"/>
                  <a:gd name="connsiteY13" fmla="*/ 700088 h 1909763"/>
                  <a:gd name="connsiteX14" fmla="*/ 766762 w 885825"/>
                  <a:gd name="connsiteY14" fmla="*/ 778669 h 1909763"/>
                  <a:gd name="connsiteX15" fmla="*/ 762000 w 885825"/>
                  <a:gd name="connsiteY15" fmla="*/ 835819 h 1909763"/>
                  <a:gd name="connsiteX16" fmla="*/ 762000 w 885825"/>
                  <a:gd name="connsiteY16" fmla="*/ 892969 h 1909763"/>
                  <a:gd name="connsiteX17" fmla="*/ 762000 w 885825"/>
                  <a:gd name="connsiteY17" fmla="*/ 892969 h 1909763"/>
                  <a:gd name="connsiteX18" fmla="*/ 773906 w 885825"/>
                  <a:gd name="connsiteY18" fmla="*/ 985838 h 1909763"/>
                  <a:gd name="connsiteX19" fmla="*/ 788193 w 885825"/>
                  <a:gd name="connsiteY19" fmla="*/ 1071563 h 1909763"/>
                  <a:gd name="connsiteX20" fmla="*/ 804862 w 885825"/>
                  <a:gd name="connsiteY20" fmla="*/ 1123950 h 1909763"/>
                  <a:gd name="connsiteX21" fmla="*/ 814387 w 885825"/>
                  <a:gd name="connsiteY21" fmla="*/ 1183481 h 1909763"/>
                  <a:gd name="connsiteX22" fmla="*/ 840581 w 885825"/>
                  <a:gd name="connsiteY22" fmla="*/ 1238250 h 1909763"/>
                  <a:gd name="connsiteX23" fmla="*/ 881062 w 885825"/>
                  <a:gd name="connsiteY23" fmla="*/ 1314450 h 1909763"/>
                  <a:gd name="connsiteX24" fmla="*/ 885825 w 885825"/>
                  <a:gd name="connsiteY24" fmla="*/ 1343025 h 1909763"/>
                  <a:gd name="connsiteX25" fmla="*/ 866775 w 885825"/>
                  <a:gd name="connsiteY25" fmla="*/ 1376363 h 1909763"/>
                  <a:gd name="connsiteX26" fmla="*/ 833437 w 885825"/>
                  <a:gd name="connsiteY26" fmla="*/ 1397794 h 1909763"/>
                  <a:gd name="connsiteX27" fmla="*/ 783431 w 885825"/>
                  <a:gd name="connsiteY27" fmla="*/ 1395413 h 1909763"/>
                  <a:gd name="connsiteX28" fmla="*/ 728662 w 885825"/>
                  <a:gd name="connsiteY28" fmla="*/ 1397794 h 1909763"/>
                  <a:gd name="connsiteX29" fmla="*/ 700087 w 885825"/>
                  <a:gd name="connsiteY29" fmla="*/ 1414463 h 1909763"/>
                  <a:gd name="connsiteX30" fmla="*/ 669131 w 885825"/>
                  <a:gd name="connsiteY30" fmla="*/ 1447800 h 1909763"/>
                  <a:gd name="connsiteX31" fmla="*/ 669131 w 885825"/>
                  <a:gd name="connsiteY31" fmla="*/ 1485900 h 1909763"/>
                  <a:gd name="connsiteX32" fmla="*/ 673893 w 885825"/>
                  <a:gd name="connsiteY32" fmla="*/ 1514475 h 1909763"/>
                  <a:gd name="connsiteX33" fmla="*/ 681037 w 885825"/>
                  <a:gd name="connsiteY33" fmla="*/ 1543050 h 1909763"/>
                  <a:gd name="connsiteX34" fmla="*/ 707231 w 885825"/>
                  <a:gd name="connsiteY34" fmla="*/ 1578769 h 1909763"/>
                  <a:gd name="connsiteX35" fmla="*/ 721518 w 885825"/>
                  <a:gd name="connsiteY35" fmla="*/ 1609725 h 1909763"/>
                  <a:gd name="connsiteX36" fmla="*/ 747712 w 885825"/>
                  <a:gd name="connsiteY36" fmla="*/ 1664494 h 1909763"/>
                  <a:gd name="connsiteX37" fmla="*/ 733425 w 885825"/>
                  <a:gd name="connsiteY37" fmla="*/ 1707356 h 1909763"/>
                  <a:gd name="connsiteX38" fmla="*/ 704850 w 885825"/>
                  <a:gd name="connsiteY38" fmla="*/ 1764506 h 1909763"/>
                  <a:gd name="connsiteX39" fmla="*/ 678656 w 885825"/>
                  <a:gd name="connsiteY39" fmla="*/ 1845469 h 1909763"/>
                  <a:gd name="connsiteX40" fmla="*/ 676275 w 885825"/>
                  <a:gd name="connsiteY40" fmla="*/ 1883569 h 1909763"/>
                  <a:gd name="connsiteX41" fmla="*/ 681037 w 885825"/>
                  <a:gd name="connsiteY41" fmla="*/ 1905000 h 1909763"/>
                  <a:gd name="connsiteX42" fmla="*/ 676275 w 885825"/>
                  <a:gd name="connsiteY42" fmla="*/ 1909763 h 1909763"/>
                  <a:gd name="connsiteX0" fmla="*/ 0 w 885825"/>
                  <a:gd name="connsiteY0" fmla="*/ 0 h 1909763"/>
                  <a:gd name="connsiteX1" fmla="*/ 119062 w 885825"/>
                  <a:gd name="connsiteY1" fmla="*/ 26194 h 1909763"/>
                  <a:gd name="connsiteX2" fmla="*/ 228600 w 885825"/>
                  <a:gd name="connsiteY2" fmla="*/ 57150 h 1909763"/>
                  <a:gd name="connsiteX3" fmla="*/ 323850 w 885825"/>
                  <a:gd name="connsiteY3" fmla="*/ 83344 h 1909763"/>
                  <a:gd name="connsiteX4" fmla="*/ 409575 w 885825"/>
                  <a:gd name="connsiteY4" fmla="*/ 116681 h 1909763"/>
                  <a:gd name="connsiteX5" fmla="*/ 502443 w 885825"/>
                  <a:gd name="connsiteY5" fmla="*/ 159544 h 1909763"/>
                  <a:gd name="connsiteX6" fmla="*/ 557212 w 885825"/>
                  <a:gd name="connsiteY6" fmla="*/ 192881 h 1909763"/>
                  <a:gd name="connsiteX7" fmla="*/ 621506 w 885825"/>
                  <a:gd name="connsiteY7" fmla="*/ 252413 h 1909763"/>
                  <a:gd name="connsiteX8" fmla="*/ 678656 w 885825"/>
                  <a:gd name="connsiteY8" fmla="*/ 314325 h 1909763"/>
                  <a:gd name="connsiteX9" fmla="*/ 709612 w 885825"/>
                  <a:gd name="connsiteY9" fmla="*/ 369094 h 1909763"/>
                  <a:gd name="connsiteX10" fmla="*/ 735806 w 885825"/>
                  <a:gd name="connsiteY10" fmla="*/ 431006 h 1909763"/>
                  <a:gd name="connsiteX11" fmla="*/ 762000 w 885825"/>
                  <a:gd name="connsiteY11" fmla="*/ 519113 h 1909763"/>
                  <a:gd name="connsiteX12" fmla="*/ 766762 w 885825"/>
                  <a:gd name="connsiteY12" fmla="*/ 614363 h 1909763"/>
                  <a:gd name="connsiteX13" fmla="*/ 776287 w 885825"/>
                  <a:gd name="connsiteY13" fmla="*/ 700088 h 1909763"/>
                  <a:gd name="connsiteX14" fmla="*/ 766762 w 885825"/>
                  <a:gd name="connsiteY14" fmla="*/ 778669 h 1909763"/>
                  <a:gd name="connsiteX15" fmla="*/ 762000 w 885825"/>
                  <a:gd name="connsiteY15" fmla="*/ 835819 h 1909763"/>
                  <a:gd name="connsiteX16" fmla="*/ 762000 w 885825"/>
                  <a:gd name="connsiteY16" fmla="*/ 892969 h 1909763"/>
                  <a:gd name="connsiteX17" fmla="*/ 762000 w 885825"/>
                  <a:gd name="connsiteY17" fmla="*/ 892969 h 1909763"/>
                  <a:gd name="connsiteX18" fmla="*/ 773906 w 885825"/>
                  <a:gd name="connsiteY18" fmla="*/ 985838 h 1909763"/>
                  <a:gd name="connsiteX19" fmla="*/ 788193 w 885825"/>
                  <a:gd name="connsiteY19" fmla="*/ 1071563 h 1909763"/>
                  <a:gd name="connsiteX20" fmla="*/ 804862 w 885825"/>
                  <a:gd name="connsiteY20" fmla="*/ 1123950 h 1909763"/>
                  <a:gd name="connsiteX21" fmla="*/ 814387 w 885825"/>
                  <a:gd name="connsiteY21" fmla="*/ 1183481 h 1909763"/>
                  <a:gd name="connsiteX22" fmla="*/ 840581 w 885825"/>
                  <a:gd name="connsiteY22" fmla="*/ 1238250 h 1909763"/>
                  <a:gd name="connsiteX23" fmla="*/ 881062 w 885825"/>
                  <a:gd name="connsiteY23" fmla="*/ 1314450 h 1909763"/>
                  <a:gd name="connsiteX24" fmla="*/ 885825 w 885825"/>
                  <a:gd name="connsiteY24" fmla="*/ 1343025 h 1909763"/>
                  <a:gd name="connsiteX25" fmla="*/ 866775 w 885825"/>
                  <a:gd name="connsiteY25" fmla="*/ 1376363 h 1909763"/>
                  <a:gd name="connsiteX26" fmla="*/ 833437 w 885825"/>
                  <a:gd name="connsiteY26" fmla="*/ 1397794 h 1909763"/>
                  <a:gd name="connsiteX27" fmla="*/ 783431 w 885825"/>
                  <a:gd name="connsiteY27" fmla="*/ 1395413 h 1909763"/>
                  <a:gd name="connsiteX28" fmla="*/ 728662 w 885825"/>
                  <a:gd name="connsiteY28" fmla="*/ 1397794 h 1909763"/>
                  <a:gd name="connsiteX29" fmla="*/ 700087 w 885825"/>
                  <a:gd name="connsiteY29" fmla="*/ 1414463 h 1909763"/>
                  <a:gd name="connsiteX30" fmla="*/ 669131 w 885825"/>
                  <a:gd name="connsiteY30" fmla="*/ 1447800 h 1909763"/>
                  <a:gd name="connsiteX31" fmla="*/ 669131 w 885825"/>
                  <a:gd name="connsiteY31" fmla="*/ 1485900 h 1909763"/>
                  <a:gd name="connsiteX32" fmla="*/ 673893 w 885825"/>
                  <a:gd name="connsiteY32" fmla="*/ 1514475 h 1909763"/>
                  <a:gd name="connsiteX33" fmla="*/ 681037 w 885825"/>
                  <a:gd name="connsiteY33" fmla="*/ 1543050 h 1909763"/>
                  <a:gd name="connsiteX34" fmla="*/ 707231 w 885825"/>
                  <a:gd name="connsiteY34" fmla="*/ 1578769 h 1909763"/>
                  <a:gd name="connsiteX35" fmla="*/ 721518 w 885825"/>
                  <a:gd name="connsiteY35" fmla="*/ 1609725 h 1909763"/>
                  <a:gd name="connsiteX36" fmla="*/ 747712 w 885825"/>
                  <a:gd name="connsiteY36" fmla="*/ 1664494 h 1909763"/>
                  <a:gd name="connsiteX37" fmla="*/ 733425 w 885825"/>
                  <a:gd name="connsiteY37" fmla="*/ 1707356 h 1909763"/>
                  <a:gd name="connsiteX38" fmla="*/ 704850 w 885825"/>
                  <a:gd name="connsiteY38" fmla="*/ 1764506 h 1909763"/>
                  <a:gd name="connsiteX39" fmla="*/ 678656 w 885825"/>
                  <a:gd name="connsiteY39" fmla="*/ 1845469 h 1909763"/>
                  <a:gd name="connsiteX40" fmla="*/ 676275 w 885825"/>
                  <a:gd name="connsiteY40" fmla="*/ 1883569 h 1909763"/>
                  <a:gd name="connsiteX41" fmla="*/ 681037 w 885825"/>
                  <a:gd name="connsiteY41" fmla="*/ 1905000 h 1909763"/>
                  <a:gd name="connsiteX42" fmla="*/ 676275 w 885825"/>
                  <a:gd name="connsiteY42" fmla="*/ 1909763 h 1909763"/>
                  <a:gd name="connsiteX0" fmla="*/ 0 w 885825"/>
                  <a:gd name="connsiteY0" fmla="*/ 0 h 1909763"/>
                  <a:gd name="connsiteX1" fmla="*/ 119062 w 885825"/>
                  <a:gd name="connsiteY1" fmla="*/ 26194 h 1909763"/>
                  <a:gd name="connsiteX2" fmla="*/ 228600 w 885825"/>
                  <a:gd name="connsiteY2" fmla="*/ 57150 h 1909763"/>
                  <a:gd name="connsiteX3" fmla="*/ 323850 w 885825"/>
                  <a:gd name="connsiteY3" fmla="*/ 83344 h 1909763"/>
                  <a:gd name="connsiteX4" fmla="*/ 409575 w 885825"/>
                  <a:gd name="connsiteY4" fmla="*/ 116681 h 1909763"/>
                  <a:gd name="connsiteX5" fmla="*/ 502443 w 885825"/>
                  <a:gd name="connsiteY5" fmla="*/ 159544 h 1909763"/>
                  <a:gd name="connsiteX6" fmla="*/ 557212 w 885825"/>
                  <a:gd name="connsiteY6" fmla="*/ 192881 h 1909763"/>
                  <a:gd name="connsiteX7" fmla="*/ 621506 w 885825"/>
                  <a:gd name="connsiteY7" fmla="*/ 252413 h 1909763"/>
                  <a:gd name="connsiteX8" fmla="*/ 678656 w 885825"/>
                  <a:gd name="connsiteY8" fmla="*/ 314325 h 1909763"/>
                  <a:gd name="connsiteX9" fmla="*/ 709612 w 885825"/>
                  <a:gd name="connsiteY9" fmla="*/ 369094 h 1909763"/>
                  <a:gd name="connsiteX10" fmla="*/ 735806 w 885825"/>
                  <a:gd name="connsiteY10" fmla="*/ 431006 h 1909763"/>
                  <a:gd name="connsiteX11" fmla="*/ 762000 w 885825"/>
                  <a:gd name="connsiteY11" fmla="*/ 519113 h 1909763"/>
                  <a:gd name="connsiteX12" fmla="*/ 766762 w 885825"/>
                  <a:gd name="connsiteY12" fmla="*/ 614363 h 1909763"/>
                  <a:gd name="connsiteX13" fmla="*/ 776287 w 885825"/>
                  <a:gd name="connsiteY13" fmla="*/ 700088 h 1909763"/>
                  <a:gd name="connsiteX14" fmla="*/ 766762 w 885825"/>
                  <a:gd name="connsiteY14" fmla="*/ 778669 h 1909763"/>
                  <a:gd name="connsiteX15" fmla="*/ 762000 w 885825"/>
                  <a:gd name="connsiteY15" fmla="*/ 835819 h 1909763"/>
                  <a:gd name="connsiteX16" fmla="*/ 762000 w 885825"/>
                  <a:gd name="connsiteY16" fmla="*/ 892969 h 1909763"/>
                  <a:gd name="connsiteX17" fmla="*/ 762000 w 885825"/>
                  <a:gd name="connsiteY17" fmla="*/ 892969 h 1909763"/>
                  <a:gd name="connsiteX18" fmla="*/ 773906 w 885825"/>
                  <a:gd name="connsiteY18" fmla="*/ 985838 h 1909763"/>
                  <a:gd name="connsiteX19" fmla="*/ 788193 w 885825"/>
                  <a:gd name="connsiteY19" fmla="*/ 1071563 h 1909763"/>
                  <a:gd name="connsiteX20" fmla="*/ 804862 w 885825"/>
                  <a:gd name="connsiteY20" fmla="*/ 1123950 h 1909763"/>
                  <a:gd name="connsiteX21" fmla="*/ 814387 w 885825"/>
                  <a:gd name="connsiteY21" fmla="*/ 1183481 h 1909763"/>
                  <a:gd name="connsiteX22" fmla="*/ 840581 w 885825"/>
                  <a:gd name="connsiteY22" fmla="*/ 1238250 h 1909763"/>
                  <a:gd name="connsiteX23" fmla="*/ 881062 w 885825"/>
                  <a:gd name="connsiteY23" fmla="*/ 1314450 h 1909763"/>
                  <a:gd name="connsiteX24" fmla="*/ 885825 w 885825"/>
                  <a:gd name="connsiteY24" fmla="*/ 1343025 h 1909763"/>
                  <a:gd name="connsiteX25" fmla="*/ 866775 w 885825"/>
                  <a:gd name="connsiteY25" fmla="*/ 1376363 h 1909763"/>
                  <a:gd name="connsiteX26" fmla="*/ 833437 w 885825"/>
                  <a:gd name="connsiteY26" fmla="*/ 1397794 h 1909763"/>
                  <a:gd name="connsiteX27" fmla="*/ 783431 w 885825"/>
                  <a:gd name="connsiteY27" fmla="*/ 1395413 h 1909763"/>
                  <a:gd name="connsiteX28" fmla="*/ 728662 w 885825"/>
                  <a:gd name="connsiteY28" fmla="*/ 1397794 h 1909763"/>
                  <a:gd name="connsiteX29" fmla="*/ 700087 w 885825"/>
                  <a:gd name="connsiteY29" fmla="*/ 1414463 h 1909763"/>
                  <a:gd name="connsiteX30" fmla="*/ 669131 w 885825"/>
                  <a:gd name="connsiteY30" fmla="*/ 1447800 h 1909763"/>
                  <a:gd name="connsiteX31" fmla="*/ 669131 w 885825"/>
                  <a:gd name="connsiteY31" fmla="*/ 1485900 h 1909763"/>
                  <a:gd name="connsiteX32" fmla="*/ 673893 w 885825"/>
                  <a:gd name="connsiteY32" fmla="*/ 1514475 h 1909763"/>
                  <a:gd name="connsiteX33" fmla="*/ 681037 w 885825"/>
                  <a:gd name="connsiteY33" fmla="*/ 1543050 h 1909763"/>
                  <a:gd name="connsiteX34" fmla="*/ 707231 w 885825"/>
                  <a:gd name="connsiteY34" fmla="*/ 1578769 h 1909763"/>
                  <a:gd name="connsiteX35" fmla="*/ 721518 w 885825"/>
                  <a:gd name="connsiteY35" fmla="*/ 1609725 h 1909763"/>
                  <a:gd name="connsiteX36" fmla="*/ 747712 w 885825"/>
                  <a:gd name="connsiteY36" fmla="*/ 1664494 h 1909763"/>
                  <a:gd name="connsiteX37" fmla="*/ 733425 w 885825"/>
                  <a:gd name="connsiteY37" fmla="*/ 1707356 h 1909763"/>
                  <a:gd name="connsiteX38" fmla="*/ 704850 w 885825"/>
                  <a:gd name="connsiteY38" fmla="*/ 1764506 h 1909763"/>
                  <a:gd name="connsiteX39" fmla="*/ 678656 w 885825"/>
                  <a:gd name="connsiteY39" fmla="*/ 1845469 h 1909763"/>
                  <a:gd name="connsiteX40" fmla="*/ 676275 w 885825"/>
                  <a:gd name="connsiteY40" fmla="*/ 1883569 h 1909763"/>
                  <a:gd name="connsiteX41" fmla="*/ 681037 w 885825"/>
                  <a:gd name="connsiteY41" fmla="*/ 1905000 h 1909763"/>
                  <a:gd name="connsiteX42" fmla="*/ 676275 w 885825"/>
                  <a:gd name="connsiteY42" fmla="*/ 1909763 h 1909763"/>
                  <a:gd name="connsiteX0" fmla="*/ 0 w 885825"/>
                  <a:gd name="connsiteY0" fmla="*/ 0 h 1909763"/>
                  <a:gd name="connsiteX1" fmla="*/ 119062 w 885825"/>
                  <a:gd name="connsiteY1" fmla="*/ 26194 h 1909763"/>
                  <a:gd name="connsiteX2" fmla="*/ 228600 w 885825"/>
                  <a:gd name="connsiteY2" fmla="*/ 57150 h 1909763"/>
                  <a:gd name="connsiteX3" fmla="*/ 323850 w 885825"/>
                  <a:gd name="connsiteY3" fmla="*/ 83344 h 1909763"/>
                  <a:gd name="connsiteX4" fmla="*/ 409575 w 885825"/>
                  <a:gd name="connsiteY4" fmla="*/ 116681 h 1909763"/>
                  <a:gd name="connsiteX5" fmla="*/ 502443 w 885825"/>
                  <a:gd name="connsiteY5" fmla="*/ 159544 h 1909763"/>
                  <a:gd name="connsiteX6" fmla="*/ 557212 w 885825"/>
                  <a:gd name="connsiteY6" fmla="*/ 192881 h 1909763"/>
                  <a:gd name="connsiteX7" fmla="*/ 621506 w 885825"/>
                  <a:gd name="connsiteY7" fmla="*/ 252413 h 1909763"/>
                  <a:gd name="connsiteX8" fmla="*/ 678656 w 885825"/>
                  <a:gd name="connsiteY8" fmla="*/ 314325 h 1909763"/>
                  <a:gd name="connsiteX9" fmla="*/ 709612 w 885825"/>
                  <a:gd name="connsiteY9" fmla="*/ 369094 h 1909763"/>
                  <a:gd name="connsiteX10" fmla="*/ 735806 w 885825"/>
                  <a:gd name="connsiteY10" fmla="*/ 431006 h 1909763"/>
                  <a:gd name="connsiteX11" fmla="*/ 762000 w 885825"/>
                  <a:gd name="connsiteY11" fmla="*/ 519113 h 1909763"/>
                  <a:gd name="connsiteX12" fmla="*/ 766762 w 885825"/>
                  <a:gd name="connsiteY12" fmla="*/ 614363 h 1909763"/>
                  <a:gd name="connsiteX13" fmla="*/ 764381 w 885825"/>
                  <a:gd name="connsiteY13" fmla="*/ 716757 h 1909763"/>
                  <a:gd name="connsiteX14" fmla="*/ 766762 w 885825"/>
                  <a:gd name="connsiteY14" fmla="*/ 778669 h 1909763"/>
                  <a:gd name="connsiteX15" fmla="*/ 762000 w 885825"/>
                  <a:gd name="connsiteY15" fmla="*/ 835819 h 1909763"/>
                  <a:gd name="connsiteX16" fmla="*/ 762000 w 885825"/>
                  <a:gd name="connsiteY16" fmla="*/ 892969 h 1909763"/>
                  <a:gd name="connsiteX17" fmla="*/ 762000 w 885825"/>
                  <a:gd name="connsiteY17" fmla="*/ 892969 h 1909763"/>
                  <a:gd name="connsiteX18" fmla="*/ 773906 w 885825"/>
                  <a:gd name="connsiteY18" fmla="*/ 985838 h 1909763"/>
                  <a:gd name="connsiteX19" fmla="*/ 788193 w 885825"/>
                  <a:gd name="connsiteY19" fmla="*/ 1071563 h 1909763"/>
                  <a:gd name="connsiteX20" fmla="*/ 804862 w 885825"/>
                  <a:gd name="connsiteY20" fmla="*/ 1123950 h 1909763"/>
                  <a:gd name="connsiteX21" fmla="*/ 814387 w 885825"/>
                  <a:gd name="connsiteY21" fmla="*/ 1183481 h 1909763"/>
                  <a:gd name="connsiteX22" fmla="*/ 840581 w 885825"/>
                  <a:gd name="connsiteY22" fmla="*/ 1238250 h 1909763"/>
                  <a:gd name="connsiteX23" fmla="*/ 881062 w 885825"/>
                  <a:gd name="connsiteY23" fmla="*/ 1314450 h 1909763"/>
                  <a:gd name="connsiteX24" fmla="*/ 885825 w 885825"/>
                  <a:gd name="connsiteY24" fmla="*/ 1343025 h 1909763"/>
                  <a:gd name="connsiteX25" fmla="*/ 866775 w 885825"/>
                  <a:gd name="connsiteY25" fmla="*/ 1376363 h 1909763"/>
                  <a:gd name="connsiteX26" fmla="*/ 833437 w 885825"/>
                  <a:gd name="connsiteY26" fmla="*/ 1397794 h 1909763"/>
                  <a:gd name="connsiteX27" fmla="*/ 783431 w 885825"/>
                  <a:gd name="connsiteY27" fmla="*/ 1395413 h 1909763"/>
                  <a:gd name="connsiteX28" fmla="*/ 728662 w 885825"/>
                  <a:gd name="connsiteY28" fmla="*/ 1397794 h 1909763"/>
                  <a:gd name="connsiteX29" fmla="*/ 700087 w 885825"/>
                  <a:gd name="connsiteY29" fmla="*/ 1414463 h 1909763"/>
                  <a:gd name="connsiteX30" fmla="*/ 669131 w 885825"/>
                  <a:gd name="connsiteY30" fmla="*/ 1447800 h 1909763"/>
                  <a:gd name="connsiteX31" fmla="*/ 669131 w 885825"/>
                  <a:gd name="connsiteY31" fmla="*/ 1485900 h 1909763"/>
                  <a:gd name="connsiteX32" fmla="*/ 673893 w 885825"/>
                  <a:gd name="connsiteY32" fmla="*/ 1514475 h 1909763"/>
                  <a:gd name="connsiteX33" fmla="*/ 681037 w 885825"/>
                  <a:gd name="connsiteY33" fmla="*/ 1543050 h 1909763"/>
                  <a:gd name="connsiteX34" fmla="*/ 707231 w 885825"/>
                  <a:gd name="connsiteY34" fmla="*/ 1578769 h 1909763"/>
                  <a:gd name="connsiteX35" fmla="*/ 721518 w 885825"/>
                  <a:gd name="connsiteY35" fmla="*/ 1609725 h 1909763"/>
                  <a:gd name="connsiteX36" fmla="*/ 747712 w 885825"/>
                  <a:gd name="connsiteY36" fmla="*/ 1664494 h 1909763"/>
                  <a:gd name="connsiteX37" fmla="*/ 733425 w 885825"/>
                  <a:gd name="connsiteY37" fmla="*/ 1707356 h 1909763"/>
                  <a:gd name="connsiteX38" fmla="*/ 704850 w 885825"/>
                  <a:gd name="connsiteY38" fmla="*/ 1764506 h 1909763"/>
                  <a:gd name="connsiteX39" fmla="*/ 678656 w 885825"/>
                  <a:gd name="connsiteY39" fmla="*/ 1845469 h 1909763"/>
                  <a:gd name="connsiteX40" fmla="*/ 676275 w 885825"/>
                  <a:gd name="connsiteY40" fmla="*/ 1883569 h 1909763"/>
                  <a:gd name="connsiteX41" fmla="*/ 681037 w 885825"/>
                  <a:gd name="connsiteY41" fmla="*/ 1905000 h 1909763"/>
                  <a:gd name="connsiteX42" fmla="*/ 676275 w 885825"/>
                  <a:gd name="connsiteY42" fmla="*/ 1909763 h 1909763"/>
                  <a:gd name="connsiteX0" fmla="*/ 0 w 885825"/>
                  <a:gd name="connsiteY0" fmla="*/ 0 h 1909763"/>
                  <a:gd name="connsiteX1" fmla="*/ 119062 w 885825"/>
                  <a:gd name="connsiteY1" fmla="*/ 26194 h 1909763"/>
                  <a:gd name="connsiteX2" fmla="*/ 228600 w 885825"/>
                  <a:gd name="connsiteY2" fmla="*/ 57150 h 1909763"/>
                  <a:gd name="connsiteX3" fmla="*/ 323850 w 885825"/>
                  <a:gd name="connsiteY3" fmla="*/ 83344 h 1909763"/>
                  <a:gd name="connsiteX4" fmla="*/ 409575 w 885825"/>
                  <a:gd name="connsiteY4" fmla="*/ 116681 h 1909763"/>
                  <a:gd name="connsiteX5" fmla="*/ 502443 w 885825"/>
                  <a:gd name="connsiteY5" fmla="*/ 159544 h 1909763"/>
                  <a:gd name="connsiteX6" fmla="*/ 557212 w 885825"/>
                  <a:gd name="connsiteY6" fmla="*/ 192881 h 1909763"/>
                  <a:gd name="connsiteX7" fmla="*/ 621506 w 885825"/>
                  <a:gd name="connsiteY7" fmla="*/ 252413 h 1909763"/>
                  <a:gd name="connsiteX8" fmla="*/ 678656 w 885825"/>
                  <a:gd name="connsiteY8" fmla="*/ 314325 h 1909763"/>
                  <a:gd name="connsiteX9" fmla="*/ 709612 w 885825"/>
                  <a:gd name="connsiteY9" fmla="*/ 369094 h 1909763"/>
                  <a:gd name="connsiteX10" fmla="*/ 735806 w 885825"/>
                  <a:gd name="connsiteY10" fmla="*/ 431006 h 1909763"/>
                  <a:gd name="connsiteX11" fmla="*/ 762000 w 885825"/>
                  <a:gd name="connsiteY11" fmla="*/ 519113 h 1909763"/>
                  <a:gd name="connsiteX12" fmla="*/ 766762 w 885825"/>
                  <a:gd name="connsiteY12" fmla="*/ 614363 h 1909763"/>
                  <a:gd name="connsiteX13" fmla="*/ 764381 w 885825"/>
                  <a:gd name="connsiteY13" fmla="*/ 716757 h 1909763"/>
                  <a:gd name="connsiteX14" fmla="*/ 766762 w 885825"/>
                  <a:gd name="connsiteY14" fmla="*/ 778669 h 1909763"/>
                  <a:gd name="connsiteX15" fmla="*/ 762000 w 885825"/>
                  <a:gd name="connsiteY15" fmla="*/ 835819 h 1909763"/>
                  <a:gd name="connsiteX16" fmla="*/ 762000 w 885825"/>
                  <a:gd name="connsiteY16" fmla="*/ 892969 h 1909763"/>
                  <a:gd name="connsiteX17" fmla="*/ 762000 w 885825"/>
                  <a:gd name="connsiteY17" fmla="*/ 892969 h 1909763"/>
                  <a:gd name="connsiteX18" fmla="*/ 773906 w 885825"/>
                  <a:gd name="connsiteY18" fmla="*/ 985838 h 1909763"/>
                  <a:gd name="connsiteX19" fmla="*/ 788193 w 885825"/>
                  <a:gd name="connsiteY19" fmla="*/ 1071563 h 1909763"/>
                  <a:gd name="connsiteX20" fmla="*/ 797718 w 885825"/>
                  <a:gd name="connsiteY20" fmla="*/ 1131093 h 1909763"/>
                  <a:gd name="connsiteX21" fmla="*/ 814387 w 885825"/>
                  <a:gd name="connsiteY21" fmla="*/ 1183481 h 1909763"/>
                  <a:gd name="connsiteX22" fmla="*/ 840581 w 885825"/>
                  <a:gd name="connsiteY22" fmla="*/ 1238250 h 1909763"/>
                  <a:gd name="connsiteX23" fmla="*/ 881062 w 885825"/>
                  <a:gd name="connsiteY23" fmla="*/ 1314450 h 1909763"/>
                  <a:gd name="connsiteX24" fmla="*/ 885825 w 885825"/>
                  <a:gd name="connsiteY24" fmla="*/ 1343025 h 1909763"/>
                  <a:gd name="connsiteX25" fmla="*/ 866775 w 885825"/>
                  <a:gd name="connsiteY25" fmla="*/ 1376363 h 1909763"/>
                  <a:gd name="connsiteX26" fmla="*/ 833437 w 885825"/>
                  <a:gd name="connsiteY26" fmla="*/ 1397794 h 1909763"/>
                  <a:gd name="connsiteX27" fmla="*/ 783431 w 885825"/>
                  <a:gd name="connsiteY27" fmla="*/ 1395413 h 1909763"/>
                  <a:gd name="connsiteX28" fmla="*/ 728662 w 885825"/>
                  <a:gd name="connsiteY28" fmla="*/ 1397794 h 1909763"/>
                  <a:gd name="connsiteX29" fmla="*/ 700087 w 885825"/>
                  <a:gd name="connsiteY29" fmla="*/ 1414463 h 1909763"/>
                  <a:gd name="connsiteX30" fmla="*/ 669131 w 885825"/>
                  <a:gd name="connsiteY30" fmla="*/ 1447800 h 1909763"/>
                  <a:gd name="connsiteX31" fmla="*/ 669131 w 885825"/>
                  <a:gd name="connsiteY31" fmla="*/ 1485900 h 1909763"/>
                  <a:gd name="connsiteX32" fmla="*/ 673893 w 885825"/>
                  <a:gd name="connsiteY32" fmla="*/ 1514475 h 1909763"/>
                  <a:gd name="connsiteX33" fmla="*/ 681037 w 885825"/>
                  <a:gd name="connsiteY33" fmla="*/ 1543050 h 1909763"/>
                  <a:gd name="connsiteX34" fmla="*/ 707231 w 885825"/>
                  <a:gd name="connsiteY34" fmla="*/ 1578769 h 1909763"/>
                  <a:gd name="connsiteX35" fmla="*/ 721518 w 885825"/>
                  <a:gd name="connsiteY35" fmla="*/ 1609725 h 1909763"/>
                  <a:gd name="connsiteX36" fmla="*/ 747712 w 885825"/>
                  <a:gd name="connsiteY36" fmla="*/ 1664494 h 1909763"/>
                  <a:gd name="connsiteX37" fmla="*/ 733425 w 885825"/>
                  <a:gd name="connsiteY37" fmla="*/ 1707356 h 1909763"/>
                  <a:gd name="connsiteX38" fmla="*/ 704850 w 885825"/>
                  <a:gd name="connsiteY38" fmla="*/ 1764506 h 1909763"/>
                  <a:gd name="connsiteX39" fmla="*/ 678656 w 885825"/>
                  <a:gd name="connsiteY39" fmla="*/ 1845469 h 1909763"/>
                  <a:gd name="connsiteX40" fmla="*/ 676275 w 885825"/>
                  <a:gd name="connsiteY40" fmla="*/ 1883569 h 1909763"/>
                  <a:gd name="connsiteX41" fmla="*/ 681037 w 885825"/>
                  <a:gd name="connsiteY41" fmla="*/ 1905000 h 1909763"/>
                  <a:gd name="connsiteX42" fmla="*/ 676275 w 885825"/>
                  <a:gd name="connsiteY42" fmla="*/ 1909763 h 1909763"/>
                  <a:gd name="connsiteX0" fmla="*/ 0 w 885825"/>
                  <a:gd name="connsiteY0" fmla="*/ 0 h 1909763"/>
                  <a:gd name="connsiteX1" fmla="*/ 119062 w 885825"/>
                  <a:gd name="connsiteY1" fmla="*/ 26194 h 1909763"/>
                  <a:gd name="connsiteX2" fmla="*/ 228600 w 885825"/>
                  <a:gd name="connsiteY2" fmla="*/ 57150 h 1909763"/>
                  <a:gd name="connsiteX3" fmla="*/ 323850 w 885825"/>
                  <a:gd name="connsiteY3" fmla="*/ 83344 h 1909763"/>
                  <a:gd name="connsiteX4" fmla="*/ 409575 w 885825"/>
                  <a:gd name="connsiteY4" fmla="*/ 116681 h 1909763"/>
                  <a:gd name="connsiteX5" fmla="*/ 502443 w 885825"/>
                  <a:gd name="connsiteY5" fmla="*/ 159544 h 1909763"/>
                  <a:gd name="connsiteX6" fmla="*/ 557212 w 885825"/>
                  <a:gd name="connsiteY6" fmla="*/ 192881 h 1909763"/>
                  <a:gd name="connsiteX7" fmla="*/ 621506 w 885825"/>
                  <a:gd name="connsiteY7" fmla="*/ 252413 h 1909763"/>
                  <a:gd name="connsiteX8" fmla="*/ 678656 w 885825"/>
                  <a:gd name="connsiteY8" fmla="*/ 314325 h 1909763"/>
                  <a:gd name="connsiteX9" fmla="*/ 709612 w 885825"/>
                  <a:gd name="connsiteY9" fmla="*/ 369094 h 1909763"/>
                  <a:gd name="connsiteX10" fmla="*/ 735806 w 885825"/>
                  <a:gd name="connsiteY10" fmla="*/ 431006 h 1909763"/>
                  <a:gd name="connsiteX11" fmla="*/ 762000 w 885825"/>
                  <a:gd name="connsiteY11" fmla="*/ 519113 h 1909763"/>
                  <a:gd name="connsiteX12" fmla="*/ 766762 w 885825"/>
                  <a:gd name="connsiteY12" fmla="*/ 614363 h 1909763"/>
                  <a:gd name="connsiteX13" fmla="*/ 764381 w 885825"/>
                  <a:gd name="connsiteY13" fmla="*/ 716757 h 1909763"/>
                  <a:gd name="connsiteX14" fmla="*/ 766762 w 885825"/>
                  <a:gd name="connsiteY14" fmla="*/ 778669 h 1909763"/>
                  <a:gd name="connsiteX15" fmla="*/ 762000 w 885825"/>
                  <a:gd name="connsiteY15" fmla="*/ 835819 h 1909763"/>
                  <a:gd name="connsiteX16" fmla="*/ 762000 w 885825"/>
                  <a:gd name="connsiteY16" fmla="*/ 892969 h 1909763"/>
                  <a:gd name="connsiteX17" fmla="*/ 762000 w 885825"/>
                  <a:gd name="connsiteY17" fmla="*/ 892969 h 1909763"/>
                  <a:gd name="connsiteX18" fmla="*/ 773906 w 885825"/>
                  <a:gd name="connsiteY18" fmla="*/ 985838 h 1909763"/>
                  <a:gd name="connsiteX19" fmla="*/ 788193 w 885825"/>
                  <a:gd name="connsiteY19" fmla="*/ 1071563 h 1909763"/>
                  <a:gd name="connsiteX20" fmla="*/ 797718 w 885825"/>
                  <a:gd name="connsiteY20" fmla="*/ 1131093 h 1909763"/>
                  <a:gd name="connsiteX21" fmla="*/ 819149 w 885825"/>
                  <a:gd name="connsiteY21" fmla="*/ 1183481 h 1909763"/>
                  <a:gd name="connsiteX22" fmla="*/ 840581 w 885825"/>
                  <a:gd name="connsiteY22" fmla="*/ 1238250 h 1909763"/>
                  <a:gd name="connsiteX23" fmla="*/ 881062 w 885825"/>
                  <a:gd name="connsiteY23" fmla="*/ 1314450 h 1909763"/>
                  <a:gd name="connsiteX24" fmla="*/ 885825 w 885825"/>
                  <a:gd name="connsiteY24" fmla="*/ 1343025 h 1909763"/>
                  <a:gd name="connsiteX25" fmla="*/ 866775 w 885825"/>
                  <a:gd name="connsiteY25" fmla="*/ 1376363 h 1909763"/>
                  <a:gd name="connsiteX26" fmla="*/ 833437 w 885825"/>
                  <a:gd name="connsiteY26" fmla="*/ 1397794 h 1909763"/>
                  <a:gd name="connsiteX27" fmla="*/ 783431 w 885825"/>
                  <a:gd name="connsiteY27" fmla="*/ 1395413 h 1909763"/>
                  <a:gd name="connsiteX28" fmla="*/ 728662 w 885825"/>
                  <a:gd name="connsiteY28" fmla="*/ 1397794 h 1909763"/>
                  <a:gd name="connsiteX29" fmla="*/ 700087 w 885825"/>
                  <a:gd name="connsiteY29" fmla="*/ 1414463 h 1909763"/>
                  <a:gd name="connsiteX30" fmla="*/ 669131 w 885825"/>
                  <a:gd name="connsiteY30" fmla="*/ 1447800 h 1909763"/>
                  <a:gd name="connsiteX31" fmla="*/ 669131 w 885825"/>
                  <a:gd name="connsiteY31" fmla="*/ 1485900 h 1909763"/>
                  <a:gd name="connsiteX32" fmla="*/ 673893 w 885825"/>
                  <a:gd name="connsiteY32" fmla="*/ 1514475 h 1909763"/>
                  <a:gd name="connsiteX33" fmla="*/ 681037 w 885825"/>
                  <a:gd name="connsiteY33" fmla="*/ 1543050 h 1909763"/>
                  <a:gd name="connsiteX34" fmla="*/ 707231 w 885825"/>
                  <a:gd name="connsiteY34" fmla="*/ 1578769 h 1909763"/>
                  <a:gd name="connsiteX35" fmla="*/ 721518 w 885825"/>
                  <a:gd name="connsiteY35" fmla="*/ 1609725 h 1909763"/>
                  <a:gd name="connsiteX36" fmla="*/ 747712 w 885825"/>
                  <a:gd name="connsiteY36" fmla="*/ 1664494 h 1909763"/>
                  <a:gd name="connsiteX37" fmla="*/ 733425 w 885825"/>
                  <a:gd name="connsiteY37" fmla="*/ 1707356 h 1909763"/>
                  <a:gd name="connsiteX38" fmla="*/ 704850 w 885825"/>
                  <a:gd name="connsiteY38" fmla="*/ 1764506 h 1909763"/>
                  <a:gd name="connsiteX39" fmla="*/ 678656 w 885825"/>
                  <a:gd name="connsiteY39" fmla="*/ 1845469 h 1909763"/>
                  <a:gd name="connsiteX40" fmla="*/ 676275 w 885825"/>
                  <a:gd name="connsiteY40" fmla="*/ 1883569 h 1909763"/>
                  <a:gd name="connsiteX41" fmla="*/ 681037 w 885825"/>
                  <a:gd name="connsiteY41" fmla="*/ 1905000 h 1909763"/>
                  <a:gd name="connsiteX42" fmla="*/ 676275 w 885825"/>
                  <a:gd name="connsiteY42" fmla="*/ 1909763 h 1909763"/>
                  <a:gd name="connsiteX0" fmla="*/ 0 w 885825"/>
                  <a:gd name="connsiteY0" fmla="*/ 0 h 1909763"/>
                  <a:gd name="connsiteX1" fmla="*/ 119062 w 885825"/>
                  <a:gd name="connsiteY1" fmla="*/ 26194 h 1909763"/>
                  <a:gd name="connsiteX2" fmla="*/ 228600 w 885825"/>
                  <a:gd name="connsiteY2" fmla="*/ 57150 h 1909763"/>
                  <a:gd name="connsiteX3" fmla="*/ 323850 w 885825"/>
                  <a:gd name="connsiteY3" fmla="*/ 83344 h 1909763"/>
                  <a:gd name="connsiteX4" fmla="*/ 409575 w 885825"/>
                  <a:gd name="connsiteY4" fmla="*/ 116681 h 1909763"/>
                  <a:gd name="connsiteX5" fmla="*/ 502443 w 885825"/>
                  <a:gd name="connsiteY5" fmla="*/ 159544 h 1909763"/>
                  <a:gd name="connsiteX6" fmla="*/ 557212 w 885825"/>
                  <a:gd name="connsiteY6" fmla="*/ 192881 h 1909763"/>
                  <a:gd name="connsiteX7" fmla="*/ 621506 w 885825"/>
                  <a:gd name="connsiteY7" fmla="*/ 252413 h 1909763"/>
                  <a:gd name="connsiteX8" fmla="*/ 678656 w 885825"/>
                  <a:gd name="connsiteY8" fmla="*/ 314325 h 1909763"/>
                  <a:gd name="connsiteX9" fmla="*/ 709612 w 885825"/>
                  <a:gd name="connsiteY9" fmla="*/ 369094 h 1909763"/>
                  <a:gd name="connsiteX10" fmla="*/ 735806 w 885825"/>
                  <a:gd name="connsiteY10" fmla="*/ 431006 h 1909763"/>
                  <a:gd name="connsiteX11" fmla="*/ 762000 w 885825"/>
                  <a:gd name="connsiteY11" fmla="*/ 519113 h 1909763"/>
                  <a:gd name="connsiteX12" fmla="*/ 766762 w 885825"/>
                  <a:gd name="connsiteY12" fmla="*/ 614363 h 1909763"/>
                  <a:gd name="connsiteX13" fmla="*/ 764381 w 885825"/>
                  <a:gd name="connsiteY13" fmla="*/ 716757 h 1909763"/>
                  <a:gd name="connsiteX14" fmla="*/ 766762 w 885825"/>
                  <a:gd name="connsiteY14" fmla="*/ 778669 h 1909763"/>
                  <a:gd name="connsiteX15" fmla="*/ 762000 w 885825"/>
                  <a:gd name="connsiteY15" fmla="*/ 835819 h 1909763"/>
                  <a:gd name="connsiteX16" fmla="*/ 762000 w 885825"/>
                  <a:gd name="connsiteY16" fmla="*/ 892969 h 1909763"/>
                  <a:gd name="connsiteX17" fmla="*/ 762000 w 885825"/>
                  <a:gd name="connsiteY17" fmla="*/ 892969 h 1909763"/>
                  <a:gd name="connsiteX18" fmla="*/ 773906 w 885825"/>
                  <a:gd name="connsiteY18" fmla="*/ 985838 h 1909763"/>
                  <a:gd name="connsiteX19" fmla="*/ 788193 w 885825"/>
                  <a:gd name="connsiteY19" fmla="*/ 1071563 h 1909763"/>
                  <a:gd name="connsiteX20" fmla="*/ 797718 w 885825"/>
                  <a:gd name="connsiteY20" fmla="*/ 1131093 h 1909763"/>
                  <a:gd name="connsiteX21" fmla="*/ 819149 w 885825"/>
                  <a:gd name="connsiteY21" fmla="*/ 1183481 h 1909763"/>
                  <a:gd name="connsiteX22" fmla="*/ 840581 w 885825"/>
                  <a:gd name="connsiteY22" fmla="*/ 1238250 h 1909763"/>
                  <a:gd name="connsiteX23" fmla="*/ 881062 w 885825"/>
                  <a:gd name="connsiteY23" fmla="*/ 1314450 h 1909763"/>
                  <a:gd name="connsiteX24" fmla="*/ 885825 w 885825"/>
                  <a:gd name="connsiteY24" fmla="*/ 1343025 h 1909763"/>
                  <a:gd name="connsiteX25" fmla="*/ 866775 w 885825"/>
                  <a:gd name="connsiteY25" fmla="*/ 1376363 h 1909763"/>
                  <a:gd name="connsiteX26" fmla="*/ 833437 w 885825"/>
                  <a:gd name="connsiteY26" fmla="*/ 1397794 h 1909763"/>
                  <a:gd name="connsiteX27" fmla="*/ 783431 w 885825"/>
                  <a:gd name="connsiteY27" fmla="*/ 1395413 h 1909763"/>
                  <a:gd name="connsiteX28" fmla="*/ 728662 w 885825"/>
                  <a:gd name="connsiteY28" fmla="*/ 1397794 h 1909763"/>
                  <a:gd name="connsiteX29" fmla="*/ 700087 w 885825"/>
                  <a:gd name="connsiteY29" fmla="*/ 1414463 h 1909763"/>
                  <a:gd name="connsiteX30" fmla="*/ 669131 w 885825"/>
                  <a:gd name="connsiteY30" fmla="*/ 1447800 h 1909763"/>
                  <a:gd name="connsiteX31" fmla="*/ 669131 w 885825"/>
                  <a:gd name="connsiteY31" fmla="*/ 1485900 h 1909763"/>
                  <a:gd name="connsiteX32" fmla="*/ 673893 w 885825"/>
                  <a:gd name="connsiteY32" fmla="*/ 1514475 h 1909763"/>
                  <a:gd name="connsiteX33" fmla="*/ 681037 w 885825"/>
                  <a:gd name="connsiteY33" fmla="*/ 1543050 h 1909763"/>
                  <a:gd name="connsiteX34" fmla="*/ 707231 w 885825"/>
                  <a:gd name="connsiteY34" fmla="*/ 1578769 h 1909763"/>
                  <a:gd name="connsiteX35" fmla="*/ 721518 w 885825"/>
                  <a:gd name="connsiteY35" fmla="*/ 1609725 h 1909763"/>
                  <a:gd name="connsiteX36" fmla="*/ 747712 w 885825"/>
                  <a:gd name="connsiteY36" fmla="*/ 1664494 h 1909763"/>
                  <a:gd name="connsiteX37" fmla="*/ 733425 w 885825"/>
                  <a:gd name="connsiteY37" fmla="*/ 1707356 h 1909763"/>
                  <a:gd name="connsiteX38" fmla="*/ 704850 w 885825"/>
                  <a:gd name="connsiteY38" fmla="*/ 1764506 h 1909763"/>
                  <a:gd name="connsiteX39" fmla="*/ 678656 w 885825"/>
                  <a:gd name="connsiteY39" fmla="*/ 1845469 h 1909763"/>
                  <a:gd name="connsiteX40" fmla="*/ 676275 w 885825"/>
                  <a:gd name="connsiteY40" fmla="*/ 1883569 h 1909763"/>
                  <a:gd name="connsiteX41" fmla="*/ 681037 w 885825"/>
                  <a:gd name="connsiteY41" fmla="*/ 1905000 h 1909763"/>
                  <a:gd name="connsiteX42" fmla="*/ 676275 w 885825"/>
                  <a:gd name="connsiteY42" fmla="*/ 1909763 h 1909763"/>
                  <a:gd name="connsiteX0" fmla="*/ 0 w 885825"/>
                  <a:gd name="connsiteY0" fmla="*/ 0 h 1909763"/>
                  <a:gd name="connsiteX1" fmla="*/ 119062 w 885825"/>
                  <a:gd name="connsiteY1" fmla="*/ 26194 h 1909763"/>
                  <a:gd name="connsiteX2" fmla="*/ 228600 w 885825"/>
                  <a:gd name="connsiteY2" fmla="*/ 57150 h 1909763"/>
                  <a:gd name="connsiteX3" fmla="*/ 323850 w 885825"/>
                  <a:gd name="connsiteY3" fmla="*/ 83344 h 1909763"/>
                  <a:gd name="connsiteX4" fmla="*/ 409575 w 885825"/>
                  <a:gd name="connsiteY4" fmla="*/ 116681 h 1909763"/>
                  <a:gd name="connsiteX5" fmla="*/ 502443 w 885825"/>
                  <a:gd name="connsiteY5" fmla="*/ 159544 h 1909763"/>
                  <a:gd name="connsiteX6" fmla="*/ 557212 w 885825"/>
                  <a:gd name="connsiteY6" fmla="*/ 192881 h 1909763"/>
                  <a:gd name="connsiteX7" fmla="*/ 621506 w 885825"/>
                  <a:gd name="connsiteY7" fmla="*/ 252413 h 1909763"/>
                  <a:gd name="connsiteX8" fmla="*/ 678656 w 885825"/>
                  <a:gd name="connsiteY8" fmla="*/ 314325 h 1909763"/>
                  <a:gd name="connsiteX9" fmla="*/ 709612 w 885825"/>
                  <a:gd name="connsiteY9" fmla="*/ 369094 h 1909763"/>
                  <a:gd name="connsiteX10" fmla="*/ 735806 w 885825"/>
                  <a:gd name="connsiteY10" fmla="*/ 431006 h 1909763"/>
                  <a:gd name="connsiteX11" fmla="*/ 762000 w 885825"/>
                  <a:gd name="connsiteY11" fmla="*/ 519113 h 1909763"/>
                  <a:gd name="connsiteX12" fmla="*/ 766762 w 885825"/>
                  <a:gd name="connsiteY12" fmla="*/ 614363 h 1909763"/>
                  <a:gd name="connsiteX13" fmla="*/ 764381 w 885825"/>
                  <a:gd name="connsiteY13" fmla="*/ 716757 h 1909763"/>
                  <a:gd name="connsiteX14" fmla="*/ 766762 w 885825"/>
                  <a:gd name="connsiteY14" fmla="*/ 778669 h 1909763"/>
                  <a:gd name="connsiteX15" fmla="*/ 762000 w 885825"/>
                  <a:gd name="connsiteY15" fmla="*/ 835819 h 1909763"/>
                  <a:gd name="connsiteX16" fmla="*/ 762000 w 885825"/>
                  <a:gd name="connsiteY16" fmla="*/ 892969 h 1909763"/>
                  <a:gd name="connsiteX17" fmla="*/ 762000 w 885825"/>
                  <a:gd name="connsiteY17" fmla="*/ 892969 h 1909763"/>
                  <a:gd name="connsiteX18" fmla="*/ 773906 w 885825"/>
                  <a:gd name="connsiteY18" fmla="*/ 985838 h 1909763"/>
                  <a:gd name="connsiteX19" fmla="*/ 788193 w 885825"/>
                  <a:gd name="connsiteY19" fmla="*/ 1071563 h 1909763"/>
                  <a:gd name="connsiteX20" fmla="*/ 797718 w 885825"/>
                  <a:gd name="connsiteY20" fmla="*/ 1131093 h 1909763"/>
                  <a:gd name="connsiteX21" fmla="*/ 819149 w 885825"/>
                  <a:gd name="connsiteY21" fmla="*/ 1183481 h 1909763"/>
                  <a:gd name="connsiteX22" fmla="*/ 840581 w 885825"/>
                  <a:gd name="connsiteY22" fmla="*/ 1238250 h 1909763"/>
                  <a:gd name="connsiteX23" fmla="*/ 881062 w 885825"/>
                  <a:gd name="connsiteY23" fmla="*/ 1314450 h 1909763"/>
                  <a:gd name="connsiteX24" fmla="*/ 885825 w 885825"/>
                  <a:gd name="connsiteY24" fmla="*/ 1343025 h 1909763"/>
                  <a:gd name="connsiteX25" fmla="*/ 866775 w 885825"/>
                  <a:gd name="connsiteY25" fmla="*/ 1376363 h 1909763"/>
                  <a:gd name="connsiteX26" fmla="*/ 833437 w 885825"/>
                  <a:gd name="connsiteY26" fmla="*/ 1397794 h 1909763"/>
                  <a:gd name="connsiteX27" fmla="*/ 783431 w 885825"/>
                  <a:gd name="connsiteY27" fmla="*/ 1395413 h 1909763"/>
                  <a:gd name="connsiteX28" fmla="*/ 728662 w 885825"/>
                  <a:gd name="connsiteY28" fmla="*/ 1397794 h 1909763"/>
                  <a:gd name="connsiteX29" fmla="*/ 700087 w 885825"/>
                  <a:gd name="connsiteY29" fmla="*/ 1414463 h 1909763"/>
                  <a:gd name="connsiteX30" fmla="*/ 669131 w 885825"/>
                  <a:gd name="connsiteY30" fmla="*/ 1447800 h 1909763"/>
                  <a:gd name="connsiteX31" fmla="*/ 669131 w 885825"/>
                  <a:gd name="connsiteY31" fmla="*/ 1485900 h 1909763"/>
                  <a:gd name="connsiteX32" fmla="*/ 673893 w 885825"/>
                  <a:gd name="connsiteY32" fmla="*/ 1514475 h 1909763"/>
                  <a:gd name="connsiteX33" fmla="*/ 681037 w 885825"/>
                  <a:gd name="connsiteY33" fmla="*/ 1543050 h 1909763"/>
                  <a:gd name="connsiteX34" fmla="*/ 707231 w 885825"/>
                  <a:gd name="connsiteY34" fmla="*/ 1578769 h 1909763"/>
                  <a:gd name="connsiteX35" fmla="*/ 721518 w 885825"/>
                  <a:gd name="connsiteY35" fmla="*/ 1609725 h 1909763"/>
                  <a:gd name="connsiteX36" fmla="*/ 747712 w 885825"/>
                  <a:gd name="connsiteY36" fmla="*/ 1664494 h 1909763"/>
                  <a:gd name="connsiteX37" fmla="*/ 733425 w 885825"/>
                  <a:gd name="connsiteY37" fmla="*/ 1707356 h 1909763"/>
                  <a:gd name="connsiteX38" fmla="*/ 704850 w 885825"/>
                  <a:gd name="connsiteY38" fmla="*/ 1764506 h 1909763"/>
                  <a:gd name="connsiteX39" fmla="*/ 673894 w 885825"/>
                  <a:gd name="connsiteY39" fmla="*/ 1821657 h 1909763"/>
                  <a:gd name="connsiteX40" fmla="*/ 676275 w 885825"/>
                  <a:gd name="connsiteY40" fmla="*/ 1883569 h 1909763"/>
                  <a:gd name="connsiteX41" fmla="*/ 681037 w 885825"/>
                  <a:gd name="connsiteY41" fmla="*/ 1905000 h 1909763"/>
                  <a:gd name="connsiteX42" fmla="*/ 676275 w 885825"/>
                  <a:gd name="connsiteY42" fmla="*/ 1909763 h 1909763"/>
                  <a:gd name="connsiteX0" fmla="*/ 0 w 885825"/>
                  <a:gd name="connsiteY0" fmla="*/ 0 h 1909763"/>
                  <a:gd name="connsiteX1" fmla="*/ 119062 w 885825"/>
                  <a:gd name="connsiteY1" fmla="*/ 26194 h 1909763"/>
                  <a:gd name="connsiteX2" fmla="*/ 228600 w 885825"/>
                  <a:gd name="connsiteY2" fmla="*/ 57150 h 1909763"/>
                  <a:gd name="connsiteX3" fmla="*/ 323850 w 885825"/>
                  <a:gd name="connsiteY3" fmla="*/ 83344 h 1909763"/>
                  <a:gd name="connsiteX4" fmla="*/ 409575 w 885825"/>
                  <a:gd name="connsiteY4" fmla="*/ 116681 h 1909763"/>
                  <a:gd name="connsiteX5" fmla="*/ 502443 w 885825"/>
                  <a:gd name="connsiteY5" fmla="*/ 159544 h 1909763"/>
                  <a:gd name="connsiteX6" fmla="*/ 557212 w 885825"/>
                  <a:gd name="connsiteY6" fmla="*/ 192881 h 1909763"/>
                  <a:gd name="connsiteX7" fmla="*/ 621506 w 885825"/>
                  <a:gd name="connsiteY7" fmla="*/ 252413 h 1909763"/>
                  <a:gd name="connsiteX8" fmla="*/ 678656 w 885825"/>
                  <a:gd name="connsiteY8" fmla="*/ 314325 h 1909763"/>
                  <a:gd name="connsiteX9" fmla="*/ 709612 w 885825"/>
                  <a:gd name="connsiteY9" fmla="*/ 369094 h 1909763"/>
                  <a:gd name="connsiteX10" fmla="*/ 735806 w 885825"/>
                  <a:gd name="connsiteY10" fmla="*/ 431006 h 1909763"/>
                  <a:gd name="connsiteX11" fmla="*/ 762000 w 885825"/>
                  <a:gd name="connsiteY11" fmla="*/ 519113 h 1909763"/>
                  <a:gd name="connsiteX12" fmla="*/ 766762 w 885825"/>
                  <a:gd name="connsiteY12" fmla="*/ 614363 h 1909763"/>
                  <a:gd name="connsiteX13" fmla="*/ 764381 w 885825"/>
                  <a:gd name="connsiteY13" fmla="*/ 716757 h 1909763"/>
                  <a:gd name="connsiteX14" fmla="*/ 766762 w 885825"/>
                  <a:gd name="connsiteY14" fmla="*/ 778669 h 1909763"/>
                  <a:gd name="connsiteX15" fmla="*/ 762000 w 885825"/>
                  <a:gd name="connsiteY15" fmla="*/ 835819 h 1909763"/>
                  <a:gd name="connsiteX16" fmla="*/ 762000 w 885825"/>
                  <a:gd name="connsiteY16" fmla="*/ 892969 h 1909763"/>
                  <a:gd name="connsiteX17" fmla="*/ 762000 w 885825"/>
                  <a:gd name="connsiteY17" fmla="*/ 892969 h 1909763"/>
                  <a:gd name="connsiteX18" fmla="*/ 773906 w 885825"/>
                  <a:gd name="connsiteY18" fmla="*/ 985838 h 1909763"/>
                  <a:gd name="connsiteX19" fmla="*/ 788193 w 885825"/>
                  <a:gd name="connsiteY19" fmla="*/ 1071563 h 1909763"/>
                  <a:gd name="connsiteX20" fmla="*/ 797718 w 885825"/>
                  <a:gd name="connsiteY20" fmla="*/ 1131093 h 1909763"/>
                  <a:gd name="connsiteX21" fmla="*/ 819149 w 885825"/>
                  <a:gd name="connsiteY21" fmla="*/ 1183481 h 1909763"/>
                  <a:gd name="connsiteX22" fmla="*/ 840581 w 885825"/>
                  <a:gd name="connsiteY22" fmla="*/ 1238250 h 1909763"/>
                  <a:gd name="connsiteX23" fmla="*/ 881062 w 885825"/>
                  <a:gd name="connsiteY23" fmla="*/ 1314450 h 1909763"/>
                  <a:gd name="connsiteX24" fmla="*/ 885825 w 885825"/>
                  <a:gd name="connsiteY24" fmla="*/ 1343025 h 1909763"/>
                  <a:gd name="connsiteX25" fmla="*/ 866775 w 885825"/>
                  <a:gd name="connsiteY25" fmla="*/ 1376363 h 1909763"/>
                  <a:gd name="connsiteX26" fmla="*/ 833437 w 885825"/>
                  <a:gd name="connsiteY26" fmla="*/ 1397794 h 1909763"/>
                  <a:gd name="connsiteX27" fmla="*/ 783431 w 885825"/>
                  <a:gd name="connsiteY27" fmla="*/ 1395413 h 1909763"/>
                  <a:gd name="connsiteX28" fmla="*/ 728662 w 885825"/>
                  <a:gd name="connsiteY28" fmla="*/ 1397794 h 1909763"/>
                  <a:gd name="connsiteX29" fmla="*/ 700087 w 885825"/>
                  <a:gd name="connsiteY29" fmla="*/ 1414463 h 1909763"/>
                  <a:gd name="connsiteX30" fmla="*/ 669131 w 885825"/>
                  <a:gd name="connsiteY30" fmla="*/ 1447800 h 1909763"/>
                  <a:gd name="connsiteX31" fmla="*/ 669131 w 885825"/>
                  <a:gd name="connsiteY31" fmla="*/ 1485900 h 1909763"/>
                  <a:gd name="connsiteX32" fmla="*/ 673893 w 885825"/>
                  <a:gd name="connsiteY32" fmla="*/ 1514475 h 1909763"/>
                  <a:gd name="connsiteX33" fmla="*/ 681037 w 885825"/>
                  <a:gd name="connsiteY33" fmla="*/ 1543050 h 1909763"/>
                  <a:gd name="connsiteX34" fmla="*/ 707231 w 885825"/>
                  <a:gd name="connsiteY34" fmla="*/ 1578769 h 1909763"/>
                  <a:gd name="connsiteX35" fmla="*/ 721518 w 885825"/>
                  <a:gd name="connsiteY35" fmla="*/ 1609725 h 1909763"/>
                  <a:gd name="connsiteX36" fmla="*/ 747712 w 885825"/>
                  <a:gd name="connsiteY36" fmla="*/ 1664494 h 1909763"/>
                  <a:gd name="connsiteX37" fmla="*/ 733425 w 885825"/>
                  <a:gd name="connsiteY37" fmla="*/ 1707356 h 1909763"/>
                  <a:gd name="connsiteX38" fmla="*/ 704850 w 885825"/>
                  <a:gd name="connsiteY38" fmla="*/ 1764506 h 1909763"/>
                  <a:gd name="connsiteX39" fmla="*/ 673894 w 885825"/>
                  <a:gd name="connsiteY39" fmla="*/ 1821657 h 1909763"/>
                  <a:gd name="connsiteX40" fmla="*/ 676275 w 885825"/>
                  <a:gd name="connsiteY40" fmla="*/ 1883569 h 1909763"/>
                  <a:gd name="connsiteX41" fmla="*/ 681037 w 885825"/>
                  <a:gd name="connsiteY41" fmla="*/ 1905000 h 1909763"/>
                  <a:gd name="connsiteX42" fmla="*/ 676275 w 885825"/>
                  <a:gd name="connsiteY42" fmla="*/ 1909763 h 1909763"/>
                  <a:gd name="connsiteX0" fmla="*/ 0 w 885825"/>
                  <a:gd name="connsiteY0" fmla="*/ 0 h 1905000"/>
                  <a:gd name="connsiteX1" fmla="*/ 119062 w 885825"/>
                  <a:gd name="connsiteY1" fmla="*/ 26194 h 1905000"/>
                  <a:gd name="connsiteX2" fmla="*/ 228600 w 885825"/>
                  <a:gd name="connsiteY2" fmla="*/ 57150 h 1905000"/>
                  <a:gd name="connsiteX3" fmla="*/ 323850 w 885825"/>
                  <a:gd name="connsiteY3" fmla="*/ 83344 h 1905000"/>
                  <a:gd name="connsiteX4" fmla="*/ 409575 w 885825"/>
                  <a:gd name="connsiteY4" fmla="*/ 116681 h 1905000"/>
                  <a:gd name="connsiteX5" fmla="*/ 502443 w 885825"/>
                  <a:gd name="connsiteY5" fmla="*/ 159544 h 1905000"/>
                  <a:gd name="connsiteX6" fmla="*/ 557212 w 885825"/>
                  <a:gd name="connsiteY6" fmla="*/ 192881 h 1905000"/>
                  <a:gd name="connsiteX7" fmla="*/ 621506 w 885825"/>
                  <a:gd name="connsiteY7" fmla="*/ 252413 h 1905000"/>
                  <a:gd name="connsiteX8" fmla="*/ 678656 w 885825"/>
                  <a:gd name="connsiteY8" fmla="*/ 314325 h 1905000"/>
                  <a:gd name="connsiteX9" fmla="*/ 709612 w 885825"/>
                  <a:gd name="connsiteY9" fmla="*/ 369094 h 1905000"/>
                  <a:gd name="connsiteX10" fmla="*/ 735806 w 885825"/>
                  <a:gd name="connsiteY10" fmla="*/ 431006 h 1905000"/>
                  <a:gd name="connsiteX11" fmla="*/ 762000 w 885825"/>
                  <a:gd name="connsiteY11" fmla="*/ 519113 h 1905000"/>
                  <a:gd name="connsiteX12" fmla="*/ 766762 w 885825"/>
                  <a:gd name="connsiteY12" fmla="*/ 614363 h 1905000"/>
                  <a:gd name="connsiteX13" fmla="*/ 764381 w 885825"/>
                  <a:gd name="connsiteY13" fmla="*/ 716757 h 1905000"/>
                  <a:gd name="connsiteX14" fmla="*/ 766762 w 885825"/>
                  <a:gd name="connsiteY14" fmla="*/ 778669 h 1905000"/>
                  <a:gd name="connsiteX15" fmla="*/ 762000 w 885825"/>
                  <a:gd name="connsiteY15" fmla="*/ 835819 h 1905000"/>
                  <a:gd name="connsiteX16" fmla="*/ 762000 w 885825"/>
                  <a:gd name="connsiteY16" fmla="*/ 892969 h 1905000"/>
                  <a:gd name="connsiteX17" fmla="*/ 762000 w 885825"/>
                  <a:gd name="connsiteY17" fmla="*/ 892969 h 1905000"/>
                  <a:gd name="connsiteX18" fmla="*/ 773906 w 885825"/>
                  <a:gd name="connsiteY18" fmla="*/ 985838 h 1905000"/>
                  <a:gd name="connsiteX19" fmla="*/ 788193 w 885825"/>
                  <a:gd name="connsiteY19" fmla="*/ 1071563 h 1905000"/>
                  <a:gd name="connsiteX20" fmla="*/ 797718 w 885825"/>
                  <a:gd name="connsiteY20" fmla="*/ 1131093 h 1905000"/>
                  <a:gd name="connsiteX21" fmla="*/ 819149 w 885825"/>
                  <a:gd name="connsiteY21" fmla="*/ 1183481 h 1905000"/>
                  <a:gd name="connsiteX22" fmla="*/ 840581 w 885825"/>
                  <a:gd name="connsiteY22" fmla="*/ 1238250 h 1905000"/>
                  <a:gd name="connsiteX23" fmla="*/ 881062 w 885825"/>
                  <a:gd name="connsiteY23" fmla="*/ 1314450 h 1905000"/>
                  <a:gd name="connsiteX24" fmla="*/ 885825 w 885825"/>
                  <a:gd name="connsiteY24" fmla="*/ 1343025 h 1905000"/>
                  <a:gd name="connsiteX25" fmla="*/ 866775 w 885825"/>
                  <a:gd name="connsiteY25" fmla="*/ 1376363 h 1905000"/>
                  <a:gd name="connsiteX26" fmla="*/ 833437 w 885825"/>
                  <a:gd name="connsiteY26" fmla="*/ 1397794 h 1905000"/>
                  <a:gd name="connsiteX27" fmla="*/ 783431 w 885825"/>
                  <a:gd name="connsiteY27" fmla="*/ 1395413 h 1905000"/>
                  <a:gd name="connsiteX28" fmla="*/ 728662 w 885825"/>
                  <a:gd name="connsiteY28" fmla="*/ 1397794 h 1905000"/>
                  <a:gd name="connsiteX29" fmla="*/ 700087 w 885825"/>
                  <a:gd name="connsiteY29" fmla="*/ 1414463 h 1905000"/>
                  <a:gd name="connsiteX30" fmla="*/ 669131 w 885825"/>
                  <a:gd name="connsiteY30" fmla="*/ 1447800 h 1905000"/>
                  <a:gd name="connsiteX31" fmla="*/ 669131 w 885825"/>
                  <a:gd name="connsiteY31" fmla="*/ 1485900 h 1905000"/>
                  <a:gd name="connsiteX32" fmla="*/ 673893 w 885825"/>
                  <a:gd name="connsiteY32" fmla="*/ 1514475 h 1905000"/>
                  <a:gd name="connsiteX33" fmla="*/ 681037 w 885825"/>
                  <a:gd name="connsiteY33" fmla="*/ 1543050 h 1905000"/>
                  <a:gd name="connsiteX34" fmla="*/ 707231 w 885825"/>
                  <a:gd name="connsiteY34" fmla="*/ 1578769 h 1905000"/>
                  <a:gd name="connsiteX35" fmla="*/ 721518 w 885825"/>
                  <a:gd name="connsiteY35" fmla="*/ 1609725 h 1905000"/>
                  <a:gd name="connsiteX36" fmla="*/ 747712 w 885825"/>
                  <a:gd name="connsiteY36" fmla="*/ 1664494 h 1905000"/>
                  <a:gd name="connsiteX37" fmla="*/ 733425 w 885825"/>
                  <a:gd name="connsiteY37" fmla="*/ 1707356 h 1905000"/>
                  <a:gd name="connsiteX38" fmla="*/ 704850 w 885825"/>
                  <a:gd name="connsiteY38" fmla="*/ 1764506 h 1905000"/>
                  <a:gd name="connsiteX39" fmla="*/ 673894 w 885825"/>
                  <a:gd name="connsiteY39" fmla="*/ 1821657 h 1905000"/>
                  <a:gd name="connsiteX40" fmla="*/ 676275 w 885825"/>
                  <a:gd name="connsiteY40" fmla="*/ 1883569 h 1905000"/>
                  <a:gd name="connsiteX41" fmla="*/ 681037 w 885825"/>
                  <a:gd name="connsiteY41" fmla="*/ 1905000 h 1905000"/>
                  <a:gd name="connsiteX0" fmla="*/ 0 w 885825"/>
                  <a:gd name="connsiteY0" fmla="*/ 0 h 1905000"/>
                  <a:gd name="connsiteX1" fmla="*/ 119062 w 885825"/>
                  <a:gd name="connsiteY1" fmla="*/ 26194 h 1905000"/>
                  <a:gd name="connsiteX2" fmla="*/ 228600 w 885825"/>
                  <a:gd name="connsiteY2" fmla="*/ 57150 h 1905000"/>
                  <a:gd name="connsiteX3" fmla="*/ 323850 w 885825"/>
                  <a:gd name="connsiteY3" fmla="*/ 83344 h 1905000"/>
                  <a:gd name="connsiteX4" fmla="*/ 409575 w 885825"/>
                  <a:gd name="connsiteY4" fmla="*/ 116681 h 1905000"/>
                  <a:gd name="connsiteX5" fmla="*/ 502443 w 885825"/>
                  <a:gd name="connsiteY5" fmla="*/ 159544 h 1905000"/>
                  <a:gd name="connsiteX6" fmla="*/ 557212 w 885825"/>
                  <a:gd name="connsiteY6" fmla="*/ 192881 h 1905000"/>
                  <a:gd name="connsiteX7" fmla="*/ 621506 w 885825"/>
                  <a:gd name="connsiteY7" fmla="*/ 252413 h 1905000"/>
                  <a:gd name="connsiteX8" fmla="*/ 678656 w 885825"/>
                  <a:gd name="connsiteY8" fmla="*/ 314325 h 1905000"/>
                  <a:gd name="connsiteX9" fmla="*/ 709612 w 885825"/>
                  <a:gd name="connsiteY9" fmla="*/ 369094 h 1905000"/>
                  <a:gd name="connsiteX10" fmla="*/ 735806 w 885825"/>
                  <a:gd name="connsiteY10" fmla="*/ 431006 h 1905000"/>
                  <a:gd name="connsiteX11" fmla="*/ 762000 w 885825"/>
                  <a:gd name="connsiteY11" fmla="*/ 519113 h 1905000"/>
                  <a:gd name="connsiteX12" fmla="*/ 766762 w 885825"/>
                  <a:gd name="connsiteY12" fmla="*/ 614363 h 1905000"/>
                  <a:gd name="connsiteX13" fmla="*/ 764381 w 885825"/>
                  <a:gd name="connsiteY13" fmla="*/ 716757 h 1905000"/>
                  <a:gd name="connsiteX14" fmla="*/ 762000 w 885825"/>
                  <a:gd name="connsiteY14" fmla="*/ 781051 h 1905000"/>
                  <a:gd name="connsiteX15" fmla="*/ 762000 w 885825"/>
                  <a:gd name="connsiteY15" fmla="*/ 835819 h 1905000"/>
                  <a:gd name="connsiteX16" fmla="*/ 762000 w 885825"/>
                  <a:gd name="connsiteY16" fmla="*/ 892969 h 1905000"/>
                  <a:gd name="connsiteX17" fmla="*/ 762000 w 885825"/>
                  <a:gd name="connsiteY17" fmla="*/ 892969 h 1905000"/>
                  <a:gd name="connsiteX18" fmla="*/ 773906 w 885825"/>
                  <a:gd name="connsiteY18" fmla="*/ 985838 h 1905000"/>
                  <a:gd name="connsiteX19" fmla="*/ 788193 w 885825"/>
                  <a:gd name="connsiteY19" fmla="*/ 1071563 h 1905000"/>
                  <a:gd name="connsiteX20" fmla="*/ 797718 w 885825"/>
                  <a:gd name="connsiteY20" fmla="*/ 1131093 h 1905000"/>
                  <a:gd name="connsiteX21" fmla="*/ 819149 w 885825"/>
                  <a:gd name="connsiteY21" fmla="*/ 1183481 h 1905000"/>
                  <a:gd name="connsiteX22" fmla="*/ 840581 w 885825"/>
                  <a:gd name="connsiteY22" fmla="*/ 1238250 h 1905000"/>
                  <a:gd name="connsiteX23" fmla="*/ 881062 w 885825"/>
                  <a:gd name="connsiteY23" fmla="*/ 1314450 h 1905000"/>
                  <a:gd name="connsiteX24" fmla="*/ 885825 w 885825"/>
                  <a:gd name="connsiteY24" fmla="*/ 1343025 h 1905000"/>
                  <a:gd name="connsiteX25" fmla="*/ 866775 w 885825"/>
                  <a:gd name="connsiteY25" fmla="*/ 1376363 h 1905000"/>
                  <a:gd name="connsiteX26" fmla="*/ 833437 w 885825"/>
                  <a:gd name="connsiteY26" fmla="*/ 1397794 h 1905000"/>
                  <a:gd name="connsiteX27" fmla="*/ 783431 w 885825"/>
                  <a:gd name="connsiteY27" fmla="*/ 1395413 h 1905000"/>
                  <a:gd name="connsiteX28" fmla="*/ 728662 w 885825"/>
                  <a:gd name="connsiteY28" fmla="*/ 1397794 h 1905000"/>
                  <a:gd name="connsiteX29" fmla="*/ 700087 w 885825"/>
                  <a:gd name="connsiteY29" fmla="*/ 1414463 h 1905000"/>
                  <a:gd name="connsiteX30" fmla="*/ 669131 w 885825"/>
                  <a:gd name="connsiteY30" fmla="*/ 1447800 h 1905000"/>
                  <a:gd name="connsiteX31" fmla="*/ 669131 w 885825"/>
                  <a:gd name="connsiteY31" fmla="*/ 1485900 h 1905000"/>
                  <a:gd name="connsiteX32" fmla="*/ 673893 w 885825"/>
                  <a:gd name="connsiteY32" fmla="*/ 1514475 h 1905000"/>
                  <a:gd name="connsiteX33" fmla="*/ 681037 w 885825"/>
                  <a:gd name="connsiteY33" fmla="*/ 1543050 h 1905000"/>
                  <a:gd name="connsiteX34" fmla="*/ 707231 w 885825"/>
                  <a:gd name="connsiteY34" fmla="*/ 1578769 h 1905000"/>
                  <a:gd name="connsiteX35" fmla="*/ 721518 w 885825"/>
                  <a:gd name="connsiteY35" fmla="*/ 1609725 h 1905000"/>
                  <a:gd name="connsiteX36" fmla="*/ 747712 w 885825"/>
                  <a:gd name="connsiteY36" fmla="*/ 1664494 h 1905000"/>
                  <a:gd name="connsiteX37" fmla="*/ 733425 w 885825"/>
                  <a:gd name="connsiteY37" fmla="*/ 1707356 h 1905000"/>
                  <a:gd name="connsiteX38" fmla="*/ 704850 w 885825"/>
                  <a:gd name="connsiteY38" fmla="*/ 1764506 h 1905000"/>
                  <a:gd name="connsiteX39" fmla="*/ 673894 w 885825"/>
                  <a:gd name="connsiteY39" fmla="*/ 1821657 h 1905000"/>
                  <a:gd name="connsiteX40" fmla="*/ 676275 w 885825"/>
                  <a:gd name="connsiteY40" fmla="*/ 1883569 h 1905000"/>
                  <a:gd name="connsiteX41" fmla="*/ 681037 w 885825"/>
                  <a:gd name="connsiteY41" fmla="*/ 1905000 h 1905000"/>
                  <a:gd name="connsiteX0" fmla="*/ 0 w 885825"/>
                  <a:gd name="connsiteY0" fmla="*/ 0 h 1905000"/>
                  <a:gd name="connsiteX1" fmla="*/ 119062 w 885825"/>
                  <a:gd name="connsiteY1" fmla="*/ 26194 h 1905000"/>
                  <a:gd name="connsiteX2" fmla="*/ 228600 w 885825"/>
                  <a:gd name="connsiteY2" fmla="*/ 57150 h 1905000"/>
                  <a:gd name="connsiteX3" fmla="*/ 323850 w 885825"/>
                  <a:gd name="connsiteY3" fmla="*/ 83344 h 1905000"/>
                  <a:gd name="connsiteX4" fmla="*/ 409575 w 885825"/>
                  <a:gd name="connsiteY4" fmla="*/ 116681 h 1905000"/>
                  <a:gd name="connsiteX5" fmla="*/ 502443 w 885825"/>
                  <a:gd name="connsiteY5" fmla="*/ 159544 h 1905000"/>
                  <a:gd name="connsiteX6" fmla="*/ 557212 w 885825"/>
                  <a:gd name="connsiteY6" fmla="*/ 192881 h 1905000"/>
                  <a:gd name="connsiteX7" fmla="*/ 621506 w 885825"/>
                  <a:gd name="connsiteY7" fmla="*/ 252413 h 1905000"/>
                  <a:gd name="connsiteX8" fmla="*/ 678656 w 885825"/>
                  <a:gd name="connsiteY8" fmla="*/ 314325 h 1905000"/>
                  <a:gd name="connsiteX9" fmla="*/ 709612 w 885825"/>
                  <a:gd name="connsiteY9" fmla="*/ 369094 h 1905000"/>
                  <a:gd name="connsiteX10" fmla="*/ 735806 w 885825"/>
                  <a:gd name="connsiteY10" fmla="*/ 431006 h 1905000"/>
                  <a:gd name="connsiteX11" fmla="*/ 762000 w 885825"/>
                  <a:gd name="connsiteY11" fmla="*/ 519113 h 1905000"/>
                  <a:gd name="connsiteX12" fmla="*/ 766762 w 885825"/>
                  <a:gd name="connsiteY12" fmla="*/ 614363 h 1905000"/>
                  <a:gd name="connsiteX13" fmla="*/ 764381 w 885825"/>
                  <a:gd name="connsiteY13" fmla="*/ 716757 h 1905000"/>
                  <a:gd name="connsiteX14" fmla="*/ 762000 w 885825"/>
                  <a:gd name="connsiteY14" fmla="*/ 781051 h 1905000"/>
                  <a:gd name="connsiteX15" fmla="*/ 762000 w 885825"/>
                  <a:gd name="connsiteY15" fmla="*/ 835819 h 1905000"/>
                  <a:gd name="connsiteX16" fmla="*/ 762000 w 885825"/>
                  <a:gd name="connsiteY16" fmla="*/ 892969 h 1905000"/>
                  <a:gd name="connsiteX17" fmla="*/ 762000 w 885825"/>
                  <a:gd name="connsiteY17" fmla="*/ 892969 h 1905000"/>
                  <a:gd name="connsiteX18" fmla="*/ 773906 w 885825"/>
                  <a:gd name="connsiteY18" fmla="*/ 985838 h 1905000"/>
                  <a:gd name="connsiteX19" fmla="*/ 788193 w 885825"/>
                  <a:gd name="connsiteY19" fmla="*/ 1071563 h 1905000"/>
                  <a:gd name="connsiteX20" fmla="*/ 797718 w 885825"/>
                  <a:gd name="connsiteY20" fmla="*/ 1131093 h 1905000"/>
                  <a:gd name="connsiteX21" fmla="*/ 819149 w 885825"/>
                  <a:gd name="connsiteY21" fmla="*/ 1183481 h 1905000"/>
                  <a:gd name="connsiteX22" fmla="*/ 840581 w 885825"/>
                  <a:gd name="connsiteY22" fmla="*/ 1238250 h 1905000"/>
                  <a:gd name="connsiteX23" fmla="*/ 881062 w 885825"/>
                  <a:gd name="connsiteY23" fmla="*/ 1314450 h 1905000"/>
                  <a:gd name="connsiteX24" fmla="*/ 885825 w 885825"/>
                  <a:gd name="connsiteY24" fmla="*/ 1343025 h 1905000"/>
                  <a:gd name="connsiteX25" fmla="*/ 866775 w 885825"/>
                  <a:gd name="connsiteY25" fmla="*/ 1376363 h 1905000"/>
                  <a:gd name="connsiteX26" fmla="*/ 833437 w 885825"/>
                  <a:gd name="connsiteY26" fmla="*/ 1397794 h 1905000"/>
                  <a:gd name="connsiteX27" fmla="*/ 783431 w 885825"/>
                  <a:gd name="connsiteY27" fmla="*/ 1395413 h 1905000"/>
                  <a:gd name="connsiteX28" fmla="*/ 728662 w 885825"/>
                  <a:gd name="connsiteY28" fmla="*/ 1397794 h 1905000"/>
                  <a:gd name="connsiteX29" fmla="*/ 700087 w 885825"/>
                  <a:gd name="connsiteY29" fmla="*/ 1414463 h 1905000"/>
                  <a:gd name="connsiteX30" fmla="*/ 669131 w 885825"/>
                  <a:gd name="connsiteY30" fmla="*/ 1447800 h 1905000"/>
                  <a:gd name="connsiteX31" fmla="*/ 669131 w 885825"/>
                  <a:gd name="connsiteY31" fmla="*/ 1485900 h 1905000"/>
                  <a:gd name="connsiteX32" fmla="*/ 673893 w 885825"/>
                  <a:gd name="connsiteY32" fmla="*/ 1514475 h 1905000"/>
                  <a:gd name="connsiteX33" fmla="*/ 681037 w 885825"/>
                  <a:gd name="connsiteY33" fmla="*/ 1543050 h 1905000"/>
                  <a:gd name="connsiteX34" fmla="*/ 707231 w 885825"/>
                  <a:gd name="connsiteY34" fmla="*/ 1578769 h 1905000"/>
                  <a:gd name="connsiteX35" fmla="*/ 721518 w 885825"/>
                  <a:gd name="connsiteY35" fmla="*/ 1609725 h 1905000"/>
                  <a:gd name="connsiteX36" fmla="*/ 747712 w 885825"/>
                  <a:gd name="connsiteY36" fmla="*/ 1664494 h 1905000"/>
                  <a:gd name="connsiteX37" fmla="*/ 733425 w 885825"/>
                  <a:gd name="connsiteY37" fmla="*/ 1707356 h 1905000"/>
                  <a:gd name="connsiteX38" fmla="*/ 704850 w 885825"/>
                  <a:gd name="connsiteY38" fmla="*/ 1764506 h 1905000"/>
                  <a:gd name="connsiteX39" fmla="*/ 673894 w 885825"/>
                  <a:gd name="connsiteY39" fmla="*/ 1821657 h 1905000"/>
                  <a:gd name="connsiteX40" fmla="*/ 676275 w 885825"/>
                  <a:gd name="connsiteY40" fmla="*/ 1883569 h 1905000"/>
                  <a:gd name="connsiteX41" fmla="*/ 681037 w 885825"/>
                  <a:gd name="connsiteY41" fmla="*/ 1905000 h 1905000"/>
                  <a:gd name="connsiteX0" fmla="*/ 0 w 885825"/>
                  <a:gd name="connsiteY0" fmla="*/ 0 h 1905000"/>
                  <a:gd name="connsiteX1" fmla="*/ 119062 w 885825"/>
                  <a:gd name="connsiteY1" fmla="*/ 26194 h 1905000"/>
                  <a:gd name="connsiteX2" fmla="*/ 228600 w 885825"/>
                  <a:gd name="connsiteY2" fmla="*/ 57150 h 1905000"/>
                  <a:gd name="connsiteX3" fmla="*/ 323850 w 885825"/>
                  <a:gd name="connsiteY3" fmla="*/ 83344 h 1905000"/>
                  <a:gd name="connsiteX4" fmla="*/ 409575 w 885825"/>
                  <a:gd name="connsiteY4" fmla="*/ 116681 h 1905000"/>
                  <a:gd name="connsiteX5" fmla="*/ 502443 w 885825"/>
                  <a:gd name="connsiteY5" fmla="*/ 159544 h 1905000"/>
                  <a:gd name="connsiteX6" fmla="*/ 557212 w 885825"/>
                  <a:gd name="connsiteY6" fmla="*/ 192881 h 1905000"/>
                  <a:gd name="connsiteX7" fmla="*/ 621506 w 885825"/>
                  <a:gd name="connsiteY7" fmla="*/ 252413 h 1905000"/>
                  <a:gd name="connsiteX8" fmla="*/ 678656 w 885825"/>
                  <a:gd name="connsiteY8" fmla="*/ 314325 h 1905000"/>
                  <a:gd name="connsiteX9" fmla="*/ 709612 w 885825"/>
                  <a:gd name="connsiteY9" fmla="*/ 369094 h 1905000"/>
                  <a:gd name="connsiteX10" fmla="*/ 735806 w 885825"/>
                  <a:gd name="connsiteY10" fmla="*/ 431006 h 1905000"/>
                  <a:gd name="connsiteX11" fmla="*/ 762000 w 885825"/>
                  <a:gd name="connsiteY11" fmla="*/ 519113 h 1905000"/>
                  <a:gd name="connsiteX12" fmla="*/ 766762 w 885825"/>
                  <a:gd name="connsiteY12" fmla="*/ 614363 h 1905000"/>
                  <a:gd name="connsiteX13" fmla="*/ 764381 w 885825"/>
                  <a:gd name="connsiteY13" fmla="*/ 716757 h 1905000"/>
                  <a:gd name="connsiteX14" fmla="*/ 762000 w 885825"/>
                  <a:gd name="connsiteY14" fmla="*/ 781051 h 1905000"/>
                  <a:gd name="connsiteX15" fmla="*/ 762000 w 885825"/>
                  <a:gd name="connsiteY15" fmla="*/ 835819 h 1905000"/>
                  <a:gd name="connsiteX16" fmla="*/ 762000 w 885825"/>
                  <a:gd name="connsiteY16" fmla="*/ 892969 h 1905000"/>
                  <a:gd name="connsiteX17" fmla="*/ 762000 w 885825"/>
                  <a:gd name="connsiteY17" fmla="*/ 892969 h 1905000"/>
                  <a:gd name="connsiteX18" fmla="*/ 773906 w 885825"/>
                  <a:gd name="connsiteY18" fmla="*/ 985838 h 1905000"/>
                  <a:gd name="connsiteX19" fmla="*/ 788193 w 885825"/>
                  <a:gd name="connsiteY19" fmla="*/ 1071563 h 1905000"/>
                  <a:gd name="connsiteX20" fmla="*/ 797718 w 885825"/>
                  <a:gd name="connsiteY20" fmla="*/ 1131093 h 1905000"/>
                  <a:gd name="connsiteX21" fmla="*/ 819149 w 885825"/>
                  <a:gd name="connsiteY21" fmla="*/ 1183481 h 1905000"/>
                  <a:gd name="connsiteX22" fmla="*/ 840581 w 885825"/>
                  <a:gd name="connsiteY22" fmla="*/ 1238250 h 1905000"/>
                  <a:gd name="connsiteX23" fmla="*/ 881062 w 885825"/>
                  <a:gd name="connsiteY23" fmla="*/ 1314450 h 1905000"/>
                  <a:gd name="connsiteX24" fmla="*/ 885825 w 885825"/>
                  <a:gd name="connsiteY24" fmla="*/ 1343025 h 1905000"/>
                  <a:gd name="connsiteX25" fmla="*/ 866775 w 885825"/>
                  <a:gd name="connsiteY25" fmla="*/ 1376363 h 1905000"/>
                  <a:gd name="connsiteX26" fmla="*/ 833437 w 885825"/>
                  <a:gd name="connsiteY26" fmla="*/ 1397794 h 1905000"/>
                  <a:gd name="connsiteX27" fmla="*/ 783431 w 885825"/>
                  <a:gd name="connsiteY27" fmla="*/ 1395413 h 1905000"/>
                  <a:gd name="connsiteX28" fmla="*/ 728662 w 885825"/>
                  <a:gd name="connsiteY28" fmla="*/ 1397794 h 1905000"/>
                  <a:gd name="connsiteX29" fmla="*/ 700087 w 885825"/>
                  <a:gd name="connsiteY29" fmla="*/ 1414463 h 1905000"/>
                  <a:gd name="connsiteX30" fmla="*/ 669131 w 885825"/>
                  <a:gd name="connsiteY30" fmla="*/ 1447800 h 1905000"/>
                  <a:gd name="connsiteX31" fmla="*/ 669131 w 885825"/>
                  <a:gd name="connsiteY31" fmla="*/ 1485900 h 1905000"/>
                  <a:gd name="connsiteX32" fmla="*/ 673893 w 885825"/>
                  <a:gd name="connsiteY32" fmla="*/ 1514475 h 1905000"/>
                  <a:gd name="connsiteX33" fmla="*/ 681037 w 885825"/>
                  <a:gd name="connsiteY33" fmla="*/ 1543050 h 1905000"/>
                  <a:gd name="connsiteX34" fmla="*/ 707231 w 885825"/>
                  <a:gd name="connsiteY34" fmla="*/ 1578769 h 1905000"/>
                  <a:gd name="connsiteX35" fmla="*/ 721518 w 885825"/>
                  <a:gd name="connsiteY35" fmla="*/ 1609725 h 1905000"/>
                  <a:gd name="connsiteX36" fmla="*/ 747712 w 885825"/>
                  <a:gd name="connsiteY36" fmla="*/ 1664494 h 1905000"/>
                  <a:gd name="connsiteX37" fmla="*/ 733425 w 885825"/>
                  <a:gd name="connsiteY37" fmla="*/ 1707356 h 1905000"/>
                  <a:gd name="connsiteX38" fmla="*/ 704850 w 885825"/>
                  <a:gd name="connsiteY38" fmla="*/ 1764506 h 1905000"/>
                  <a:gd name="connsiteX39" fmla="*/ 673894 w 885825"/>
                  <a:gd name="connsiteY39" fmla="*/ 1821657 h 1905000"/>
                  <a:gd name="connsiteX40" fmla="*/ 676275 w 885825"/>
                  <a:gd name="connsiteY40" fmla="*/ 1883569 h 1905000"/>
                  <a:gd name="connsiteX41" fmla="*/ 681037 w 885825"/>
                  <a:gd name="connsiteY41" fmla="*/ 1905000 h 1905000"/>
                  <a:gd name="connsiteX0" fmla="*/ 0 w 885825"/>
                  <a:gd name="connsiteY0" fmla="*/ 0 h 1905000"/>
                  <a:gd name="connsiteX1" fmla="*/ 119062 w 885825"/>
                  <a:gd name="connsiteY1" fmla="*/ 26194 h 1905000"/>
                  <a:gd name="connsiteX2" fmla="*/ 228600 w 885825"/>
                  <a:gd name="connsiteY2" fmla="*/ 57150 h 1905000"/>
                  <a:gd name="connsiteX3" fmla="*/ 323850 w 885825"/>
                  <a:gd name="connsiteY3" fmla="*/ 83344 h 1905000"/>
                  <a:gd name="connsiteX4" fmla="*/ 409575 w 885825"/>
                  <a:gd name="connsiteY4" fmla="*/ 116681 h 1905000"/>
                  <a:gd name="connsiteX5" fmla="*/ 502443 w 885825"/>
                  <a:gd name="connsiteY5" fmla="*/ 159544 h 1905000"/>
                  <a:gd name="connsiteX6" fmla="*/ 557212 w 885825"/>
                  <a:gd name="connsiteY6" fmla="*/ 192881 h 1905000"/>
                  <a:gd name="connsiteX7" fmla="*/ 621506 w 885825"/>
                  <a:gd name="connsiteY7" fmla="*/ 252413 h 1905000"/>
                  <a:gd name="connsiteX8" fmla="*/ 678656 w 885825"/>
                  <a:gd name="connsiteY8" fmla="*/ 314325 h 1905000"/>
                  <a:gd name="connsiteX9" fmla="*/ 709612 w 885825"/>
                  <a:gd name="connsiteY9" fmla="*/ 369094 h 1905000"/>
                  <a:gd name="connsiteX10" fmla="*/ 735806 w 885825"/>
                  <a:gd name="connsiteY10" fmla="*/ 431006 h 1905000"/>
                  <a:gd name="connsiteX11" fmla="*/ 762000 w 885825"/>
                  <a:gd name="connsiteY11" fmla="*/ 519113 h 1905000"/>
                  <a:gd name="connsiteX12" fmla="*/ 766762 w 885825"/>
                  <a:gd name="connsiteY12" fmla="*/ 614363 h 1905000"/>
                  <a:gd name="connsiteX13" fmla="*/ 764381 w 885825"/>
                  <a:gd name="connsiteY13" fmla="*/ 716757 h 1905000"/>
                  <a:gd name="connsiteX14" fmla="*/ 762000 w 885825"/>
                  <a:gd name="connsiteY14" fmla="*/ 781051 h 1905000"/>
                  <a:gd name="connsiteX15" fmla="*/ 762000 w 885825"/>
                  <a:gd name="connsiteY15" fmla="*/ 835819 h 1905000"/>
                  <a:gd name="connsiteX16" fmla="*/ 762000 w 885825"/>
                  <a:gd name="connsiteY16" fmla="*/ 892969 h 1905000"/>
                  <a:gd name="connsiteX17" fmla="*/ 762000 w 885825"/>
                  <a:gd name="connsiteY17" fmla="*/ 892969 h 1905000"/>
                  <a:gd name="connsiteX18" fmla="*/ 773906 w 885825"/>
                  <a:gd name="connsiteY18" fmla="*/ 985838 h 1905000"/>
                  <a:gd name="connsiteX19" fmla="*/ 788193 w 885825"/>
                  <a:gd name="connsiteY19" fmla="*/ 1071563 h 1905000"/>
                  <a:gd name="connsiteX20" fmla="*/ 797718 w 885825"/>
                  <a:gd name="connsiteY20" fmla="*/ 1131093 h 1905000"/>
                  <a:gd name="connsiteX21" fmla="*/ 819149 w 885825"/>
                  <a:gd name="connsiteY21" fmla="*/ 1183481 h 1905000"/>
                  <a:gd name="connsiteX22" fmla="*/ 840581 w 885825"/>
                  <a:gd name="connsiteY22" fmla="*/ 1238250 h 1905000"/>
                  <a:gd name="connsiteX23" fmla="*/ 881062 w 885825"/>
                  <a:gd name="connsiteY23" fmla="*/ 1314450 h 1905000"/>
                  <a:gd name="connsiteX24" fmla="*/ 885825 w 885825"/>
                  <a:gd name="connsiteY24" fmla="*/ 1343025 h 1905000"/>
                  <a:gd name="connsiteX25" fmla="*/ 866775 w 885825"/>
                  <a:gd name="connsiteY25" fmla="*/ 1376363 h 1905000"/>
                  <a:gd name="connsiteX26" fmla="*/ 833437 w 885825"/>
                  <a:gd name="connsiteY26" fmla="*/ 1397794 h 1905000"/>
                  <a:gd name="connsiteX27" fmla="*/ 783431 w 885825"/>
                  <a:gd name="connsiteY27" fmla="*/ 1395413 h 1905000"/>
                  <a:gd name="connsiteX28" fmla="*/ 728662 w 885825"/>
                  <a:gd name="connsiteY28" fmla="*/ 1397794 h 1905000"/>
                  <a:gd name="connsiteX29" fmla="*/ 692944 w 885825"/>
                  <a:gd name="connsiteY29" fmla="*/ 1414463 h 1905000"/>
                  <a:gd name="connsiteX30" fmla="*/ 669131 w 885825"/>
                  <a:gd name="connsiteY30" fmla="*/ 1447800 h 1905000"/>
                  <a:gd name="connsiteX31" fmla="*/ 669131 w 885825"/>
                  <a:gd name="connsiteY31" fmla="*/ 1485900 h 1905000"/>
                  <a:gd name="connsiteX32" fmla="*/ 673893 w 885825"/>
                  <a:gd name="connsiteY32" fmla="*/ 1514475 h 1905000"/>
                  <a:gd name="connsiteX33" fmla="*/ 681037 w 885825"/>
                  <a:gd name="connsiteY33" fmla="*/ 1543050 h 1905000"/>
                  <a:gd name="connsiteX34" fmla="*/ 707231 w 885825"/>
                  <a:gd name="connsiteY34" fmla="*/ 1578769 h 1905000"/>
                  <a:gd name="connsiteX35" fmla="*/ 721518 w 885825"/>
                  <a:gd name="connsiteY35" fmla="*/ 1609725 h 1905000"/>
                  <a:gd name="connsiteX36" fmla="*/ 747712 w 885825"/>
                  <a:gd name="connsiteY36" fmla="*/ 1664494 h 1905000"/>
                  <a:gd name="connsiteX37" fmla="*/ 733425 w 885825"/>
                  <a:gd name="connsiteY37" fmla="*/ 1707356 h 1905000"/>
                  <a:gd name="connsiteX38" fmla="*/ 704850 w 885825"/>
                  <a:gd name="connsiteY38" fmla="*/ 1764506 h 1905000"/>
                  <a:gd name="connsiteX39" fmla="*/ 673894 w 885825"/>
                  <a:gd name="connsiteY39" fmla="*/ 1821657 h 1905000"/>
                  <a:gd name="connsiteX40" fmla="*/ 676275 w 885825"/>
                  <a:gd name="connsiteY40" fmla="*/ 1883569 h 1905000"/>
                  <a:gd name="connsiteX41" fmla="*/ 681037 w 885825"/>
                  <a:gd name="connsiteY41" fmla="*/ 1905000 h 1905000"/>
                  <a:gd name="connsiteX0" fmla="*/ 0 w 885825"/>
                  <a:gd name="connsiteY0" fmla="*/ 0 h 1905000"/>
                  <a:gd name="connsiteX1" fmla="*/ 119062 w 885825"/>
                  <a:gd name="connsiteY1" fmla="*/ 26194 h 1905000"/>
                  <a:gd name="connsiteX2" fmla="*/ 228600 w 885825"/>
                  <a:gd name="connsiteY2" fmla="*/ 57150 h 1905000"/>
                  <a:gd name="connsiteX3" fmla="*/ 323850 w 885825"/>
                  <a:gd name="connsiteY3" fmla="*/ 83344 h 1905000"/>
                  <a:gd name="connsiteX4" fmla="*/ 409575 w 885825"/>
                  <a:gd name="connsiteY4" fmla="*/ 116681 h 1905000"/>
                  <a:gd name="connsiteX5" fmla="*/ 502443 w 885825"/>
                  <a:gd name="connsiteY5" fmla="*/ 159544 h 1905000"/>
                  <a:gd name="connsiteX6" fmla="*/ 557212 w 885825"/>
                  <a:gd name="connsiteY6" fmla="*/ 192881 h 1905000"/>
                  <a:gd name="connsiteX7" fmla="*/ 621506 w 885825"/>
                  <a:gd name="connsiteY7" fmla="*/ 252413 h 1905000"/>
                  <a:gd name="connsiteX8" fmla="*/ 678656 w 885825"/>
                  <a:gd name="connsiteY8" fmla="*/ 314325 h 1905000"/>
                  <a:gd name="connsiteX9" fmla="*/ 709612 w 885825"/>
                  <a:gd name="connsiteY9" fmla="*/ 369094 h 1905000"/>
                  <a:gd name="connsiteX10" fmla="*/ 735806 w 885825"/>
                  <a:gd name="connsiteY10" fmla="*/ 431006 h 1905000"/>
                  <a:gd name="connsiteX11" fmla="*/ 762000 w 885825"/>
                  <a:gd name="connsiteY11" fmla="*/ 519113 h 1905000"/>
                  <a:gd name="connsiteX12" fmla="*/ 766762 w 885825"/>
                  <a:gd name="connsiteY12" fmla="*/ 614363 h 1905000"/>
                  <a:gd name="connsiteX13" fmla="*/ 764381 w 885825"/>
                  <a:gd name="connsiteY13" fmla="*/ 716757 h 1905000"/>
                  <a:gd name="connsiteX14" fmla="*/ 762000 w 885825"/>
                  <a:gd name="connsiteY14" fmla="*/ 781051 h 1905000"/>
                  <a:gd name="connsiteX15" fmla="*/ 762000 w 885825"/>
                  <a:gd name="connsiteY15" fmla="*/ 835819 h 1905000"/>
                  <a:gd name="connsiteX16" fmla="*/ 762000 w 885825"/>
                  <a:gd name="connsiteY16" fmla="*/ 892969 h 1905000"/>
                  <a:gd name="connsiteX17" fmla="*/ 762000 w 885825"/>
                  <a:gd name="connsiteY17" fmla="*/ 892969 h 1905000"/>
                  <a:gd name="connsiteX18" fmla="*/ 773906 w 885825"/>
                  <a:gd name="connsiteY18" fmla="*/ 985838 h 1905000"/>
                  <a:gd name="connsiteX19" fmla="*/ 788193 w 885825"/>
                  <a:gd name="connsiteY19" fmla="*/ 1071563 h 1905000"/>
                  <a:gd name="connsiteX20" fmla="*/ 797718 w 885825"/>
                  <a:gd name="connsiteY20" fmla="*/ 1131093 h 1905000"/>
                  <a:gd name="connsiteX21" fmla="*/ 819149 w 885825"/>
                  <a:gd name="connsiteY21" fmla="*/ 1183481 h 1905000"/>
                  <a:gd name="connsiteX22" fmla="*/ 840581 w 885825"/>
                  <a:gd name="connsiteY22" fmla="*/ 1238250 h 1905000"/>
                  <a:gd name="connsiteX23" fmla="*/ 881062 w 885825"/>
                  <a:gd name="connsiteY23" fmla="*/ 1314450 h 1905000"/>
                  <a:gd name="connsiteX24" fmla="*/ 885825 w 885825"/>
                  <a:gd name="connsiteY24" fmla="*/ 1343025 h 1905000"/>
                  <a:gd name="connsiteX25" fmla="*/ 866775 w 885825"/>
                  <a:gd name="connsiteY25" fmla="*/ 1376363 h 1905000"/>
                  <a:gd name="connsiteX26" fmla="*/ 833437 w 885825"/>
                  <a:gd name="connsiteY26" fmla="*/ 1397794 h 1905000"/>
                  <a:gd name="connsiteX27" fmla="*/ 783431 w 885825"/>
                  <a:gd name="connsiteY27" fmla="*/ 1395413 h 1905000"/>
                  <a:gd name="connsiteX28" fmla="*/ 728662 w 885825"/>
                  <a:gd name="connsiteY28" fmla="*/ 1397794 h 1905000"/>
                  <a:gd name="connsiteX29" fmla="*/ 692944 w 885825"/>
                  <a:gd name="connsiteY29" fmla="*/ 1414463 h 1905000"/>
                  <a:gd name="connsiteX30" fmla="*/ 669131 w 885825"/>
                  <a:gd name="connsiteY30" fmla="*/ 1447800 h 1905000"/>
                  <a:gd name="connsiteX31" fmla="*/ 669131 w 885825"/>
                  <a:gd name="connsiteY31" fmla="*/ 1485900 h 1905000"/>
                  <a:gd name="connsiteX32" fmla="*/ 673893 w 885825"/>
                  <a:gd name="connsiteY32" fmla="*/ 1514475 h 1905000"/>
                  <a:gd name="connsiteX33" fmla="*/ 681037 w 885825"/>
                  <a:gd name="connsiteY33" fmla="*/ 1543050 h 1905000"/>
                  <a:gd name="connsiteX34" fmla="*/ 707231 w 885825"/>
                  <a:gd name="connsiteY34" fmla="*/ 1578769 h 1905000"/>
                  <a:gd name="connsiteX35" fmla="*/ 721518 w 885825"/>
                  <a:gd name="connsiteY35" fmla="*/ 1609725 h 1905000"/>
                  <a:gd name="connsiteX36" fmla="*/ 747712 w 885825"/>
                  <a:gd name="connsiteY36" fmla="*/ 1664494 h 1905000"/>
                  <a:gd name="connsiteX37" fmla="*/ 733425 w 885825"/>
                  <a:gd name="connsiteY37" fmla="*/ 1707356 h 1905000"/>
                  <a:gd name="connsiteX38" fmla="*/ 704850 w 885825"/>
                  <a:gd name="connsiteY38" fmla="*/ 1764506 h 1905000"/>
                  <a:gd name="connsiteX39" fmla="*/ 673894 w 885825"/>
                  <a:gd name="connsiteY39" fmla="*/ 1821657 h 1905000"/>
                  <a:gd name="connsiteX40" fmla="*/ 676275 w 885825"/>
                  <a:gd name="connsiteY40" fmla="*/ 1883569 h 1905000"/>
                  <a:gd name="connsiteX41" fmla="*/ 681037 w 885825"/>
                  <a:gd name="connsiteY41" fmla="*/ 1905000 h 1905000"/>
                  <a:gd name="connsiteX0" fmla="*/ 0 w 887353"/>
                  <a:gd name="connsiteY0" fmla="*/ 0 h 1905000"/>
                  <a:gd name="connsiteX1" fmla="*/ 119062 w 887353"/>
                  <a:gd name="connsiteY1" fmla="*/ 26194 h 1905000"/>
                  <a:gd name="connsiteX2" fmla="*/ 228600 w 887353"/>
                  <a:gd name="connsiteY2" fmla="*/ 57150 h 1905000"/>
                  <a:gd name="connsiteX3" fmla="*/ 323850 w 887353"/>
                  <a:gd name="connsiteY3" fmla="*/ 83344 h 1905000"/>
                  <a:gd name="connsiteX4" fmla="*/ 409575 w 887353"/>
                  <a:gd name="connsiteY4" fmla="*/ 116681 h 1905000"/>
                  <a:gd name="connsiteX5" fmla="*/ 502443 w 887353"/>
                  <a:gd name="connsiteY5" fmla="*/ 159544 h 1905000"/>
                  <a:gd name="connsiteX6" fmla="*/ 557212 w 887353"/>
                  <a:gd name="connsiteY6" fmla="*/ 192881 h 1905000"/>
                  <a:gd name="connsiteX7" fmla="*/ 621506 w 887353"/>
                  <a:gd name="connsiteY7" fmla="*/ 252413 h 1905000"/>
                  <a:gd name="connsiteX8" fmla="*/ 678656 w 887353"/>
                  <a:gd name="connsiteY8" fmla="*/ 314325 h 1905000"/>
                  <a:gd name="connsiteX9" fmla="*/ 709612 w 887353"/>
                  <a:gd name="connsiteY9" fmla="*/ 369094 h 1905000"/>
                  <a:gd name="connsiteX10" fmla="*/ 735806 w 887353"/>
                  <a:gd name="connsiteY10" fmla="*/ 431006 h 1905000"/>
                  <a:gd name="connsiteX11" fmla="*/ 762000 w 887353"/>
                  <a:gd name="connsiteY11" fmla="*/ 519113 h 1905000"/>
                  <a:gd name="connsiteX12" fmla="*/ 766762 w 887353"/>
                  <a:gd name="connsiteY12" fmla="*/ 614363 h 1905000"/>
                  <a:gd name="connsiteX13" fmla="*/ 764381 w 887353"/>
                  <a:gd name="connsiteY13" fmla="*/ 716757 h 1905000"/>
                  <a:gd name="connsiteX14" fmla="*/ 762000 w 887353"/>
                  <a:gd name="connsiteY14" fmla="*/ 781051 h 1905000"/>
                  <a:gd name="connsiteX15" fmla="*/ 762000 w 887353"/>
                  <a:gd name="connsiteY15" fmla="*/ 835819 h 1905000"/>
                  <a:gd name="connsiteX16" fmla="*/ 762000 w 887353"/>
                  <a:gd name="connsiteY16" fmla="*/ 892969 h 1905000"/>
                  <a:gd name="connsiteX17" fmla="*/ 762000 w 887353"/>
                  <a:gd name="connsiteY17" fmla="*/ 892969 h 1905000"/>
                  <a:gd name="connsiteX18" fmla="*/ 773906 w 887353"/>
                  <a:gd name="connsiteY18" fmla="*/ 985838 h 1905000"/>
                  <a:gd name="connsiteX19" fmla="*/ 788193 w 887353"/>
                  <a:gd name="connsiteY19" fmla="*/ 1071563 h 1905000"/>
                  <a:gd name="connsiteX20" fmla="*/ 797718 w 887353"/>
                  <a:gd name="connsiteY20" fmla="*/ 1131093 h 1905000"/>
                  <a:gd name="connsiteX21" fmla="*/ 819149 w 887353"/>
                  <a:gd name="connsiteY21" fmla="*/ 1183481 h 1905000"/>
                  <a:gd name="connsiteX22" fmla="*/ 840581 w 887353"/>
                  <a:gd name="connsiteY22" fmla="*/ 1238250 h 1905000"/>
                  <a:gd name="connsiteX23" fmla="*/ 881062 w 887353"/>
                  <a:gd name="connsiteY23" fmla="*/ 1314450 h 1905000"/>
                  <a:gd name="connsiteX24" fmla="*/ 885825 w 887353"/>
                  <a:gd name="connsiteY24" fmla="*/ 1343025 h 1905000"/>
                  <a:gd name="connsiteX25" fmla="*/ 866775 w 887353"/>
                  <a:gd name="connsiteY25" fmla="*/ 1376363 h 1905000"/>
                  <a:gd name="connsiteX26" fmla="*/ 833437 w 887353"/>
                  <a:gd name="connsiteY26" fmla="*/ 1397794 h 1905000"/>
                  <a:gd name="connsiteX27" fmla="*/ 783431 w 887353"/>
                  <a:gd name="connsiteY27" fmla="*/ 1395413 h 1905000"/>
                  <a:gd name="connsiteX28" fmla="*/ 728662 w 887353"/>
                  <a:gd name="connsiteY28" fmla="*/ 1397794 h 1905000"/>
                  <a:gd name="connsiteX29" fmla="*/ 692944 w 887353"/>
                  <a:gd name="connsiteY29" fmla="*/ 1414463 h 1905000"/>
                  <a:gd name="connsiteX30" fmla="*/ 669131 w 887353"/>
                  <a:gd name="connsiteY30" fmla="*/ 1447800 h 1905000"/>
                  <a:gd name="connsiteX31" fmla="*/ 669131 w 887353"/>
                  <a:gd name="connsiteY31" fmla="*/ 1485900 h 1905000"/>
                  <a:gd name="connsiteX32" fmla="*/ 673893 w 887353"/>
                  <a:gd name="connsiteY32" fmla="*/ 1514475 h 1905000"/>
                  <a:gd name="connsiteX33" fmla="*/ 681037 w 887353"/>
                  <a:gd name="connsiteY33" fmla="*/ 1543050 h 1905000"/>
                  <a:gd name="connsiteX34" fmla="*/ 707231 w 887353"/>
                  <a:gd name="connsiteY34" fmla="*/ 1578769 h 1905000"/>
                  <a:gd name="connsiteX35" fmla="*/ 721518 w 887353"/>
                  <a:gd name="connsiteY35" fmla="*/ 1609725 h 1905000"/>
                  <a:gd name="connsiteX36" fmla="*/ 747712 w 887353"/>
                  <a:gd name="connsiteY36" fmla="*/ 1664494 h 1905000"/>
                  <a:gd name="connsiteX37" fmla="*/ 733425 w 887353"/>
                  <a:gd name="connsiteY37" fmla="*/ 1707356 h 1905000"/>
                  <a:gd name="connsiteX38" fmla="*/ 704850 w 887353"/>
                  <a:gd name="connsiteY38" fmla="*/ 1764506 h 1905000"/>
                  <a:gd name="connsiteX39" fmla="*/ 673894 w 887353"/>
                  <a:gd name="connsiteY39" fmla="*/ 1821657 h 1905000"/>
                  <a:gd name="connsiteX40" fmla="*/ 676275 w 887353"/>
                  <a:gd name="connsiteY40" fmla="*/ 1883569 h 1905000"/>
                  <a:gd name="connsiteX41" fmla="*/ 681037 w 887353"/>
                  <a:gd name="connsiteY41" fmla="*/ 1905000 h 1905000"/>
                  <a:gd name="connsiteX0" fmla="*/ 0 w 887353"/>
                  <a:gd name="connsiteY0" fmla="*/ 0 h 1905000"/>
                  <a:gd name="connsiteX1" fmla="*/ 119062 w 887353"/>
                  <a:gd name="connsiteY1" fmla="*/ 26194 h 1905000"/>
                  <a:gd name="connsiteX2" fmla="*/ 228600 w 887353"/>
                  <a:gd name="connsiteY2" fmla="*/ 57150 h 1905000"/>
                  <a:gd name="connsiteX3" fmla="*/ 323850 w 887353"/>
                  <a:gd name="connsiteY3" fmla="*/ 83344 h 1905000"/>
                  <a:gd name="connsiteX4" fmla="*/ 409575 w 887353"/>
                  <a:gd name="connsiteY4" fmla="*/ 116681 h 1905000"/>
                  <a:gd name="connsiteX5" fmla="*/ 502443 w 887353"/>
                  <a:gd name="connsiteY5" fmla="*/ 159544 h 1905000"/>
                  <a:gd name="connsiteX6" fmla="*/ 557212 w 887353"/>
                  <a:gd name="connsiteY6" fmla="*/ 192881 h 1905000"/>
                  <a:gd name="connsiteX7" fmla="*/ 621506 w 887353"/>
                  <a:gd name="connsiteY7" fmla="*/ 252413 h 1905000"/>
                  <a:gd name="connsiteX8" fmla="*/ 678656 w 887353"/>
                  <a:gd name="connsiteY8" fmla="*/ 314325 h 1905000"/>
                  <a:gd name="connsiteX9" fmla="*/ 709612 w 887353"/>
                  <a:gd name="connsiteY9" fmla="*/ 369094 h 1905000"/>
                  <a:gd name="connsiteX10" fmla="*/ 735806 w 887353"/>
                  <a:gd name="connsiteY10" fmla="*/ 431006 h 1905000"/>
                  <a:gd name="connsiteX11" fmla="*/ 762000 w 887353"/>
                  <a:gd name="connsiteY11" fmla="*/ 519113 h 1905000"/>
                  <a:gd name="connsiteX12" fmla="*/ 766762 w 887353"/>
                  <a:gd name="connsiteY12" fmla="*/ 614363 h 1905000"/>
                  <a:gd name="connsiteX13" fmla="*/ 764381 w 887353"/>
                  <a:gd name="connsiteY13" fmla="*/ 716757 h 1905000"/>
                  <a:gd name="connsiteX14" fmla="*/ 762000 w 887353"/>
                  <a:gd name="connsiteY14" fmla="*/ 781051 h 1905000"/>
                  <a:gd name="connsiteX15" fmla="*/ 762000 w 887353"/>
                  <a:gd name="connsiteY15" fmla="*/ 835819 h 1905000"/>
                  <a:gd name="connsiteX16" fmla="*/ 762000 w 887353"/>
                  <a:gd name="connsiteY16" fmla="*/ 892969 h 1905000"/>
                  <a:gd name="connsiteX17" fmla="*/ 762000 w 887353"/>
                  <a:gd name="connsiteY17" fmla="*/ 892969 h 1905000"/>
                  <a:gd name="connsiteX18" fmla="*/ 773906 w 887353"/>
                  <a:gd name="connsiteY18" fmla="*/ 985838 h 1905000"/>
                  <a:gd name="connsiteX19" fmla="*/ 788193 w 887353"/>
                  <a:gd name="connsiteY19" fmla="*/ 1071563 h 1905000"/>
                  <a:gd name="connsiteX20" fmla="*/ 797718 w 887353"/>
                  <a:gd name="connsiteY20" fmla="*/ 1131093 h 1905000"/>
                  <a:gd name="connsiteX21" fmla="*/ 819149 w 887353"/>
                  <a:gd name="connsiteY21" fmla="*/ 1183481 h 1905000"/>
                  <a:gd name="connsiteX22" fmla="*/ 840581 w 887353"/>
                  <a:gd name="connsiteY22" fmla="*/ 1238250 h 1905000"/>
                  <a:gd name="connsiteX23" fmla="*/ 881062 w 887353"/>
                  <a:gd name="connsiteY23" fmla="*/ 1314450 h 1905000"/>
                  <a:gd name="connsiteX24" fmla="*/ 885825 w 887353"/>
                  <a:gd name="connsiteY24" fmla="*/ 1343025 h 1905000"/>
                  <a:gd name="connsiteX25" fmla="*/ 866775 w 887353"/>
                  <a:gd name="connsiteY25" fmla="*/ 1376363 h 1905000"/>
                  <a:gd name="connsiteX26" fmla="*/ 833437 w 887353"/>
                  <a:gd name="connsiteY26" fmla="*/ 1397794 h 1905000"/>
                  <a:gd name="connsiteX27" fmla="*/ 783431 w 887353"/>
                  <a:gd name="connsiteY27" fmla="*/ 1395413 h 1905000"/>
                  <a:gd name="connsiteX28" fmla="*/ 728662 w 887353"/>
                  <a:gd name="connsiteY28" fmla="*/ 1397794 h 1905000"/>
                  <a:gd name="connsiteX29" fmla="*/ 692944 w 887353"/>
                  <a:gd name="connsiteY29" fmla="*/ 1414463 h 1905000"/>
                  <a:gd name="connsiteX30" fmla="*/ 669131 w 887353"/>
                  <a:gd name="connsiteY30" fmla="*/ 1447800 h 1905000"/>
                  <a:gd name="connsiteX31" fmla="*/ 669131 w 887353"/>
                  <a:gd name="connsiteY31" fmla="*/ 1485900 h 1905000"/>
                  <a:gd name="connsiteX32" fmla="*/ 673893 w 887353"/>
                  <a:gd name="connsiteY32" fmla="*/ 1514475 h 1905000"/>
                  <a:gd name="connsiteX33" fmla="*/ 681037 w 887353"/>
                  <a:gd name="connsiteY33" fmla="*/ 1543050 h 1905000"/>
                  <a:gd name="connsiteX34" fmla="*/ 707231 w 887353"/>
                  <a:gd name="connsiteY34" fmla="*/ 1578769 h 1905000"/>
                  <a:gd name="connsiteX35" fmla="*/ 721518 w 887353"/>
                  <a:gd name="connsiteY35" fmla="*/ 1609725 h 1905000"/>
                  <a:gd name="connsiteX36" fmla="*/ 747712 w 887353"/>
                  <a:gd name="connsiteY36" fmla="*/ 1664494 h 1905000"/>
                  <a:gd name="connsiteX37" fmla="*/ 733425 w 887353"/>
                  <a:gd name="connsiteY37" fmla="*/ 1707356 h 1905000"/>
                  <a:gd name="connsiteX38" fmla="*/ 704850 w 887353"/>
                  <a:gd name="connsiteY38" fmla="*/ 1764506 h 1905000"/>
                  <a:gd name="connsiteX39" fmla="*/ 673894 w 887353"/>
                  <a:gd name="connsiteY39" fmla="*/ 1821657 h 1905000"/>
                  <a:gd name="connsiteX40" fmla="*/ 676275 w 887353"/>
                  <a:gd name="connsiteY40" fmla="*/ 1883569 h 1905000"/>
                  <a:gd name="connsiteX41" fmla="*/ 681037 w 887353"/>
                  <a:gd name="connsiteY41" fmla="*/ 1905000 h 1905000"/>
                  <a:gd name="connsiteX0" fmla="*/ 0 w 887353"/>
                  <a:gd name="connsiteY0" fmla="*/ 0 h 1905000"/>
                  <a:gd name="connsiteX1" fmla="*/ 119062 w 887353"/>
                  <a:gd name="connsiteY1" fmla="*/ 26194 h 1905000"/>
                  <a:gd name="connsiteX2" fmla="*/ 228600 w 887353"/>
                  <a:gd name="connsiteY2" fmla="*/ 57150 h 1905000"/>
                  <a:gd name="connsiteX3" fmla="*/ 323850 w 887353"/>
                  <a:gd name="connsiteY3" fmla="*/ 83344 h 1905000"/>
                  <a:gd name="connsiteX4" fmla="*/ 409575 w 887353"/>
                  <a:gd name="connsiteY4" fmla="*/ 116681 h 1905000"/>
                  <a:gd name="connsiteX5" fmla="*/ 502443 w 887353"/>
                  <a:gd name="connsiteY5" fmla="*/ 159544 h 1905000"/>
                  <a:gd name="connsiteX6" fmla="*/ 557212 w 887353"/>
                  <a:gd name="connsiteY6" fmla="*/ 192881 h 1905000"/>
                  <a:gd name="connsiteX7" fmla="*/ 621506 w 887353"/>
                  <a:gd name="connsiteY7" fmla="*/ 252413 h 1905000"/>
                  <a:gd name="connsiteX8" fmla="*/ 678656 w 887353"/>
                  <a:gd name="connsiteY8" fmla="*/ 314325 h 1905000"/>
                  <a:gd name="connsiteX9" fmla="*/ 709612 w 887353"/>
                  <a:gd name="connsiteY9" fmla="*/ 369094 h 1905000"/>
                  <a:gd name="connsiteX10" fmla="*/ 735806 w 887353"/>
                  <a:gd name="connsiteY10" fmla="*/ 431006 h 1905000"/>
                  <a:gd name="connsiteX11" fmla="*/ 762000 w 887353"/>
                  <a:gd name="connsiteY11" fmla="*/ 519113 h 1905000"/>
                  <a:gd name="connsiteX12" fmla="*/ 766762 w 887353"/>
                  <a:gd name="connsiteY12" fmla="*/ 614363 h 1905000"/>
                  <a:gd name="connsiteX13" fmla="*/ 764381 w 887353"/>
                  <a:gd name="connsiteY13" fmla="*/ 716757 h 1905000"/>
                  <a:gd name="connsiteX14" fmla="*/ 762000 w 887353"/>
                  <a:gd name="connsiteY14" fmla="*/ 781051 h 1905000"/>
                  <a:gd name="connsiteX15" fmla="*/ 762000 w 887353"/>
                  <a:gd name="connsiteY15" fmla="*/ 835819 h 1905000"/>
                  <a:gd name="connsiteX16" fmla="*/ 762000 w 887353"/>
                  <a:gd name="connsiteY16" fmla="*/ 892969 h 1905000"/>
                  <a:gd name="connsiteX17" fmla="*/ 762000 w 887353"/>
                  <a:gd name="connsiteY17" fmla="*/ 892969 h 1905000"/>
                  <a:gd name="connsiteX18" fmla="*/ 773906 w 887353"/>
                  <a:gd name="connsiteY18" fmla="*/ 985838 h 1905000"/>
                  <a:gd name="connsiteX19" fmla="*/ 788193 w 887353"/>
                  <a:gd name="connsiteY19" fmla="*/ 1071563 h 1905000"/>
                  <a:gd name="connsiteX20" fmla="*/ 797718 w 887353"/>
                  <a:gd name="connsiteY20" fmla="*/ 1131093 h 1905000"/>
                  <a:gd name="connsiteX21" fmla="*/ 819149 w 887353"/>
                  <a:gd name="connsiteY21" fmla="*/ 1183481 h 1905000"/>
                  <a:gd name="connsiteX22" fmla="*/ 840581 w 887353"/>
                  <a:gd name="connsiteY22" fmla="*/ 1238250 h 1905000"/>
                  <a:gd name="connsiteX23" fmla="*/ 881062 w 887353"/>
                  <a:gd name="connsiteY23" fmla="*/ 1314450 h 1905000"/>
                  <a:gd name="connsiteX24" fmla="*/ 885825 w 887353"/>
                  <a:gd name="connsiteY24" fmla="*/ 1343025 h 1905000"/>
                  <a:gd name="connsiteX25" fmla="*/ 866775 w 887353"/>
                  <a:gd name="connsiteY25" fmla="*/ 1376363 h 1905000"/>
                  <a:gd name="connsiteX26" fmla="*/ 833437 w 887353"/>
                  <a:gd name="connsiteY26" fmla="*/ 1397794 h 1905000"/>
                  <a:gd name="connsiteX27" fmla="*/ 783431 w 887353"/>
                  <a:gd name="connsiteY27" fmla="*/ 1395413 h 1905000"/>
                  <a:gd name="connsiteX28" fmla="*/ 728662 w 887353"/>
                  <a:gd name="connsiteY28" fmla="*/ 1397794 h 1905000"/>
                  <a:gd name="connsiteX29" fmla="*/ 692944 w 887353"/>
                  <a:gd name="connsiteY29" fmla="*/ 1414463 h 1905000"/>
                  <a:gd name="connsiteX30" fmla="*/ 669131 w 887353"/>
                  <a:gd name="connsiteY30" fmla="*/ 1447800 h 1905000"/>
                  <a:gd name="connsiteX31" fmla="*/ 669131 w 887353"/>
                  <a:gd name="connsiteY31" fmla="*/ 1485900 h 1905000"/>
                  <a:gd name="connsiteX32" fmla="*/ 673893 w 887353"/>
                  <a:gd name="connsiteY32" fmla="*/ 1514475 h 1905000"/>
                  <a:gd name="connsiteX33" fmla="*/ 689047 w 887353"/>
                  <a:gd name="connsiteY33" fmla="*/ 1543050 h 1905000"/>
                  <a:gd name="connsiteX34" fmla="*/ 707231 w 887353"/>
                  <a:gd name="connsiteY34" fmla="*/ 1578769 h 1905000"/>
                  <a:gd name="connsiteX35" fmla="*/ 721518 w 887353"/>
                  <a:gd name="connsiteY35" fmla="*/ 1609725 h 1905000"/>
                  <a:gd name="connsiteX36" fmla="*/ 747712 w 887353"/>
                  <a:gd name="connsiteY36" fmla="*/ 1664494 h 1905000"/>
                  <a:gd name="connsiteX37" fmla="*/ 733425 w 887353"/>
                  <a:gd name="connsiteY37" fmla="*/ 1707356 h 1905000"/>
                  <a:gd name="connsiteX38" fmla="*/ 704850 w 887353"/>
                  <a:gd name="connsiteY38" fmla="*/ 1764506 h 1905000"/>
                  <a:gd name="connsiteX39" fmla="*/ 673894 w 887353"/>
                  <a:gd name="connsiteY39" fmla="*/ 1821657 h 1905000"/>
                  <a:gd name="connsiteX40" fmla="*/ 676275 w 887353"/>
                  <a:gd name="connsiteY40" fmla="*/ 1883569 h 1905000"/>
                  <a:gd name="connsiteX41" fmla="*/ 681037 w 887353"/>
                  <a:gd name="connsiteY41" fmla="*/ 1905000 h 1905000"/>
                  <a:gd name="connsiteX0" fmla="*/ 0 w 887353"/>
                  <a:gd name="connsiteY0" fmla="*/ 0 h 1905000"/>
                  <a:gd name="connsiteX1" fmla="*/ 119062 w 887353"/>
                  <a:gd name="connsiteY1" fmla="*/ 26194 h 1905000"/>
                  <a:gd name="connsiteX2" fmla="*/ 228600 w 887353"/>
                  <a:gd name="connsiteY2" fmla="*/ 57150 h 1905000"/>
                  <a:gd name="connsiteX3" fmla="*/ 323850 w 887353"/>
                  <a:gd name="connsiteY3" fmla="*/ 83344 h 1905000"/>
                  <a:gd name="connsiteX4" fmla="*/ 409575 w 887353"/>
                  <a:gd name="connsiteY4" fmla="*/ 116681 h 1905000"/>
                  <a:gd name="connsiteX5" fmla="*/ 502443 w 887353"/>
                  <a:gd name="connsiteY5" fmla="*/ 159544 h 1905000"/>
                  <a:gd name="connsiteX6" fmla="*/ 557212 w 887353"/>
                  <a:gd name="connsiteY6" fmla="*/ 192881 h 1905000"/>
                  <a:gd name="connsiteX7" fmla="*/ 621506 w 887353"/>
                  <a:gd name="connsiteY7" fmla="*/ 252413 h 1905000"/>
                  <a:gd name="connsiteX8" fmla="*/ 678656 w 887353"/>
                  <a:gd name="connsiteY8" fmla="*/ 314325 h 1905000"/>
                  <a:gd name="connsiteX9" fmla="*/ 709612 w 887353"/>
                  <a:gd name="connsiteY9" fmla="*/ 369094 h 1905000"/>
                  <a:gd name="connsiteX10" fmla="*/ 735806 w 887353"/>
                  <a:gd name="connsiteY10" fmla="*/ 431006 h 1905000"/>
                  <a:gd name="connsiteX11" fmla="*/ 762000 w 887353"/>
                  <a:gd name="connsiteY11" fmla="*/ 519113 h 1905000"/>
                  <a:gd name="connsiteX12" fmla="*/ 766762 w 887353"/>
                  <a:gd name="connsiteY12" fmla="*/ 614363 h 1905000"/>
                  <a:gd name="connsiteX13" fmla="*/ 764381 w 887353"/>
                  <a:gd name="connsiteY13" fmla="*/ 716757 h 1905000"/>
                  <a:gd name="connsiteX14" fmla="*/ 762000 w 887353"/>
                  <a:gd name="connsiteY14" fmla="*/ 781051 h 1905000"/>
                  <a:gd name="connsiteX15" fmla="*/ 762000 w 887353"/>
                  <a:gd name="connsiteY15" fmla="*/ 835819 h 1905000"/>
                  <a:gd name="connsiteX16" fmla="*/ 762000 w 887353"/>
                  <a:gd name="connsiteY16" fmla="*/ 892969 h 1905000"/>
                  <a:gd name="connsiteX17" fmla="*/ 762000 w 887353"/>
                  <a:gd name="connsiteY17" fmla="*/ 892969 h 1905000"/>
                  <a:gd name="connsiteX18" fmla="*/ 773906 w 887353"/>
                  <a:gd name="connsiteY18" fmla="*/ 985838 h 1905000"/>
                  <a:gd name="connsiteX19" fmla="*/ 788193 w 887353"/>
                  <a:gd name="connsiteY19" fmla="*/ 1071563 h 1905000"/>
                  <a:gd name="connsiteX20" fmla="*/ 797718 w 887353"/>
                  <a:gd name="connsiteY20" fmla="*/ 1131093 h 1905000"/>
                  <a:gd name="connsiteX21" fmla="*/ 819149 w 887353"/>
                  <a:gd name="connsiteY21" fmla="*/ 1183481 h 1905000"/>
                  <a:gd name="connsiteX22" fmla="*/ 840581 w 887353"/>
                  <a:gd name="connsiteY22" fmla="*/ 1238250 h 1905000"/>
                  <a:gd name="connsiteX23" fmla="*/ 881062 w 887353"/>
                  <a:gd name="connsiteY23" fmla="*/ 1314450 h 1905000"/>
                  <a:gd name="connsiteX24" fmla="*/ 885825 w 887353"/>
                  <a:gd name="connsiteY24" fmla="*/ 1343025 h 1905000"/>
                  <a:gd name="connsiteX25" fmla="*/ 866775 w 887353"/>
                  <a:gd name="connsiteY25" fmla="*/ 1376363 h 1905000"/>
                  <a:gd name="connsiteX26" fmla="*/ 833437 w 887353"/>
                  <a:gd name="connsiteY26" fmla="*/ 1397794 h 1905000"/>
                  <a:gd name="connsiteX27" fmla="*/ 783431 w 887353"/>
                  <a:gd name="connsiteY27" fmla="*/ 1395413 h 1905000"/>
                  <a:gd name="connsiteX28" fmla="*/ 728662 w 887353"/>
                  <a:gd name="connsiteY28" fmla="*/ 1397794 h 1905000"/>
                  <a:gd name="connsiteX29" fmla="*/ 692944 w 887353"/>
                  <a:gd name="connsiteY29" fmla="*/ 1414463 h 1905000"/>
                  <a:gd name="connsiteX30" fmla="*/ 669131 w 887353"/>
                  <a:gd name="connsiteY30" fmla="*/ 1447800 h 1905000"/>
                  <a:gd name="connsiteX31" fmla="*/ 669131 w 887353"/>
                  <a:gd name="connsiteY31" fmla="*/ 1485900 h 1905000"/>
                  <a:gd name="connsiteX32" fmla="*/ 673893 w 887353"/>
                  <a:gd name="connsiteY32" fmla="*/ 1514475 h 1905000"/>
                  <a:gd name="connsiteX33" fmla="*/ 686377 w 887353"/>
                  <a:gd name="connsiteY33" fmla="*/ 1551060 h 1905000"/>
                  <a:gd name="connsiteX34" fmla="*/ 707231 w 887353"/>
                  <a:gd name="connsiteY34" fmla="*/ 1578769 h 1905000"/>
                  <a:gd name="connsiteX35" fmla="*/ 721518 w 887353"/>
                  <a:gd name="connsiteY35" fmla="*/ 1609725 h 1905000"/>
                  <a:gd name="connsiteX36" fmla="*/ 747712 w 887353"/>
                  <a:gd name="connsiteY36" fmla="*/ 1664494 h 1905000"/>
                  <a:gd name="connsiteX37" fmla="*/ 733425 w 887353"/>
                  <a:gd name="connsiteY37" fmla="*/ 1707356 h 1905000"/>
                  <a:gd name="connsiteX38" fmla="*/ 704850 w 887353"/>
                  <a:gd name="connsiteY38" fmla="*/ 1764506 h 1905000"/>
                  <a:gd name="connsiteX39" fmla="*/ 673894 w 887353"/>
                  <a:gd name="connsiteY39" fmla="*/ 1821657 h 1905000"/>
                  <a:gd name="connsiteX40" fmla="*/ 676275 w 887353"/>
                  <a:gd name="connsiteY40" fmla="*/ 1883569 h 1905000"/>
                  <a:gd name="connsiteX41" fmla="*/ 681037 w 887353"/>
                  <a:gd name="connsiteY41" fmla="*/ 1905000 h 1905000"/>
                  <a:gd name="connsiteX0" fmla="*/ 0 w 887353"/>
                  <a:gd name="connsiteY0" fmla="*/ 0 h 1905000"/>
                  <a:gd name="connsiteX1" fmla="*/ 119062 w 887353"/>
                  <a:gd name="connsiteY1" fmla="*/ 26194 h 1905000"/>
                  <a:gd name="connsiteX2" fmla="*/ 228600 w 887353"/>
                  <a:gd name="connsiteY2" fmla="*/ 57150 h 1905000"/>
                  <a:gd name="connsiteX3" fmla="*/ 323850 w 887353"/>
                  <a:gd name="connsiteY3" fmla="*/ 83344 h 1905000"/>
                  <a:gd name="connsiteX4" fmla="*/ 409575 w 887353"/>
                  <a:gd name="connsiteY4" fmla="*/ 116681 h 1905000"/>
                  <a:gd name="connsiteX5" fmla="*/ 502443 w 887353"/>
                  <a:gd name="connsiteY5" fmla="*/ 159544 h 1905000"/>
                  <a:gd name="connsiteX6" fmla="*/ 557212 w 887353"/>
                  <a:gd name="connsiteY6" fmla="*/ 192881 h 1905000"/>
                  <a:gd name="connsiteX7" fmla="*/ 621506 w 887353"/>
                  <a:gd name="connsiteY7" fmla="*/ 252413 h 1905000"/>
                  <a:gd name="connsiteX8" fmla="*/ 678656 w 887353"/>
                  <a:gd name="connsiteY8" fmla="*/ 314325 h 1905000"/>
                  <a:gd name="connsiteX9" fmla="*/ 709612 w 887353"/>
                  <a:gd name="connsiteY9" fmla="*/ 369094 h 1905000"/>
                  <a:gd name="connsiteX10" fmla="*/ 735806 w 887353"/>
                  <a:gd name="connsiteY10" fmla="*/ 431006 h 1905000"/>
                  <a:gd name="connsiteX11" fmla="*/ 762000 w 887353"/>
                  <a:gd name="connsiteY11" fmla="*/ 519113 h 1905000"/>
                  <a:gd name="connsiteX12" fmla="*/ 766762 w 887353"/>
                  <a:gd name="connsiteY12" fmla="*/ 614363 h 1905000"/>
                  <a:gd name="connsiteX13" fmla="*/ 764381 w 887353"/>
                  <a:gd name="connsiteY13" fmla="*/ 716757 h 1905000"/>
                  <a:gd name="connsiteX14" fmla="*/ 762000 w 887353"/>
                  <a:gd name="connsiteY14" fmla="*/ 781051 h 1905000"/>
                  <a:gd name="connsiteX15" fmla="*/ 762000 w 887353"/>
                  <a:gd name="connsiteY15" fmla="*/ 835819 h 1905000"/>
                  <a:gd name="connsiteX16" fmla="*/ 762000 w 887353"/>
                  <a:gd name="connsiteY16" fmla="*/ 892969 h 1905000"/>
                  <a:gd name="connsiteX17" fmla="*/ 762000 w 887353"/>
                  <a:gd name="connsiteY17" fmla="*/ 892969 h 1905000"/>
                  <a:gd name="connsiteX18" fmla="*/ 773906 w 887353"/>
                  <a:gd name="connsiteY18" fmla="*/ 985838 h 1905000"/>
                  <a:gd name="connsiteX19" fmla="*/ 788193 w 887353"/>
                  <a:gd name="connsiteY19" fmla="*/ 1071563 h 1905000"/>
                  <a:gd name="connsiteX20" fmla="*/ 797718 w 887353"/>
                  <a:gd name="connsiteY20" fmla="*/ 1131093 h 1905000"/>
                  <a:gd name="connsiteX21" fmla="*/ 819149 w 887353"/>
                  <a:gd name="connsiteY21" fmla="*/ 1183481 h 1905000"/>
                  <a:gd name="connsiteX22" fmla="*/ 840581 w 887353"/>
                  <a:gd name="connsiteY22" fmla="*/ 1238250 h 1905000"/>
                  <a:gd name="connsiteX23" fmla="*/ 881062 w 887353"/>
                  <a:gd name="connsiteY23" fmla="*/ 1314450 h 1905000"/>
                  <a:gd name="connsiteX24" fmla="*/ 885825 w 887353"/>
                  <a:gd name="connsiteY24" fmla="*/ 1343025 h 1905000"/>
                  <a:gd name="connsiteX25" fmla="*/ 866775 w 887353"/>
                  <a:gd name="connsiteY25" fmla="*/ 1376363 h 1905000"/>
                  <a:gd name="connsiteX26" fmla="*/ 833437 w 887353"/>
                  <a:gd name="connsiteY26" fmla="*/ 1397794 h 1905000"/>
                  <a:gd name="connsiteX27" fmla="*/ 783431 w 887353"/>
                  <a:gd name="connsiteY27" fmla="*/ 1395413 h 1905000"/>
                  <a:gd name="connsiteX28" fmla="*/ 728662 w 887353"/>
                  <a:gd name="connsiteY28" fmla="*/ 1397794 h 1905000"/>
                  <a:gd name="connsiteX29" fmla="*/ 692944 w 887353"/>
                  <a:gd name="connsiteY29" fmla="*/ 1414463 h 1905000"/>
                  <a:gd name="connsiteX30" fmla="*/ 669131 w 887353"/>
                  <a:gd name="connsiteY30" fmla="*/ 1447800 h 1905000"/>
                  <a:gd name="connsiteX31" fmla="*/ 669131 w 887353"/>
                  <a:gd name="connsiteY31" fmla="*/ 1485900 h 1905000"/>
                  <a:gd name="connsiteX32" fmla="*/ 673893 w 887353"/>
                  <a:gd name="connsiteY32" fmla="*/ 1514475 h 1905000"/>
                  <a:gd name="connsiteX33" fmla="*/ 686377 w 887353"/>
                  <a:gd name="connsiteY33" fmla="*/ 1551060 h 1905000"/>
                  <a:gd name="connsiteX34" fmla="*/ 705896 w 887353"/>
                  <a:gd name="connsiteY34" fmla="*/ 1581439 h 1905000"/>
                  <a:gd name="connsiteX35" fmla="*/ 721518 w 887353"/>
                  <a:gd name="connsiteY35" fmla="*/ 1609725 h 1905000"/>
                  <a:gd name="connsiteX36" fmla="*/ 747712 w 887353"/>
                  <a:gd name="connsiteY36" fmla="*/ 1664494 h 1905000"/>
                  <a:gd name="connsiteX37" fmla="*/ 733425 w 887353"/>
                  <a:gd name="connsiteY37" fmla="*/ 1707356 h 1905000"/>
                  <a:gd name="connsiteX38" fmla="*/ 704850 w 887353"/>
                  <a:gd name="connsiteY38" fmla="*/ 1764506 h 1905000"/>
                  <a:gd name="connsiteX39" fmla="*/ 673894 w 887353"/>
                  <a:gd name="connsiteY39" fmla="*/ 1821657 h 1905000"/>
                  <a:gd name="connsiteX40" fmla="*/ 676275 w 887353"/>
                  <a:gd name="connsiteY40" fmla="*/ 1883569 h 1905000"/>
                  <a:gd name="connsiteX41" fmla="*/ 681037 w 887353"/>
                  <a:gd name="connsiteY41" fmla="*/ 1905000 h 1905000"/>
                  <a:gd name="connsiteX0" fmla="*/ 0 w 887353"/>
                  <a:gd name="connsiteY0" fmla="*/ 0 h 1905000"/>
                  <a:gd name="connsiteX1" fmla="*/ 119062 w 887353"/>
                  <a:gd name="connsiteY1" fmla="*/ 26194 h 1905000"/>
                  <a:gd name="connsiteX2" fmla="*/ 228600 w 887353"/>
                  <a:gd name="connsiteY2" fmla="*/ 57150 h 1905000"/>
                  <a:gd name="connsiteX3" fmla="*/ 323850 w 887353"/>
                  <a:gd name="connsiteY3" fmla="*/ 83344 h 1905000"/>
                  <a:gd name="connsiteX4" fmla="*/ 409575 w 887353"/>
                  <a:gd name="connsiteY4" fmla="*/ 116681 h 1905000"/>
                  <a:gd name="connsiteX5" fmla="*/ 502443 w 887353"/>
                  <a:gd name="connsiteY5" fmla="*/ 159544 h 1905000"/>
                  <a:gd name="connsiteX6" fmla="*/ 557212 w 887353"/>
                  <a:gd name="connsiteY6" fmla="*/ 192881 h 1905000"/>
                  <a:gd name="connsiteX7" fmla="*/ 621506 w 887353"/>
                  <a:gd name="connsiteY7" fmla="*/ 252413 h 1905000"/>
                  <a:gd name="connsiteX8" fmla="*/ 678656 w 887353"/>
                  <a:gd name="connsiteY8" fmla="*/ 314325 h 1905000"/>
                  <a:gd name="connsiteX9" fmla="*/ 709612 w 887353"/>
                  <a:gd name="connsiteY9" fmla="*/ 369094 h 1905000"/>
                  <a:gd name="connsiteX10" fmla="*/ 735806 w 887353"/>
                  <a:gd name="connsiteY10" fmla="*/ 431006 h 1905000"/>
                  <a:gd name="connsiteX11" fmla="*/ 762000 w 887353"/>
                  <a:gd name="connsiteY11" fmla="*/ 519113 h 1905000"/>
                  <a:gd name="connsiteX12" fmla="*/ 766762 w 887353"/>
                  <a:gd name="connsiteY12" fmla="*/ 614363 h 1905000"/>
                  <a:gd name="connsiteX13" fmla="*/ 764381 w 887353"/>
                  <a:gd name="connsiteY13" fmla="*/ 716757 h 1905000"/>
                  <a:gd name="connsiteX14" fmla="*/ 762000 w 887353"/>
                  <a:gd name="connsiteY14" fmla="*/ 781051 h 1905000"/>
                  <a:gd name="connsiteX15" fmla="*/ 762000 w 887353"/>
                  <a:gd name="connsiteY15" fmla="*/ 835819 h 1905000"/>
                  <a:gd name="connsiteX16" fmla="*/ 762000 w 887353"/>
                  <a:gd name="connsiteY16" fmla="*/ 892969 h 1905000"/>
                  <a:gd name="connsiteX17" fmla="*/ 762000 w 887353"/>
                  <a:gd name="connsiteY17" fmla="*/ 892969 h 1905000"/>
                  <a:gd name="connsiteX18" fmla="*/ 773906 w 887353"/>
                  <a:gd name="connsiteY18" fmla="*/ 985838 h 1905000"/>
                  <a:gd name="connsiteX19" fmla="*/ 788193 w 887353"/>
                  <a:gd name="connsiteY19" fmla="*/ 1071563 h 1905000"/>
                  <a:gd name="connsiteX20" fmla="*/ 797718 w 887353"/>
                  <a:gd name="connsiteY20" fmla="*/ 1131093 h 1905000"/>
                  <a:gd name="connsiteX21" fmla="*/ 819149 w 887353"/>
                  <a:gd name="connsiteY21" fmla="*/ 1183481 h 1905000"/>
                  <a:gd name="connsiteX22" fmla="*/ 840581 w 887353"/>
                  <a:gd name="connsiteY22" fmla="*/ 1238250 h 1905000"/>
                  <a:gd name="connsiteX23" fmla="*/ 881062 w 887353"/>
                  <a:gd name="connsiteY23" fmla="*/ 1314450 h 1905000"/>
                  <a:gd name="connsiteX24" fmla="*/ 885825 w 887353"/>
                  <a:gd name="connsiteY24" fmla="*/ 1343025 h 1905000"/>
                  <a:gd name="connsiteX25" fmla="*/ 866775 w 887353"/>
                  <a:gd name="connsiteY25" fmla="*/ 1376363 h 1905000"/>
                  <a:gd name="connsiteX26" fmla="*/ 833437 w 887353"/>
                  <a:gd name="connsiteY26" fmla="*/ 1397794 h 1905000"/>
                  <a:gd name="connsiteX27" fmla="*/ 783431 w 887353"/>
                  <a:gd name="connsiteY27" fmla="*/ 1395413 h 1905000"/>
                  <a:gd name="connsiteX28" fmla="*/ 728662 w 887353"/>
                  <a:gd name="connsiteY28" fmla="*/ 1397794 h 1905000"/>
                  <a:gd name="connsiteX29" fmla="*/ 692944 w 887353"/>
                  <a:gd name="connsiteY29" fmla="*/ 1414463 h 1905000"/>
                  <a:gd name="connsiteX30" fmla="*/ 669131 w 887353"/>
                  <a:gd name="connsiteY30" fmla="*/ 1447800 h 1905000"/>
                  <a:gd name="connsiteX31" fmla="*/ 669131 w 887353"/>
                  <a:gd name="connsiteY31" fmla="*/ 1485900 h 1905000"/>
                  <a:gd name="connsiteX32" fmla="*/ 673893 w 887353"/>
                  <a:gd name="connsiteY32" fmla="*/ 1514475 h 1905000"/>
                  <a:gd name="connsiteX33" fmla="*/ 686377 w 887353"/>
                  <a:gd name="connsiteY33" fmla="*/ 1551060 h 1905000"/>
                  <a:gd name="connsiteX34" fmla="*/ 705896 w 887353"/>
                  <a:gd name="connsiteY34" fmla="*/ 1581439 h 1905000"/>
                  <a:gd name="connsiteX35" fmla="*/ 721518 w 887353"/>
                  <a:gd name="connsiteY35" fmla="*/ 1609725 h 1905000"/>
                  <a:gd name="connsiteX36" fmla="*/ 745042 w 887353"/>
                  <a:gd name="connsiteY36" fmla="*/ 1665829 h 1905000"/>
                  <a:gd name="connsiteX37" fmla="*/ 733425 w 887353"/>
                  <a:gd name="connsiteY37" fmla="*/ 1707356 h 1905000"/>
                  <a:gd name="connsiteX38" fmla="*/ 704850 w 887353"/>
                  <a:gd name="connsiteY38" fmla="*/ 1764506 h 1905000"/>
                  <a:gd name="connsiteX39" fmla="*/ 673894 w 887353"/>
                  <a:gd name="connsiteY39" fmla="*/ 1821657 h 1905000"/>
                  <a:gd name="connsiteX40" fmla="*/ 676275 w 887353"/>
                  <a:gd name="connsiteY40" fmla="*/ 1883569 h 1905000"/>
                  <a:gd name="connsiteX41" fmla="*/ 681037 w 887353"/>
                  <a:gd name="connsiteY41" fmla="*/ 1905000 h 1905000"/>
                  <a:gd name="connsiteX0" fmla="*/ 0 w 887353"/>
                  <a:gd name="connsiteY0" fmla="*/ 0 h 1905000"/>
                  <a:gd name="connsiteX1" fmla="*/ 119062 w 887353"/>
                  <a:gd name="connsiteY1" fmla="*/ 26194 h 1905000"/>
                  <a:gd name="connsiteX2" fmla="*/ 228600 w 887353"/>
                  <a:gd name="connsiteY2" fmla="*/ 57150 h 1905000"/>
                  <a:gd name="connsiteX3" fmla="*/ 323850 w 887353"/>
                  <a:gd name="connsiteY3" fmla="*/ 83344 h 1905000"/>
                  <a:gd name="connsiteX4" fmla="*/ 409575 w 887353"/>
                  <a:gd name="connsiteY4" fmla="*/ 116681 h 1905000"/>
                  <a:gd name="connsiteX5" fmla="*/ 502443 w 887353"/>
                  <a:gd name="connsiteY5" fmla="*/ 159544 h 1905000"/>
                  <a:gd name="connsiteX6" fmla="*/ 557212 w 887353"/>
                  <a:gd name="connsiteY6" fmla="*/ 192881 h 1905000"/>
                  <a:gd name="connsiteX7" fmla="*/ 621506 w 887353"/>
                  <a:gd name="connsiteY7" fmla="*/ 252413 h 1905000"/>
                  <a:gd name="connsiteX8" fmla="*/ 678656 w 887353"/>
                  <a:gd name="connsiteY8" fmla="*/ 314325 h 1905000"/>
                  <a:gd name="connsiteX9" fmla="*/ 709612 w 887353"/>
                  <a:gd name="connsiteY9" fmla="*/ 369094 h 1905000"/>
                  <a:gd name="connsiteX10" fmla="*/ 735806 w 887353"/>
                  <a:gd name="connsiteY10" fmla="*/ 431006 h 1905000"/>
                  <a:gd name="connsiteX11" fmla="*/ 762000 w 887353"/>
                  <a:gd name="connsiteY11" fmla="*/ 519113 h 1905000"/>
                  <a:gd name="connsiteX12" fmla="*/ 766762 w 887353"/>
                  <a:gd name="connsiteY12" fmla="*/ 614363 h 1905000"/>
                  <a:gd name="connsiteX13" fmla="*/ 764381 w 887353"/>
                  <a:gd name="connsiteY13" fmla="*/ 716757 h 1905000"/>
                  <a:gd name="connsiteX14" fmla="*/ 762000 w 887353"/>
                  <a:gd name="connsiteY14" fmla="*/ 781051 h 1905000"/>
                  <a:gd name="connsiteX15" fmla="*/ 762000 w 887353"/>
                  <a:gd name="connsiteY15" fmla="*/ 835819 h 1905000"/>
                  <a:gd name="connsiteX16" fmla="*/ 762000 w 887353"/>
                  <a:gd name="connsiteY16" fmla="*/ 892969 h 1905000"/>
                  <a:gd name="connsiteX17" fmla="*/ 762000 w 887353"/>
                  <a:gd name="connsiteY17" fmla="*/ 892969 h 1905000"/>
                  <a:gd name="connsiteX18" fmla="*/ 773906 w 887353"/>
                  <a:gd name="connsiteY18" fmla="*/ 985838 h 1905000"/>
                  <a:gd name="connsiteX19" fmla="*/ 788193 w 887353"/>
                  <a:gd name="connsiteY19" fmla="*/ 1071563 h 1905000"/>
                  <a:gd name="connsiteX20" fmla="*/ 797718 w 887353"/>
                  <a:gd name="connsiteY20" fmla="*/ 1131093 h 1905000"/>
                  <a:gd name="connsiteX21" fmla="*/ 819149 w 887353"/>
                  <a:gd name="connsiteY21" fmla="*/ 1183481 h 1905000"/>
                  <a:gd name="connsiteX22" fmla="*/ 840581 w 887353"/>
                  <a:gd name="connsiteY22" fmla="*/ 1238250 h 1905000"/>
                  <a:gd name="connsiteX23" fmla="*/ 881062 w 887353"/>
                  <a:gd name="connsiteY23" fmla="*/ 1314450 h 1905000"/>
                  <a:gd name="connsiteX24" fmla="*/ 885825 w 887353"/>
                  <a:gd name="connsiteY24" fmla="*/ 1343025 h 1905000"/>
                  <a:gd name="connsiteX25" fmla="*/ 866775 w 887353"/>
                  <a:gd name="connsiteY25" fmla="*/ 1376363 h 1905000"/>
                  <a:gd name="connsiteX26" fmla="*/ 833437 w 887353"/>
                  <a:gd name="connsiteY26" fmla="*/ 1397794 h 1905000"/>
                  <a:gd name="connsiteX27" fmla="*/ 783431 w 887353"/>
                  <a:gd name="connsiteY27" fmla="*/ 1395413 h 1905000"/>
                  <a:gd name="connsiteX28" fmla="*/ 728662 w 887353"/>
                  <a:gd name="connsiteY28" fmla="*/ 1397794 h 1905000"/>
                  <a:gd name="connsiteX29" fmla="*/ 692944 w 887353"/>
                  <a:gd name="connsiteY29" fmla="*/ 1414463 h 1905000"/>
                  <a:gd name="connsiteX30" fmla="*/ 669131 w 887353"/>
                  <a:gd name="connsiteY30" fmla="*/ 1447800 h 1905000"/>
                  <a:gd name="connsiteX31" fmla="*/ 669131 w 887353"/>
                  <a:gd name="connsiteY31" fmla="*/ 1485900 h 1905000"/>
                  <a:gd name="connsiteX32" fmla="*/ 673893 w 887353"/>
                  <a:gd name="connsiteY32" fmla="*/ 1514475 h 1905000"/>
                  <a:gd name="connsiteX33" fmla="*/ 686377 w 887353"/>
                  <a:gd name="connsiteY33" fmla="*/ 1551060 h 1905000"/>
                  <a:gd name="connsiteX34" fmla="*/ 705896 w 887353"/>
                  <a:gd name="connsiteY34" fmla="*/ 1581439 h 1905000"/>
                  <a:gd name="connsiteX35" fmla="*/ 721518 w 887353"/>
                  <a:gd name="connsiteY35" fmla="*/ 1609725 h 1905000"/>
                  <a:gd name="connsiteX36" fmla="*/ 739703 w 887353"/>
                  <a:gd name="connsiteY36" fmla="*/ 1665829 h 1905000"/>
                  <a:gd name="connsiteX37" fmla="*/ 733425 w 887353"/>
                  <a:gd name="connsiteY37" fmla="*/ 1707356 h 1905000"/>
                  <a:gd name="connsiteX38" fmla="*/ 704850 w 887353"/>
                  <a:gd name="connsiteY38" fmla="*/ 1764506 h 1905000"/>
                  <a:gd name="connsiteX39" fmla="*/ 673894 w 887353"/>
                  <a:gd name="connsiteY39" fmla="*/ 1821657 h 1905000"/>
                  <a:gd name="connsiteX40" fmla="*/ 676275 w 887353"/>
                  <a:gd name="connsiteY40" fmla="*/ 1883569 h 1905000"/>
                  <a:gd name="connsiteX41" fmla="*/ 681037 w 887353"/>
                  <a:gd name="connsiteY41" fmla="*/ 1905000 h 1905000"/>
                  <a:gd name="connsiteX0" fmla="*/ 0 w 885278"/>
                  <a:gd name="connsiteY0" fmla="*/ 0 h 1905000"/>
                  <a:gd name="connsiteX1" fmla="*/ 119062 w 885278"/>
                  <a:gd name="connsiteY1" fmla="*/ 26194 h 1905000"/>
                  <a:gd name="connsiteX2" fmla="*/ 228600 w 885278"/>
                  <a:gd name="connsiteY2" fmla="*/ 57150 h 1905000"/>
                  <a:gd name="connsiteX3" fmla="*/ 323850 w 885278"/>
                  <a:gd name="connsiteY3" fmla="*/ 83344 h 1905000"/>
                  <a:gd name="connsiteX4" fmla="*/ 409575 w 885278"/>
                  <a:gd name="connsiteY4" fmla="*/ 116681 h 1905000"/>
                  <a:gd name="connsiteX5" fmla="*/ 502443 w 885278"/>
                  <a:gd name="connsiteY5" fmla="*/ 159544 h 1905000"/>
                  <a:gd name="connsiteX6" fmla="*/ 557212 w 885278"/>
                  <a:gd name="connsiteY6" fmla="*/ 192881 h 1905000"/>
                  <a:gd name="connsiteX7" fmla="*/ 621506 w 885278"/>
                  <a:gd name="connsiteY7" fmla="*/ 252413 h 1905000"/>
                  <a:gd name="connsiteX8" fmla="*/ 678656 w 885278"/>
                  <a:gd name="connsiteY8" fmla="*/ 314325 h 1905000"/>
                  <a:gd name="connsiteX9" fmla="*/ 709612 w 885278"/>
                  <a:gd name="connsiteY9" fmla="*/ 369094 h 1905000"/>
                  <a:gd name="connsiteX10" fmla="*/ 735806 w 885278"/>
                  <a:gd name="connsiteY10" fmla="*/ 431006 h 1905000"/>
                  <a:gd name="connsiteX11" fmla="*/ 762000 w 885278"/>
                  <a:gd name="connsiteY11" fmla="*/ 519113 h 1905000"/>
                  <a:gd name="connsiteX12" fmla="*/ 766762 w 885278"/>
                  <a:gd name="connsiteY12" fmla="*/ 614363 h 1905000"/>
                  <a:gd name="connsiteX13" fmla="*/ 764381 w 885278"/>
                  <a:gd name="connsiteY13" fmla="*/ 716757 h 1905000"/>
                  <a:gd name="connsiteX14" fmla="*/ 762000 w 885278"/>
                  <a:gd name="connsiteY14" fmla="*/ 781051 h 1905000"/>
                  <a:gd name="connsiteX15" fmla="*/ 762000 w 885278"/>
                  <a:gd name="connsiteY15" fmla="*/ 835819 h 1905000"/>
                  <a:gd name="connsiteX16" fmla="*/ 762000 w 885278"/>
                  <a:gd name="connsiteY16" fmla="*/ 892969 h 1905000"/>
                  <a:gd name="connsiteX17" fmla="*/ 762000 w 885278"/>
                  <a:gd name="connsiteY17" fmla="*/ 892969 h 1905000"/>
                  <a:gd name="connsiteX18" fmla="*/ 773906 w 885278"/>
                  <a:gd name="connsiteY18" fmla="*/ 985838 h 1905000"/>
                  <a:gd name="connsiteX19" fmla="*/ 788193 w 885278"/>
                  <a:gd name="connsiteY19" fmla="*/ 1071563 h 1905000"/>
                  <a:gd name="connsiteX20" fmla="*/ 797718 w 885278"/>
                  <a:gd name="connsiteY20" fmla="*/ 1131093 h 1905000"/>
                  <a:gd name="connsiteX21" fmla="*/ 819149 w 885278"/>
                  <a:gd name="connsiteY21" fmla="*/ 1183481 h 1905000"/>
                  <a:gd name="connsiteX22" fmla="*/ 840581 w 885278"/>
                  <a:gd name="connsiteY22" fmla="*/ 1238250 h 1905000"/>
                  <a:gd name="connsiteX23" fmla="*/ 881062 w 885278"/>
                  <a:gd name="connsiteY23" fmla="*/ 1314450 h 1905000"/>
                  <a:gd name="connsiteX24" fmla="*/ 881820 w 885278"/>
                  <a:gd name="connsiteY24" fmla="*/ 1345695 h 1905000"/>
                  <a:gd name="connsiteX25" fmla="*/ 866775 w 885278"/>
                  <a:gd name="connsiteY25" fmla="*/ 1376363 h 1905000"/>
                  <a:gd name="connsiteX26" fmla="*/ 833437 w 885278"/>
                  <a:gd name="connsiteY26" fmla="*/ 1397794 h 1905000"/>
                  <a:gd name="connsiteX27" fmla="*/ 783431 w 885278"/>
                  <a:gd name="connsiteY27" fmla="*/ 1395413 h 1905000"/>
                  <a:gd name="connsiteX28" fmla="*/ 728662 w 885278"/>
                  <a:gd name="connsiteY28" fmla="*/ 1397794 h 1905000"/>
                  <a:gd name="connsiteX29" fmla="*/ 692944 w 885278"/>
                  <a:gd name="connsiteY29" fmla="*/ 1414463 h 1905000"/>
                  <a:gd name="connsiteX30" fmla="*/ 669131 w 885278"/>
                  <a:gd name="connsiteY30" fmla="*/ 1447800 h 1905000"/>
                  <a:gd name="connsiteX31" fmla="*/ 669131 w 885278"/>
                  <a:gd name="connsiteY31" fmla="*/ 1485900 h 1905000"/>
                  <a:gd name="connsiteX32" fmla="*/ 673893 w 885278"/>
                  <a:gd name="connsiteY32" fmla="*/ 1514475 h 1905000"/>
                  <a:gd name="connsiteX33" fmla="*/ 686377 w 885278"/>
                  <a:gd name="connsiteY33" fmla="*/ 1551060 h 1905000"/>
                  <a:gd name="connsiteX34" fmla="*/ 705896 w 885278"/>
                  <a:gd name="connsiteY34" fmla="*/ 1581439 h 1905000"/>
                  <a:gd name="connsiteX35" fmla="*/ 721518 w 885278"/>
                  <a:gd name="connsiteY35" fmla="*/ 1609725 h 1905000"/>
                  <a:gd name="connsiteX36" fmla="*/ 739703 w 885278"/>
                  <a:gd name="connsiteY36" fmla="*/ 1665829 h 1905000"/>
                  <a:gd name="connsiteX37" fmla="*/ 733425 w 885278"/>
                  <a:gd name="connsiteY37" fmla="*/ 1707356 h 1905000"/>
                  <a:gd name="connsiteX38" fmla="*/ 704850 w 885278"/>
                  <a:gd name="connsiteY38" fmla="*/ 1764506 h 1905000"/>
                  <a:gd name="connsiteX39" fmla="*/ 673894 w 885278"/>
                  <a:gd name="connsiteY39" fmla="*/ 1821657 h 1905000"/>
                  <a:gd name="connsiteX40" fmla="*/ 676275 w 885278"/>
                  <a:gd name="connsiteY40" fmla="*/ 1883569 h 1905000"/>
                  <a:gd name="connsiteX41" fmla="*/ 681037 w 885278"/>
                  <a:gd name="connsiteY41" fmla="*/ 1905000 h 1905000"/>
                  <a:gd name="connsiteX0" fmla="*/ 0 w 884995"/>
                  <a:gd name="connsiteY0" fmla="*/ 0 h 1905000"/>
                  <a:gd name="connsiteX1" fmla="*/ 119062 w 884995"/>
                  <a:gd name="connsiteY1" fmla="*/ 26194 h 1905000"/>
                  <a:gd name="connsiteX2" fmla="*/ 228600 w 884995"/>
                  <a:gd name="connsiteY2" fmla="*/ 57150 h 1905000"/>
                  <a:gd name="connsiteX3" fmla="*/ 323850 w 884995"/>
                  <a:gd name="connsiteY3" fmla="*/ 83344 h 1905000"/>
                  <a:gd name="connsiteX4" fmla="*/ 409575 w 884995"/>
                  <a:gd name="connsiteY4" fmla="*/ 116681 h 1905000"/>
                  <a:gd name="connsiteX5" fmla="*/ 502443 w 884995"/>
                  <a:gd name="connsiteY5" fmla="*/ 159544 h 1905000"/>
                  <a:gd name="connsiteX6" fmla="*/ 557212 w 884995"/>
                  <a:gd name="connsiteY6" fmla="*/ 192881 h 1905000"/>
                  <a:gd name="connsiteX7" fmla="*/ 621506 w 884995"/>
                  <a:gd name="connsiteY7" fmla="*/ 252413 h 1905000"/>
                  <a:gd name="connsiteX8" fmla="*/ 678656 w 884995"/>
                  <a:gd name="connsiteY8" fmla="*/ 314325 h 1905000"/>
                  <a:gd name="connsiteX9" fmla="*/ 709612 w 884995"/>
                  <a:gd name="connsiteY9" fmla="*/ 369094 h 1905000"/>
                  <a:gd name="connsiteX10" fmla="*/ 735806 w 884995"/>
                  <a:gd name="connsiteY10" fmla="*/ 431006 h 1905000"/>
                  <a:gd name="connsiteX11" fmla="*/ 762000 w 884995"/>
                  <a:gd name="connsiteY11" fmla="*/ 519113 h 1905000"/>
                  <a:gd name="connsiteX12" fmla="*/ 766762 w 884995"/>
                  <a:gd name="connsiteY12" fmla="*/ 614363 h 1905000"/>
                  <a:gd name="connsiteX13" fmla="*/ 764381 w 884995"/>
                  <a:gd name="connsiteY13" fmla="*/ 716757 h 1905000"/>
                  <a:gd name="connsiteX14" fmla="*/ 762000 w 884995"/>
                  <a:gd name="connsiteY14" fmla="*/ 781051 h 1905000"/>
                  <a:gd name="connsiteX15" fmla="*/ 762000 w 884995"/>
                  <a:gd name="connsiteY15" fmla="*/ 835819 h 1905000"/>
                  <a:gd name="connsiteX16" fmla="*/ 762000 w 884995"/>
                  <a:gd name="connsiteY16" fmla="*/ 892969 h 1905000"/>
                  <a:gd name="connsiteX17" fmla="*/ 762000 w 884995"/>
                  <a:gd name="connsiteY17" fmla="*/ 892969 h 1905000"/>
                  <a:gd name="connsiteX18" fmla="*/ 773906 w 884995"/>
                  <a:gd name="connsiteY18" fmla="*/ 985838 h 1905000"/>
                  <a:gd name="connsiteX19" fmla="*/ 788193 w 884995"/>
                  <a:gd name="connsiteY19" fmla="*/ 1071563 h 1905000"/>
                  <a:gd name="connsiteX20" fmla="*/ 797718 w 884995"/>
                  <a:gd name="connsiteY20" fmla="*/ 1131093 h 1905000"/>
                  <a:gd name="connsiteX21" fmla="*/ 819149 w 884995"/>
                  <a:gd name="connsiteY21" fmla="*/ 1183481 h 1905000"/>
                  <a:gd name="connsiteX22" fmla="*/ 840581 w 884995"/>
                  <a:gd name="connsiteY22" fmla="*/ 1238250 h 1905000"/>
                  <a:gd name="connsiteX23" fmla="*/ 881062 w 884995"/>
                  <a:gd name="connsiteY23" fmla="*/ 1314450 h 1905000"/>
                  <a:gd name="connsiteX24" fmla="*/ 881820 w 884995"/>
                  <a:gd name="connsiteY24" fmla="*/ 1345695 h 1905000"/>
                  <a:gd name="connsiteX25" fmla="*/ 866775 w 884995"/>
                  <a:gd name="connsiteY25" fmla="*/ 1376363 h 1905000"/>
                  <a:gd name="connsiteX26" fmla="*/ 833437 w 884995"/>
                  <a:gd name="connsiteY26" fmla="*/ 1397794 h 1905000"/>
                  <a:gd name="connsiteX27" fmla="*/ 783431 w 884995"/>
                  <a:gd name="connsiteY27" fmla="*/ 1395413 h 1905000"/>
                  <a:gd name="connsiteX28" fmla="*/ 728662 w 884995"/>
                  <a:gd name="connsiteY28" fmla="*/ 1397794 h 1905000"/>
                  <a:gd name="connsiteX29" fmla="*/ 692944 w 884995"/>
                  <a:gd name="connsiteY29" fmla="*/ 1414463 h 1905000"/>
                  <a:gd name="connsiteX30" fmla="*/ 669131 w 884995"/>
                  <a:gd name="connsiteY30" fmla="*/ 1447800 h 1905000"/>
                  <a:gd name="connsiteX31" fmla="*/ 669131 w 884995"/>
                  <a:gd name="connsiteY31" fmla="*/ 1485900 h 1905000"/>
                  <a:gd name="connsiteX32" fmla="*/ 673893 w 884995"/>
                  <a:gd name="connsiteY32" fmla="*/ 1514475 h 1905000"/>
                  <a:gd name="connsiteX33" fmla="*/ 686377 w 884995"/>
                  <a:gd name="connsiteY33" fmla="*/ 1551060 h 1905000"/>
                  <a:gd name="connsiteX34" fmla="*/ 705896 w 884995"/>
                  <a:gd name="connsiteY34" fmla="*/ 1581439 h 1905000"/>
                  <a:gd name="connsiteX35" fmla="*/ 721518 w 884995"/>
                  <a:gd name="connsiteY35" fmla="*/ 1609725 h 1905000"/>
                  <a:gd name="connsiteX36" fmla="*/ 739703 w 884995"/>
                  <a:gd name="connsiteY36" fmla="*/ 1665829 h 1905000"/>
                  <a:gd name="connsiteX37" fmla="*/ 733425 w 884995"/>
                  <a:gd name="connsiteY37" fmla="*/ 1707356 h 1905000"/>
                  <a:gd name="connsiteX38" fmla="*/ 704850 w 884995"/>
                  <a:gd name="connsiteY38" fmla="*/ 1764506 h 1905000"/>
                  <a:gd name="connsiteX39" fmla="*/ 673894 w 884995"/>
                  <a:gd name="connsiteY39" fmla="*/ 1821657 h 1905000"/>
                  <a:gd name="connsiteX40" fmla="*/ 676275 w 884995"/>
                  <a:gd name="connsiteY40" fmla="*/ 1883569 h 1905000"/>
                  <a:gd name="connsiteX41" fmla="*/ 681037 w 884995"/>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85838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7794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85838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645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85838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85838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85838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85838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85838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85838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5241 w 882194"/>
                  <a:gd name="connsiteY18" fmla="*/ 993848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8193 w 882194"/>
                  <a:gd name="connsiteY19" fmla="*/ 1071563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6191 w 882194"/>
                  <a:gd name="connsiteY19" fmla="*/ 1073565 h 1905000"/>
                  <a:gd name="connsiteX20" fmla="*/ 797718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6191 w 882194"/>
                  <a:gd name="connsiteY19" fmla="*/ 1073565 h 1905000"/>
                  <a:gd name="connsiteX20" fmla="*/ 798719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6191 w 882194"/>
                  <a:gd name="connsiteY19" fmla="*/ 1073565 h 1905000"/>
                  <a:gd name="connsiteX20" fmla="*/ 798719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9131 w 882194"/>
                  <a:gd name="connsiteY31" fmla="*/ 1485900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6191 w 882194"/>
                  <a:gd name="connsiteY19" fmla="*/ 1073565 h 1905000"/>
                  <a:gd name="connsiteX20" fmla="*/ 798719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4125 w 882194"/>
                  <a:gd name="connsiteY31" fmla="*/ 1487902 h 1905000"/>
                  <a:gd name="connsiteX32" fmla="*/ 673893 w 882194"/>
                  <a:gd name="connsiteY32" fmla="*/ 1514475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66762 w 882194"/>
                  <a:gd name="connsiteY12" fmla="*/ 61436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6191 w 882194"/>
                  <a:gd name="connsiteY19" fmla="*/ 1073565 h 1905000"/>
                  <a:gd name="connsiteX20" fmla="*/ 798719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4125 w 882194"/>
                  <a:gd name="connsiteY31" fmla="*/ 1487902 h 1905000"/>
                  <a:gd name="connsiteX32" fmla="*/ 671891 w 882194"/>
                  <a:gd name="connsiteY32" fmla="*/ 1518480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64381 w 882194"/>
                  <a:gd name="connsiteY13" fmla="*/ 71675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6191 w 882194"/>
                  <a:gd name="connsiteY19" fmla="*/ 1073565 h 1905000"/>
                  <a:gd name="connsiteX20" fmla="*/ 798719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4125 w 882194"/>
                  <a:gd name="connsiteY31" fmla="*/ 1487902 h 1905000"/>
                  <a:gd name="connsiteX32" fmla="*/ 671891 w 882194"/>
                  <a:gd name="connsiteY32" fmla="*/ 1518480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69110 w 882194"/>
                  <a:gd name="connsiteY13" fmla="*/ 714397 h 1905000"/>
                  <a:gd name="connsiteX14" fmla="*/ 762000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6191 w 882194"/>
                  <a:gd name="connsiteY19" fmla="*/ 1073565 h 1905000"/>
                  <a:gd name="connsiteX20" fmla="*/ 798719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4125 w 882194"/>
                  <a:gd name="connsiteY31" fmla="*/ 1487902 h 1905000"/>
                  <a:gd name="connsiteX32" fmla="*/ 671891 w 882194"/>
                  <a:gd name="connsiteY32" fmla="*/ 1518480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69110 w 882194"/>
                  <a:gd name="connsiteY13" fmla="*/ 714397 h 1905000"/>
                  <a:gd name="connsiteX14" fmla="*/ 766731 w 882194"/>
                  <a:gd name="connsiteY14" fmla="*/ 781051 h 1905000"/>
                  <a:gd name="connsiteX15" fmla="*/ 762000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6191 w 882194"/>
                  <a:gd name="connsiteY19" fmla="*/ 1073565 h 1905000"/>
                  <a:gd name="connsiteX20" fmla="*/ 798719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4125 w 882194"/>
                  <a:gd name="connsiteY31" fmla="*/ 1487902 h 1905000"/>
                  <a:gd name="connsiteX32" fmla="*/ 671891 w 882194"/>
                  <a:gd name="connsiteY32" fmla="*/ 1518480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69110 w 882194"/>
                  <a:gd name="connsiteY13" fmla="*/ 714397 h 1905000"/>
                  <a:gd name="connsiteX14" fmla="*/ 766731 w 882194"/>
                  <a:gd name="connsiteY14" fmla="*/ 781051 h 1905000"/>
                  <a:gd name="connsiteX15" fmla="*/ 773825 w 882194"/>
                  <a:gd name="connsiteY15" fmla="*/ 835819 h 1905000"/>
                  <a:gd name="connsiteX16" fmla="*/ 762000 w 882194"/>
                  <a:gd name="connsiteY16" fmla="*/ 892969 h 1905000"/>
                  <a:gd name="connsiteX17" fmla="*/ 762000 w 882194"/>
                  <a:gd name="connsiteY17" fmla="*/ 892969 h 1905000"/>
                  <a:gd name="connsiteX18" fmla="*/ 773906 w 882194"/>
                  <a:gd name="connsiteY18" fmla="*/ 992513 h 1905000"/>
                  <a:gd name="connsiteX19" fmla="*/ 786191 w 882194"/>
                  <a:gd name="connsiteY19" fmla="*/ 1073565 h 1905000"/>
                  <a:gd name="connsiteX20" fmla="*/ 798719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4125 w 882194"/>
                  <a:gd name="connsiteY31" fmla="*/ 1487902 h 1905000"/>
                  <a:gd name="connsiteX32" fmla="*/ 671891 w 882194"/>
                  <a:gd name="connsiteY32" fmla="*/ 1518480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69110 w 882194"/>
                  <a:gd name="connsiteY13" fmla="*/ 714397 h 1905000"/>
                  <a:gd name="connsiteX14" fmla="*/ 766731 w 882194"/>
                  <a:gd name="connsiteY14" fmla="*/ 781051 h 1905000"/>
                  <a:gd name="connsiteX15" fmla="*/ 773825 w 882194"/>
                  <a:gd name="connsiteY15" fmla="*/ 835819 h 1905000"/>
                  <a:gd name="connsiteX16" fmla="*/ 762000 w 882194"/>
                  <a:gd name="connsiteY16" fmla="*/ 892969 h 1905000"/>
                  <a:gd name="connsiteX17" fmla="*/ 766731 w 882194"/>
                  <a:gd name="connsiteY17" fmla="*/ 897690 h 1905000"/>
                  <a:gd name="connsiteX18" fmla="*/ 773906 w 882194"/>
                  <a:gd name="connsiteY18" fmla="*/ 992513 h 1905000"/>
                  <a:gd name="connsiteX19" fmla="*/ 786191 w 882194"/>
                  <a:gd name="connsiteY19" fmla="*/ 1073565 h 1905000"/>
                  <a:gd name="connsiteX20" fmla="*/ 798719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4125 w 882194"/>
                  <a:gd name="connsiteY31" fmla="*/ 1487902 h 1905000"/>
                  <a:gd name="connsiteX32" fmla="*/ 671891 w 882194"/>
                  <a:gd name="connsiteY32" fmla="*/ 1518480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69110 w 882194"/>
                  <a:gd name="connsiteY13" fmla="*/ 714397 h 1905000"/>
                  <a:gd name="connsiteX14" fmla="*/ 766731 w 882194"/>
                  <a:gd name="connsiteY14" fmla="*/ 781051 h 1905000"/>
                  <a:gd name="connsiteX15" fmla="*/ 773825 w 882194"/>
                  <a:gd name="connsiteY15" fmla="*/ 835819 h 1905000"/>
                  <a:gd name="connsiteX16" fmla="*/ 762000 w 882194"/>
                  <a:gd name="connsiteY16" fmla="*/ 892969 h 1905000"/>
                  <a:gd name="connsiteX17" fmla="*/ 766731 w 882194"/>
                  <a:gd name="connsiteY17" fmla="*/ 897690 h 1905000"/>
                  <a:gd name="connsiteX18" fmla="*/ 773906 w 882194"/>
                  <a:gd name="connsiteY18" fmla="*/ 992513 h 1905000"/>
                  <a:gd name="connsiteX19" fmla="*/ 786191 w 882194"/>
                  <a:gd name="connsiteY19" fmla="*/ 1073565 h 1905000"/>
                  <a:gd name="connsiteX20" fmla="*/ 798719 w 882194"/>
                  <a:gd name="connsiteY20" fmla="*/ 1131093 h 1905000"/>
                  <a:gd name="connsiteX21" fmla="*/ 819149 w 882194"/>
                  <a:gd name="connsiteY21" fmla="*/ 1183481 h 1905000"/>
                  <a:gd name="connsiteX22" fmla="*/ 840581 w 882194"/>
                  <a:gd name="connsiteY22" fmla="*/ 1238250 h 1905000"/>
                  <a:gd name="connsiteX23" fmla="*/ 874388 w 882194"/>
                  <a:gd name="connsiteY23" fmla="*/ 1307776 h 1905000"/>
                  <a:gd name="connsiteX24" fmla="*/ 881820 w 882194"/>
                  <a:gd name="connsiteY24" fmla="*/ 1345695 h 1905000"/>
                  <a:gd name="connsiteX25" fmla="*/ 866775 w 882194"/>
                  <a:gd name="connsiteY25" fmla="*/ 1376363 h 1905000"/>
                  <a:gd name="connsiteX26" fmla="*/ 833437 w 882194"/>
                  <a:gd name="connsiteY26" fmla="*/ 1393789 h 1905000"/>
                  <a:gd name="connsiteX27" fmla="*/ 783431 w 882194"/>
                  <a:gd name="connsiteY27" fmla="*/ 1395413 h 1905000"/>
                  <a:gd name="connsiteX28" fmla="*/ 728662 w 882194"/>
                  <a:gd name="connsiteY28" fmla="*/ 1397794 h 1905000"/>
                  <a:gd name="connsiteX29" fmla="*/ 692944 w 882194"/>
                  <a:gd name="connsiteY29" fmla="*/ 1414463 h 1905000"/>
                  <a:gd name="connsiteX30" fmla="*/ 669131 w 882194"/>
                  <a:gd name="connsiteY30" fmla="*/ 1447800 h 1905000"/>
                  <a:gd name="connsiteX31" fmla="*/ 664125 w 882194"/>
                  <a:gd name="connsiteY31" fmla="*/ 1487902 h 1905000"/>
                  <a:gd name="connsiteX32" fmla="*/ 671891 w 882194"/>
                  <a:gd name="connsiteY32" fmla="*/ 1518480 h 1905000"/>
                  <a:gd name="connsiteX33" fmla="*/ 686377 w 882194"/>
                  <a:gd name="connsiteY33" fmla="*/ 1551060 h 1905000"/>
                  <a:gd name="connsiteX34" fmla="*/ 705896 w 882194"/>
                  <a:gd name="connsiteY34" fmla="*/ 1581439 h 1905000"/>
                  <a:gd name="connsiteX35" fmla="*/ 721518 w 882194"/>
                  <a:gd name="connsiteY35" fmla="*/ 1609725 h 1905000"/>
                  <a:gd name="connsiteX36" fmla="*/ 739703 w 882194"/>
                  <a:gd name="connsiteY36" fmla="*/ 1665829 h 1905000"/>
                  <a:gd name="connsiteX37" fmla="*/ 733425 w 882194"/>
                  <a:gd name="connsiteY37" fmla="*/ 1707356 h 1905000"/>
                  <a:gd name="connsiteX38" fmla="*/ 704850 w 882194"/>
                  <a:gd name="connsiteY38" fmla="*/ 1764506 h 1905000"/>
                  <a:gd name="connsiteX39" fmla="*/ 673894 w 882194"/>
                  <a:gd name="connsiteY39" fmla="*/ 1821657 h 1905000"/>
                  <a:gd name="connsiteX40" fmla="*/ 676275 w 882194"/>
                  <a:gd name="connsiteY40" fmla="*/ 1883569 h 1905000"/>
                  <a:gd name="connsiteX41" fmla="*/ 681037 w 882194"/>
                  <a:gd name="connsiteY41"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69110 w 882194"/>
                  <a:gd name="connsiteY13" fmla="*/ 714397 h 1905000"/>
                  <a:gd name="connsiteX14" fmla="*/ 766731 w 882194"/>
                  <a:gd name="connsiteY14" fmla="*/ 781051 h 1905000"/>
                  <a:gd name="connsiteX15" fmla="*/ 773825 w 882194"/>
                  <a:gd name="connsiteY15" fmla="*/ 835819 h 1905000"/>
                  <a:gd name="connsiteX16" fmla="*/ 762000 w 882194"/>
                  <a:gd name="connsiteY16" fmla="*/ 892969 h 1905000"/>
                  <a:gd name="connsiteX17" fmla="*/ 773906 w 882194"/>
                  <a:gd name="connsiteY17" fmla="*/ 992513 h 1905000"/>
                  <a:gd name="connsiteX18" fmla="*/ 786191 w 882194"/>
                  <a:gd name="connsiteY18" fmla="*/ 1073565 h 1905000"/>
                  <a:gd name="connsiteX19" fmla="*/ 798719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69110 w 882194"/>
                  <a:gd name="connsiteY13" fmla="*/ 714397 h 1905000"/>
                  <a:gd name="connsiteX14" fmla="*/ 766731 w 882194"/>
                  <a:gd name="connsiteY14" fmla="*/ 781051 h 1905000"/>
                  <a:gd name="connsiteX15" fmla="*/ 773825 w 882194"/>
                  <a:gd name="connsiteY15" fmla="*/ 835819 h 1905000"/>
                  <a:gd name="connsiteX16" fmla="*/ 769095 w 882194"/>
                  <a:gd name="connsiteY16" fmla="*/ 897689 h 1905000"/>
                  <a:gd name="connsiteX17" fmla="*/ 773906 w 882194"/>
                  <a:gd name="connsiteY17" fmla="*/ 992513 h 1905000"/>
                  <a:gd name="connsiteX18" fmla="*/ 786191 w 882194"/>
                  <a:gd name="connsiteY18" fmla="*/ 1073565 h 1905000"/>
                  <a:gd name="connsiteX19" fmla="*/ 798719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69110 w 882194"/>
                  <a:gd name="connsiteY13" fmla="*/ 714397 h 1905000"/>
                  <a:gd name="connsiteX14" fmla="*/ 766731 w 882194"/>
                  <a:gd name="connsiteY14" fmla="*/ 781051 h 1905000"/>
                  <a:gd name="connsiteX15" fmla="*/ 769095 w 882194"/>
                  <a:gd name="connsiteY15" fmla="*/ 826378 h 1905000"/>
                  <a:gd name="connsiteX16" fmla="*/ 769095 w 882194"/>
                  <a:gd name="connsiteY16" fmla="*/ 897689 h 1905000"/>
                  <a:gd name="connsiteX17" fmla="*/ 773906 w 882194"/>
                  <a:gd name="connsiteY17" fmla="*/ 992513 h 1905000"/>
                  <a:gd name="connsiteX18" fmla="*/ 786191 w 882194"/>
                  <a:gd name="connsiteY18" fmla="*/ 1073565 h 1905000"/>
                  <a:gd name="connsiteX19" fmla="*/ 798719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69110 w 882194"/>
                  <a:gd name="connsiteY13" fmla="*/ 714397 h 1905000"/>
                  <a:gd name="connsiteX14" fmla="*/ 773826 w 882194"/>
                  <a:gd name="connsiteY14" fmla="*/ 771610 h 1905000"/>
                  <a:gd name="connsiteX15" fmla="*/ 769095 w 882194"/>
                  <a:gd name="connsiteY15" fmla="*/ 826378 h 1905000"/>
                  <a:gd name="connsiteX16" fmla="*/ 769095 w 882194"/>
                  <a:gd name="connsiteY16" fmla="*/ 897689 h 1905000"/>
                  <a:gd name="connsiteX17" fmla="*/ 773906 w 882194"/>
                  <a:gd name="connsiteY17" fmla="*/ 992513 h 1905000"/>
                  <a:gd name="connsiteX18" fmla="*/ 786191 w 882194"/>
                  <a:gd name="connsiteY18" fmla="*/ 1073565 h 1905000"/>
                  <a:gd name="connsiteX19" fmla="*/ 798719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69095 w 882194"/>
                  <a:gd name="connsiteY15" fmla="*/ 826378 h 1905000"/>
                  <a:gd name="connsiteX16" fmla="*/ 769095 w 882194"/>
                  <a:gd name="connsiteY16" fmla="*/ 897689 h 1905000"/>
                  <a:gd name="connsiteX17" fmla="*/ 773906 w 882194"/>
                  <a:gd name="connsiteY17" fmla="*/ 992513 h 1905000"/>
                  <a:gd name="connsiteX18" fmla="*/ 786191 w 882194"/>
                  <a:gd name="connsiteY18" fmla="*/ 1073565 h 1905000"/>
                  <a:gd name="connsiteX19" fmla="*/ 798719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69095 w 882194"/>
                  <a:gd name="connsiteY15" fmla="*/ 826378 h 1905000"/>
                  <a:gd name="connsiteX16" fmla="*/ 769095 w 882194"/>
                  <a:gd name="connsiteY16" fmla="*/ 897689 h 1905000"/>
                  <a:gd name="connsiteX17" fmla="*/ 773906 w 882194"/>
                  <a:gd name="connsiteY17" fmla="*/ 992513 h 1905000"/>
                  <a:gd name="connsiteX18" fmla="*/ 793286 w 882194"/>
                  <a:gd name="connsiteY18" fmla="*/ 1075925 h 1905000"/>
                  <a:gd name="connsiteX19" fmla="*/ 798719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69095 w 882194"/>
                  <a:gd name="connsiteY15" fmla="*/ 826378 h 1905000"/>
                  <a:gd name="connsiteX16" fmla="*/ 769095 w 882194"/>
                  <a:gd name="connsiteY16" fmla="*/ 897689 h 1905000"/>
                  <a:gd name="connsiteX17" fmla="*/ 773906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2881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69095 w 882194"/>
                  <a:gd name="connsiteY15" fmla="*/ 826378 h 1905000"/>
                  <a:gd name="connsiteX16" fmla="*/ 769095 w 882194"/>
                  <a:gd name="connsiteY16" fmla="*/ 897689 h 1905000"/>
                  <a:gd name="connsiteX17" fmla="*/ 776272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2443 w 882194"/>
                  <a:gd name="connsiteY5" fmla="*/ 159544 h 1905000"/>
                  <a:gd name="connsiteX6" fmla="*/ 557212 w 882194"/>
                  <a:gd name="connsiteY6" fmla="*/ 199962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69095 w 882194"/>
                  <a:gd name="connsiteY15" fmla="*/ 826378 h 1905000"/>
                  <a:gd name="connsiteX16" fmla="*/ 769095 w 882194"/>
                  <a:gd name="connsiteY16" fmla="*/ 897689 h 1905000"/>
                  <a:gd name="connsiteX17" fmla="*/ 776272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0078 w 882194"/>
                  <a:gd name="connsiteY5" fmla="*/ 164265 h 1905000"/>
                  <a:gd name="connsiteX6" fmla="*/ 557212 w 882194"/>
                  <a:gd name="connsiteY6" fmla="*/ 199962 h 1905000"/>
                  <a:gd name="connsiteX7" fmla="*/ 621506 w 882194"/>
                  <a:gd name="connsiteY7" fmla="*/ 252413 h 1905000"/>
                  <a:gd name="connsiteX8" fmla="*/ 678656 w 882194"/>
                  <a:gd name="connsiteY8" fmla="*/ 31432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69095 w 882194"/>
                  <a:gd name="connsiteY15" fmla="*/ 826378 h 1905000"/>
                  <a:gd name="connsiteX16" fmla="*/ 769095 w 882194"/>
                  <a:gd name="connsiteY16" fmla="*/ 897689 h 1905000"/>
                  <a:gd name="connsiteX17" fmla="*/ 776272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0078 w 882194"/>
                  <a:gd name="connsiteY5" fmla="*/ 164265 h 1905000"/>
                  <a:gd name="connsiteX6" fmla="*/ 557212 w 882194"/>
                  <a:gd name="connsiteY6" fmla="*/ 199962 h 1905000"/>
                  <a:gd name="connsiteX7" fmla="*/ 621506 w 882194"/>
                  <a:gd name="connsiteY7" fmla="*/ 252413 h 1905000"/>
                  <a:gd name="connsiteX8" fmla="*/ 678656 w 882194"/>
                  <a:gd name="connsiteY8" fmla="*/ 31668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69095 w 882194"/>
                  <a:gd name="connsiteY15" fmla="*/ 826378 h 1905000"/>
                  <a:gd name="connsiteX16" fmla="*/ 769095 w 882194"/>
                  <a:gd name="connsiteY16" fmla="*/ 897689 h 1905000"/>
                  <a:gd name="connsiteX17" fmla="*/ 776272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0078 w 882194"/>
                  <a:gd name="connsiteY5" fmla="*/ 164265 h 1905000"/>
                  <a:gd name="connsiteX6" fmla="*/ 557212 w 882194"/>
                  <a:gd name="connsiteY6" fmla="*/ 199962 h 1905000"/>
                  <a:gd name="connsiteX7" fmla="*/ 621506 w 882194"/>
                  <a:gd name="connsiteY7" fmla="*/ 252413 h 1905000"/>
                  <a:gd name="connsiteX8" fmla="*/ 678656 w 882194"/>
                  <a:gd name="connsiteY8" fmla="*/ 31668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69095 w 882194"/>
                  <a:gd name="connsiteY15" fmla="*/ 826378 h 1905000"/>
                  <a:gd name="connsiteX16" fmla="*/ 769095 w 882194"/>
                  <a:gd name="connsiteY16" fmla="*/ 897689 h 1905000"/>
                  <a:gd name="connsiteX17" fmla="*/ 776272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0078 w 882194"/>
                  <a:gd name="connsiteY5" fmla="*/ 164265 h 1905000"/>
                  <a:gd name="connsiteX6" fmla="*/ 557212 w 882194"/>
                  <a:gd name="connsiteY6" fmla="*/ 199962 h 1905000"/>
                  <a:gd name="connsiteX7" fmla="*/ 621506 w 882194"/>
                  <a:gd name="connsiteY7" fmla="*/ 252413 h 1905000"/>
                  <a:gd name="connsiteX8" fmla="*/ 678656 w 882194"/>
                  <a:gd name="connsiteY8" fmla="*/ 31668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73826 w 882194"/>
                  <a:gd name="connsiteY15" fmla="*/ 831098 h 1905000"/>
                  <a:gd name="connsiteX16" fmla="*/ 769095 w 882194"/>
                  <a:gd name="connsiteY16" fmla="*/ 897689 h 1905000"/>
                  <a:gd name="connsiteX17" fmla="*/ 776272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0078 w 882194"/>
                  <a:gd name="connsiteY5" fmla="*/ 164265 h 1905000"/>
                  <a:gd name="connsiteX6" fmla="*/ 557212 w 882194"/>
                  <a:gd name="connsiteY6" fmla="*/ 199962 h 1905000"/>
                  <a:gd name="connsiteX7" fmla="*/ 621506 w 882194"/>
                  <a:gd name="connsiteY7" fmla="*/ 252413 h 1905000"/>
                  <a:gd name="connsiteX8" fmla="*/ 678656 w 882194"/>
                  <a:gd name="connsiteY8" fmla="*/ 31668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73826 w 882194"/>
                  <a:gd name="connsiteY15" fmla="*/ 831098 h 1905000"/>
                  <a:gd name="connsiteX16" fmla="*/ 771460 w 882194"/>
                  <a:gd name="connsiteY16" fmla="*/ 911851 h 1905000"/>
                  <a:gd name="connsiteX17" fmla="*/ 776272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3894 w 882194"/>
                  <a:gd name="connsiteY38" fmla="*/ 182165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0078 w 882194"/>
                  <a:gd name="connsiteY5" fmla="*/ 164265 h 1905000"/>
                  <a:gd name="connsiteX6" fmla="*/ 557212 w 882194"/>
                  <a:gd name="connsiteY6" fmla="*/ 199962 h 1905000"/>
                  <a:gd name="connsiteX7" fmla="*/ 621506 w 882194"/>
                  <a:gd name="connsiteY7" fmla="*/ 252413 h 1905000"/>
                  <a:gd name="connsiteX8" fmla="*/ 678656 w 882194"/>
                  <a:gd name="connsiteY8" fmla="*/ 31668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73826 w 882194"/>
                  <a:gd name="connsiteY15" fmla="*/ 831098 h 1905000"/>
                  <a:gd name="connsiteX16" fmla="*/ 771460 w 882194"/>
                  <a:gd name="connsiteY16" fmla="*/ 911851 h 1905000"/>
                  <a:gd name="connsiteX17" fmla="*/ 776272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76259 w 882194"/>
                  <a:gd name="connsiteY38" fmla="*/ 181693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0078 w 882194"/>
                  <a:gd name="connsiteY5" fmla="*/ 164265 h 1905000"/>
                  <a:gd name="connsiteX6" fmla="*/ 557212 w 882194"/>
                  <a:gd name="connsiteY6" fmla="*/ 199962 h 1905000"/>
                  <a:gd name="connsiteX7" fmla="*/ 621506 w 882194"/>
                  <a:gd name="connsiteY7" fmla="*/ 252413 h 1905000"/>
                  <a:gd name="connsiteX8" fmla="*/ 678656 w 882194"/>
                  <a:gd name="connsiteY8" fmla="*/ 31668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73826 w 882194"/>
                  <a:gd name="connsiteY15" fmla="*/ 831098 h 1905000"/>
                  <a:gd name="connsiteX16" fmla="*/ 771460 w 882194"/>
                  <a:gd name="connsiteY16" fmla="*/ 911851 h 1905000"/>
                  <a:gd name="connsiteX17" fmla="*/ 776272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4850 w 882194"/>
                  <a:gd name="connsiteY37" fmla="*/ 1764506 h 1905000"/>
                  <a:gd name="connsiteX38" fmla="*/ 685719 w 882194"/>
                  <a:gd name="connsiteY38" fmla="*/ 1816937 h 1905000"/>
                  <a:gd name="connsiteX39" fmla="*/ 676275 w 882194"/>
                  <a:gd name="connsiteY39" fmla="*/ 1883569 h 1905000"/>
                  <a:gd name="connsiteX40" fmla="*/ 681037 w 882194"/>
                  <a:gd name="connsiteY40" fmla="*/ 1905000 h 1905000"/>
                  <a:gd name="connsiteX0" fmla="*/ 0 w 882194"/>
                  <a:gd name="connsiteY0" fmla="*/ 0 h 1905000"/>
                  <a:gd name="connsiteX1" fmla="*/ 119062 w 882194"/>
                  <a:gd name="connsiteY1" fmla="*/ 26194 h 1905000"/>
                  <a:gd name="connsiteX2" fmla="*/ 228600 w 882194"/>
                  <a:gd name="connsiteY2" fmla="*/ 57150 h 1905000"/>
                  <a:gd name="connsiteX3" fmla="*/ 323850 w 882194"/>
                  <a:gd name="connsiteY3" fmla="*/ 83344 h 1905000"/>
                  <a:gd name="connsiteX4" fmla="*/ 409575 w 882194"/>
                  <a:gd name="connsiteY4" fmla="*/ 116681 h 1905000"/>
                  <a:gd name="connsiteX5" fmla="*/ 500078 w 882194"/>
                  <a:gd name="connsiteY5" fmla="*/ 164265 h 1905000"/>
                  <a:gd name="connsiteX6" fmla="*/ 557212 w 882194"/>
                  <a:gd name="connsiteY6" fmla="*/ 199962 h 1905000"/>
                  <a:gd name="connsiteX7" fmla="*/ 621506 w 882194"/>
                  <a:gd name="connsiteY7" fmla="*/ 252413 h 1905000"/>
                  <a:gd name="connsiteX8" fmla="*/ 678656 w 882194"/>
                  <a:gd name="connsiteY8" fmla="*/ 316685 h 1905000"/>
                  <a:gd name="connsiteX9" fmla="*/ 709612 w 882194"/>
                  <a:gd name="connsiteY9" fmla="*/ 369094 h 1905000"/>
                  <a:gd name="connsiteX10" fmla="*/ 735806 w 882194"/>
                  <a:gd name="connsiteY10" fmla="*/ 431006 h 1905000"/>
                  <a:gd name="connsiteX11" fmla="*/ 762000 w 882194"/>
                  <a:gd name="connsiteY11" fmla="*/ 519113 h 1905000"/>
                  <a:gd name="connsiteX12" fmla="*/ 773858 w 882194"/>
                  <a:gd name="connsiteY12" fmla="*/ 616723 h 1905000"/>
                  <a:gd name="connsiteX13" fmla="*/ 773840 w 882194"/>
                  <a:gd name="connsiteY13" fmla="*/ 697875 h 1905000"/>
                  <a:gd name="connsiteX14" fmla="*/ 773826 w 882194"/>
                  <a:gd name="connsiteY14" fmla="*/ 771610 h 1905000"/>
                  <a:gd name="connsiteX15" fmla="*/ 773826 w 882194"/>
                  <a:gd name="connsiteY15" fmla="*/ 831098 h 1905000"/>
                  <a:gd name="connsiteX16" fmla="*/ 771460 w 882194"/>
                  <a:gd name="connsiteY16" fmla="*/ 911851 h 1905000"/>
                  <a:gd name="connsiteX17" fmla="*/ 776272 w 882194"/>
                  <a:gd name="connsiteY17" fmla="*/ 992513 h 1905000"/>
                  <a:gd name="connsiteX18" fmla="*/ 793286 w 882194"/>
                  <a:gd name="connsiteY18" fmla="*/ 1075925 h 1905000"/>
                  <a:gd name="connsiteX19" fmla="*/ 805813 w 882194"/>
                  <a:gd name="connsiteY19" fmla="*/ 1131093 h 1905000"/>
                  <a:gd name="connsiteX20" fmla="*/ 819149 w 882194"/>
                  <a:gd name="connsiteY20" fmla="*/ 1183481 h 1905000"/>
                  <a:gd name="connsiteX21" fmla="*/ 840581 w 882194"/>
                  <a:gd name="connsiteY21" fmla="*/ 1238250 h 1905000"/>
                  <a:gd name="connsiteX22" fmla="*/ 874388 w 882194"/>
                  <a:gd name="connsiteY22" fmla="*/ 1307776 h 1905000"/>
                  <a:gd name="connsiteX23" fmla="*/ 881820 w 882194"/>
                  <a:gd name="connsiteY23" fmla="*/ 1345695 h 1905000"/>
                  <a:gd name="connsiteX24" fmla="*/ 866775 w 882194"/>
                  <a:gd name="connsiteY24" fmla="*/ 1376363 h 1905000"/>
                  <a:gd name="connsiteX25" fmla="*/ 833437 w 882194"/>
                  <a:gd name="connsiteY25" fmla="*/ 1393789 h 1905000"/>
                  <a:gd name="connsiteX26" fmla="*/ 783431 w 882194"/>
                  <a:gd name="connsiteY26" fmla="*/ 1395413 h 1905000"/>
                  <a:gd name="connsiteX27" fmla="*/ 728662 w 882194"/>
                  <a:gd name="connsiteY27" fmla="*/ 1397794 h 1905000"/>
                  <a:gd name="connsiteX28" fmla="*/ 692944 w 882194"/>
                  <a:gd name="connsiteY28" fmla="*/ 1414463 h 1905000"/>
                  <a:gd name="connsiteX29" fmla="*/ 669131 w 882194"/>
                  <a:gd name="connsiteY29" fmla="*/ 1447800 h 1905000"/>
                  <a:gd name="connsiteX30" fmla="*/ 664125 w 882194"/>
                  <a:gd name="connsiteY30" fmla="*/ 1487902 h 1905000"/>
                  <a:gd name="connsiteX31" fmla="*/ 671891 w 882194"/>
                  <a:gd name="connsiteY31" fmla="*/ 1518480 h 1905000"/>
                  <a:gd name="connsiteX32" fmla="*/ 686377 w 882194"/>
                  <a:gd name="connsiteY32" fmla="*/ 1551060 h 1905000"/>
                  <a:gd name="connsiteX33" fmla="*/ 705896 w 882194"/>
                  <a:gd name="connsiteY33" fmla="*/ 1581439 h 1905000"/>
                  <a:gd name="connsiteX34" fmla="*/ 721518 w 882194"/>
                  <a:gd name="connsiteY34" fmla="*/ 1609725 h 1905000"/>
                  <a:gd name="connsiteX35" fmla="*/ 739703 w 882194"/>
                  <a:gd name="connsiteY35" fmla="*/ 1665829 h 1905000"/>
                  <a:gd name="connsiteX36" fmla="*/ 733425 w 882194"/>
                  <a:gd name="connsiteY36" fmla="*/ 1707356 h 1905000"/>
                  <a:gd name="connsiteX37" fmla="*/ 709580 w 882194"/>
                  <a:gd name="connsiteY37" fmla="*/ 1764506 h 1905000"/>
                  <a:gd name="connsiteX38" fmla="*/ 685719 w 882194"/>
                  <a:gd name="connsiteY38" fmla="*/ 1816937 h 1905000"/>
                  <a:gd name="connsiteX39" fmla="*/ 676275 w 882194"/>
                  <a:gd name="connsiteY39" fmla="*/ 1883569 h 1905000"/>
                  <a:gd name="connsiteX40" fmla="*/ 681037 w 882194"/>
                  <a:gd name="connsiteY40" fmla="*/ 1905000 h 1905000"/>
                  <a:gd name="connsiteX0" fmla="*/ 0 w 881944"/>
                  <a:gd name="connsiteY0" fmla="*/ 0 h 1905000"/>
                  <a:gd name="connsiteX1" fmla="*/ 119062 w 881944"/>
                  <a:gd name="connsiteY1" fmla="*/ 26194 h 1905000"/>
                  <a:gd name="connsiteX2" fmla="*/ 228600 w 881944"/>
                  <a:gd name="connsiteY2" fmla="*/ 57150 h 1905000"/>
                  <a:gd name="connsiteX3" fmla="*/ 323850 w 881944"/>
                  <a:gd name="connsiteY3" fmla="*/ 83344 h 1905000"/>
                  <a:gd name="connsiteX4" fmla="*/ 409575 w 881944"/>
                  <a:gd name="connsiteY4" fmla="*/ 116681 h 1905000"/>
                  <a:gd name="connsiteX5" fmla="*/ 500078 w 881944"/>
                  <a:gd name="connsiteY5" fmla="*/ 164265 h 1905000"/>
                  <a:gd name="connsiteX6" fmla="*/ 557212 w 881944"/>
                  <a:gd name="connsiteY6" fmla="*/ 199962 h 1905000"/>
                  <a:gd name="connsiteX7" fmla="*/ 621506 w 881944"/>
                  <a:gd name="connsiteY7" fmla="*/ 252413 h 1905000"/>
                  <a:gd name="connsiteX8" fmla="*/ 678656 w 881944"/>
                  <a:gd name="connsiteY8" fmla="*/ 316685 h 1905000"/>
                  <a:gd name="connsiteX9" fmla="*/ 709612 w 881944"/>
                  <a:gd name="connsiteY9" fmla="*/ 369094 h 1905000"/>
                  <a:gd name="connsiteX10" fmla="*/ 735806 w 881944"/>
                  <a:gd name="connsiteY10" fmla="*/ 431006 h 1905000"/>
                  <a:gd name="connsiteX11" fmla="*/ 762000 w 881944"/>
                  <a:gd name="connsiteY11" fmla="*/ 519113 h 1905000"/>
                  <a:gd name="connsiteX12" fmla="*/ 773858 w 881944"/>
                  <a:gd name="connsiteY12" fmla="*/ 616723 h 1905000"/>
                  <a:gd name="connsiteX13" fmla="*/ 773840 w 881944"/>
                  <a:gd name="connsiteY13" fmla="*/ 697875 h 1905000"/>
                  <a:gd name="connsiteX14" fmla="*/ 773826 w 881944"/>
                  <a:gd name="connsiteY14" fmla="*/ 771610 h 1905000"/>
                  <a:gd name="connsiteX15" fmla="*/ 773826 w 881944"/>
                  <a:gd name="connsiteY15" fmla="*/ 831098 h 1905000"/>
                  <a:gd name="connsiteX16" fmla="*/ 771460 w 881944"/>
                  <a:gd name="connsiteY16" fmla="*/ 911851 h 1905000"/>
                  <a:gd name="connsiteX17" fmla="*/ 776272 w 881944"/>
                  <a:gd name="connsiteY17" fmla="*/ 992513 h 1905000"/>
                  <a:gd name="connsiteX18" fmla="*/ 793286 w 881944"/>
                  <a:gd name="connsiteY18" fmla="*/ 1075925 h 1905000"/>
                  <a:gd name="connsiteX19" fmla="*/ 805813 w 881944"/>
                  <a:gd name="connsiteY19" fmla="*/ 1131093 h 1905000"/>
                  <a:gd name="connsiteX20" fmla="*/ 819149 w 881944"/>
                  <a:gd name="connsiteY20" fmla="*/ 1183481 h 1905000"/>
                  <a:gd name="connsiteX21" fmla="*/ 840581 w 881944"/>
                  <a:gd name="connsiteY21" fmla="*/ 1238250 h 1905000"/>
                  <a:gd name="connsiteX22" fmla="*/ 872023 w 881944"/>
                  <a:gd name="connsiteY22" fmla="*/ 1307776 h 1905000"/>
                  <a:gd name="connsiteX23" fmla="*/ 881820 w 881944"/>
                  <a:gd name="connsiteY23" fmla="*/ 1345695 h 1905000"/>
                  <a:gd name="connsiteX24" fmla="*/ 866775 w 881944"/>
                  <a:gd name="connsiteY24" fmla="*/ 1376363 h 1905000"/>
                  <a:gd name="connsiteX25" fmla="*/ 833437 w 881944"/>
                  <a:gd name="connsiteY25" fmla="*/ 1393789 h 1905000"/>
                  <a:gd name="connsiteX26" fmla="*/ 783431 w 881944"/>
                  <a:gd name="connsiteY26" fmla="*/ 1395413 h 1905000"/>
                  <a:gd name="connsiteX27" fmla="*/ 728662 w 881944"/>
                  <a:gd name="connsiteY27" fmla="*/ 1397794 h 1905000"/>
                  <a:gd name="connsiteX28" fmla="*/ 692944 w 881944"/>
                  <a:gd name="connsiteY28" fmla="*/ 1414463 h 1905000"/>
                  <a:gd name="connsiteX29" fmla="*/ 669131 w 881944"/>
                  <a:gd name="connsiteY29" fmla="*/ 1447800 h 1905000"/>
                  <a:gd name="connsiteX30" fmla="*/ 664125 w 881944"/>
                  <a:gd name="connsiteY30" fmla="*/ 1487902 h 1905000"/>
                  <a:gd name="connsiteX31" fmla="*/ 671891 w 881944"/>
                  <a:gd name="connsiteY31" fmla="*/ 1518480 h 1905000"/>
                  <a:gd name="connsiteX32" fmla="*/ 686377 w 881944"/>
                  <a:gd name="connsiteY32" fmla="*/ 1551060 h 1905000"/>
                  <a:gd name="connsiteX33" fmla="*/ 705896 w 881944"/>
                  <a:gd name="connsiteY33" fmla="*/ 1581439 h 1905000"/>
                  <a:gd name="connsiteX34" fmla="*/ 721518 w 881944"/>
                  <a:gd name="connsiteY34" fmla="*/ 1609725 h 1905000"/>
                  <a:gd name="connsiteX35" fmla="*/ 739703 w 881944"/>
                  <a:gd name="connsiteY35" fmla="*/ 1665829 h 1905000"/>
                  <a:gd name="connsiteX36" fmla="*/ 733425 w 881944"/>
                  <a:gd name="connsiteY36" fmla="*/ 1707356 h 1905000"/>
                  <a:gd name="connsiteX37" fmla="*/ 709580 w 881944"/>
                  <a:gd name="connsiteY37" fmla="*/ 1764506 h 1905000"/>
                  <a:gd name="connsiteX38" fmla="*/ 685719 w 881944"/>
                  <a:gd name="connsiteY38" fmla="*/ 1816937 h 1905000"/>
                  <a:gd name="connsiteX39" fmla="*/ 676275 w 881944"/>
                  <a:gd name="connsiteY39" fmla="*/ 1883569 h 1905000"/>
                  <a:gd name="connsiteX40" fmla="*/ 681037 w 881944"/>
                  <a:gd name="connsiteY40" fmla="*/ 1905000 h 1905000"/>
                  <a:gd name="connsiteX0" fmla="*/ 0 w 881944"/>
                  <a:gd name="connsiteY0" fmla="*/ 0 h 1905000"/>
                  <a:gd name="connsiteX1" fmla="*/ 119062 w 881944"/>
                  <a:gd name="connsiteY1" fmla="*/ 28554 h 1905000"/>
                  <a:gd name="connsiteX2" fmla="*/ 228600 w 881944"/>
                  <a:gd name="connsiteY2" fmla="*/ 57150 h 1905000"/>
                  <a:gd name="connsiteX3" fmla="*/ 323850 w 881944"/>
                  <a:gd name="connsiteY3" fmla="*/ 83344 h 1905000"/>
                  <a:gd name="connsiteX4" fmla="*/ 409575 w 881944"/>
                  <a:gd name="connsiteY4" fmla="*/ 116681 h 1905000"/>
                  <a:gd name="connsiteX5" fmla="*/ 500078 w 881944"/>
                  <a:gd name="connsiteY5" fmla="*/ 164265 h 1905000"/>
                  <a:gd name="connsiteX6" fmla="*/ 557212 w 881944"/>
                  <a:gd name="connsiteY6" fmla="*/ 199962 h 1905000"/>
                  <a:gd name="connsiteX7" fmla="*/ 621506 w 881944"/>
                  <a:gd name="connsiteY7" fmla="*/ 252413 h 1905000"/>
                  <a:gd name="connsiteX8" fmla="*/ 678656 w 881944"/>
                  <a:gd name="connsiteY8" fmla="*/ 316685 h 1905000"/>
                  <a:gd name="connsiteX9" fmla="*/ 709612 w 881944"/>
                  <a:gd name="connsiteY9" fmla="*/ 369094 h 1905000"/>
                  <a:gd name="connsiteX10" fmla="*/ 735806 w 881944"/>
                  <a:gd name="connsiteY10" fmla="*/ 431006 h 1905000"/>
                  <a:gd name="connsiteX11" fmla="*/ 762000 w 881944"/>
                  <a:gd name="connsiteY11" fmla="*/ 519113 h 1905000"/>
                  <a:gd name="connsiteX12" fmla="*/ 773858 w 881944"/>
                  <a:gd name="connsiteY12" fmla="*/ 616723 h 1905000"/>
                  <a:gd name="connsiteX13" fmla="*/ 773840 w 881944"/>
                  <a:gd name="connsiteY13" fmla="*/ 697875 h 1905000"/>
                  <a:gd name="connsiteX14" fmla="*/ 773826 w 881944"/>
                  <a:gd name="connsiteY14" fmla="*/ 771610 h 1905000"/>
                  <a:gd name="connsiteX15" fmla="*/ 773826 w 881944"/>
                  <a:gd name="connsiteY15" fmla="*/ 831098 h 1905000"/>
                  <a:gd name="connsiteX16" fmla="*/ 771460 w 881944"/>
                  <a:gd name="connsiteY16" fmla="*/ 911851 h 1905000"/>
                  <a:gd name="connsiteX17" fmla="*/ 776272 w 881944"/>
                  <a:gd name="connsiteY17" fmla="*/ 992513 h 1905000"/>
                  <a:gd name="connsiteX18" fmla="*/ 793286 w 881944"/>
                  <a:gd name="connsiteY18" fmla="*/ 1075925 h 1905000"/>
                  <a:gd name="connsiteX19" fmla="*/ 805813 w 881944"/>
                  <a:gd name="connsiteY19" fmla="*/ 1131093 h 1905000"/>
                  <a:gd name="connsiteX20" fmla="*/ 819149 w 881944"/>
                  <a:gd name="connsiteY20" fmla="*/ 1183481 h 1905000"/>
                  <a:gd name="connsiteX21" fmla="*/ 840581 w 881944"/>
                  <a:gd name="connsiteY21" fmla="*/ 1238250 h 1905000"/>
                  <a:gd name="connsiteX22" fmla="*/ 872023 w 881944"/>
                  <a:gd name="connsiteY22" fmla="*/ 1307776 h 1905000"/>
                  <a:gd name="connsiteX23" fmla="*/ 881820 w 881944"/>
                  <a:gd name="connsiteY23" fmla="*/ 1345695 h 1905000"/>
                  <a:gd name="connsiteX24" fmla="*/ 866775 w 881944"/>
                  <a:gd name="connsiteY24" fmla="*/ 1376363 h 1905000"/>
                  <a:gd name="connsiteX25" fmla="*/ 833437 w 881944"/>
                  <a:gd name="connsiteY25" fmla="*/ 1393789 h 1905000"/>
                  <a:gd name="connsiteX26" fmla="*/ 783431 w 881944"/>
                  <a:gd name="connsiteY26" fmla="*/ 1395413 h 1905000"/>
                  <a:gd name="connsiteX27" fmla="*/ 728662 w 881944"/>
                  <a:gd name="connsiteY27" fmla="*/ 1397794 h 1905000"/>
                  <a:gd name="connsiteX28" fmla="*/ 692944 w 881944"/>
                  <a:gd name="connsiteY28" fmla="*/ 1414463 h 1905000"/>
                  <a:gd name="connsiteX29" fmla="*/ 669131 w 881944"/>
                  <a:gd name="connsiteY29" fmla="*/ 1447800 h 1905000"/>
                  <a:gd name="connsiteX30" fmla="*/ 664125 w 881944"/>
                  <a:gd name="connsiteY30" fmla="*/ 1487902 h 1905000"/>
                  <a:gd name="connsiteX31" fmla="*/ 671891 w 881944"/>
                  <a:gd name="connsiteY31" fmla="*/ 1518480 h 1905000"/>
                  <a:gd name="connsiteX32" fmla="*/ 686377 w 881944"/>
                  <a:gd name="connsiteY32" fmla="*/ 1551060 h 1905000"/>
                  <a:gd name="connsiteX33" fmla="*/ 705896 w 881944"/>
                  <a:gd name="connsiteY33" fmla="*/ 1581439 h 1905000"/>
                  <a:gd name="connsiteX34" fmla="*/ 721518 w 881944"/>
                  <a:gd name="connsiteY34" fmla="*/ 1609725 h 1905000"/>
                  <a:gd name="connsiteX35" fmla="*/ 739703 w 881944"/>
                  <a:gd name="connsiteY35" fmla="*/ 1665829 h 1905000"/>
                  <a:gd name="connsiteX36" fmla="*/ 733425 w 881944"/>
                  <a:gd name="connsiteY36" fmla="*/ 1707356 h 1905000"/>
                  <a:gd name="connsiteX37" fmla="*/ 709580 w 881944"/>
                  <a:gd name="connsiteY37" fmla="*/ 1764506 h 1905000"/>
                  <a:gd name="connsiteX38" fmla="*/ 685719 w 881944"/>
                  <a:gd name="connsiteY38" fmla="*/ 1816937 h 1905000"/>
                  <a:gd name="connsiteX39" fmla="*/ 676275 w 881944"/>
                  <a:gd name="connsiteY39" fmla="*/ 1883569 h 1905000"/>
                  <a:gd name="connsiteX40" fmla="*/ 681037 w 881944"/>
                  <a:gd name="connsiteY40" fmla="*/ 1905000 h 1905000"/>
                  <a:gd name="connsiteX0" fmla="*/ 0 w 877214"/>
                  <a:gd name="connsiteY0" fmla="*/ 0 h 1902640"/>
                  <a:gd name="connsiteX1" fmla="*/ 114332 w 877214"/>
                  <a:gd name="connsiteY1" fmla="*/ 26194 h 1902640"/>
                  <a:gd name="connsiteX2" fmla="*/ 223870 w 877214"/>
                  <a:gd name="connsiteY2" fmla="*/ 54790 h 1902640"/>
                  <a:gd name="connsiteX3" fmla="*/ 319120 w 877214"/>
                  <a:gd name="connsiteY3" fmla="*/ 80984 h 1902640"/>
                  <a:gd name="connsiteX4" fmla="*/ 404845 w 877214"/>
                  <a:gd name="connsiteY4" fmla="*/ 114321 h 1902640"/>
                  <a:gd name="connsiteX5" fmla="*/ 495348 w 877214"/>
                  <a:gd name="connsiteY5" fmla="*/ 161905 h 1902640"/>
                  <a:gd name="connsiteX6" fmla="*/ 552482 w 877214"/>
                  <a:gd name="connsiteY6" fmla="*/ 197602 h 1902640"/>
                  <a:gd name="connsiteX7" fmla="*/ 616776 w 877214"/>
                  <a:gd name="connsiteY7" fmla="*/ 250053 h 1902640"/>
                  <a:gd name="connsiteX8" fmla="*/ 673926 w 877214"/>
                  <a:gd name="connsiteY8" fmla="*/ 314325 h 1902640"/>
                  <a:gd name="connsiteX9" fmla="*/ 704882 w 877214"/>
                  <a:gd name="connsiteY9" fmla="*/ 366734 h 1902640"/>
                  <a:gd name="connsiteX10" fmla="*/ 731076 w 877214"/>
                  <a:gd name="connsiteY10" fmla="*/ 428646 h 1902640"/>
                  <a:gd name="connsiteX11" fmla="*/ 757270 w 877214"/>
                  <a:gd name="connsiteY11" fmla="*/ 516753 h 1902640"/>
                  <a:gd name="connsiteX12" fmla="*/ 769128 w 877214"/>
                  <a:gd name="connsiteY12" fmla="*/ 614363 h 1902640"/>
                  <a:gd name="connsiteX13" fmla="*/ 769110 w 877214"/>
                  <a:gd name="connsiteY13" fmla="*/ 695515 h 1902640"/>
                  <a:gd name="connsiteX14" fmla="*/ 769096 w 877214"/>
                  <a:gd name="connsiteY14" fmla="*/ 769250 h 1902640"/>
                  <a:gd name="connsiteX15" fmla="*/ 769096 w 877214"/>
                  <a:gd name="connsiteY15" fmla="*/ 828738 h 1902640"/>
                  <a:gd name="connsiteX16" fmla="*/ 766730 w 877214"/>
                  <a:gd name="connsiteY16" fmla="*/ 909491 h 1902640"/>
                  <a:gd name="connsiteX17" fmla="*/ 771542 w 877214"/>
                  <a:gd name="connsiteY17" fmla="*/ 990153 h 1902640"/>
                  <a:gd name="connsiteX18" fmla="*/ 788556 w 877214"/>
                  <a:gd name="connsiteY18" fmla="*/ 1073565 h 1902640"/>
                  <a:gd name="connsiteX19" fmla="*/ 801083 w 877214"/>
                  <a:gd name="connsiteY19" fmla="*/ 1128733 h 1902640"/>
                  <a:gd name="connsiteX20" fmla="*/ 814419 w 877214"/>
                  <a:gd name="connsiteY20" fmla="*/ 1181121 h 1902640"/>
                  <a:gd name="connsiteX21" fmla="*/ 835851 w 877214"/>
                  <a:gd name="connsiteY21" fmla="*/ 1235890 h 1902640"/>
                  <a:gd name="connsiteX22" fmla="*/ 867293 w 877214"/>
                  <a:gd name="connsiteY22" fmla="*/ 1305416 h 1902640"/>
                  <a:gd name="connsiteX23" fmla="*/ 877090 w 877214"/>
                  <a:gd name="connsiteY23" fmla="*/ 1343335 h 1902640"/>
                  <a:gd name="connsiteX24" fmla="*/ 862045 w 877214"/>
                  <a:gd name="connsiteY24" fmla="*/ 1374003 h 1902640"/>
                  <a:gd name="connsiteX25" fmla="*/ 828707 w 877214"/>
                  <a:gd name="connsiteY25" fmla="*/ 1391429 h 1902640"/>
                  <a:gd name="connsiteX26" fmla="*/ 778701 w 877214"/>
                  <a:gd name="connsiteY26" fmla="*/ 1393053 h 1902640"/>
                  <a:gd name="connsiteX27" fmla="*/ 723932 w 877214"/>
                  <a:gd name="connsiteY27" fmla="*/ 1395434 h 1902640"/>
                  <a:gd name="connsiteX28" fmla="*/ 688214 w 877214"/>
                  <a:gd name="connsiteY28" fmla="*/ 1412103 h 1902640"/>
                  <a:gd name="connsiteX29" fmla="*/ 664401 w 877214"/>
                  <a:gd name="connsiteY29" fmla="*/ 1445440 h 1902640"/>
                  <a:gd name="connsiteX30" fmla="*/ 659395 w 877214"/>
                  <a:gd name="connsiteY30" fmla="*/ 1485542 h 1902640"/>
                  <a:gd name="connsiteX31" fmla="*/ 667161 w 877214"/>
                  <a:gd name="connsiteY31" fmla="*/ 1516120 h 1902640"/>
                  <a:gd name="connsiteX32" fmla="*/ 681647 w 877214"/>
                  <a:gd name="connsiteY32" fmla="*/ 1548700 h 1902640"/>
                  <a:gd name="connsiteX33" fmla="*/ 701166 w 877214"/>
                  <a:gd name="connsiteY33" fmla="*/ 1579079 h 1902640"/>
                  <a:gd name="connsiteX34" fmla="*/ 716788 w 877214"/>
                  <a:gd name="connsiteY34" fmla="*/ 1607365 h 1902640"/>
                  <a:gd name="connsiteX35" fmla="*/ 734973 w 877214"/>
                  <a:gd name="connsiteY35" fmla="*/ 1663469 h 1902640"/>
                  <a:gd name="connsiteX36" fmla="*/ 728695 w 877214"/>
                  <a:gd name="connsiteY36" fmla="*/ 1704996 h 1902640"/>
                  <a:gd name="connsiteX37" fmla="*/ 704850 w 877214"/>
                  <a:gd name="connsiteY37" fmla="*/ 1762146 h 1902640"/>
                  <a:gd name="connsiteX38" fmla="*/ 680989 w 877214"/>
                  <a:gd name="connsiteY38" fmla="*/ 1814577 h 1902640"/>
                  <a:gd name="connsiteX39" fmla="*/ 671545 w 877214"/>
                  <a:gd name="connsiteY39" fmla="*/ 1881209 h 1902640"/>
                  <a:gd name="connsiteX40" fmla="*/ 676307 w 877214"/>
                  <a:gd name="connsiteY40" fmla="*/ 1902640 h 1902640"/>
                  <a:gd name="connsiteX0" fmla="*/ 0 w 877214"/>
                  <a:gd name="connsiteY0" fmla="*/ 0 h 1895559"/>
                  <a:gd name="connsiteX1" fmla="*/ 114332 w 877214"/>
                  <a:gd name="connsiteY1" fmla="*/ 19113 h 1895559"/>
                  <a:gd name="connsiteX2" fmla="*/ 223870 w 877214"/>
                  <a:gd name="connsiteY2" fmla="*/ 47709 h 1895559"/>
                  <a:gd name="connsiteX3" fmla="*/ 319120 w 877214"/>
                  <a:gd name="connsiteY3" fmla="*/ 73903 h 1895559"/>
                  <a:gd name="connsiteX4" fmla="*/ 404845 w 877214"/>
                  <a:gd name="connsiteY4" fmla="*/ 107240 h 1895559"/>
                  <a:gd name="connsiteX5" fmla="*/ 495348 w 877214"/>
                  <a:gd name="connsiteY5" fmla="*/ 154824 h 1895559"/>
                  <a:gd name="connsiteX6" fmla="*/ 552482 w 877214"/>
                  <a:gd name="connsiteY6" fmla="*/ 190521 h 1895559"/>
                  <a:gd name="connsiteX7" fmla="*/ 616776 w 877214"/>
                  <a:gd name="connsiteY7" fmla="*/ 242972 h 1895559"/>
                  <a:gd name="connsiteX8" fmla="*/ 673926 w 877214"/>
                  <a:gd name="connsiteY8" fmla="*/ 307244 h 1895559"/>
                  <a:gd name="connsiteX9" fmla="*/ 704882 w 877214"/>
                  <a:gd name="connsiteY9" fmla="*/ 359653 h 1895559"/>
                  <a:gd name="connsiteX10" fmla="*/ 731076 w 877214"/>
                  <a:gd name="connsiteY10" fmla="*/ 421565 h 1895559"/>
                  <a:gd name="connsiteX11" fmla="*/ 757270 w 877214"/>
                  <a:gd name="connsiteY11" fmla="*/ 509672 h 1895559"/>
                  <a:gd name="connsiteX12" fmla="*/ 769128 w 877214"/>
                  <a:gd name="connsiteY12" fmla="*/ 607282 h 1895559"/>
                  <a:gd name="connsiteX13" fmla="*/ 769110 w 877214"/>
                  <a:gd name="connsiteY13" fmla="*/ 688434 h 1895559"/>
                  <a:gd name="connsiteX14" fmla="*/ 769096 w 877214"/>
                  <a:gd name="connsiteY14" fmla="*/ 762169 h 1895559"/>
                  <a:gd name="connsiteX15" fmla="*/ 769096 w 877214"/>
                  <a:gd name="connsiteY15" fmla="*/ 821657 h 1895559"/>
                  <a:gd name="connsiteX16" fmla="*/ 766730 w 877214"/>
                  <a:gd name="connsiteY16" fmla="*/ 902410 h 1895559"/>
                  <a:gd name="connsiteX17" fmla="*/ 771542 w 877214"/>
                  <a:gd name="connsiteY17" fmla="*/ 983072 h 1895559"/>
                  <a:gd name="connsiteX18" fmla="*/ 788556 w 877214"/>
                  <a:gd name="connsiteY18" fmla="*/ 1066484 h 1895559"/>
                  <a:gd name="connsiteX19" fmla="*/ 801083 w 877214"/>
                  <a:gd name="connsiteY19" fmla="*/ 1121652 h 1895559"/>
                  <a:gd name="connsiteX20" fmla="*/ 814419 w 877214"/>
                  <a:gd name="connsiteY20" fmla="*/ 1174040 h 1895559"/>
                  <a:gd name="connsiteX21" fmla="*/ 835851 w 877214"/>
                  <a:gd name="connsiteY21" fmla="*/ 1228809 h 1895559"/>
                  <a:gd name="connsiteX22" fmla="*/ 867293 w 877214"/>
                  <a:gd name="connsiteY22" fmla="*/ 1298335 h 1895559"/>
                  <a:gd name="connsiteX23" fmla="*/ 877090 w 877214"/>
                  <a:gd name="connsiteY23" fmla="*/ 1336254 h 1895559"/>
                  <a:gd name="connsiteX24" fmla="*/ 862045 w 877214"/>
                  <a:gd name="connsiteY24" fmla="*/ 1366922 h 1895559"/>
                  <a:gd name="connsiteX25" fmla="*/ 828707 w 877214"/>
                  <a:gd name="connsiteY25" fmla="*/ 1384348 h 1895559"/>
                  <a:gd name="connsiteX26" fmla="*/ 778701 w 877214"/>
                  <a:gd name="connsiteY26" fmla="*/ 1385972 h 1895559"/>
                  <a:gd name="connsiteX27" fmla="*/ 723932 w 877214"/>
                  <a:gd name="connsiteY27" fmla="*/ 1388353 h 1895559"/>
                  <a:gd name="connsiteX28" fmla="*/ 688214 w 877214"/>
                  <a:gd name="connsiteY28" fmla="*/ 1405022 h 1895559"/>
                  <a:gd name="connsiteX29" fmla="*/ 664401 w 877214"/>
                  <a:gd name="connsiteY29" fmla="*/ 1438359 h 1895559"/>
                  <a:gd name="connsiteX30" fmla="*/ 659395 w 877214"/>
                  <a:gd name="connsiteY30" fmla="*/ 1478461 h 1895559"/>
                  <a:gd name="connsiteX31" fmla="*/ 667161 w 877214"/>
                  <a:gd name="connsiteY31" fmla="*/ 1509039 h 1895559"/>
                  <a:gd name="connsiteX32" fmla="*/ 681647 w 877214"/>
                  <a:gd name="connsiteY32" fmla="*/ 1541619 h 1895559"/>
                  <a:gd name="connsiteX33" fmla="*/ 701166 w 877214"/>
                  <a:gd name="connsiteY33" fmla="*/ 1571998 h 1895559"/>
                  <a:gd name="connsiteX34" fmla="*/ 716788 w 877214"/>
                  <a:gd name="connsiteY34" fmla="*/ 1600284 h 1895559"/>
                  <a:gd name="connsiteX35" fmla="*/ 734973 w 877214"/>
                  <a:gd name="connsiteY35" fmla="*/ 1656388 h 1895559"/>
                  <a:gd name="connsiteX36" fmla="*/ 728695 w 877214"/>
                  <a:gd name="connsiteY36" fmla="*/ 1697915 h 1895559"/>
                  <a:gd name="connsiteX37" fmla="*/ 704850 w 877214"/>
                  <a:gd name="connsiteY37" fmla="*/ 1755065 h 1895559"/>
                  <a:gd name="connsiteX38" fmla="*/ 680989 w 877214"/>
                  <a:gd name="connsiteY38" fmla="*/ 1807496 h 1895559"/>
                  <a:gd name="connsiteX39" fmla="*/ 671545 w 877214"/>
                  <a:gd name="connsiteY39" fmla="*/ 1874128 h 1895559"/>
                  <a:gd name="connsiteX40" fmla="*/ 676307 w 877214"/>
                  <a:gd name="connsiteY40" fmla="*/ 1895559 h 189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77214" h="1895559">
                    <a:moveTo>
                      <a:pt x="0" y="0"/>
                    </a:moveTo>
                    <a:lnTo>
                      <a:pt x="114332" y="19113"/>
                    </a:lnTo>
                    <a:lnTo>
                      <a:pt x="223870" y="47709"/>
                    </a:lnTo>
                    <a:lnTo>
                      <a:pt x="319120" y="73903"/>
                    </a:lnTo>
                    <a:lnTo>
                      <a:pt x="404845" y="107240"/>
                    </a:lnTo>
                    <a:lnTo>
                      <a:pt x="495348" y="154824"/>
                    </a:lnTo>
                    <a:cubicBezTo>
                      <a:pt x="519954" y="167524"/>
                      <a:pt x="532244" y="175830"/>
                      <a:pt x="552482" y="190521"/>
                    </a:cubicBezTo>
                    <a:cubicBezTo>
                      <a:pt x="572720" y="205212"/>
                      <a:pt x="596535" y="222731"/>
                      <a:pt x="616776" y="242972"/>
                    </a:cubicBezTo>
                    <a:cubicBezTo>
                      <a:pt x="637017" y="263213"/>
                      <a:pt x="659242" y="287797"/>
                      <a:pt x="673926" y="307244"/>
                    </a:cubicBezTo>
                    <a:cubicBezTo>
                      <a:pt x="688610" y="326691"/>
                      <a:pt x="695357" y="340206"/>
                      <a:pt x="704882" y="359653"/>
                    </a:cubicBezTo>
                    <a:lnTo>
                      <a:pt x="731076" y="421565"/>
                    </a:lnTo>
                    <a:cubicBezTo>
                      <a:pt x="739807" y="446568"/>
                      <a:pt x="750928" y="478719"/>
                      <a:pt x="757270" y="509672"/>
                    </a:cubicBezTo>
                    <a:cubicBezTo>
                      <a:pt x="763612" y="540625"/>
                      <a:pt x="768731" y="574341"/>
                      <a:pt x="769128" y="607282"/>
                    </a:cubicBezTo>
                    <a:cubicBezTo>
                      <a:pt x="771509" y="637445"/>
                      <a:pt x="769115" y="662620"/>
                      <a:pt x="769110" y="688434"/>
                    </a:cubicBezTo>
                    <a:cubicBezTo>
                      <a:pt x="769105" y="714248"/>
                      <a:pt x="771477" y="739547"/>
                      <a:pt x="769096" y="762169"/>
                    </a:cubicBezTo>
                    <a:lnTo>
                      <a:pt x="769096" y="821657"/>
                    </a:lnTo>
                    <a:cubicBezTo>
                      <a:pt x="765154" y="840707"/>
                      <a:pt x="766322" y="875508"/>
                      <a:pt x="766730" y="902410"/>
                    </a:cubicBezTo>
                    <a:cubicBezTo>
                      <a:pt x="767138" y="929312"/>
                      <a:pt x="767904" y="955726"/>
                      <a:pt x="771542" y="983072"/>
                    </a:cubicBezTo>
                    <a:cubicBezTo>
                      <a:pt x="775180" y="1010418"/>
                      <a:pt x="784587" y="1042275"/>
                      <a:pt x="788556" y="1066484"/>
                    </a:cubicBezTo>
                    <a:cubicBezTo>
                      <a:pt x="792525" y="1090693"/>
                      <a:pt x="796773" y="1103726"/>
                      <a:pt x="801083" y="1121652"/>
                    </a:cubicBezTo>
                    <a:cubicBezTo>
                      <a:pt x="805393" y="1139578"/>
                      <a:pt x="807275" y="1156181"/>
                      <a:pt x="814419" y="1174040"/>
                    </a:cubicBezTo>
                    <a:lnTo>
                      <a:pt x="835851" y="1228809"/>
                    </a:lnTo>
                    <a:cubicBezTo>
                      <a:pt x="846170" y="1250637"/>
                      <a:pt x="860420" y="1280428"/>
                      <a:pt x="867293" y="1298335"/>
                    </a:cubicBezTo>
                    <a:cubicBezTo>
                      <a:pt x="874166" y="1316242"/>
                      <a:pt x="877965" y="1324823"/>
                      <a:pt x="877090" y="1336254"/>
                    </a:cubicBezTo>
                    <a:cubicBezTo>
                      <a:pt x="876215" y="1347685"/>
                      <a:pt x="870776" y="1357794"/>
                      <a:pt x="862045" y="1366922"/>
                    </a:cubicBezTo>
                    <a:cubicBezTo>
                      <a:pt x="853314" y="1376050"/>
                      <a:pt x="842598" y="1381173"/>
                      <a:pt x="828707" y="1384348"/>
                    </a:cubicBezTo>
                    <a:cubicBezTo>
                      <a:pt x="814816" y="1387523"/>
                      <a:pt x="796163" y="1385972"/>
                      <a:pt x="778701" y="1385972"/>
                    </a:cubicBezTo>
                    <a:cubicBezTo>
                      <a:pt x="760445" y="1386766"/>
                      <a:pt x="739013" y="1385178"/>
                      <a:pt x="723932" y="1388353"/>
                    </a:cubicBezTo>
                    <a:cubicBezTo>
                      <a:pt x="708851" y="1391528"/>
                      <a:pt x="698136" y="1396688"/>
                      <a:pt x="688214" y="1405022"/>
                    </a:cubicBezTo>
                    <a:cubicBezTo>
                      <a:pt x="678292" y="1413356"/>
                      <a:pt x="669204" y="1426119"/>
                      <a:pt x="664401" y="1438359"/>
                    </a:cubicBezTo>
                    <a:cubicBezTo>
                      <a:pt x="659598" y="1450599"/>
                      <a:pt x="658935" y="1466681"/>
                      <a:pt x="659395" y="1478461"/>
                    </a:cubicBezTo>
                    <a:cubicBezTo>
                      <a:pt x="659855" y="1490241"/>
                      <a:pt x="664572" y="1498846"/>
                      <a:pt x="667161" y="1509039"/>
                    </a:cubicBezTo>
                    <a:cubicBezTo>
                      <a:pt x="669145" y="1518564"/>
                      <a:pt x="675980" y="1531126"/>
                      <a:pt x="681647" y="1541619"/>
                    </a:cubicBezTo>
                    <a:cubicBezTo>
                      <a:pt x="687314" y="1552112"/>
                      <a:pt x="694419" y="1560886"/>
                      <a:pt x="701166" y="1571998"/>
                    </a:cubicBezTo>
                    <a:lnTo>
                      <a:pt x="716788" y="1600284"/>
                    </a:lnTo>
                    <a:cubicBezTo>
                      <a:pt x="723535" y="1614571"/>
                      <a:pt x="732989" y="1640116"/>
                      <a:pt x="734973" y="1656388"/>
                    </a:cubicBezTo>
                    <a:cubicBezTo>
                      <a:pt x="736957" y="1672660"/>
                      <a:pt x="735839" y="1681246"/>
                      <a:pt x="728695" y="1697915"/>
                    </a:cubicBezTo>
                    <a:lnTo>
                      <a:pt x="704850" y="1755065"/>
                    </a:lnTo>
                    <a:cubicBezTo>
                      <a:pt x="694928" y="1774115"/>
                      <a:pt x="686540" y="1787652"/>
                      <a:pt x="680989" y="1807496"/>
                    </a:cubicBezTo>
                    <a:cubicBezTo>
                      <a:pt x="675438" y="1827340"/>
                      <a:pt x="670355" y="1860238"/>
                      <a:pt x="671545" y="1874128"/>
                    </a:cubicBezTo>
                    <a:lnTo>
                      <a:pt x="676307" y="1895559"/>
                    </a:lnTo>
                  </a:path>
                </a:pathLst>
              </a:custGeom>
              <a:noFill/>
              <a:ln w="85725" cap="rnd"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Freeform 53"/>
              <p:cNvSpPr/>
              <p:nvPr/>
            </p:nvSpPr>
            <p:spPr>
              <a:xfrm>
                <a:off x="1369492" y="2400188"/>
                <a:ext cx="643677" cy="267677"/>
              </a:xfrm>
              <a:custGeom>
                <a:avLst/>
                <a:gdLst>
                  <a:gd name="connsiteX0" fmla="*/ 1490663 w 1524000"/>
                  <a:gd name="connsiteY0" fmla="*/ 0 h 631031"/>
                  <a:gd name="connsiteX1" fmla="*/ 1524000 w 1524000"/>
                  <a:gd name="connsiteY1" fmla="*/ 130968 h 631031"/>
                  <a:gd name="connsiteX2" fmla="*/ 1509713 w 1524000"/>
                  <a:gd name="connsiteY2" fmla="*/ 228600 h 631031"/>
                  <a:gd name="connsiteX3" fmla="*/ 1481138 w 1524000"/>
                  <a:gd name="connsiteY3" fmla="*/ 304800 h 631031"/>
                  <a:gd name="connsiteX4" fmla="*/ 1407319 w 1524000"/>
                  <a:gd name="connsiteY4" fmla="*/ 395287 h 631031"/>
                  <a:gd name="connsiteX5" fmla="*/ 1316831 w 1524000"/>
                  <a:gd name="connsiteY5" fmla="*/ 438150 h 631031"/>
                  <a:gd name="connsiteX6" fmla="*/ 1233488 w 1524000"/>
                  <a:gd name="connsiteY6" fmla="*/ 461962 h 631031"/>
                  <a:gd name="connsiteX7" fmla="*/ 1143000 w 1524000"/>
                  <a:gd name="connsiteY7" fmla="*/ 478631 h 631031"/>
                  <a:gd name="connsiteX8" fmla="*/ 1143000 w 1524000"/>
                  <a:gd name="connsiteY8" fmla="*/ 478631 h 631031"/>
                  <a:gd name="connsiteX9" fmla="*/ 1014413 w 1524000"/>
                  <a:gd name="connsiteY9" fmla="*/ 492918 h 631031"/>
                  <a:gd name="connsiteX10" fmla="*/ 769144 w 1524000"/>
                  <a:gd name="connsiteY10" fmla="*/ 533400 h 631031"/>
                  <a:gd name="connsiteX11" fmla="*/ 485775 w 1524000"/>
                  <a:gd name="connsiteY11" fmla="*/ 571500 h 631031"/>
                  <a:gd name="connsiteX12" fmla="*/ 226219 w 1524000"/>
                  <a:gd name="connsiteY12" fmla="*/ 607218 h 631031"/>
                  <a:gd name="connsiteX13" fmla="*/ 30956 w 1524000"/>
                  <a:gd name="connsiteY13" fmla="*/ 631031 h 631031"/>
                  <a:gd name="connsiteX14" fmla="*/ 0 w 1524000"/>
                  <a:gd name="connsiteY14" fmla="*/ 616743 h 631031"/>
                  <a:gd name="connsiteX0" fmla="*/ 1459707 w 1493044"/>
                  <a:gd name="connsiteY0" fmla="*/ 0 h 631031"/>
                  <a:gd name="connsiteX1" fmla="*/ 1493044 w 1493044"/>
                  <a:gd name="connsiteY1" fmla="*/ 130968 h 631031"/>
                  <a:gd name="connsiteX2" fmla="*/ 1478757 w 1493044"/>
                  <a:gd name="connsiteY2" fmla="*/ 228600 h 631031"/>
                  <a:gd name="connsiteX3" fmla="*/ 1450182 w 1493044"/>
                  <a:gd name="connsiteY3" fmla="*/ 304800 h 631031"/>
                  <a:gd name="connsiteX4" fmla="*/ 1376363 w 1493044"/>
                  <a:gd name="connsiteY4" fmla="*/ 395287 h 631031"/>
                  <a:gd name="connsiteX5" fmla="*/ 1285875 w 1493044"/>
                  <a:gd name="connsiteY5" fmla="*/ 438150 h 631031"/>
                  <a:gd name="connsiteX6" fmla="*/ 1202532 w 1493044"/>
                  <a:gd name="connsiteY6" fmla="*/ 461962 h 631031"/>
                  <a:gd name="connsiteX7" fmla="*/ 1112044 w 1493044"/>
                  <a:gd name="connsiteY7" fmla="*/ 478631 h 631031"/>
                  <a:gd name="connsiteX8" fmla="*/ 1112044 w 1493044"/>
                  <a:gd name="connsiteY8" fmla="*/ 478631 h 631031"/>
                  <a:gd name="connsiteX9" fmla="*/ 983457 w 1493044"/>
                  <a:gd name="connsiteY9" fmla="*/ 492918 h 631031"/>
                  <a:gd name="connsiteX10" fmla="*/ 738188 w 1493044"/>
                  <a:gd name="connsiteY10" fmla="*/ 533400 h 631031"/>
                  <a:gd name="connsiteX11" fmla="*/ 454819 w 1493044"/>
                  <a:gd name="connsiteY11" fmla="*/ 571500 h 631031"/>
                  <a:gd name="connsiteX12" fmla="*/ 195263 w 1493044"/>
                  <a:gd name="connsiteY12" fmla="*/ 607218 h 631031"/>
                  <a:gd name="connsiteX13" fmla="*/ 0 w 1493044"/>
                  <a:gd name="connsiteY13" fmla="*/ 631031 h 631031"/>
                  <a:gd name="connsiteX0" fmla="*/ 1459707 w 1493634"/>
                  <a:gd name="connsiteY0" fmla="*/ 0 h 631031"/>
                  <a:gd name="connsiteX1" fmla="*/ 1493044 w 1493634"/>
                  <a:gd name="connsiteY1" fmla="*/ 130968 h 631031"/>
                  <a:gd name="connsiteX2" fmla="*/ 1478757 w 1493634"/>
                  <a:gd name="connsiteY2" fmla="*/ 228600 h 631031"/>
                  <a:gd name="connsiteX3" fmla="*/ 1450182 w 1493634"/>
                  <a:gd name="connsiteY3" fmla="*/ 304800 h 631031"/>
                  <a:gd name="connsiteX4" fmla="*/ 1376363 w 1493634"/>
                  <a:gd name="connsiteY4" fmla="*/ 395287 h 631031"/>
                  <a:gd name="connsiteX5" fmla="*/ 1285875 w 1493634"/>
                  <a:gd name="connsiteY5" fmla="*/ 438150 h 631031"/>
                  <a:gd name="connsiteX6" fmla="*/ 1202532 w 1493634"/>
                  <a:gd name="connsiteY6" fmla="*/ 461962 h 631031"/>
                  <a:gd name="connsiteX7" fmla="*/ 1112044 w 1493634"/>
                  <a:gd name="connsiteY7" fmla="*/ 478631 h 631031"/>
                  <a:gd name="connsiteX8" fmla="*/ 1112044 w 1493634"/>
                  <a:gd name="connsiteY8" fmla="*/ 478631 h 631031"/>
                  <a:gd name="connsiteX9" fmla="*/ 983457 w 1493634"/>
                  <a:gd name="connsiteY9" fmla="*/ 492918 h 631031"/>
                  <a:gd name="connsiteX10" fmla="*/ 738188 w 1493634"/>
                  <a:gd name="connsiteY10" fmla="*/ 533400 h 631031"/>
                  <a:gd name="connsiteX11" fmla="*/ 454819 w 1493634"/>
                  <a:gd name="connsiteY11" fmla="*/ 571500 h 631031"/>
                  <a:gd name="connsiteX12" fmla="*/ 195263 w 1493634"/>
                  <a:gd name="connsiteY12" fmla="*/ 607218 h 631031"/>
                  <a:gd name="connsiteX13" fmla="*/ 0 w 1493634"/>
                  <a:gd name="connsiteY13" fmla="*/ 631031 h 631031"/>
                  <a:gd name="connsiteX0" fmla="*/ 1459707 w 1493634"/>
                  <a:gd name="connsiteY0" fmla="*/ 0 h 631031"/>
                  <a:gd name="connsiteX1" fmla="*/ 1493044 w 1493634"/>
                  <a:gd name="connsiteY1" fmla="*/ 130968 h 631031"/>
                  <a:gd name="connsiteX2" fmla="*/ 1478757 w 1493634"/>
                  <a:gd name="connsiteY2" fmla="*/ 228600 h 631031"/>
                  <a:gd name="connsiteX3" fmla="*/ 1450182 w 1493634"/>
                  <a:gd name="connsiteY3" fmla="*/ 304800 h 631031"/>
                  <a:gd name="connsiteX4" fmla="*/ 1376363 w 1493634"/>
                  <a:gd name="connsiteY4" fmla="*/ 395287 h 631031"/>
                  <a:gd name="connsiteX5" fmla="*/ 1285875 w 1493634"/>
                  <a:gd name="connsiteY5" fmla="*/ 438150 h 631031"/>
                  <a:gd name="connsiteX6" fmla="*/ 1202532 w 1493634"/>
                  <a:gd name="connsiteY6" fmla="*/ 461962 h 631031"/>
                  <a:gd name="connsiteX7" fmla="*/ 1112044 w 1493634"/>
                  <a:gd name="connsiteY7" fmla="*/ 478631 h 631031"/>
                  <a:gd name="connsiteX8" fmla="*/ 1112044 w 1493634"/>
                  <a:gd name="connsiteY8" fmla="*/ 478631 h 631031"/>
                  <a:gd name="connsiteX9" fmla="*/ 983457 w 1493634"/>
                  <a:gd name="connsiteY9" fmla="*/ 492918 h 631031"/>
                  <a:gd name="connsiteX10" fmla="*/ 738188 w 1493634"/>
                  <a:gd name="connsiteY10" fmla="*/ 533400 h 631031"/>
                  <a:gd name="connsiteX11" fmla="*/ 454819 w 1493634"/>
                  <a:gd name="connsiteY11" fmla="*/ 571500 h 631031"/>
                  <a:gd name="connsiteX12" fmla="*/ 195263 w 1493634"/>
                  <a:gd name="connsiteY12" fmla="*/ 607218 h 631031"/>
                  <a:gd name="connsiteX13" fmla="*/ 0 w 1493634"/>
                  <a:gd name="connsiteY13" fmla="*/ 631031 h 631031"/>
                  <a:gd name="connsiteX0" fmla="*/ 1459707 w 1493634"/>
                  <a:gd name="connsiteY0" fmla="*/ 0 h 631031"/>
                  <a:gd name="connsiteX1" fmla="*/ 1493044 w 1493634"/>
                  <a:gd name="connsiteY1" fmla="*/ 130968 h 631031"/>
                  <a:gd name="connsiteX2" fmla="*/ 1478757 w 1493634"/>
                  <a:gd name="connsiteY2" fmla="*/ 228600 h 631031"/>
                  <a:gd name="connsiteX3" fmla="*/ 1450182 w 1493634"/>
                  <a:gd name="connsiteY3" fmla="*/ 304800 h 631031"/>
                  <a:gd name="connsiteX4" fmla="*/ 1376363 w 1493634"/>
                  <a:gd name="connsiteY4" fmla="*/ 395287 h 631031"/>
                  <a:gd name="connsiteX5" fmla="*/ 1285875 w 1493634"/>
                  <a:gd name="connsiteY5" fmla="*/ 438150 h 631031"/>
                  <a:gd name="connsiteX6" fmla="*/ 1202532 w 1493634"/>
                  <a:gd name="connsiteY6" fmla="*/ 461962 h 631031"/>
                  <a:gd name="connsiteX7" fmla="*/ 1112044 w 1493634"/>
                  <a:gd name="connsiteY7" fmla="*/ 478631 h 631031"/>
                  <a:gd name="connsiteX8" fmla="*/ 1112044 w 1493634"/>
                  <a:gd name="connsiteY8" fmla="*/ 478631 h 631031"/>
                  <a:gd name="connsiteX9" fmla="*/ 983457 w 1493634"/>
                  <a:gd name="connsiteY9" fmla="*/ 490536 h 631031"/>
                  <a:gd name="connsiteX10" fmla="*/ 738188 w 1493634"/>
                  <a:gd name="connsiteY10" fmla="*/ 533400 h 631031"/>
                  <a:gd name="connsiteX11" fmla="*/ 454819 w 1493634"/>
                  <a:gd name="connsiteY11" fmla="*/ 571500 h 631031"/>
                  <a:gd name="connsiteX12" fmla="*/ 195263 w 1493634"/>
                  <a:gd name="connsiteY12" fmla="*/ 607218 h 631031"/>
                  <a:gd name="connsiteX13" fmla="*/ 0 w 1493634"/>
                  <a:gd name="connsiteY13" fmla="*/ 631031 h 631031"/>
                  <a:gd name="connsiteX0" fmla="*/ 1459707 w 1493634"/>
                  <a:gd name="connsiteY0" fmla="*/ 0 h 631031"/>
                  <a:gd name="connsiteX1" fmla="*/ 1493044 w 1493634"/>
                  <a:gd name="connsiteY1" fmla="*/ 130968 h 631031"/>
                  <a:gd name="connsiteX2" fmla="*/ 1478757 w 1493634"/>
                  <a:gd name="connsiteY2" fmla="*/ 228600 h 631031"/>
                  <a:gd name="connsiteX3" fmla="*/ 1450182 w 1493634"/>
                  <a:gd name="connsiteY3" fmla="*/ 304800 h 631031"/>
                  <a:gd name="connsiteX4" fmla="*/ 1376363 w 1493634"/>
                  <a:gd name="connsiteY4" fmla="*/ 395287 h 631031"/>
                  <a:gd name="connsiteX5" fmla="*/ 1285875 w 1493634"/>
                  <a:gd name="connsiteY5" fmla="*/ 438150 h 631031"/>
                  <a:gd name="connsiteX6" fmla="*/ 1202532 w 1493634"/>
                  <a:gd name="connsiteY6" fmla="*/ 461962 h 631031"/>
                  <a:gd name="connsiteX7" fmla="*/ 1112044 w 1493634"/>
                  <a:gd name="connsiteY7" fmla="*/ 478631 h 631031"/>
                  <a:gd name="connsiteX8" fmla="*/ 1112044 w 1493634"/>
                  <a:gd name="connsiteY8" fmla="*/ 478631 h 631031"/>
                  <a:gd name="connsiteX9" fmla="*/ 981075 w 1493634"/>
                  <a:gd name="connsiteY9" fmla="*/ 497679 h 631031"/>
                  <a:gd name="connsiteX10" fmla="*/ 738188 w 1493634"/>
                  <a:gd name="connsiteY10" fmla="*/ 533400 h 631031"/>
                  <a:gd name="connsiteX11" fmla="*/ 454819 w 1493634"/>
                  <a:gd name="connsiteY11" fmla="*/ 571500 h 631031"/>
                  <a:gd name="connsiteX12" fmla="*/ 195263 w 1493634"/>
                  <a:gd name="connsiteY12" fmla="*/ 607218 h 631031"/>
                  <a:gd name="connsiteX13" fmla="*/ 0 w 1493634"/>
                  <a:gd name="connsiteY13" fmla="*/ 631031 h 631031"/>
                  <a:gd name="connsiteX0" fmla="*/ 1493044 w 1526971"/>
                  <a:gd name="connsiteY0" fmla="*/ 0 h 631031"/>
                  <a:gd name="connsiteX1" fmla="*/ 1526381 w 1526971"/>
                  <a:gd name="connsiteY1" fmla="*/ 130968 h 631031"/>
                  <a:gd name="connsiteX2" fmla="*/ 1512094 w 1526971"/>
                  <a:gd name="connsiteY2" fmla="*/ 228600 h 631031"/>
                  <a:gd name="connsiteX3" fmla="*/ 1483519 w 1526971"/>
                  <a:gd name="connsiteY3" fmla="*/ 304800 h 631031"/>
                  <a:gd name="connsiteX4" fmla="*/ 1409700 w 1526971"/>
                  <a:gd name="connsiteY4" fmla="*/ 395287 h 631031"/>
                  <a:gd name="connsiteX5" fmla="*/ 1319212 w 1526971"/>
                  <a:gd name="connsiteY5" fmla="*/ 438150 h 631031"/>
                  <a:gd name="connsiteX6" fmla="*/ 1235869 w 1526971"/>
                  <a:gd name="connsiteY6" fmla="*/ 461962 h 631031"/>
                  <a:gd name="connsiteX7" fmla="*/ 1145381 w 1526971"/>
                  <a:gd name="connsiteY7" fmla="*/ 478631 h 631031"/>
                  <a:gd name="connsiteX8" fmla="*/ 1145381 w 1526971"/>
                  <a:gd name="connsiteY8" fmla="*/ 478631 h 631031"/>
                  <a:gd name="connsiteX9" fmla="*/ 1014412 w 1526971"/>
                  <a:gd name="connsiteY9" fmla="*/ 497679 h 631031"/>
                  <a:gd name="connsiteX10" fmla="*/ 771525 w 1526971"/>
                  <a:gd name="connsiteY10" fmla="*/ 533400 h 631031"/>
                  <a:gd name="connsiteX11" fmla="*/ 488156 w 1526971"/>
                  <a:gd name="connsiteY11" fmla="*/ 571500 h 631031"/>
                  <a:gd name="connsiteX12" fmla="*/ 228600 w 1526971"/>
                  <a:gd name="connsiteY12" fmla="*/ 607218 h 631031"/>
                  <a:gd name="connsiteX13" fmla="*/ 0 w 1526971"/>
                  <a:gd name="connsiteY13" fmla="*/ 631031 h 631031"/>
                  <a:gd name="connsiteX0" fmla="*/ 1493044 w 1526971"/>
                  <a:gd name="connsiteY0" fmla="*/ 0 h 631031"/>
                  <a:gd name="connsiteX1" fmla="*/ 1526381 w 1526971"/>
                  <a:gd name="connsiteY1" fmla="*/ 130968 h 631031"/>
                  <a:gd name="connsiteX2" fmla="*/ 1512094 w 1526971"/>
                  <a:gd name="connsiteY2" fmla="*/ 228600 h 631031"/>
                  <a:gd name="connsiteX3" fmla="*/ 1483519 w 1526971"/>
                  <a:gd name="connsiteY3" fmla="*/ 304800 h 631031"/>
                  <a:gd name="connsiteX4" fmla="*/ 1409700 w 1526971"/>
                  <a:gd name="connsiteY4" fmla="*/ 395287 h 631031"/>
                  <a:gd name="connsiteX5" fmla="*/ 1319212 w 1526971"/>
                  <a:gd name="connsiteY5" fmla="*/ 438150 h 631031"/>
                  <a:gd name="connsiteX6" fmla="*/ 1235869 w 1526971"/>
                  <a:gd name="connsiteY6" fmla="*/ 461962 h 631031"/>
                  <a:gd name="connsiteX7" fmla="*/ 1145381 w 1526971"/>
                  <a:gd name="connsiteY7" fmla="*/ 478631 h 631031"/>
                  <a:gd name="connsiteX8" fmla="*/ 1145381 w 1526971"/>
                  <a:gd name="connsiteY8" fmla="*/ 478631 h 631031"/>
                  <a:gd name="connsiteX9" fmla="*/ 1014412 w 1526971"/>
                  <a:gd name="connsiteY9" fmla="*/ 497679 h 631031"/>
                  <a:gd name="connsiteX10" fmla="*/ 771525 w 1526971"/>
                  <a:gd name="connsiteY10" fmla="*/ 533400 h 631031"/>
                  <a:gd name="connsiteX11" fmla="*/ 488156 w 1526971"/>
                  <a:gd name="connsiteY11" fmla="*/ 571500 h 631031"/>
                  <a:gd name="connsiteX12" fmla="*/ 228600 w 1526971"/>
                  <a:gd name="connsiteY12" fmla="*/ 607218 h 631031"/>
                  <a:gd name="connsiteX13" fmla="*/ 0 w 1526971"/>
                  <a:gd name="connsiteY13" fmla="*/ 631031 h 631031"/>
                  <a:gd name="connsiteX0" fmla="*/ 1493044 w 1520467"/>
                  <a:gd name="connsiteY0" fmla="*/ 0 h 631031"/>
                  <a:gd name="connsiteX1" fmla="*/ 1519237 w 1520467"/>
                  <a:gd name="connsiteY1" fmla="*/ 135731 h 631031"/>
                  <a:gd name="connsiteX2" fmla="*/ 1512094 w 1520467"/>
                  <a:gd name="connsiteY2" fmla="*/ 228600 h 631031"/>
                  <a:gd name="connsiteX3" fmla="*/ 1483519 w 1520467"/>
                  <a:gd name="connsiteY3" fmla="*/ 304800 h 631031"/>
                  <a:gd name="connsiteX4" fmla="*/ 1409700 w 1520467"/>
                  <a:gd name="connsiteY4" fmla="*/ 395287 h 631031"/>
                  <a:gd name="connsiteX5" fmla="*/ 1319212 w 1520467"/>
                  <a:gd name="connsiteY5" fmla="*/ 438150 h 631031"/>
                  <a:gd name="connsiteX6" fmla="*/ 1235869 w 1520467"/>
                  <a:gd name="connsiteY6" fmla="*/ 461962 h 631031"/>
                  <a:gd name="connsiteX7" fmla="*/ 1145381 w 1520467"/>
                  <a:gd name="connsiteY7" fmla="*/ 478631 h 631031"/>
                  <a:gd name="connsiteX8" fmla="*/ 1145381 w 1520467"/>
                  <a:gd name="connsiteY8" fmla="*/ 478631 h 631031"/>
                  <a:gd name="connsiteX9" fmla="*/ 1014412 w 1520467"/>
                  <a:gd name="connsiteY9" fmla="*/ 497679 h 631031"/>
                  <a:gd name="connsiteX10" fmla="*/ 771525 w 1520467"/>
                  <a:gd name="connsiteY10" fmla="*/ 533400 h 631031"/>
                  <a:gd name="connsiteX11" fmla="*/ 488156 w 1520467"/>
                  <a:gd name="connsiteY11" fmla="*/ 571500 h 631031"/>
                  <a:gd name="connsiteX12" fmla="*/ 228600 w 1520467"/>
                  <a:gd name="connsiteY12" fmla="*/ 607218 h 631031"/>
                  <a:gd name="connsiteX13" fmla="*/ 0 w 1520467"/>
                  <a:gd name="connsiteY13" fmla="*/ 631031 h 631031"/>
                  <a:gd name="connsiteX0" fmla="*/ 1493044 w 1520467"/>
                  <a:gd name="connsiteY0" fmla="*/ 0 h 631031"/>
                  <a:gd name="connsiteX1" fmla="*/ 1519237 w 1520467"/>
                  <a:gd name="connsiteY1" fmla="*/ 135731 h 631031"/>
                  <a:gd name="connsiteX2" fmla="*/ 1512094 w 1520467"/>
                  <a:gd name="connsiteY2" fmla="*/ 228600 h 631031"/>
                  <a:gd name="connsiteX3" fmla="*/ 1483519 w 1520467"/>
                  <a:gd name="connsiteY3" fmla="*/ 304800 h 631031"/>
                  <a:gd name="connsiteX4" fmla="*/ 1409700 w 1520467"/>
                  <a:gd name="connsiteY4" fmla="*/ 395287 h 631031"/>
                  <a:gd name="connsiteX5" fmla="*/ 1319212 w 1520467"/>
                  <a:gd name="connsiteY5" fmla="*/ 438150 h 631031"/>
                  <a:gd name="connsiteX6" fmla="*/ 1235869 w 1520467"/>
                  <a:gd name="connsiteY6" fmla="*/ 461962 h 631031"/>
                  <a:gd name="connsiteX7" fmla="*/ 1145381 w 1520467"/>
                  <a:gd name="connsiteY7" fmla="*/ 478631 h 631031"/>
                  <a:gd name="connsiteX8" fmla="*/ 1145381 w 1520467"/>
                  <a:gd name="connsiteY8" fmla="*/ 478631 h 631031"/>
                  <a:gd name="connsiteX9" fmla="*/ 1014412 w 1520467"/>
                  <a:gd name="connsiteY9" fmla="*/ 497679 h 631031"/>
                  <a:gd name="connsiteX10" fmla="*/ 771526 w 1520467"/>
                  <a:gd name="connsiteY10" fmla="*/ 527787 h 631031"/>
                  <a:gd name="connsiteX11" fmla="*/ 488156 w 1520467"/>
                  <a:gd name="connsiteY11" fmla="*/ 571500 h 631031"/>
                  <a:gd name="connsiteX12" fmla="*/ 228600 w 1520467"/>
                  <a:gd name="connsiteY12" fmla="*/ 607218 h 631031"/>
                  <a:gd name="connsiteX13" fmla="*/ 0 w 1520467"/>
                  <a:gd name="connsiteY13" fmla="*/ 631031 h 631031"/>
                  <a:gd name="connsiteX0" fmla="*/ 1493044 w 1520467"/>
                  <a:gd name="connsiteY0" fmla="*/ 0 h 631031"/>
                  <a:gd name="connsiteX1" fmla="*/ 1519237 w 1520467"/>
                  <a:gd name="connsiteY1" fmla="*/ 135731 h 631031"/>
                  <a:gd name="connsiteX2" fmla="*/ 1512094 w 1520467"/>
                  <a:gd name="connsiteY2" fmla="*/ 228600 h 631031"/>
                  <a:gd name="connsiteX3" fmla="*/ 1483519 w 1520467"/>
                  <a:gd name="connsiteY3" fmla="*/ 304800 h 631031"/>
                  <a:gd name="connsiteX4" fmla="*/ 1409700 w 1520467"/>
                  <a:gd name="connsiteY4" fmla="*/ 395287 h 631031"/>
                  <a:gd name="connsiteX5" fmla="*/ 1319212 w 1520467"/>
                  <a:gd name="connsiteY5" fmla="*/ 438150 h 631031"/>
                  <a:gd name="connsiteX6" fmla="*/ 1235869 w 1520467"/>
                  <a:gd name="connsiteY6" fmla="*/ 461962 h 631031"/>
                  <a:gd name="connsiteX7" fmla="*/ 1145381 w 1520467"/>
                  <a:gd name="connsiteY7" fmla="*/ 478631 h 631031"/>
                  <a:gd name="connsiteX8" fmla="*/ 1145381 w 1520467"/>
                  <a:gd name="connsiteY8" fmla="*/ 478631 h 631031"/>
                  <a:gd name="connsiteX9" fmla="*/ 1014412 w 1520467"/>
                  <a:gd name="connsiteY9" fmla="*/ 497679 h 631031"/>
                  <a:gd name="connsiteX10" fmla="*/ 771526 w 1520467"/>
                  <a:gd name="connsiteY10" fmla="*/ 527787 h 631031"/>
                  <a:gd name="connsiteX11" fmla="*/ 493781 w 1520467"/>
                  <a:gd name="connsiteY11" fmla="*/ 565888 h 631031"/>
                  <a:gd name="connsiteX12" fmla="*/ 228600 w 1520467"/>
                  <a:gd name="connsiteY12" fmla="*/ 607218 h 631031"/>
                  <a:gd name="connsiteX13" fmla="*/ 0 w 1520467"/>
                  <a:gd name="connsiteY13" fmla="*/ 631031 h 631031"/>
                  <a:gd name="connsiteX0" fmla="*/ 1493044 w 1520467"/>
                  <a:gd name="connsiteY0" fmla="*/ 0 h 631031"/>
                  <a:gd name="connsiteX1" fmla="*/ 1519237 w 1520467"/>
                  <a:gd name="connsiteY1" fmla="*/ 135731 h 631031"/>
                  <a:gd name="connsiteX2" fmla="*/ 1512094 w 1520467"/>
                  <a:gd name="connsiteY2" fmla="*/ 228600 h 631031"/>
                  <a:gd name="connsiteX3" fmla="*/ 1483519 w 1520467"/>
                  <a:gd name="connsiteY3" fmla="*/ 304800 h 631031"/>
                  <a:gd name="connsiteX4" fmla="*/ 1409700 w 1520467"/>
                  <a:gd name="connsiteY4" fmla="*/ 395287 h 631031"/>
                  <a:gd name="connsiteX5" fmla="*/ 1319212 w 1520467"/>
                  <a:gd name="connsiteY5" fmla="*/ 438150 h 631031"/>
                  <a:gd name="connsiteX6" fmla="*/ 1235869 w 1520467"/>
                  <a:gd name="connsiteY6" fmla="*/ 461962 h 631031"/>
                  <a:gd name="connsiteX7" fmla="*/ 1145381 w 1520467"/>
                  <a:gd name="connsiteY7" fmla="*/ 478631 h 631031"/>
                  <a:gd name="connsiteX8" fmla="*/ 1145381 w 1520467"/>
                  <a:gd name="connsiteY8" fmla="*/ 478631 h 631031"/>
                  <a:gd name="connsiteX9" fmla="*/ 1014412 w 1520467"/>
                  <a:gd name="connsiteY9" fmla="*/ 497679 h 631031"/>
                  <a:gd name="connsiteX10" fmla="*/ 771526 w 1520467"/>
                  <a:gd name="connsiteY10" fmla="*/ 527787 h 631031"/>
                  <a:gd name="connsiteX11" fmla="*/ 493781 w 1520467"/>
                  <a:gd name="connsiteY11" fmla="*/ 565888 h 631031"/>
                  <a:gd name="connsiteX12" fmla="*/ 228600 w 1520467"/>
                  <a:gd name="connsiteY12" fmla="*/ 607218 h 631031"/>
                  <a:gd name="connsiteX13" fmla="*/ 0 w 1520467"/>
                  <a:gd name="connsiteY13" fmla="*/ 631031 h 631031"/>
                  <a:gd name="connsiteX0" fmla="*/ 1493044 w 1520467"/>
                  <a:gd name="connsiteY0" fmla="*/ 0 h 631031"/>
                  <a:gd name="connsiteX1" fmla="*/ 1519237 w 1520467"/>
                  <a:gd name="connsiteY1" fmla="*/ 135731 h 631031"/>
                  <a:gd name="connsiteX2" fmla="*/ 1512094 w 1520467"/>
                  <a:gd name="connsiteY2" fmla="*/ 228600 h 631031"/>
                  <a:gd name="connsiteX3" fmla="*/ 1483519 w 1520467"/>
                  <a:gd name="connsiteY3" fmla="*/ 304800 h 631031"/>
                  <a:gd name="connsiteX4" fmla="*/ 1409700 w 1520467"/>
                  <a:gd name="connsiteY4" fmla="*/ 395287 h 631031"/>
                  <a:gd name="connsiteX5" fmla="*/ 1319212 w 1520467"/>
                  <a:gd name="connsiteY5" fmla="*/ 438150 h 631031"/>
                  <a:gd name="connsiteX6" fmla="*/ 1235869 w 1520467"/>
                  <a:gd name="connsiteY6" fmla="*/ 461962 h 631031"/>
                  <a:gd name="connsiteX7" fmla="*/ 1145381 w 1520467"/>
                  <a:gd name="connsiteY7" fmla="*/ 478631 h 631031"/>
                  <a:gd name="connsiteX8" fmla="*/ 1145381 w 1520467"/>
                  <a:gd name="connsiteY8" fmla="*/ 478631 h 631031"/>
                  <a:gd name="connsiteX9" fmla="*/ 1014412 w 1520467"/>
                  <a:gd name="connsiteY9" fmla="*/ 497679 h 631031"/>
                  <a:gd name="connsiteX10" fmla="*/ 771526 w 1520467"/>
                  <a:gd name="connsiteY10" fmla="*/ 527787 h 631031"/>
                  <a:gd name="connsiteX11" fmla="*/ 493781 w 1520467"/>
                  <a:gd name="connsiteY11" fmla="*/ 565888 h 631031"/>
                  <a:gd name="connsiteX12" fmla="*/ 239849 w 1520467"/>
                  <a:gd name="connsiteY12" fmla="*/ 595990 h 631031"/>
                  <a:gd name="connsiteX13" fmla="*/ 0 w 1520467"/>
                  <a:gd name="connsiteY13" fmla="*/ 631031 h 63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0467" h="631031">
                    <a:moveTo>
                      <a:pt x="1493044" y="0"/>
                    </a:moveTo>
                    <a:cubicBezTo>
                      <a:pt x="1504156" y="43656"/>
                      <a:pt x="1516062" y="97631"/>
                      <a:pt x="1519237" y="135731"/>
                    </a:cubicBezTo>
                    <a:cubicBezTo>
                      <a:pt x="1522412" y="173831"/>
                      <a:pt x="1519238" y="199628"/>
                      <a:pt x="1512094" y="228600"/>
                    </a:cubicBezTo>
                    <a:lnTo>
                      <a:pt x="1483519" y="304800"/>
                    </a:lnTo>
                    <a:cubicBezTo>
                      <a:pt x="1473994" y="330200"/>
                      <a:pt x="1437084" y="373062"/>
                      <a:pt x="1409700" y="395287"/>
                    </a:cubicBezTo>
                    <a:cubicBezTo>
                      <a:pt x="1382316" y="417512"/>
                      <a:pt x="1348184" y="427038"/>
                      <a:pt x="1319212" y="438150"/>
                    </a:cubicBezTo>
                    <a:lnTo>
                      <a:pt x="1235869" y="461962"/>
                    </a:lnTo>
                    <a:lnTo>
                      <a:pt x="1145381" y="478631"/>
                    </a:lnTo>
                    <a:lnTo>
                      <a:pt x="1145381" y="478631"/>
                    </a:lnTo>
                    <a:lnTo>
                      <a:pt x="1014412" y="497679"/>
                    </a:lnTo>
                    <a:lnTo>
                      <a:pt x="771526" y="527787"/>
                    </a:lnTo>
                    <a:lnTo>
                      <a:pt x="493781" y="565888"/>
                    </a:lnTo>
                    <a:lnTo>
                      <a:pt x="239849" y="595990"/>
                    </a:lnTo>
                    <a:cubicBezTo>
                      <a:pt x="157552" y="606847"/>
                      <a:pt x="76200" y="623093"/>
                      <a:pt x="0" y="631031"/>
                    </a:cubicBezTo>
                  </a:path>
                </a:pathLst>
              </a:custGeom>
              <a:noFill/>
              <a:ln w="85725" cap="flat"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55" name="Group 54"/>
          <p:cNvGrpSpPr/>
          <p:nvPr/>
        </p:nvGrpSpPr>
        <p:grpSpPr>
          <a:xfrm>
            <a:off x="7615978" y="588528"/>
            <a:ext cx="568263" cy="1266940"/>
            <a:chOff x="940392" y="616934"/>
            <a:chExt cx="1937438" cy="5493850"/>
          </a:xfrm>
        </p:grpSpPr>
        <p:pic>
          <p:nvPicPr>
            <p:cNvPr id="56" name="Picture 55"/>
            <p:cNvPicPr>
              <a:picLocks noChangeAspect="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940392" y="616934"/>
              <a:ext cx="1937438" cy="5493850"/>
            </a:xfrm>
            <a:prstGeom prst="rect">
              <a:avLst/>
            </a:prstGeom>
          </p:spPr>
        </p:pic>
        <p:sp>
          <p:nvSpPr>
            <p:cNvPr id="62" name="Freeform 61"/>
            <p:cNvSpPr/>
            <p:nvPr/>
          </p:nvSpPr>
          <p:spPr>
            <a:xfrm>
              <a:off x="1319402" y="2662097"/>
              <a:ext cx="186617" cy="2127724"/>
            </a:xfrm>
            <a:custGeom>
              <a:avLst/>
              <a:gdLst>
                <a:gd name="connsiteX0" fmla="*/ 532109 w 532109"/>
                <a:gd name="connsiteY0" fmla="*/ 335797 h 4990454"/>
                <a:gd name="connsiteX1" fmla="*/ 433953 w 532109"/>
                <a:gd name="connsiteY1" fmla="*/ 346129 h 4990454"/>
                <a:gd name="connsiteX2" fmla="*/ 315132 w 532109"/>
                <a:gd name="connsiteY2" fmla="*/ 351295 h 4990454"/>
                <a:gd name="connsiteX3" fmla="*/ 216976 w 532109"/>
                <a:gd name="connsiteY3" fmla="*/ 351295 h 4990454"/>
                <a:gd name="connsiteX4" fmla="*/ 175648 w 532109"/>
                <a:gd name="connsiteY4" fmla="*/ 340963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5132 w 532109"/>
                <a:gd name="connsiteY2" fmla="*/ 351295 h 4990454"/>
                <a:gd name="connsiteX3" fmla="*/ 216976 w 532109"/>
                <a:gd name="connsiteY3" fmla="*/ 351295 h 4990454"/>
                <a:gd name="connsiteX4" fmla="*/ 175648 w 532109"/>
                <a:gd name="connsiteY4" fmla="*/ 340963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16976 w 532109"/>
                <a:gd name="connsiteY3" fmla="*/ 351295 h 4990454"/>
                <a:gd name="connsiteX4" fmla="*/ 175648 w 532109"/>
                <a:gd name="connsiteY4" fmla="*/ 340963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09832 w 532109"/>
                <a:gd name="connsiteY3" fmla="*/ 363201 h 4990454"/>
                <a:gd name="connsiteX4" fmla="*/ 175648 w 532109"/>
                <a:gd name="connsiteY4" fmla="*/ 340963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09832 w 532109"/>
                <a:gd name="connsiteY3" fmla="*/ 363201 h 4990454"/>
                <a:gd name="connsiteX4" fmla="*/ 163742 w 532109"/>
                <a:gd name="connsiteY4" fmla="*/ 343345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09832 w 532109"/>
                <a:gd name="connsiteY3" fmla="*/ 363201 h 4990454"/>
                <a:gd name="connsiteX4" fmla="*/ 163742 w 532109"/>
                <a:gd name="connsiteY4" fmla="*/ 343345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3742 w 532109"/>
                <a:gd name="connsiteY4" fmla="*/ 343345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3742 w 532109"/>
                <a:gd name="connsiteY4" fmla="*/ 343345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3742 w 532109"/>
                <a:gd name="connsiteY4" fmla="*/ 343345 h 4990454"/>
                <a:gd name="connsiteX5" fmla="*/ 108891 w 532109"/>
                <a:gd name="connsiteY5" fmla="*/ 324657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3742 w 532109"/>
                <a:gd name="connsiteY4" fmla="*/ 343345 h 4990454"/>
                <a:gd name="connsiteX5" fmla="*/ 108891 w 532109"/>
                <a:gd name="connsiteY5" fmla="*/ 324657 h 4990454"/>
                <a:gd name="connsiteX6" fmla="*/ 36970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3742 w 532109"/>
                <a:gd name="connsiteY4" fmla="*/ 343345 h 4990454"/>
                <a:gd name="connsiteX5" fmla="*/ 108891 w 532109"/>
                <a:gd name="connsiteY5" fmla="*/ 324657 h 4990454"/>
                <a:gd name="connsiteX6" fmla="*/ 36970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3742 w 532109"/>
                <a:gd name="connsiteY4" fmla="*/ 343345 h 4990454"/>
                <a:gd name="connsiteX5" fmla="*/ 108891 w 532109"/>
                <a:gd name="connsiteY5" fmla="*/ 324657 h 4990454"/>
                <a:gd name="connsiteX6" fmla="*/ 36970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6123 w 532109"/>
                <a:gd name="connsiteY4" fmla="*/ 350488 h 4990454"/>
                <a:gd name="connsiteX5" fmla="*/ 108891 w 532109"/>
                <a:gd name="connsiteY5" fmla="*/ 324657 h 4990454"/>
                <a:gd name="connsiteX6" fmla="*/ 36970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6123 w 532109"/>
                <a:gd name="connsiteY4" fmla="*/ 350488 h 4990454"/>
                <a:gd name="connsiteX5" fmla="*/ 108891 w 532109"/>
                <a:gd name="connsiteY5" fmla="*/ 324657 h 4990454"/>
                <a:gd name="connsiteX6" fmla="*/ 36970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6123 w 532109"/>
                <a:gd name="connsiteY4" fmla="*/ 350488 h 4990454"/>
                <a:gd name="connsiteX5" fmla="*/ 108891 w 532109"/>
                <a:gd name="connsiteY5" fmla="*/ 324657 h 4990454"/>
                <a:gd name="connsiteX6" fmla="*/ 36970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84636 w 532109"/>
                <a:gd name="connsiteY12" fmla="*/ 9969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40451 h 4995108"/>
                <a:gd name="connsiteX1" fmla="*/ 433953 w 532109"/>
                <a:gd name="connsiteY1" fmla="*/ 350783 h 4995108"/>
                <a:gd name="connsiteX2" fmla="*/ 310370 w 532109"/>
                <a:gd name="connsiteY2" fmla="*/ 370237 h 4995108"/>
                <a:gd name="connsiteX3" fmla="*/ 231264 w 532109"/>
                <a:gd name="connsiteY3" fmla="*/ 370236 h 4995108"/>
                <a:gd name="connsiteX4" fmla="*/ 166123 w 532109"/>
                <a:gd name="connsiteY4" fmla="*/ 355142 h 4995108"/>
                <a:gd name="connsiteX5" fmla="*/ 108891 w 532109"/>
                <a:gd name="connsiteY5" fmla="*/ 329311 h 4995108"/>
                <a:gd name="connsiteX6" fmla="*/ 36970 w 532109"/>
                <a:gd name="connsiteY6" fmla="*/ 257793 h 4995108"/>
                <a:gd name="connsiteX7" fmla="*/ 20665 w 532109"/>
                <a:gd name="connsiteY7" fmla="*/ 221630 h 4995108"/>
                <a:gd name="connsiteX8" fmla="*/ 0 w 532109"/>
                <a:gd name="connsiteY8" fmla="*/ 164803 h 4995108"/>
                <a:gd name="connsiteX9" fmla="*/ 0 w 532109"/>
                <a:gd name="connsiteY9" fmla="*/ 128641 h 4995108"/>
                <a:gd name="connsiteX10" fmla="*/ 15498 w 532109"/>
                <a:gd name="connsiteY10" fmla="*/ 82146 h 4995108"/>
                <a:gd name="connsiteX11" fmla="*/ 36163 w 532109"/>
                <a:gd name="connsiteY11" fmla="*/ 51149 h 4995108"/>
                <a:gd name="connsiteX12" fmla="*/ 84636 w 532109"/>
                <a:gd name="connsiteY12" fmla="*/ 14623 h 4995108"/>
                <a:gd name="connsiteX13" fmla="*/ 201478 w 532109"/>
                <a:gd name="connsiteY13" fmla="*/ 4654 h 4995108"/>
                <a:gd name="connsiteX14" fmla="*/ 294468 w 532109"/>
                <a:gd name="connsiteY14" fmla="*/ 40817 h 4995108"/>
                <a:gd name="connsiteX15" fmla="*/ 361627 w 532109"/>
                <a:gd name="connsiteY15" fmla="*/ 92478 h 4995108"/>
                <a:gd name="connsiteX16" fmla="*/ 382292 w 532109"/>
                <a:gd name="connsiteY16" fmla="*/ 149305 h 4995108"/>
                <a:gd name="connsiteX17" fmla="*/ 402956 w 532109"/>
                <a:gd name="connsiteY17" fmla="*/ 226796 h 4995108"/>
                <a:gd name="connsiteX18" fmla="*/ 423621 w 532109"/>
                <a:gd name="connsiteY18" fmla="*/ 304288 h 4995108"/>
                <a:gd name="connsiteX19" fmla="*/ 423621 w 532109"/>
                <a:gd name="connsiteY19" fmla="*/ 407610 h 4995108"/>
                <a:gd name="connsiteX20" fmla="*/ 87824 w 532109"/>
                <a:gd name="connsiteY20" fmla="*/ 4995108 h 4995108"/>
                <a:gd name="connsiteX0" fmla="*/ 532109 w 532109"/>
                <a:gd name="connsiteY0" fmla="*/ 350997 h 5005654"/>
                <a:gd name="connsiteX1" fmla="*/ 433953 w 532109"/>
                <a:gd name="connsiteY1" fmla="*/ 361329 h 5005654"/>
                <a:gd name="connsiteX2" fmla="*/ 310370 w 532109"/>
                <a:gd name="connsiteY2" fmla="*/ 380783 h 5005654"/>
                <a:gd name="connsiteX3" fmla="*/ 231264 w 532109"/>
                <a:gd name="connsiteY3" fmla="*/ 380782 h 5005654"/>
                <a:gd name="connsiteX4" fmla="*/ 166123 w 532109"/>
                <a:gd name="connsiteY4" fmla="*/ 365688 h 5005654"/>
                <a:gd name="connsiteX5" fmla="*/ 108891 w 532109"/>
                <a:gd name="connsiteY5" fmla="*/ 339857 h 5005654"/>
                <a:gd name="connsiteX6" fmla="*/ 36970 w 532109"/>
                <a:gd name="connsiteY6" fmla="*/ 268339 h 5005654"/>
                <a:gd name="connsiteX7" fmla="*/ 20665 w 532109"/>
                <a:gd name="connsiteY7" fmla="*/ 232176 h 5005654"/>
                <a:gd name="connsiteX8" fmla="*/ 0 w 532109"/>
                <a:gd name="connsiteY8" fmla="*/ 175349 h 5005654"/>
                <a:gd name="connsiteX9" fmla="*/ 0 w 532109"/>
                <a:gd name="connsiteY9" fmla="*/ 139187 h 5005654"/>
                <a:gd name="connsiteX10" fmla="*/ 15498 w 532109"/>
                <a:gd name="connsiteY10" fmla="*/ 92692 h 5005654"/>
                <a:gd name="connsiteX11" fmla="*/ 36163 w 532109"/>
                <a:gd name="connsiteY11" fmla="*/ 61695 h 5005654"/>
                <a:gd name="connsiteX12" fmla="*/ 84636 w 532109"/>
                <a:gd name="connsiteY12" fmla="*/ 25169 h 5005654"/>
                <a:gd name="connsiteX13" fmla="*/ 211003 w 532109"/>
                <a:gd name="connsiteY13" fmla="*/ 3293 h 5005654"/>
                <a:gd name="connsiteX14" fmla="*/ 294468 w 532109"/>
                <a:gd name="connsiteY14" fmla="*/ 51363 h 5005654"/>
                <a:gd name="connsiteX15" fmla="*/ 361627 w 532109"/>
                <a:gd name="connsiteY15" fmla="*/ 103024 h 5005654"/>
                <a:gd name="connsiteX16" fmla="*/ 382292 w 532109"/>
                <a:gd name="connsiteY16" fmla="*/ 159851 h 5005654"/>
                <a:gd name="connsiteX17" fmla="*/ 402956 w 532109"/>
                <a:gd name="connsiteY17" fmla="*/ 237342 h 5005654"/>
                <a:gd name="connsiteX18" fmla="*/ 423621 w 532109"/>
                <a:gd name="connsiteY18" fmla="*/ 314834 h 5005654"/>
                <a:gd name="connsiteX19" fmla="*/ 423621 w 532109"/>
                <a:gd name="connsiteY19" fmla="*/ 418156 h 5005654"/>
                <a:gd name="connsiteX20" fmla="*/ 87824 w 532109"/>
                <a:gd name="connsiteY20" fmla="*/ 5005654 h 5005654"/>
                <a:gd name="connsiteX0" fmla="*/ 532109 w 532109"/>
                <a:gd name="connsiteY0" fmla="*/ 350997 h 5005654"/>
                <a:gd name="connsiteX1" fmla="*/ 433953 w 532109"/>
                <a:gd name="connsiteY1" fmla="*/ 361329 h 5005654"/>
                <a:gd name="connsiteX2" fmla="*/ 310370 w 532109"/>
                <a:gd name="connsiteY2" fmla="*/ 380783 h 5005654"/>
                <a:gd name="connsiteX3" fmla="*/ 231264 w 532109"/>
                <a:gd name="connsiteY3" fmla="*/ 380782 h 5005654"/>
                <a:gd name="connsiteX4" fmla="*/ 166123 w 532109"/>
                <a:gd name="connsiteY4" fmla="*/ 365688 h 5005654"/>
                <a:gd name="connsiteX5" fmla="*/ 108891 w 532109"/>
                <a:gd name="connsiteY5" fmla="*/ 339857 h 5005654"/>
                <a:gd name="connsiteX6" fmla="*/ 36970 w 532109"/>
                <a:gd name="connsiteY6" fmla="*/ 268339 h 5005654"/>
                <a:gd name="connsiteX7" fmla="*/ 20665 w 532109"/>
                <a:gd name="connsiteY7" fmla="*/ 232176 h 5005654"/>
                <a:gd name="connsiteX8" fmla="*/ 0 w 532109"/>
                <a:gd name="connsiteY8" fmla="*/ 175349 h 5005654"/>
                <a:gd name="connsiteX9" fmla="*/ 0 w 532109"/>
                <a:gd name="connsiteY9" fmla="*/ 139187 h 5005654"/>
                <a:gd name="connsiteX10" fmla="*/ 15498 w 532109"/>
                <a:gd name="connsiteY10" fmla="*/ 92692 h 5005654"/>
                <a:gd name="connsiteX11" fmla="*/ 36163 w 532109"/>
                <a:gd name="connsiteY11" fmla="*/ 61695 h 5005654"/>
                <a:gd name="connsiteX12" fmla="*/ 84636 w 532109"/>
                <a:gd name="connsiteY12" fmla="*/ 25169 h 5005654"/>
                <a:gd name="connsiteX13" fmla="*/ 211003 w 532109"/>
                <a:gd name="connsiteY13" fmla="*/ 3293 h 5005654"/>
                <a:gd name="connsiteX14" fmla="*/ 294468 w 532109"/>
                <a:gd name="connsiteY14" fmla="*/ 51363 h 5005654"/>
                <a:gd name="connsiteX15" fmla="*/ 361627 w 532109"/>
                <a:gd name="connsiteY15" fmla="*/ 103024 h 5005654"/>
                <a:gd name="connsiteX16" fmla="*/ 382292 w 532109"/>
                <a:gd name="connsiteY16" fmla="*/ 159851 h 5005654"/>
                <a:gd name="connsiteX17" fmla="*/ 402956 w 532109"/>
                <a:gd name="connsiteY17" fmla="*/ 237342 h 5005654"/>
                <a:gd name="connsiteX18" fmla="*/ 423621 w 532109"/>
                <a:gd name="connsiteY18" fmla="*/ 314834 h 5005654"/>
                <a:gd name="connsiteX19" fmla="*/ 423621 w 532109"/>
                <a:gd name="connsiteY19" fmla="*/ 418156 h 5005654"/>
                <a:gd name="connsiteX20" fmla="*/ 87824 w 532109"/>
                <a:gd name="connsiteY20" fmla="*/ 5005654 h 5005654"/>
                <a:gd name="connsiteX0" fmla="*/ 532109 w 532109"/>
                <a:gd name="connsiteY0" fmla="*/ 350997 h 5005654"/>
                <a:gd name="connsiteX1" fmla="*/ 433953 w 532109"/>
                <a:gd name="connsiteY1" fmla="*/ 361329 h 5005654"/>
                <a:gd name="connsiteX2" fmla="*/ 310370 w 532109"/>
                <a:gd name="connsiteY2" fmla="*/ 380783 h 5005654"/>
                <a:gd name="connsiteX3" fmla="*/ 231264 w 532109"/>
                <a:gd name="connsiteY3" fmla="*/ 380782 h 5005654"/>
                <a:gd name="connsiteX4" fmla="*/ 166123 w 532109"/>
                <a:gd name="connsiteY4" fmla="*/ 365688 h 5005654"/>
                <a:gd name="connsiteX5" fmla="*/ 108891 w 532109"/>
                <a:gd name="connsiteY5" fmla="*/ 339857 h 5005654"/>
                <a:gd name="connsiteX6" fmla="*/ 36970 w 532109"/>
                <a:gd name="connsiteY6" fmla="*/ 268339 h 5005654"/>
                <a:gd name="connsiteX7" fmla="*/ 20665 w 532109"/>
                <a:gd name="connsiteY7" fmla="*/ 232176 h 5005654"/>
                <a:gd name="connsiteX8" fmla="*/ 0 w 532109"/>
                <a:gd name="connsiteY8" fmla="*/ 175349 h 5005654"/>
                <a:gd name="connsiteX9" fmla="*/ 0 w 532109"/>
                <a:gd name="connsiteY9" fmla="*/ 139187 h 5005654"/>
                <a:gd name="connsiteX10" fmla="*/ 15498 w 532109"/>
                <a:gd name="connsiteY10" fmla="*/ 92692 h 5005654"/>
                <a:gd name="connsiteX11" fmla="*/ 36163 w 532109"/>
                <a:gd name="connsiteY11" fmla="*/ 61695 h 5005654"/>
                <a:gd name="connsiteX12" fmla="*/ 84636 w 532109"/>
                <a:gd name="connsiteY12" fmla="*/ 25169 h 5005654"/>
                <a:gd name="connsiteX13" fmla="*/ 211003 w 532109"/>
                <a:gd name="connsiteY13" fmla="*/ 3293 h 5005654"/>
                <a:gd name="connsiteX14" fmla="*/ 294468 w 532109"/>
                <a:gd name="connsiteY14" fmla="*/ 51363 h 5005654"/>
                <a:gd name="connsiteX15" fmla="*/ 361627 w 532109"/>
                <a:gd name="connsiteY15" fmla="*/ 103024 h 5005654"/>
                <a:gd name="connsiteX16" fmla="*/ 382292 w 532109"/>
                <a:gd name="connsiteY16" fmla="*/ 159851 h 5005654"/>
                <a:gd name="connsiteX17" fmla="*/ 402956 w 532109"/>
                <a:gd name="connsiteY17" fmla="*/ 237342 h 5005654"/>
                <a:gd name="connsiteX18" fmla="*/ 423621 w 532109"/>
                <a:gd name="connsiteY18" fmla="*/ 314834 h 5005654"/>
                <a:gd name="connsiteX19" fmla="*/ 423621 w 532109"/>
                <a:gd name="connsiteY19" fmla="*/ 418156 h 5005654"/>
                <a:gd name="connsiteX20" fmla="*/ 87824 w 532109"/>
                <a:gd name="connsiteY20" fmla="*/ 5005654 h 5005654"/>
                <a:gd name="connsiteX0" fmla="*/ 532109 w 532109"/>
                <a:gd name="connsiteY0" fmla="*/ 348533 h 5003190"/>
                <a:gd name="connsiteX1" fmla="*/ 433953 w 532109"/>
                <a:gd name="connsiteY1" fmla="*/ 358865 h 5003190"/>
                <a:gd name="connsiteX2" fmla="*/ 310370 w 532109"/>
                <a:gd name="connsiteY2" fmla="*/ 378319 h 5003190"/>
                <a:gd name="connsiteX3" fmla="*/ 231264 w 532109"/>
                <a:gd name="connsiteY3" fmla="*/ 378318 h 5003190"/>
                <a:gd name="connsiteX4" fmla="*/ 166123 w 532109"/>
                <a:gd name="connsiteY4" fmla="*/ 363224 h 5003190"/>
                <a:gd name="connsiteX5" fmla="*/ 108891 w 532109"/>
                <a:gd name="connsiteY5" fmla="*/ 337393 h 5003190"/>
                <a:gd name="connsiteX6" fmla="*/ 36970 w 532109"/>
                <a:gd name="connsiteY6" fmla="*/ 265875 h 5003190"/>
                <a:gd name="connsiteX7" fmla="*/ 20665 w 532109"/>
                <a:gd name="connsiteY7" fmla="*/ 229712 h 5003190"/>
                <a:gd name="connsiteX8" fmla="*/ 0 w 532109"/>
                <a:gd name="connsiteY8" fmla="*/ 172885 h 5003190"/>
                <a:gd name="connsiteX9" fmla="*/ 0 w 532109"/>
                <a:gd name="connsiteY9" fmla="*/ 136723 h 5003190"/>
                <a:gd name="connsiteX10" fmla="*/ 15498 w 532109"/>
                <a:gd name="connsiteY10" fmla="*/ 90228 h 5003190"/>
                <a:gd name="connsiteX11" fmla="*/ 36163 w 532109"/>
                <a:gd name="connsiteY11" fmla="*/ 59231 h 5003190"/>
                <a:gd name="connsiteX12" fmla="*/ 84636 w 532109"/>
                <a:gd name="connsiteY12" fmla="*/ 22705 h 5003190"/>
                <a:gd name="connsiteX13" fmla="*/ 211003 w 532109"/>
                <a:gd name="connsiteY13" fmla="*/ 829 h 5003190"/>
                <a:gd name="connsiteX14" fmla="*/ 311137 w 532109"/>
                <a:gd name="connsiteY14" fmla="*/ 51281 h 5003190"/>
                <a:gd name="connsiteX15" fmla="*/ 361627 w 532109"/>
                <a:gd name="connsiteY15" fmla="*/ 100560 h 5003190"/>
                <a:gd name="connsiteX16" fmla="*/ 382292 w 532109"/>
                <a:gd name="connsiteY16" fmla="*/ 157387 h 5003190"/>
                <a:gd name="connsiteX17" fmla="*/ 402956 w 532109"/>
                <a:gd name="connsiteY17" fmla="*/ 234878 h 5003190"/>
                <a:gd name="connsiteX18" fmla="*/ 423621 w 532109"/>
                <a:gd name="connsiteY18" fmla="*/ 312370 h 5003190"/>
                <a:gd name="connsiteX19" fmla="*/ 423621 w 532109"/>
                <a:gd name="connsiteY19" fmla="*/ 415692 h 5003190"/>
                <a:gd name="connsiteX20" fmla="*/ 87824 w 532109"/>
                <a:gd name="connsiteY20" fmla="*/ 5003190 h 5003190"/>
                <a:gd name="connsiteX0" fmla="*/ 532109 w 532109"/>
                <a:gd name="connsiteY0" fmla="*/ 348533 h 5003190"/>
                <a:gd name="connsiteX1" fmla="*/ 433953 w 532109"/>
                <a:gd name="connsiteY1" fmla="*/ 358865 h 5003190"/>
                <a:gd name="connsiteX2" fmla="*/ 310370 w 532109"/>
                <a:gd name="connsiteY2" fmla="*/ 378319 h 5003190"/>
                <a:gd name="connsiteX3" fmla="*/ 231264 w 532109"/>
                <a:gd name="connsiteY3" fmla="*/ 378318 h 5003190"/>
                <a:gd name="connsiteX4" fmla="*/ 166123 w 532109"/>
                <a:gd name="connsiteY4" fmla="*/ 363224 h 5003190"/>
                <a:gd name="connsiteX5" fmla="*/ 108891 w 532109"/>
                <a:gd name="connsiteY5" fmla="*/ 337393 h 5003190"/>
                <a:gd name="connsiteX6" fmla="*/ 36970 w 532109"/>
                <a:gd name="connsiteY6" fmla="*/ 265875 h 5003190"/>
                <a:gd name="connsiteX7" fmla="*/ 20665 w 532109"/>
                <a:gd name="connsiteY7" fmla="*/ 229712 h 5003190"/>
                <a:gd name="connsiteX8" fmla="*/ 0 w 532109"/>
                <a:gd name="connsiteY8" fmla="*/ 172885 h 5003190"/>
                <a:gd name="connsiteX9" fmla="*/ 0 w 532109"/>
                <a:gd name="connsiteY9" fmla="*/ 136723 h 5003190"/>
                <a:gd name="connsiteX10" fmla="*/ 15498 w 532109"/>
                <a:gd name="connsiteY10" fmla="*/ 90228 h 5003190"/>
                <a:gd name="connsiteX11" fmla="*/ 36163 w 532109"/>
                <a:gd name="connsiteY11" fmla="*/ 59231 h 5003190"/>
                <a:gd name="connsiteX12" fmla="*/ 84636 w 532109"/>
                <a:gd name="connsiteY12" fmla="*/ 22705 h 5003190"/>
                <a:gd name="connsiteX13" fmla="*/ 211003 w 532109"/>
                <a:gd name="connsiteY13" fmla="*/ 829 h 5003190"/>
                <a:gd name="connsiteX14" fmla="*/ 311137 w 532109"/>
                <a:gd name="connsiteY14" fmla="*/ 51281 h 5003190"/>
                <a:gd name="connsiteX15" fmla="*/ 361627 w 532109"/>
                <a:gd name="connsiteY15" fmla="*/ 100560 h 5003190"/>
                <a:gd name="connsiteX16" fmla="*/ 382292 w 532109"/>
                <a:gd name="connsiteY16" fmla="*/ 157387 h 5003190"/>
                <a:gd name="connsiteX17" fmla="*/ 402956 w 532109"/>
                <a:gd name="connsiteY17" fmla="*/ 234878 h 5003190"/>
                <a:gd name="connsiteX18" fmla="*/ 423621 w 532109"/>
                <a:gd name="connsiteY18" fmla="*/ 312370 h 5003190"/>
                <a:gd name="connsiteX19" fmla="*/ 423621 w 532109"/>
                <a:gd name="connsiteY19" fmla="*/ 415692 h 5003190"/>
                <a:gd name="connsiteX20" fmla="*/ 87824 w 532109"/>
                <a:gd name="connsiteY20" fmla="*/ 5003190 h 5003190"/>
                <a:gd name="connsiteX0" fmla="*/ 532109 w 532109"/>
                <a:gd name="connsiteY0" fmla="*/ 348533 h 5003190"/>
                <a:gd name="connsiteX1" fmla="*/ 433953 w 532109"/>
                <a:gd name="connsiteY1" fmla="*/ 358865 h 5003190"/>
                <a:gd name="connsiteX2" fmla="*/ 310370 w 532109"/>
                <a:gd name="connsiteY2" fmla="*/ 378319 h 5003190"/>
                <a:gd name="connsiteX3" fmla="*/ 231264 w 532109"/>
                <a:gd name="connsiteY3" fmla="*/ 378318 h 5003190"/>
                <a:gd name="connsiteX4" fmla="*/ 166123 w 532109"/>
                <a:gd name="connsiteY4" fmla="*/ 363224 h 5003190"/>
                <a:gd name="connsiteX5" fmla="*/ 108891 w 532109"/>
                <a:gd name="connsiteY5" fmla="*/ 337393 h 5003190"/>
                <a:gd name="connsiteX6" fmla="*/ 36970 w 532109"/>
                <a:gd name="connsiteY6" fmla="*/ 265875 h 5003190"/>
                <a:gd name="connsiteX7" fmla="*/ 20665 w 532109"/>
                <a:gd name="connsiteY7" fmla="*/ 229712 h 5003190"/>
                <a:gd name="connsiteX8" fmla="*/ 0 w 532109"/>
                <a:gd name="connsiteY8" fmla="*/ 172885 h 5003190"/>
                <a:gd name="connsiteX9" fmla="*/ 0 w 532109"/>
                <a:gd name="connsiteY9" fmla="*/ 136723 h 5003190"/>
                <a:gd name="connsiteX10" fmla="*/ 15498 w 532109"/>
                <a:gd name="connsiteY10" fmla="*/ 90228 h 5003190"/>
                <a:gd name="connsiteX11" fmla="*/ 36163 w 532109"/>
                <a:gd name="connsiteY11" fmla="*/ 59231 h 5003190"/>
                <a:gd name="connsiteX12" fmla="*/ 84636 w 532109"/>
                <a:gd name="connsiteY12" fmla="*/ 22705 h 5003190"/>
                <a:gd name="connsiteX13" fmla="*/ 211003 w 532109"/>
                <a:gd name="connsiteY13" fmla="*/ 829 h 5003190"/>
                <a:gd name="connsiteX14" fmla="*/ 311137 w 532109"/>
                <a:gd name="connsiteY14" fmla="*/ 51281 h 5003190"/>
                <a:gd name="connsiteX15" fmla="*/ 361627 w 532109"/>
                <a:gd name="connsiteY15" fmla="*/ 100560 h 5003190"/>
                <a:gd name="connsiteX16" fmla="*/ 382292 w 532109"/>
                <a:gd name="connsiteY16" fmla="*/ 157387 h 5003190"/>
                <a:gd name="connsiteX17" fmla="*/ 402956 w 532109"/>
                <a:gd name="connsiteY17" fmla="*/ 234878 h 5003190"/>
                <a:gd name="connsiteX18" fmla="*/ 423621 w 532109"/>
                <a:gd name="connsiteY18" fmla="*/ 312370 h 5003190"/>
                <a:gd name="connsiteX19" fmla="*/ 423621 w 532109"/>
                <a:gd name="connsiteY19" fmla="*/ 415692 h 5003190"/>
                <a:gd name="connsiteX20" fmla="*/ 87824 w 532109"/>
                <a:gd name="connsiteY20" fmla="*/ 5003190 h 5003190"/>
                <a:gd name="connsiteX0" fmla="*/ 532109 w 532109"/>
                <a:gd name="connsiteY0" fmla="*/ 348533 h 5003190"/>
                <a:gd name="connsiteX1" fmla="*/ 433953 w 532109"/>
                <a:gd name="connsiteY1" fmla="*/ 358865 h 5003190"/>
                <a:gd name="connsiteX2" fmla="*/ 310370 w 532109"/>
                <a:gd name="connsiteY2" fmla="*/ 378319 h 5003190"/>
                <a:gd name="connsiteX3" fmla="*/ 231264 w 532109"/>
                <a:gd name="connsiteY3" fmla="*/ 378318 h 5003190"/>
                <a:gd name="connsiteX4" fmla="*/ 166123 w 532109"/>
                <a:gd name="connsiteY4" fmla="*/ 363224 h 5003190"/>
                <a:gd name="connsiteX5" fmla="*/ 108891 w 532109"/>
                <a:gd name="connsiteY5" fmla="*/ 337393 h 5003190"/>
                <a:gd name="connsiteX6" fmla="*/ 36970 w 532109"/>
                <a:gd name="connsiteY6" fmla="*/ 265875 h 5003190"/>
                <a:gd name="connsiteX7" fmla="*/ 20665 w 532109"/>
                <a:gd name="connsiteY7" fmla="*/ 229712 h 5003190"/>
                <a:gd name="connsiteX8" fmla="*/ 0 w 532109"/>
                <a:gd name="connsiteY8" fmla="*/ 172885 h 5003190"/>
                <a:gd name="connsiteX9" fmla="*/ 0 w 532109"/>
                <a:gd name="connsiteY9" fmla="*/ 136723 h 5003190"/>
                <a:gd name="connsiteX10" fmla="*/ 15498 w 532109"/>
                <a:gd name="connsiteY10" fmla="*/ 90228 h 5003190"/>
                <a:gd name="connsiteX11" fmla="*/ 36163 w 532109"/>
                <a:gd name="connsiteY11" fmla="*/ 59231 h 5003190"/>
                <a:gd name="connsiteX12" fmla="*/ 84636 w 532109"/>
                <a:gd name="connsiteY12" fmla="*/ 22705 h 5003190"/>
                <a:gd name="connsiteX13" fmla="*/ 211003 w 532109"/>
                <a:gd name="connsiteY13" fmla="*/ 829 h 5003190"/>
                <a:gd name="connsiteX14" fmla="*/ 311137 w 532109"/>
                <a:gd name="connsiteY14" fmla="*/ 51281 h 5003190"/>
                <a:gd name="connsiteX15" fmla="*/ 361627 w 532109"/>
                <a:gd name="connsiteY15" fmla="*/ 100560 h 5003190"/>
                <a:gd name="connsiteX16" fmla="*/ 382292 w 532109"/>
                <a:gd name="connsiteY16" fmla="*/ 157387 h 5003190"/>
                <a:gd name="connsiteX17" fmla="*/ 402956 w 532109"/>
                <a:gd name="connsiteY17" fmla="*/ 234878 h 5003190"/>
                <a:gd name="connsiteX18" fmla="*/ 423621 w 532109"/>
                <a:gd name="connsiteY18" fmla="*/ 312370 h 5003190"/>
                <a:gd name="connsiteX19" fmla="*/ 423621 w 532109"/>
                <a:gd name="connsiteY19" fmla="*/ 415692 h 5003190"/>
                <a:gd name="connsiteX20" fmla="*/ 87824 w 532109"/>
                <a:gd name="connsiteY20" fmla="*/ 5003190 h 5003190"/>
                <a:gd name="connsiteX0" fmla="*/ 532109 w 532109"/>
                <a:gd name="connsiteY0" fmla="*/ 348533 h 5003190"/>
                <a:gd name="connsiteX1" fmla="*/ 433953 w 532109"/>
                <a:gd name="connsiteY1" fmla="*/ 358865 h 5003190"/>
                <a:gd name="connsiteX2" fmla="*/ 310370 w 532109"/>
                <a:gd name="connsiteY2" fmla="*/ 378319 h 5003190"/>
                <a:gd name="connsiteX3" fmla="*/ 231264 w 532109"/>
                <a:gd name="connsiteY3" fmla="*/ 378318 h 5003190"/>
                <a:gd name="connsiteX4" fmla="*/ 166123 w 532109"/>
                <a:gd name="connsiteY4" fmla="*/ 363224 h 5003190"/>
                <a:gd name="connsiteX5" fmla="*/ 108891 w 532109"/>
                <a:gd name="connsiteY5" fmla="*/ 337393 h 5003190"/>
                <a:gd name="connsiteX6" fmla="*/ 36970 w 532109"/>
                <a:gd name="connsiteY6" fmla="*/ 265875 h 5003190"/>
                <a:gd name="connsiteX7" fmla="*/ 20665 w 532109"/>
                <a:gd name="connsiteY7" fmla="*/ 229712 h 5003190"/>
                <a:gd name="connsiteX8" fmla="*/ 0 w 532109"/>
                <a:gd name="connsiteY8" fmla="*/ 172885 h 5003190"/>
                <a:gd name="connsiteX9" fmla="*/ 0 w 532109"/>
                <a:gd name="connsiteY9" fmla="*/ 136723 h 5003190"/>
                <a:gd name="connsiteX10" fmla="*/ 15498 w 532109"/>
                <a:gd name="connsiteY10" fmla="*/ 90228 h 5003190"/>
                <a:gd name="connsiteX11" fmla="*/ 36163 w 532109"/>
                <a:gd name="connsiteY11" fmla="*/ 59231 h 5003190"/>
                <a:gd name="connsiteX12" fmla="*/ 84636 w 532109"/>
                <a:gd name="connsiteY12" fmla="*/ 22705 h 5003190"/>
                <a:gd name="connsiteX13" fmla="*/ 211003 w 532109"/>
                <a:gd name="connsiteY13" fmla="*/ 829 h 5003190"/>
                <a:gd name="connsiteX14" fmla="*/ 311137 w 532109"/>
                <a:gd name="connsiteY14" fmla="*/ 51281 h 5003190"/>
                <a:gd name="connsiteX15" fmla="*/ 361627 w 532109"/>
                <a:gd name="connsiteY15" fmla="*/ 100560 h 5003190"/>
                <a:gd name="connsiteX16" fmla="*/ 396580 w 532109"/>
                <a:gd name="connsiteY16" fmla="*/ 162150 h 5003190"/>
                <a:gd name="connsiteX17" fmla="*/ 402956 w 532109"/>
                <a:gd name="connsiteY17" fmla="*/ 234878 h 5003190"/>
                <a:gd name="connsiteX18" fmla="*/ 423621 w 532109"/>
                <a:gd name="connsiteY18" fmla="*/ 312370 h 5003190"/>
                <a:gd name="connsiteX19" fmla="*/ 423621 w 532109"/>
                <a:gd name="connsiteY19" fmla="*/ 415692 h 5003190"/>
                <a:gd name="connsiteX20" fmla="*/ 87824 w 532109"/>
                <a:gd name="connsiteY20" fmla="*/ 5003190 h 5003190"/>
                <a:gd name="connsiteX0" fmla="*/ 532109 w 532109"/>
                <a:gd name="connsiteY0" fmla="*/ 348533 h 5003190"/>
                <a:gd name="connsiteX1" fmla="*/ 433953 w 532109"/>
                <a:gd name="connsiteY1" fmla="*/ 358865 h 5003190"/>
                <a:gd name="connsiteX2" fmla="*/ 310370 w 532109"/>
                <a:gd name="connsiteY2" fmla="*/ 378319 h 5003190"/>
                <a:gd name="connsiteX3" fmla="*/ 231264 w 532109"/>
                <a:gd name="connsiteY3" fmla="*/ 378318 h 5003190"/>
                <a:gd name="connsiteX4" fmla="*/ 166123 w 532109"/>
                <a:gd name="connsiteY4" fmla="*/ 363224 h 5003190"/>
                <a:gd name="connsiteX5" fmla="*/ 108891 w 532109"/>
                <a:gd name="connsiteY5" fmla="*/ 337393 h 5003190"/>
                <a:gd name="connsiteX6" fmla="*/ 36970 w 532109"/>
                <a:gd name="connsiteY6" fmla="*/ 265875 h 5003190"/>
                <a:gd name="connsiteX7" fmla="*/ 20665 w 532109"/>
                <a:gd name="connsiteY7" fmla="*/ 229712 h 5003190"/>
                <a:gd name="connsiteX8" fmla="*/ 0 w 532109"/>
                <a:gd name="connsiteY8" fmla="*/ 172885 h 5003190"/>
                <a:gd name="connsiteX9" fmla="*/ 0 w 532109"/>
                <a:gd name="connsiteY9" fmla="*/ 136723 h 5003190"/>
                <a:gd name="connsiteX10" fmla="*/ 15498 w 532109"/>
                <a:gd name="connsiteY10" fmla="*/ 90228 h 5003190"/>
                <a:gd name="connsiteX11" fmla="*/ 36163 w 532109"/>
                <a:gd name="connsiteY11" fmla="*/ 59231 h 5003190"/>
                <a:gd name="connsiteX12" fmla="*/ 84636 w 532109"/>
                <a:gd name="connsiteY12" fmla="*/ 22705 h 5003190"/>
                <a:gd name="connsiteX13" fmla="*/ 211003 w 532109"/>
                <a:gd name="connsiteY13" fmla="*/ 829 h 5003190"/>
                <a:gd name="connsiteX14" fmla="*/ 311137 w 532109"/>
                <a:gd name="connsiteY14" fmla="*/ 51281 h 5003190"/>
                <a:gd name="connsiteX15" fmla="*/ 361627 w 532109"/>
                <a:gd name="connsiteY15" fmla="*/ 100560 h 5003190"/>
                <a:gd name="connsiteX16" fmla="*/ 396580 w 532109"/>
                <a:gd name="connsiteY16" fmla="*/ 162150 h 5003190"/>
                <a:gd name="connsiteX17" fmla="*/ 414862 w 532109"/>
                <a:gd name="connsiteY17" fmla="*/ 234878 h 5003190"/>
                <a:gd name="connsiteX18" fmla="*/ 423621 w 532109"/>
                <a:gd name="connsiteY18" fmla="*/ 312370 h 5003190"/>
                <a:gd name="connsiteX19" fmla="*/ 423621 w 532109"/>
                <a:gd name="connsiteY19" fmla="*/ 415692 h 5003190"/>
                <a:gd name="connsiteX20" fmla="*/ 87824 w 532109"/>
                <a:gd name="connsiteY20" fmla="*/ 5003190 h 5003190"/>
                <a:gd name="connsiteX0" fmla="*/ 534380 w 534380"/>
                <a:gd name="connsiteY0" fmla="*/ 348533 h 5003190"/>
                <a:gd name="connsiteX1" fmla="*/ 436224 w 534380"/>
                <a:gd name="connsiteY1" fmla="*/ 358865 h 5003190"/>
                <a:gd name="connsiteX2" fmla="*/ 312641 w 534380"/>
                <a:gd name="connsiteY2" fmla="*/ 378319 h 5003190"/>
                <a:gd name="connsiteX3" fmla="*/ 233535 w 534380"/>
                <a:gd name="connsiteY3" fmla="*/ 378318 h 5003190"/>
                <a:gd name="connsiteX4" fmla="*/ 168394 w 534380"/>
                <a:gd name="connsiteY4" fmla="*/ 363224 h 5003190"/>
                <a:gd name="connsiteX5" fmla="*/ 111162 w 534380"/>
                <a:gd name="connsiteY5" fmla="*/ 337393 h 5003190"/>
                <a:gd name="connsiteX6" fmla="*/ 39241 w 534380"/>
                <a:gd name="connsiteY6" fmla="*/ 265875 h 5003190"/>
                <a:gd name="connsiteX7" fmla="*/ 22936 w 534380"/>
                <a:gd name="connsiteY7" fmla="*/ 229712 h 5003190"/>
                <a:gd name="connsiteX8" fmla="*/ 2271 w 534380"/>
                <a:gd name="connsiteY8" fmla="*/ 172885 h 5003190"/>
                <a:gd name="connsiteX9" fmla="*/ 2271 w 534380"/>
                <a:gd name="connsiteY9" fmla="*/ 136723 h 5003190"/>
                <a:gd name="connsiteX10" fmla="*/ 17769 w 534380"/>
                <a:gd name="connsiteY10" fmla="*/ 90228 h 5003190"/>
                <a:gd name="connsiteX11" fmla="*/ 38434 w 534380"/>
                <a:gd name="connsiteY11" fmla="*/ 59231 h 5003190"/>
                <a:gd name="connsiteX12" fmla="*/ 86907 w 534380"/>
                <a:gd name="connsiteY12" fmla="*/ 22705 h 5003190"/>
                <a:gd name="connsiteX13" fmla="*/ 213274 w 534380"/>
                <a:gd name="connsiteY13" fmla="*/ 829 h 5003190"/>
                <a:gd name="connsiteX14" fmla="*/ 313408 w 534380"/>
                <a:gd name="connsiteY14" fmla="*/ 51281 h 5003190"/>
                <a:gd name="connsiteX15" fmla="*/ 363898 w 534380"/>
                <a:gd name="connsiteY15" fmla="*/ 100560 h 5003190"/>
                <a:gd name="connsiteX16" fmla="*/ 398851 w 534380"/>
                <a:gd name="connsiteY16" fmla="*/ 162150 h 5003190"/>
                <a:gd name="connsiteX17" fmla="*/ 417133 w 534380"/>
                <a:gd name="connsiteY17" fmla="*/ 234878 h 5003190"/>
                <a:gd name="connsiteX18" fmla="*/ 425892 w 534380"/>
                <a:gd name="connsiteY18" fmla="*/ 312370 h 5003190"/>
                <a:gd name="connsiteX19" fmla="*/ 425892 w 534380"/>
                <a:gd name="connsiteY19" fmla="*/ 415692 h 5003190"/>
                <a:gd name="connsiteX20" fmla="*/ 90095 w 534380"/>
                <a:gd name="connsiteY20" fmla="*/ 5003190 h 5003190"/>
                <a:gd name="connsiteX0" fmla="*/ 534380 w 534380"/>
                <a:gd name="connsiteY0" fmla="*/ 348533 h 5003190"/>
                <a:gd name="connsiteX1" fmla="*/ 436224 w 534380"/>
                <a:gd name="connsiteY1" fmla="*/ 358865 h 5003190"/>
                <a:gd name="connsiteX2" fmla="*/ 312641 w 534380"/>
                <a:gd name="connsiteY2" fmla="*/ 378319 h 5003190"/>
                <a:gd name="connsiteX3" fmla="*/ 233535 w 534380"/>
                <a:gd name="connsiteY3" fmla="*/ 378318 h 5003190"/>
                <a:gd name="connsiteX4" fmla="*/ 168394 w 534380"/>
                <a:gd name="connsiteY4" fmla="*/ 363224 h 5003190"/>
                <a:gd name="connsiteX5" fmla="*/ 111162 w 534380"/>
                <a:gd name="connsiteY5" fmla="*/ 337393 h 5003190"/>
                <a:gd name="connsiteX6" fmla="*/ 39241 w 534380"/>
                <a:gd name="connsiteY6" fmla="*/ 265875 h 5003190"/>
                <a:gd name="connsiteX7" fmla="*/ 22936 w 534380"/>
                <a:gd name="connsiteY7" fmla="*/ 229712 h 5003190"/>
                <a:gd name="connsiteX8" fmla="*/ 2271 w 534380"/>
                <a:gd name="connsiteY8" fmla="*/ 177647 h 5003190"/>
                <a:gd name="connsiteX9" fmla="*/ 2271 w 534380"/>
                <a:gd name="connsiteY9" fmla="*/ 136723 h 5003190"/>
                <a:gd name="connsiteX10" fmla="*/ 17769 w 534380"/>
                <a:gd name="connsiteY10" fmla="*/ 90228 h 5003190"/>
                <a:gd name="connsiteX11" fmla="*/ 38434 w 534380"/>
                <a:gd name="connsiteY11" fmla="*/ 59231 h 5003190"/>
                <a:gd name="connsiteX12" fmla="*/ 86907 w 534380"/>
                <a:gd name="connsiteY12" fmla="*/ 22705 h 5003190"/>
                <a:gd name="connsiteX13" fmla="*/ 213274 w 534380"/>
                <a:gd name="connsiteY13" fmla="*/ 829 h 5003190"/>
                <a:gd name="connsiteX14" fmla="*/ 313408 w 534380"/>
                <a:gd name="connsiteY14" fmla="*/ 51281 h 5003190"/>
                <a:gd name="connsiteX15" fmla="*/ 363898 w 534380"/>
                <a:gd name="connsiteY15" fmla="*/ 100560 h 5003190"/>
                <a:gd name="connsiteX16" fmla="*/ 398851 w 534380"/>
                <a:gd name="connsiteY16" fmla="*/ 162150 h 5003190"/>
                <a:gd name="connsiteX17" fmla="*/ 417133 w 534380"/>
                <a:gd name="connsiteY17" fmla="*/ 234878 h 5003190"/>
                <a:gd name="connsiteX18" fmla="*/ 425892 w 534380"/>
                <a:gd name="connsiteY18" fmla="*/ 312370 h 5003190"/>
                <a:gd name="connsiteX19" fmla="*/ 425892 w 534380"/>
                <a:gd name="connsiteY19" fmla="*/ 415692 h 5003190"/>
                <a:gd name="connsiteX20" fmla="*/ 90095 w 534380"/>
                <a:gd name="connsiteY20" fmla="*/ 5003190 h 5003190"/>
                <a:gd name="connsiteX0" fmla="*/ 534072 w 534072"/>
                <a:gd name="connsiteY0" fmla="*/ 348533 h 5003190"/>
                <a:gd name="connsiteX1" fmla="*/ 435916 w 534072"/>
                <a:gd name="connsiteY1" fmla="*/ 358865 h 5003190"/>
                <a:gd name="connsiteX2" fmla="*/ 312333 w 534072"/>
                <a:gd name="connsiteY2" fmla="*/ 378319 h 5003190"/>
                <a:gd name="connsiteX3" fmla="*/ 233227 w 534072"/>
                <a:gd name="connsiteY3" fmla="*/ 378318 h 5003190"/>
                <a:gd name="connsiteX4" fmla="*/ 168086 w 534072"/>
                <a:gd name="connsiteY4" fmla="*/ 363224 h 5003190"/>
                <a:gd name="connsiteX5" fmla="*/ 110854 w 534072"/>
                <a:gd name="connsiteY5" fmla="*/ 337393 h 5003190"/>
                <a:gd name="connsiteX6" fmla="*/ 38933 w 534072"/>
                <a:gd name="connsiteY6" fmla="*/ 265875 h 5003190"/>
                <a:gd name="connsiteX7" fmla="*/ 17866 w 534072"/>
                <a:gd name="connsiteY7" fmla="*/ 229712 h 5003190"/>
                <a:gd name="connsiteX8" fmla="*/ 1963 w 534072"/>
                <a:gd name="connsiteY8" fmla="*/ 177647 h 5003190"/>
                <a:gd name="connsiteX9" fmla="*/ 1963 w 534072"/>
                <a:gd name="connsiteY9" fmla="*/ 136723 h 5003190"/>
                <a:gd name="connsiteX10" fmla="*/ 17461 w 534072"/>
                <a:gd name="connsiteY10" fmla="*/ 90228 h 5003190"/>
                <a:gd name="connsiteX11" fmla="*/ 38126 w 534072"/>
                <a:gd name="connsiteY11" fmla="*/ 59231 h 5003190"/>
                <a:gd name="connsiteX12" fmla="*/ 86599 w 534072"/>
                <a:gd name="connsiteY12" fmla="*/ 22705 h 5003190"/>
                <a:gd name="connsiteX13" fmla="*/ 212966 w 534072"/>
                <a:gd name="connsiteY13" fmla="*/ 829 h 5003190"/>
                <a:gd name="connsiteX14" fmla="*/ 313100 w 534072"/>
                <a:gd name="connsiteY14" fmla="*/ 51281 h 5003190"/>
                <a:gd name="connsiteX15" fmla="*/ 363590 w 534072"/>
                <a:gd name="connsiteY15" fmla="*/ 100560 h 5003190"/>
                <a:gd name="connsiteX16" fmla="*/ 398543 w 534072"/>
                <a:gd name="connsiteY16" fmla="*/ 162150 h 5003190"/>
                <a:gd name="connsiteX17" fmla="*/ 416825 w 534072"/>
                <a:gd name="connsiteY17" fmla="*/ 234878 h 5003190"/>
                <a:gd name="connsiteX18" fmla="*/ 425584 w 534072"/>
                <a:gd name="connsiteY18" fmla="*/ 312370 h 5003190"/>
                <a:gd name="connsiteX19" fmla="*/ 425584 w 534072"/>
                <a:gd name="connsiteY19" fmla="*/ 415692 h 5003190"/>
                <a:gd name="connsiteX20" fmla="*/ 89787 w 534072"/>
                <a:gd name="connsiteY20" fmla="*/ 5003190 h 5003190"/>
                <a:gd name="connsiteX0" fmla="*/ 534072 w 534072"/>
                <a:gd name="connsiteY0" fmla="*/ 348533 h 5003190"/>
                <a:gd name="connsiteX1" fmla="*/ 435916 w 534072"/>
                <a:gd name="connsiteY1" fmla="*/ 366009 h 5003190"/>
                <a:gd name="connsiteX2" fmla="*/ 312333 w 534072"/>
                <a:gd name="connsiteY2" fmla="*/ 378319 h 5003190"/>
                <a:gd name="connsiteX3" fmla="*/ 233227 w 534072"/>
                <a:gd name="connsiteY3" fmla="*/ 378318 h 5003190"/>
                <a:gd name="connsiteX4" fmla="*/ 168086 w 534072"/>
                <a:gd name="connsiteY4" fmla="*/ 363224 h 5003190"/>
                <a:gd name="connsiteX5" fmla="*/ 110854 w 534072"/>
                <a:gd name="connsiteY5" fmla="*/ 337393 h 5003190"/>
                <a:gd name="connsiteX6" fmla="*/ 38933 w 534072"/>
                <a:gd name="connsiteY6" fmla="*/ 265875 h 5003190"/>
                <a:gd name="connsiteX7" fmla="*/ 17866 w 534072"/>
                <a:gd name="connsiteY7" fmla="*/ 229712 h 5003190"/>
                <a:gd name="connsiteX8" fmla="*/ 1963 w 534072"/>
                <a:gd name="connsiteY8" fmla="*/ 177647 h 5003190"/>
                <a:gd name="connsiteX9" fmla="*/ 1963 w 534072"/>
                <a:gd name="connsiteY9" fmla="*/ 136723 h 5003190"/>
                <a:gd name="connsiteX10" fmla="*/ 17461 w 534072"/>
                <a:gd name="connsiteY10" fmla="*/ 90228 h 5003190"/>
                <a:gd name="connsiteX11" fmla="*/ 38126 w 534072"/>
                <a:gd name="connsiteY11" fmla="*/ 59231 h 5003190"/>
                <a:gd name="connsiteX12" fmla="*/ 86599 w 534072"/>
                <a:gd name="connsiteY12" fmla="*/ 22705 h 5003190"/>
                <a:gd name="connsiteX13" fmla="*/ 212966 w 534072"/>
                <a:gd name="connsiteY13" fmla="*/ 829 h 5003190"/>
                <a:gd name="connsiteX14" fmla="*/ 313100 w 534072"/>
                <a:gd name="connsiteY14" fmla="*/ 51281 h 5003190"/>
                <a:gd name="connsiteX15" fmla="*/ 363590 w 534072"/>
                <a:gd name="connsiteY15" fmla="*/ 100560 h 5003190"/>
                <a:gd name="connsiteX16" fmla="*/ 398543 w 534072"/>
                <a:gd name="connsiteY16" fmla="*/ 162150 h 5003190"/>
                <a:gd name="connsiteX17" fmla="*/ 416825 w 534072"/>
                <a:gd name="connsiteY17" fmla="*/ 234878 h 5003190"/>
                <a:gd name="connsiteX18" fmla="*/ 425584 w 534072"/>
                <a:gd name="connsiteY18" fmla="*/ 312370 h 5003190"/>
                <a:gd name="connsiteX19" fmla="*/ 425584 w 534072"/>
                <a:gd name="connsiteY19" fmla="*/ 415692 h 5003190"/>
                <a:gd name="connsiteX20" fmla="*/ 89787 w 534072"/>
                <a:gd name="connsiteY20" fmla="*/ 5003190 h 5003190"/>
                <a:gd name="connsiteX0" fmla="*/ 534072 w 534072"/>
                <a:gd name="connsiteY0" fmla="*/ 351939 h 5006596"/>
                <a:gd name="connsiteX1" fmla="*/ 435916 w 534072"/>
                <a:gd name="connsiteY1" fmla="*/ 369415 h 5006596"/>
                <a:gd name="connsiteX2" fmla="*/ 312333 w 534072"/>
                <a:gd name="connsiteY2" fmla="*/ 381725 h 5006596"/>
                <a:gd name="connsiteX3" fmla="*/ 233227 w 534072"/>
                <a:gd name="connsiteY3" fmla="*/ 381724 h 5006596"/>
                <a:gd name="connsiteX4" fmla="*/ 168086 w 534072"/>
                <a:gd name="connsiteY4" fmla="*/ 366630 h 5006596"/>
                <a:gd name="connsiteX5" fmla="*/ 110854 w 534072"/>
                <a:gd name="connsiteY5" fmla="*/ 340799 h 5006596"/>
                <a:gd name="connsiteX6" fmla="*/ 38933 w 534072"/>
                <a:gd name="connsiteY6" fmla="*/ 269281 h 5006596"/>
                <a:gd name="connsiteX7" fmla="*/ 17866 w 534072"/>
                <a:gd name="connsiteY7" fmla="*/ 233118 h 5006596"/>
                <a:gd name="connsiteX8" fmla="*/ 1963 w 534072"/>
                <a:gd name="connsiteY8" fmla="*/ 181053 h 5006596"/>
                <a:gd name="connsiteX9" fmla="*/ 1963 w 534072"/>
                <a:gd name="connsiteY9" fmla="*/ 140129 h 5006596"/>
                <a:gd name="connsiteX10" fmla="*/ 17461 w 534072"/>
                <a:gd name="connsiteY10" fmla="*/ 93634 h 5006596"/>
                <a:gd name="connsiteX11" fmla="*/ 38126 w 534072"/>
                <a:gd name="connsiteY11" fmla="*/ 62637 h 5006596"/>
                <a:gd name="connsiteX12" fmla="*/ 110412 w 534072"/>
                <a:gd name="connsiteY12" fmla="*/ 9442 h 5006596"/>
                <a:gd name="connsiteX13" fmla="*/ 212966 w 534072"/>
                <a:gd name="connsiteY13" fmla="*/ 4235 h 5006596"/>
                <a:gd name="connsiteX14" fmla="*/ 313100 w 534072"/>
                <a:gd name="connsiteY14" fmla="*/ 54687 h 5006596"/>
                <a:gd name="connsiteX15" fmla="*/ 363590 w 534072"/>
                <a:gd name="connsiteY15" fmla="*/ 103966 h 5006596"/>
                <a:gd name="connsiteX16" fmla="*/ 398543 w 534072"/>
                <a:gd name="connsiteY16" fmla="*/ 165556 h 5006596"/>
                <a:gd name="connsiteX17" fmla="*/ 416825 w 534072"/>
                <a:gd name="connsiteY17" fmla="*/ 238284 h 5006596"/>
                <a:gd name="connsiteX18" fmla="*/ 425584 w 534072"/>
                <a:gd name="connsiteY18" fmla="*/ 315776 h 5006596"/>
                <a:gd name="connsiteX19" fmla="*/ 425584 w 534072"/>
                <a:gd name="connsiteY19" fmla="*/ 419098 h 5006596"/>
                <a:gd name="connsiteX20" fmla="*/ 89787 w 534072"/>
                <a:gd name="connsiteY20" fmla="*/ 5006596 h 5006596"/>
                <a:gd name="connsiteX0" fmla="*/ 534072 w 534072"/>
                <a:gd name="connsiteY0" fmla="*/ 351939 h 5006596"/>
                <a:gd name="connsiteX1" fmla="*/ 435916 w 534072"/>
                <a:gd name="connsiteY1" fmla="*/ 369415 h 5006596"/>
                <a:gd name="connsiteX2" fmla="*/ 312333 w 534072"/>
                <a:gd name="connsiteY2" fmla="*/ 381725 h 5006596"/>
                <a:gd name="connsiteX3" fmla="*/ 233227 w 534072"/>
                <a:gd name="connsiteY3" fmla="*/ 381724 h 5006596"/>
                <a:gd name="connsiteX4" fmla="*/ 160942 w 534072"/>
                <a:gd name="connsiteY4" fmla="*/ 371392 h 5006596"/>
                <a:gd name="connsiteX5" fmla="*/ 110854 w 534072"/>
                <a:gd name="connsiteY5" fmla="*/ 340799 h 5006596"/>
                <a:gd name="connsiteX6" fmla="*/ 38933 w 534072"/>
                <a:gd name="connsiteY6" fmla="*/ 269281 h 5006596"/>
                <a:gd name="connsiteX7" fmla="*/ 17866 w 534072"/>
                <a:gd name="connsiteY7" fmla="*/ 233118 h 5006596"/>
                <a:gd name="connsiteX8" fmla="*/ 1963 w 534072"/>
                <a:gd name="connsiteY8" fmla="*/ 181053 h 5006596"/>
                <a:gd name="connsiteX9" fmla="*/ 1963 w 534072"/>
                <a:gd name="connsiteY9" fmla="*/ 140129 h 5006596"/>
                <a:gd name="connsiteX10" fmla="*/ 17461 w 534072"/>
                <a:gd name="connsiteY10" fmla="*/ 93634 h 5006596"/>
                <a:gd name="connsiteX11" fmla="*/ 38126 w 534072"/>
                <a:gd name="connsiteY11" fmla="*/ 62637 h 5006596"/>
                <a:gd name="connsiteX12" fmla="*/ 110412 w 534072"/>
                <a:gd name="connsiteY12" fmla="*/ 9442 h 5006596"/>
                <a:gd name="connsiteX13" fmla="*/ 212966 w 534072"/>
                <a:gd name="connsiteY13" fmla="*/ 4235 h 5006596"/>
                <a:gd name="connsiteX14" fmla="*/ 313100 w 534072"/>
                <a:gd name="connsiteY14" fmla="*/ 54687 h 5006596"/>
                <a:gd name="connsiteX15" fmla="*/ 363590 w 534072"/>
                <a:gd name="connsiteY15" fmla="*/ 103966 h 5006596"/>
                <a:gd name="connsiteX16" fmla="*/ 398543 w 534072"/>
                <a:gd name="connsiteY16" fmla="*/ 165556 h 5006596"/>
                <a:gd name="connsiteX17" fmla="*/ 416825 w 534072"/>
                <a:gd name="connsiteY17" fmla="*/ 238284 h 5006596"/>
                <a:gd name="connsiteX18" fmla="*/ 425584 w 534072"/>
                <a:gd name="connsiteY18" fmla="*/ 315776 h 5006596"/>
                <a:gd name="connsiteX19" fmla="*/ 425584 w 534072"/>
                <a:gd name="connsiteY19" fmla="*/ 419098 h 5006596"/>
                <a:gd name="connsiteX20" fmla="*/ 89787 w 534072"/>
                <a:gd name="connsiteY20" fmla="*/ 5006596 h 5006596"/>
                <a:gd name="connsiteX0" fmla="*/ 534072 w 534072"/>
                <a:gd name="connsiteY0" fmla="*/ 351939 h 5006596"/>
                <a:gd name="connsiteX1" fmla="*/ 435916 w 534072"/>
                <a:gd name="connsiteY1" fmla="*/ 369415 h 5006596"/>
                <a:gd name="connsiteX2" fmla="*/ 312333 w 534072"/>
                <a:gd name="connsiteY2" fmla="*/ 381725 h 5006596"/>
                <a:gd name="connsiteX3" fmla="*/ 233227 w 534072"/>
                <a:gd name="connsiteY3" fmla="*/ 381724 h 5006596"/>
                <a:gd name="connsiteX4" fmla="*/ 158561 w 534072"/>
                <a:gd name="connsiteY4" fmla="*/ 366629 h 5006596"/>
                <a:gd name="connsiteX5" fmla="*/ 110854 w 534072"/>
                <a:gd name="connsiteY5" fmla="*/ 340799 h 5006596"/>
                <a:gd name="connsiteX6" fmla="*/ 38933 w 534072"/>
                <a:gd name="connsiteY6" fmla="*/ 269281 h 5006596"/>
                <a:gd name="connsiteX7" fmla="*/ 17866 w 534072"/>
                <a:gd name="connsiteY7" fmla="*/ 233118 h 5006596"/>
                <a:gd name="connsiteX8" fmla="*/ 1963 w 534072"/>
                <a:gd name="connsiteY8" fmla="*/ 181053 h 5006596"/>
                <a:gd name="connsiteX9" fmla="*/ 1963 w 534072"/>
                <a:gd name="connsiteY9" fmla="*/ 140129 h 5006596"/>
                <a:gd name="connsiteX10" fmla="*/ 17461 w 534072"/>
                <a:gd name="connsiteY10" fmla="*/ 93634 h 5006596"/>
                <a:gd name="connsiteX11" fmla="*/ 38126 w 534072"/>
                <a:gd name="connsiteY11" fmla="*/ 62637 h 5006596"/>
                <a:gd name="connsiteX12" fmla="*/ 110412 w 534072"/>
                <a:gd name="connsiteY12" fmla="*/ 9442 h 5006596"/>
                <a:gd name="connsiteX13" fmla="*/ 212966 w 534072"/>
                <a:gd name="connsiteY13" fmla="*/ 4235 h 5006596"/>
                <a:gd name="connsiteX14" fmla="*/ 313100 w 534072"/>
                <a:gd name="connsiteY14" fmla="*/ 54687 h 5006596"/>
                <a:gd name="connsiteX15" fmla="*/ 363590 w 534072"/>
                <a:gd name="connsiteY15" fmla="*/ 103966 h 5006596"/>
                <a:gd name="connsiteX16" fmla="*/ 398543 w 534072"/>
                <a:gd name="connsiteY16" fmla="*/ 165556 h 5006596"/>
                <a:gd name="connsiteX17" fmla="*/ 416825 w 534072"/>
                <a:gd name="connsiteY17" fmla="*/ 238284 h 5006596"/>
                <a:gd name="connsiteX18" fmla="*/ 425584 w 534072"/>
                <a:gd name="connsiteY18" fmla="*/ 315776 h 5006596"/>
                <a:gd name="connsiteX19" fmla="*/ 425584 w 534072"/>
                <a:gd name="connsiteY19" fmla="*/ 419098 h 5006596"/>
                <a:gd name="connsiteX20" fmla="*/ 89787 w 534072"/>
                <a:gd name="connsiteY20" fmla="*/ 5006596 h 5006596"/>
                <a:gd name="connsiteX0" fmla="*/ 534072 w 534072"/>
                <a:gd name="connsiteY0" fmla="*/ 351939 h 5006596"/>
                <a:gd name="connsiteX1" fmla="*/ 435916 w 534072"/>
                <a:gd name="connsiteY1" fmla="*/ 369415 h 5006596"/>
                <a:gd name="connsiteX2" fmla="*/ 312333 w 534072"/>
                <a:gd name="connsiteY2" fmla="*/ 381725 h 5006596"/>
                <a:gd name="connsiteX3" fmla="*/ 233227 w 534072"/>
                <a:gd name="connsiteY3" fmla="*/ 381724 h 5006596"/>
                <a:gd name="connsiteX4" fmla="*/ 158561 w 534072"/>
                <a:gd name="connsiteY4" fmla="*/ 366629 h 5006596"/>
                <a:gd name="connsiteX5" fmla="*/ 103710 w 534072"/>
                <a:gd name="connsiteY5" fmla="*/ 336037 h 5006596"/>
                <a:gd name="connsiteX6" fmla="*/ 38933 w 534072"/>
                <a:gd name="connsiteY6" fmla="*/ 269281 h 5006596"/>
                <a:gd name="connsiteX7" fmla="*/ 17866 w 534072"/>
                <a:gd name="connsiteY7" fmla="*/ 233118 h 5006596"/>
                <a:gd name="connsiteX8" fmla="*/ 1963 w 534072"/>
                <a:gd name="connsiteY8" fmla="*/ 181053 h 5006596"/>
                <a:gd name="connsiteX9" fmla="*/ 1963 w 534072"/>
                <a:gd name="connsiteY9" fmla="*/ 140129 h 5006596"/>
                <a:gd name="connsiteX10" fmla="*/ 17461 w 534072"/>
                <a:gd name="connsiteY10" fmla="*/ 93634 h 5006596"/>
                <a:gd name="connsiteX11" fmla="*/ 38126 w 534072"/>
                <a:gd name="connsiteY11" fmla="*/ 62637 h 5006596"/>
                <a:gd name="connsiteX12" fmla="*/ 110412 w 534072"/>
                <a:gd name="connsiteY12" fmla="*/ 9442 h 5006596"/>
                <a:gd name="connsiteX13" fmla="*/ 212966 w 534072"/>
                <a:gd name="connsiteY13" fmla="*/ 4235 h 5006596"/>
                <a:gd name="connsiteX14" fmla="*/ 313100 w 534072"/>
                <a:gd name="connsiteY14" fmla="*/ 54687 h 5006596"/>
                <a:gd name="connsiteX15" fmla="*/ 363590 w 534072"/>
                <a:gd name="connsiteY15" fmla="*/ 103966 h 5006596"/>
                <a:gd name="connsiteX16" fmla="*/ 398543 w 534072"/>
                <a:gd name="connsiteY16" fmla="*/ 165556 h 5006596"/>
                <a:gd name="connsiteX17" fmla="*/ 416825 w 534072"/>
                <a:gd name="connsiteY17" fmla="*/ 238284 h 5006596"/>
                <a:gd name="connsiteX18" fmla="*/ 425584 w 534072"/>
                <a:gd name="connsiteY18" fmla="*/ 315776 h 5006596"/>
                <a:gd name="connsiteX19" fmla="*/ 425584 w 534072"/>
                <a:gd name="connsiteY19" fmla="*/ 419098 h 5006596"/>
                <a:gd name="connsiteX20" fmla="*/ 89787 w 534072"/>
                <a:gd name="connsiteY20" fmla="*/ 5006596 h 5006596"/>
                <a:gd name="connsiteX0" fmla="*/ 534072 w 534072"/>
                <a:gd name="connsiteY0" fmla="*/ 351939 h 5006596"/>
                <a:gd name="connsiteX1" fmla="*/ 435916 w 534072"/>
                <a:gd name="connsiteY1" fmla="*/ 369415 h 5006596"/>
                <a:gd name="connsiteX2" fmla="*/ 312333 w 534072"/>
                <a:gd name="connsiteY2" fmla="*/ 381725 h 5006596"/>
                <a:gd name="connsiteX3" fmla="*/ 233227 w 534072"/>
                <a:gd name="connsiteY3" fmla="*/ 381724 h 5006596"/>
                <a:gd name="connsiteX4" fmla="*/ 158561 w 534072"/>
                <a:gd name="connsiteY4" fmla="*/ 366629 h 5006596"/>
                <a:gd name="connsiteX5" fmla="*/ 101329 w 534072"/>
                <a:gd name="connsiteY5" fmla="*/ 336037 h 5006596"/>
                <a:gd name="connsiteX6" fmla="*/ 38933 w 534072"/>
                <a:gd name="connsiteY6" fmla="*/ 269281 h 5006596"/>
                <a:gd name="connsiteX7" fmla="*/ 17866 w 534072"/>
                <a:gd name="connsiteY7" fmla="*/ 233118 h 5006596"/>
                <a:gd name="connsiteX8" fmla="*/ 1963 w 534072"/>
                <a:gd name="connsiteY8" fmla="*/ 181053 h 5006596"/>
                <a:gd name="connsiteX9" fmla="*/ 1963 w 534072"/>
                <a:gd name="connsiteY9" fmla="*/ 140129 h 5006596"/>
                <a:gd name="connsiteX10" fmla="*/ 17461 w 534072"/>
                <a:gd name="connsiteY10" fmla="*/ 93634 h 5006596"/>
                <a:gd name="connsiteX11" fmla="*/ 38126 w 534072"/>
                <a:gd name="connsiteY11" fmla="*/ 62637 h 5006596"/>
                <a:gd name="connsiteX12" fmla="*/ 110412 w 534072"/>
                <a:gd name="connsiteY12" fmla="*/ 9442 h 5006596"/>
                <a:gd name="connsiteX13" fmla="*/ 212966 w 534072"/>
                <a:gd name="connsiteY13" fmla="*/ 4235 h 5006596"/>
                <a:gd name="connsiteX14" fmla="*/ 313100 w 534072"/>
                <a:gd name="connsiteY14" fmla="*/ 54687 h 5006596"/>
                <a:gd name="connsiteX15" fmla="*/ 363590 w 534072"/>
                <a:gd name="connsiteY15" fmla="*/ 103966 h 5006596"/>
                <a:gd name="connsiteX16" fmla="*/ 398543 w 534072"/>
                <a:gd name="connsiteY16" fmla="*/ 165556 h 5006596"/>
                <a:gd name="connsiteX17" fmla="*/ 416825 w 534072"/>
                <a:gd name="connsiteY17" fmla="*/ 238284 h 5006596"/>
                <a:gd name="connsiteX18" fmla="*/ 425584 w 534072"/>
                <a:gd name="connsiteY18" fmla="*/ 315776 h 5006596"/>
                <a:gd name="connsiteX19" fmla="*/ 425584 w 534072"/>
                <a:gd name="connsiteY19" fmla="*/ 419098 h 5006596"/>
                <a:gd name="connsiteX20" fmla="*/ 89787 w 534072"/>
                <a:gd name="connsiteY20" fmla="*/ 5006596 h 5006596"/>
                <a:gd name="connsiteX0" fmla="*/ 534072 w 534072"/>
                <a:gd name="connsiteY0" fmla="*/ 351165 h 5005822"/>
                <a:gd name="connsiteX1" fmla="*/ 435916 w 534072"/>
                <a:gd name="connsiteY1" fmla="*/ 368641 h 5005822"/>
                <a:gd name="connsiteX2" fmla="*/ 312333 w 534072"/>
                <a:gd name="connsiteY2" fmla="*/ 380951 h 5005822"/>
                <a:gd name="connsiteX3" fmla="*/ 233227 w 534072"/>
                <a:gd name="connsiteY3" fmla="*/ 380950 h 5005822"/>
                <a:gd name="connsiteX4" fmla="*/ 158561 w 534072"/>
                <a:gd name="connsiteY4" fmla="*/ 365855 h 5005822"/>
                <a:gd name="connsiteX5" fmla="*/ 101329 w 534072"/>
                <a:gd name="connsiteY5" fmla="*/ 335263 h 5005822"/>
                <a:gd name="connsiteX6" fmla="*/ 38933 w 534072"/>
                <a:gd name="connsiteY6" fmla="*/ 268507 h 5005822"/>
                <a:gd name="connsiteX7" fmla="*/ 17866 w 534072"/>
                <a:gd name="connsiteY7" fmla="*/ 232344 h 5005822"/>
                <a:gd name="connsiteX8" fmla="*/ 1963 w 534072"/>
                <a:gd name="connsiteY8" fmla="*/ 180279 h 5005822"/>
                <a:gd name="connsiteX9" fmla="*/ 1963 w 534072"/>
                <a:gd name="connsiteY9" fmla="*/ 139355 h 5005822"/>
                <a:gd name="connsiteX10" fmla="*/ 17461 w 534072"/>
                <a:gd name="connsiteY10" fmla="*/ 92860 h 5005822"/>
                <a:gd name="connsiteX11" fmla="*/ 47651 w 534072"/>
                <a:gd name="connsiteY11" fmla="*/ 42813 h 5005822"/>
                <a:gd name="connsiteX12" fmla="*/ 110412 w 534072"/>
                <a:gd name="connsiteY12" fmla="*/ 8668 h 5005822"/>
                <a:gd name="connsiteX13" fmla="*/ 212966 w 534072"/>
                <a:gd name="connsiteY13" fmla="*/ 3461 h 5005822"/>
                <a:gd name="connsiteX14" fmla="*/ 313100 w 534072"/>
                <a:gd name="connsiteY14" fmla="*/ 53913 h 5005822"/>
                <a:gd name="connsiteX15" fmla="*/ 363590 w 534072"/>
                <a:gd name="connsiteY15" fmla="*/ 103192 h 5005822"/>
                <a:gd name="connsiteX16" fmla="*/ 398543 w 534072"/>
                <a:gd name="connsiteY16" fmla="*/ 164782 h 5005822"/>
                <a:gd name="connsiteX17" fmla="*/ 416825 w 534072"/>
                <a:gd name="connsiteY17" fmla="*/ 237510 h 5005822"/>
                <a:gd name="connsiteX18" fmla="*/ 425584 w 534072"/>
                <a:gd name="connsiteY18" fmla="*/ 315002 h 5005822"/>
                <a:gd name="connsiteX19" fmla="*/ 425584 w 534072"/>
                <a:gd name="connsiteY19" fmla="*/ 418324 h 5005822"/>
                <a:gd name="connsiteX20" fmla="*/ 89787 w 534072"/>
                <a:gd name="connsiteY20" fmla="*/ 5005822 h 5005822"/>
                <a:gd name="connsiteX0" fmla="*/ 534072 w 534072"/>
                <a:gd name="connsiteY0" fmla="*/ 351165 h 5005822"/>
                <a:gd name="connsiteX1" fmla="*/ 435916 w 534072"/>
                <a:gd name="connsiteY1" fmla="*/ 368641 h 5005822"/>
                <a:gd name="connsiteX2" fmla="*/ 312333 w 534072"/>
                <a:gd name="connsiteY2" fmla="*/ 380951 h 5005822"/>
                <a:gd name="connsiteX3" fmla="*/ 233227 w 534072"/>
                <a:gd name="connsiteY3" fmla="*/ 380950 h 5005822"/>
                <a:gd name="connsiteX4" fmla="*/ 158561 w 534072"/>
                <a:gd name="connsiteY4" fmla="*/ 365855 h 5005822"/>
                <a:gd name="connsiteX5" fmla="*/ 101329 w 534072"/>
                <a:gd name="connsiteY5" fmla="*/ 335263 h 5005822"/>
                <a:gd name="connsiteX6" fmla="*/ 38933 w 534072"/>
                <a:gd name="connsiteY6" fmla="*/ 268507 h 5005822"/>
                <a:gd name="connsiteX7" fmla="*/ 17866 w 534072"/>
                <a:gd name="connsiteY7" fmla="*/ 232344 h 5005822"/>
                <a:gd name="connsiteX8" fmla="*/ 1963 w 534072"/>
                <a:gd name="connsiteY8" fmla="*/ 180279 h 5005822"/>
                <a:gd name="connsiteX9" fmla="*/ 1963 w 534072"/>
                <a:gd name="connsiteY9" fmla="*/ 139355 h 5005822"/>
                <a:gd name="connsiteX10" fmla="*/ 17461 w 534072"/>
                <a:gd name="connsiteY10" fmla="*/ 92860 h 5005822"/>
                <a:gd name="connsiteX11" fmla="*/ 47651 w 534072"/>
                <a:gd name="connsiteY11" fmla="*/ 42813 h 5005822"/>
                <a:gd name="connsiteX12" fmla="*/ 110412 w 534072"/>
                <a:gd name="connsiteY12" fmla="*/ 8668 h 5005822"/>
                <a:gd name="connsiteX13" fmla="*/ 212966 w 534072"/>
                <a:gd name="connsiteY13" fmla="*/ 3461 h 5005822"/>
                <a:gd name="connsiteX14" fmla="*/ 313100 w 534072"/>
                <a:gd name="connsiteY14" fmla="*/ 53913 h 5005822"/>
                <a:gd name="connsiteX15" fmla="*/ 363590 w 534072"/>
                <a:gd name="connsiteY15" fmla="*/ 103192 h 5005822"/>
                <a:gd name="connsiteX16" fmla="*/ 398543 w 534072"/>
                <a:gd name="connsiteY16" fmla="*/ 164782 h 5005822"/>
                <a:gd name="connsiteX17" fmla="*/ 416825 w 534072"/>
                <a:gd name="connsiteY17" fmla="*/ 237510 h 5005822"/>
                <a:gd name="connsiteX18" fmla="*/ 425584 w 534072"/>
                <a:gd name="connsiteY18" fmla="*/ 315002 h 5005822"/>
                <a:gd name="connsiteX19" fmla="*/ 425584 w 534072"/>
                <a:gd name="connsiteY19" fmla="*/ 418324 h 5005822"/>
                <a:gd name="connsiteX20" fmla="*/ 89787 w 534072"/>
                <a:gd name="connsiteY20" fmla="*/ 5005822 h 5005822"/>
                <a:gd name="connsiteX0" fmla="*/ 534072 w 534072"/>
                <a:gd name="connsiteY0" fmla="*/ 351165 h 5005822"/>
                <a:gd name="connsiteX1" fmla="*/ 435916 w 534072"/>
                <a:gd name="connsiteY1" fmla="*/ 368641 h 5005822"/>
                <a:gd name="connsiteX2" fmla="*/ 312333 w 534072"/>
                <a:gd name="connsiteY2" fmla="*/ 380951 h 5005822"/>
                <a:gd name="connsiteX3" fmla="*/ 233227 w 534072"/>
                <a:gd name="connsiteY3" fmla="*/ 380950 h 5005822"/>
                <a:gd name="connsiteX4" fmla="*/ 158561 w 534072"/>
                <a:gd name="connsiteY4" fmla="*/ 365855 h 5005822"/>
                <a:gd name="connsiteX5" fmla="*/ 101329 w 534072"/>
                <a:gd name="connsiteY5" fmla="*/ 335263 h 5005822"/>
                <a:gd name="connsiteX6" fmla="*/ 38933 w 534072"/>
                <a:gd name="connsiteY6" fmla="*/ 268507 h 5005822"/>
                <a:gd name="connsiteX7" fmla="*/ 17866 w 534072"/>
                <a:gd name="connsiteY7" fmla="*/ 232344 h 5005822"/>
                <a:gd name="connsiteX8" fmla="*/ 1963 w 534072"/>
                <a:gd name="connsiteY8" fmla="*/ 180279 h 5005822"/>
                <a:gd name="connsiteX9" fmla="*/ 1963 w 534072"/>
                <a:gd name="connsiteY9" fmla="*/ 139355 h 5005822"/>
                <a:gd name="connsiteX10" fmla="*/ 17461 w 534072"/>
                <a:gd name="connsiteY10" fmla="*/ 92860 h 5005822"/>
                <a:gd name="connsiteX11" fmla="*/ 47651 w 534072"/>
                <a:gd name="connsiteY11" fmla="*/ 42813 h 5005822"/>
                <a:gd name="connsiteX12" fmla="*/ 110412 w 534072"/>
                <a:gd name="connsiteY12" fmla="*/ 8668 h 5005822"/>
                <a:gd name="connsiteX13" fmla="*/ 212966 w 534072"/>
                <a:gd name="connsiteY13" fmla="*/ 3461 h 5005822"/>
                <a:gd name="connsiteX14" fmla="*/ 313100 w 534072"/>
                <a:gd name="connsiteY14" fmla="*/ 53913 h 5005822"/>
                <a:gd name="connsiteX15" fmla="*/ 363590 w 534072"/>
                <a:gd name="connsiteY15" fmla="*/ 103192 h 5005822"/>
                <a:gd name="connsiteX16" fmla="*/ 398543 w 534072"/>
                <a:gd name="connsiteY16" fmla="*/ 164782 h 5005822"/>
                <a:gd name="connsiteX17" fmla="*/ 416825 w 534072"/>
                <a:gd name="connsiteY17" fmla="*/ 237510 h 5005822"/>
                <a:gd name="connsiteX18" fmla="*/ 425584 w 534072"/>
                <a:gd name="connsiteY18" fmla="*/ 315002 h 5005822"/>
                <a:gd name="connsiteX19" fmla="*/ 425584 w 534072"/>
                <a:gd name="connsiteY19" fmla="*/ 418324 h 5005822"/>
                <a:gd name="connsiteX20" fmla="*/ 89787 w 534072"/>
                <a:gd name="connsiteY20" fmla="*/ 5005822 h 5005822"/>
                <a:gd name="connsiteX0" fmla="*/ 535112 w 535112"/>
                <a:gd name="connsiteY0" fmla="*/ 351165 h 5005822"/>
                <a:gd name="connsiteX1" fmla="*/ 436956 w 535112"/>
                <a:gd name="connsiteY1" fmla="*/ 368641 h 5005822"/>
                <a:gd name="connsiteX2" fmla="*/ 313373 w 535112"/>
                <a:gd name="connsiteY2" fmla="*/ 380951 h 5005822"/>
                <a:gd name="connsiteX3" fmla="*/ 234267 w 535112"/>
                <a:gd name="connsiteY3" fmla="*/ 380950 h 5005822"/>
                <a:gd name="connsiteX4" fmla="*/ 159601 w 535112"/>
                <a:gd name="connsiteY4" fmla="*/ 365855 h 5005822"/>
                <a:gd name="connsiteX5" fmla="*/ 102369 w 535112"/>
                <a:gd name="connsiteY5" fmla="*/ 335263 h 5005822"/>
                <a:gd name="connsiteX6" fmla="*/ 39973 w 535112"/>
                <a:gd name="connsiteY6" fmla="*/ 268507 h 5005822"/>
                <a:gd name="connsiteX7" fmla="*/ 18906 w 535112"/>
                <a:gd name="connsiteY7" fmla="*/ 232344 h 5005822"/>
                <a:gd name="connsiteX8" fmla="*/ 3003 w 535112"/>
                <a:gd name="connsiteY8" fmla="*/ 180279 h 5005822"/>
                <a:gd name="connsiteX9" fmla="*/ 3003 w 535112"/>
                <a:gd name="connsiteY9" fmla="*/ 139355 h 5005822"/>
                <a:gd name="connsiteX10" fmla="*/ 18501 w 535112"/>
                <a:gd name="connsiteY10" fmla="*/ 92860 h 5005822"/>
                <a:gd name="connsiteX11" fmla="*/ 48691 w 535112"/>
                <a:gd name="connsiteY11" fmla="*/ 42813 h 5005822"/>
                <a:gd name="connsiteX12" fmla="*/ 111452 w 535112"/>
                <a:gd name="connsiteY12" fmla="*/ 8668 h 5005822"/>
                <a:gd name="connsiteX13" fmla="*/ 214006 w 535112"/>
                <a:gd name="connsiteY13" fmla="*/ 3461 h 5005822"/>
                <a:gd name="connsiteX14" fmla="*/ 314140 w 535112"/>
                <a:gd name="connsiteY14" fmla="*/ 53913 h 5005822"/>
                <a:gd name="connsiteX15" fmla="*/ 364630 w 535112"/>
                <a:gd name="connsiteY15" fmla="*/ 103192 h 5005822"/>
                <a:gd name="connsiteX16" fmla="*/ 399583 w 535112"/>
                <a:gd name="connsiteY16" fmla="*/ 164782 h 5005822"/>
                <a:gd name="connsiteX17" fmla="*/ 417865 w 535112"/>
                <a:gd name="connsiteY17" fmla="*/ 237510 h 5005822"/>
                <a:gd name="connsiteX18" fmla="*/ 426624 w 535112"/>
                <a:gd name="connsiteY18" fmla="*/ 315002 h 5005822"/>
                <a:gd name="connsiteX19" fmla="*/ 426624 w 535112"/>
                <a:gd name="connsiteY19" fmla="*/ 418324 h 5005822"/>
                <a:gd name="connsiteX20" fmla="*/ 90827 w 535112"/>
                <a:gd name="connsiteY20" fmla="*/ 5005822 h 5005822"/>
                <a:gd name="connsiteX0" fmla="*/ 535112 w 535112"/>
                <a:gd name="connsiteY0" fmla="*/ 351165 h 5005822"/>
                <a:gd name="connsiteX1" fmla="*/ 436956 w 535112"/>
                <a:gd name="connsiteY1" fmla="*/ 368641 h 5005822"/>
                <a:gd name="connsiteX2" fmla="*/ 313373 w 535112"/>
                <a:gd name="connsiteY2" fmla="*/ 380951 h 5005822"/>
                <a:gd name="connsiteX3" fmla="*/ 234267 w 535112"/>
                <a:gd name="connsiteY3" fmla="*/ 380950 h 5005822"/>
                <a:gd name="connsiteX4" fmla="*/ 159601 w 535112"/>
                <a:gd name="connsiteY4" fmla="*/ 365855 h 5005822"/>
                <a:gd name="connsiteX5" fmla="*/ 102369 w 535112"/>
                <a:gd name="connsiteY5" fmla="*/ 335263 h 5005822"/>
                <a:gd name="connsiteX6" fmla="*/ 39973 w 535112"/>
                <a:gd name="connsiteY6" fmla="*/ 268507 h 5005822"/>
                <a:gd name="connsiteX7" fmla="*/ 18906 w 535112"/>
                <a:gd name="connsiteY7" fmla="*/ 232344 h 5005822"/>
                <a:gd name="connsiteX8" fmla="*/ 3003 w 535112"/>
                <a:gd name="connsiteY8" fmla="*/ 180279 h 5005822"/>
                <a:gd name="connsiteX9" fmla="*/ 3003 w 535112"/>
                <a:gd name="connsiteY9" fmla="*/ 139355 h 5005822"/>
                <a:gd name="connsiteX10" fmla="*/ 18501 w 535112"/>
                <a:gd name="connsiteY10" fmla="*/ 92860 h 5005822"/>
                <a:gd name="connsiteX11" fmla="*/ 48691 w 535112"/>
                <a:gd name="connsiteY11" fmla="*/ 42813 h 5005822"/>
                <a:gd name="connsiteX12" fmla="*/ 111452 w 535112"/>
                <a:gd name="connsiteY12" fmla="*/ 8668 h 5005822"/>
                <a:gd name="connsiteX13" fmla="*/ 214006 w 535112"/>
                <a:gd name="connsiteY13" fmla="*/ 3461 h 5005822"/>
                <a:gd name="connsiteX14" fmla="*/ 314140 w 535112"/>
                <a:gd name="connsiteY14" fmla="*/ 53913 h 5005822"/>
                <a:gd name="connsiteX15" fmla="*/ 364630 w 535112"/>
                <a:gd name="connsiteY15" fmla="*/ 103192 h 5005822"/>
                <a:gd name="connsiteX16" fmla="*/ 399583 w 535112"/>
                <a:gd name="connsiteY16" fmla="*/ 164782 h 5005822"/>
                <a:gd name="connsiteX17" fmla="*/ 417865 w 535112"/>
                <a:gd name="connsiteY17" fmla="*/ 237510 h 5005822"/>
                <a:gd name="connsiteX18" fmla="*/ 426624 w 535112"/>
                <a:gd name="connsiteY18" fmla="*/ 315002 h 5005822"/>
                <a:gd name="connsiteX19" fmla="*/ 426624 w 535112"/>
                <a:gd name="connsiteY19" fmla="*/ 418324 h 5005822"/>
                <a:gd name="connsiteX20" fmla="*/ 90827 w 535112"/>
                <a:gd name="connsiteY20" fmla="*/ 5005822 h 5005822"/>
                <a:gd name="connsiteX0" fmla="*/ 535112 w 535112"/>
                <a:gd name="connsiteY0" fmla="*/ 351165 h 5005822"/>
                <a:gd name="connsiteX1" fmla="*/ 436956 w 535112"/>
                <a:gd name="connsiteY1" fmla="*/ 368641 h 5005822"/>
                <a:gd name="connsiteX2" fmla="*/ 313373 w 535112"/>
                <a:gd name="connsiteY2" fmla="*/ 380951 h 5005822"/>
                <a:gd name="connsiteX3" fmla="*/ 234267 w 535112"/>
                <a:gd name="connsiteY3" fmla="*/ 380950 h 5005822"/>
                <a:gd name="connsiteX4" fmla="*/ 159601 w 535112"/>
                <a:gd name="connsiteY4" fmla="*/ 365855 h 5005822"/>
                <a:gd name="connsiteX5" fmla="*/ 102369 w 535112"/>
                <a:gd name="connsiteY5" fmla="*/ 335263 h 5005822"/>
                <a:gd name="connsiteX6" fmla="*/ 39973 w 535112"/>
                <a:gd name="connsiteY6" fmla="*/ 268507 h 5005822"/>
                <a:gd name="connsiteX7" fmla="*/ 18906 w 535112"/>
                <a:gd name="connsiteY7" fmla="*/ 232344 h 5005822"/>
                <a:gd name="connsiteX8" fmla="*/ 3003 w 535112"/>
                <a:gd name="connsiteY8" fmla="*/ 180279 h 5005822"/>
                <a:gd name="connsiteX9" fmla="*/ 3003 w 535112"/>
                <a:gd name="connsiteY9" fmla="*/ 139355 h 5005822"/>
                <a:gd name="connsiteX10" fmla="*/ 18501 w 535112"/>
                <a:gd name="connsiteY10" fmla="*/ 92860 h 5005822"/>
                <a:gd name="connsiteX11" fmla="*/ 48691 w 535112"/>
                <a:gd name="connsiteY11" fmla="*/ 42813 h 5005822"/>
                <a:gd name="connsiteX12" fmla="*/ 111452 w 535112"/>
                <a:gd name="connsiteY12" fmla="*/ 8668 h 5005822"/>
                <a:gd name="connsiteX13" fmla="*/ 214006 w 535112"/>
                <a:gd name="connsiteY13" fmla="*/ 3461 h 5005822"/>
                <a:gd name="connsiteX14" fmla="*/ 314140 w 535112"/>
                <a:gd name="connsiteY14" fmla="*/ 53913 h 5005822"/>
                <a:gd name="connsiteX15" fmla="*/ 364630 w 535112"/>
                <a:gd name="connsiteY15" fmla="*/ 103192 h 5005822"/>
                <a:gd name="connsiteX16" fmla="*/ 399583 w 535112"/>
                <a:gd name="connsiteY16" fmla="*/ 164782 h 5005822"/>
                <a:gd name="connsiteX17" fmla="*/ 417865 w 535112"/>
                <a:gd name="connsiteY17" fmla="*/ 237510 h 5005822"/>
                <a:gd name="connsiteX18" fmla="*/ 426624 w 535112"/>
                <a:gd name="connsiteY18" fmla="*/ 315002 h 5005822"/>
                <a:gd name="connsiteX19" fmla="*/ 426624 w 535112"/>
                <a:gd name="connsiteY19" fmla="*/ 418324 h 5005822"/>
                <a:gd name="connsiteX20" fmla="*/ 90827 w 535112"/>
                <a:gd name="connsiteY20" fmla="*/ 5005822 h 5005822"/>
                <a:gd name="connsiteX0" fmla="*/ 533790 w 533790"/>
                <a:gd name="connsiteY0" fmla="*/ 351165 h 5005822"/>
                <a:gd name="connsiteX1" fmla="*/ 435634 w 533790"/>
                <a:gd name="connsiteY1" fmla="*/ 368641 h 5005822"/>
                <a:gd name="connsiteX2" fmla="*/ 312051 w 533790"/>
                <a:gd name="connsiteY2" fmla="*/ 380951 h 5005822"/>
                <a:gd name="connsiteX3" fmla="*/ 232945 w 533790"/>
                <a:gd name="connsiteY3" fmla="*/ 380950 h 5005822"/>
                <a:gd name="connsiteX4" fmla="*/ 158279 w 533790"/>
                <a:gd name="connsiteY4" fmla="*/ 365855 h 5005822"/>
                <a:gd name="connsiteX5" fmla="*/ 101047 w 533790"/>
                <a:gd name="connsiteY5" fmla="*/ 335263 h 5005822"/>
                <a:gd name="connsiteX6" fmla="*/ 38651 w 533790"/>
                <a:gd name="connsiteY6" fmla="*/ 268507 h 5005822"/>
                <a:gd name="connsiteX7" fmla="*/ 17584 w 533790"/>
                <a:gd name="connsiteY7" fmla="*/ 232344 h 5005822"/>
                <a:gd name="connsiteX8" fmla="*/ 1681 w 533790"/>
                <a:gd name="connsiteY8" fmla="*/ 180279 h 5005822"/>
                <a:gd name="connsiteX9" fmla="*/ 1681 w 533790"/>
                <a:gd name="connsiteY9" fmla="*/ 139355 h 5005822"/>
                <a:gd name="connsiteX10" fmla="*/ 12416 w 533790"/>
                <a:gd name="connsiteY10" fmla="*/ 92860 h 5005822"/>
                <a:gd name="connsiteX11" fmla="*/ 47369 w 533790"/>
                <a:gd name="connsiteY11" fmla="*/ 42813 h 5005822"/>
                <a:gd name="connsiteX12" fmla="*/ 110130 w 533790"/>
                <a:gd name="connsiteY12" fmla="*/ 8668 h 5005822"/>
                <a:gd name="connsiteX13" fmla="*/ 212684 w 533790"/>
                <a:gd name="connsiteY13" fmla="*/ 3461 h 5005822"/>
                <a:gd name="connsiteX14" fmla="*/ 312818 w 533790"/>
                <a:gd name="connsiteY14" fmla="*/ 53913 h 5005822"/>
                <a:gd name="connsiteX15" fmla="*/ 363308 w 533790"/>
                <a:gd name="connsiteY15" fmla="*/ 103192 h 5005822"/>
                <a:gd name="connsiteX16" fmla="*/ 398261 w 533790"/>
                <a:gd name="connsiteY16" fmla="*/ 164782 h 5005822"/>
                <a:gd name="connsiteX17" fmla="*/ 416543 w 533790"/>
                <a:gd name="connsiteY17" fmla="*/ 237510 h 5005822"/>
                <a:gd name="connsiteX18" fmla="*/ 425302 w 533790"/>
                <a:gd name="connsiteY18" fmla="*/ 315002 h 5005822"/>
                <a:gd name="connsiteX19" fmla="*/ 425302 w 533790"/>
                <a:gd name="connsiteY19" fmla="*/ 418324 h 5005822"/>
                <a:gd name="connsiteX20" fmla="*/ 89505 w 533790"/>
                <a:gd name="connsiteY20" fmla="*/ 5005822 h 5005822"/>
                <a:gd name="connsiteX0" fmla="*/ 435634 w 435634"/>
                <a:gd name="connsiteY0" fmla="*/ 368641 h 5005822"/>
                <a:gd name="connsiteX1" fmla="*/ 312051 w 435634"/>
                <a:gd name="connsiteY1" fmla="*/ 380951 h 5005822"/>
                <a:gd name="connsiteX2" fmla="*/ 232945 w 435634"/>
                <a:gd name="connsiteY2" fmla="*/ 380950 h 5005822"/>
                <a:gd name="connsiteX3" fmla="*/ 158279 w 435634"/>
                <a:gd name="connsiteY3" fmla="*/ 365855 h 5005822"/>
                <a:gd name="connsiteX4" fmla="*/ 101047 w 435634"/>
                <a:gd name="connsiteY4" fmla="*/ 335263 h 5005822"/>
                <a:gd name="connsiteX5" fmla="*/ 38651 w 435634"/>
                <a:gd name="connsiteY5" fmla="*/ 268507 h 5005822"/>
                <a:gd name="connsiteX6" fmla="*/ 17584 w 435634"/>
                <a:gd name="connsiteY6" fmla="*/ 232344 h 5005822"/>
                <a:gd name="connsiteX7" fmla="*/ 1681 w 435634"/>
                <a:gd name="connsiteY7" fmla="*/ 180279 h 5005822"/>
                <a:gd name="connsiteX8" fmla="*/ 1681 w 435634"/>
                <a:gd name="connsiteY8" fmla="*/ 139355 h 5005822"/>
                <a:gd name="connsiteX9" fmla="*/ 12416 w 435634"/>
                <a:gd name="connsiteY9" fmla="*/ 92860 h 5005822"/>
                <a:gd name="connsiteX10" fmla="*/ 47369 w 435634"/>
                <a:gd name="connsiteY10" fmla="*/ 42813 h 5005822"/>
                <a:gd name="connsiteX11" fmla="*/ 110130 w 435634"/>
                <a:gd name="connsiteY11" fmla="*/ 8668 h 5005822"/>
                <a:gd name="connsiteX12" fmla="*/ 212684 w 435634"/>
                <a:gd name="connsiteY12" fmla="*/ 3461 h 5005822"/>
                <a:gd name="connsiteX13" fmla="*/ 312818 w 435634"/>
                <a:gd name="connsiteY13" fmla="*/ 53913 h 5005822"/>
                <a:gd name="connsiteX14" fmla="*/ 363308 w 435634"/>
                <a:gd name="connsiteY14" fmla="*/ 103192 h 5005822"/>
                <a:gd name="connsiteX15" fmla="*/ 398261 w 435634"/>
                <a:gd name="connsiteY15" fmla="*/ 164782 h 5005822"/>
                <a:gd name="connsiteX16" fmla="*/ 416543 w 435634"/>
                <a:gd name="connsiteY16" fmla="*/ 237510 h 5005822"/>
                <a:gd name="connsiteX17" fmla="*/ 425302 w 435634"/>
                <a:gd name="connsiteY17" fmla="*/ 315002 h 5005822"/>
                <a:gd name="connsiteX18" fmla="*/ 425302 w 435634"/>
                <a:gd name="connsiteY18" fmla="*/ 418324 h 5005822"/>
                <a:gd name="connsiteX19" fmla="*/ 89505 w 435634"/>
                <a:gd name="connsiteY19" fmla="*/ 5005822 h 5005822"/>
                <a:gd name="connsiteX0" fmla="*/ 435634 w 435634"/>
                <a:gd name="connsiteY0" fmla="*/ 368641 h 4966910"/>
                <a:gd name="connsiteX1" fmla="*/ 312051 w 435634"/>
                <a:gd name="connsiteY1" fmla="*/ 380951 h 4966910"/>
                <a:gd name="connsiteX2" fmla="*/ 232945 w 435634"/>
                <a:gd name="connsiteY2" fmla="*/ 380950 h 4966910"/>
                <a:gd name="connsiteX3" fmla="*/ 158279 w 435634"/>
                <a:gd name="connsiteY3" fmla="*/ 365855 h 4966910"/>
                <a:gd name="connsiteX4" fmla="*/ 101047 w 435634"/>
                <a:gd name="connsiteY4" fmla="*/ 335263 h 4966910"/>
                <a:gd name="connsiteX5" fmla="*/ 38651 w 435634"/>
                <a:gd name="connsiteY5" fmla="*/ 268507 h 4966910"/>
                <a:gd name="connsiteX6" fmla="*/ 17584 w 435634"/>
                <a:gd name="connsiteY6" fmla="*/ 232344 h 4966910"/>
                <a:gd name="connsiteX7" fmla="*/ 1681 w 435634"/>
                <a:gd name="connsiteY7" fmla="*/ 180279 h 4966910"/>
                <a:gd name="connsiteX8" fmla="*/ 1681 w 435634"/>
                <a:gd name="connsiteY8" fmla="*/ 139355 h 4966910"/>
                <a:gd name="connsiteX9" fmla="*/ 12416 w 435634"/>
                <a:gd name="connsiteY9" fmla="*/ 92860 h 4966910"/>
                <a:gd name="connsiteX10" fmla="*/ 47369 w 435634"/>
                <a:gd name="connsiteY10" fmla="*/ 42813 h 4966910"/>
                <a:gd name="connsiteX11" fmla="*/ 110130 w 435634"/>
                <a:gd name="connsiteY11" fmla="*/ 8668 h 4966910"/>
                <a:gd name="connsiteX12" fmla="*/ 212684 w 435634"/>
                <a:gd name="connsiteY12" fmla="*/ 3461 h 4966910"/>
                <a:gd name="connsiteX13" fmla="*/ 312818 w 435634"/>
                <a:gd name="connsiteY13" fmla="*/ 53913 h 4966910"/>
                <a:gd name="connsiteX14" fmla="*/ 363308 w 435634"/>
                <a:gd name="connsiteY14" fmla="*/ 103192 h 4966910"/>
                <a:gd name="connsiteX15" fmla="*/ 398261 w 435634"/>
                <a:gd name="connsiteY15" fmla="*/ 164782 h 4966910"/>
                <a:gd name="connsiteX16" fmla="*/ 416543 w 435634"/>
                <a:gd name="connsiteY16" fmla="*/ 237510 h 4966910"/>
                <a:gd name="connsiteX17" fmla="*/ 425302 w 435634"/>
                <a:gd name="connsiteY17" fmla="*/ 315002 h 4966910"/>
                <a:gd name="connsiteX18" fmla="*/ 425302 w 435634"/>
                <a:gd name="connsiteY18" fmla="*/ 418324 h 4966910"/>
                <a:gd name="connsiteX19" fmla="*/ 106181 w 435634"/>
                <a:gd name="connsiteY19" fmla="*/ 4966910 h 496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35634" h="4966910">
                  <a:moveTo>
                    <a:pt x="435634" y="368641"/>
                  </a:moveTo>
                  <a:cubicBezTo>
                    <a:pt x="399471" y="371224"/>
                    <a:pt x="345833" y="378900"/>
                    <a:pt x="312051" y="380951"/>
                  </a:cubicBezTo>
                  <a:cubicBezTo>
                    <a:pt x="278270" y="383003"/>
                    <a:pt x="258574" y="383466"/>
                    <a:pt x="232945" y="380950"/>
                  </a:cubicBezTo>
                  <a:cubicBezTo>
                    <a:pt x="207316" y="378434"/>
                    <a:pt x="180786" y="373267"/>
                    <a:pt x="158279" y="365855"/>
                  </a:cubicBezTo>
                  <a:cubicBezTo>
                    <a:pt x="139995" y="359626"/>
                    <a:pt x="120985" y="351488"/>
                    <a:pt x="101047" y="335263"/>
                  </a:cubicBezTo>
                  <a:cubicBezTo>
                    <a:pt x="81109" y="319038"/>
                    <a:pt x="53355" y="286454"/>
                    <a:pt x="38651" y="268507"/>
                  </a:cubicBezTo>
                  <a:lnTo>
                    <a:pt x="17584" y="232344"/>
                  </a:lnTo>
                  <a:cubicBezTo>
                    <a:pt x="11422" y="216846"/>
                    <a:pt x="4332" y="195777"/>
                    <a:pt x="1681" y="180279"/>
                  </a:cubicBezTo>
                  <a:cubicBezTo>
                    <a:pt x="-970" y="164781"/>
                    <a:pt x="-108" y="153925"/>
                    <a:pt x="1681" y="139355"/>
                  </a:cubicBezTo>
                  <a:cubicBezTo>
                    <a:pt x="3470" y="124785"/>
                    <a:pt x="4868" y="105977"/>
                    <a:pt x="12416" y="92860"/>
                  </a:cubicBezTo>
                  <a:cubicBezTo>
                    <a:pt x="19964" y="79743"/>
                    <a:pt x="31083" y="56845"/>
                    <a:pt x="47369" y="42813"/>
                  </a:cubicBezTo>
                  <a:cubicBezTo>
                    <a:pt x="63655" y="28781"/>
                    <a:pt x="82578" y="15227"/>
                    <a:pt x="110130" y="8668"/>
                  </a:cubicBezTo>
                  <a:cubicBezTo>
                    <a:pt x="137682" y="2109"/>
                    <a:pt x="178903" y="-4080"/>
                    <a:pt x="212684" y="3461"/>
                  </a:cubicBezTo>
                  <a:cubicBezTo>
                    <a:pt x="246465" y="11002"/>
                    <a:pt x="290432" y="36693"/>
                    <a:pt x="312818" y="53913"/>
                  </a:cubicBezTo>
                  <a:cubicBezTo>
                    <a:pt x="329648" y="70339"/>
                    <a:pt x="349068" y="84714"/>
                    <a:pt x="363308" y="103192"/>
                  </a:cubicBezTo>
                  <a:cubicBezTo>
                    <a:pt x="377548" y="121670"/>
                    <a:pt x="389389" y="142396"/>
                    <a:pt x="398261" y="164782"/>
                  </a:cubicBezTo>
                  <a:cubicBezTo>
                    <a:pt x="407133" y="187168"/>
                    <a:pt x="412036" y="212473"/>
                    <a:pt x="416543" y="237510"/>
                  </a:cubicBezTo>
                  <a:cubicBezTo>
                    <a:pt x="421050" y="262547"/>
                    <a:pt x="425302" y="280561"/>
                    <a:pt x="425302" y="315002"/>
                  </a:cubicBezTo>
                  <a:lnTo>
                    <a:pt x="425302" y="418324"/>
                  </a:lnTo>
                  <a:lnTo>
                    <a:pt x="106181" y="4966910"/>
                  </a:lnTo>
                </a:path>
              </a:pathLst>
            </a:custGeom>
            <a:noFill/>
            <a:ln w="88900" cap="sq"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Freeform 62"/>
            <p:cNvSpPr/>
            <p:nvPr/>
          </p:nvSpPr>
          <p:spPr>
            <a:xfrm>
              <a:off x="981192" y="3542583"/>
              <a:ext cx="623584" cy="1285810"/>
            </a:xfrm>
            <a:custGeom>
              <a:avLst/>
              <a:gdLst>
                <a:gd name="connsiteX0" fmla="*/ 866775 w 1454150"/>
                <a:gd name="connsiteY0" fmla="*/ 2949575 h 2949575"/>
                <a:gd name="connsiteX1" fmla="*/ 711200 w 1454150"/>
                <a:gd name="connsiteY1" fmla="*/ 2698750 h 2949575"/>
                <a:gd name="connsiteX2" fmla="*/ 606425 w 1454150"/>
                <a:gd name="connsiteY2" fmla="*/ 2486025 h 2949575"/>
                <a:gd name="connsiteX3" fmla="*/ 523875 w 1454150"/>
                <a:gd name="connsiteY3" fmla="*/ 2320925 h 2949575"/>
                <a:gd name="connsiteX4" fmla="*/ 412750 w 1454150"/>
                <a:gd name="connsiteY4" fmla="*/ 2054225 h 2949575"/>
                <a:gd name="connsiteX5" fmla="*/ 301625 w 1454150"/>
                <a:gd name="connsiteY5" fmla="*/ 1793875 h 2949575"/>
                <a:gd name="connsiteX6" fmla="*/ 222250 w 1454150"/>
                <a:gd name="connsiteY6" fmla="*/ 1536700 h 2949575"/>
                <a:gd name="connsiteX7" fmla="*/ 152400 w 1454150"/>
                <a:gd name="connsiteY7" fmla="*/ 1304925 h 2949575"/>
                <a:gd name="connsiteX8" fmla="*/ 88900 w 1454150"/>
                <a:gd name="connsiteY8" fmla="*/ 1038225 h 2949575"/>
                <a:gd name="connsiteX9" fmla="*/ 25400 w 1454150"/>
                <a:gd name="connsiteY9" fmla="*/ 787400 h 2949575"/>
                <a:gd name="connsiteX10" fmla="*/ 6350 w 1454150"/>
                <a:gd name="connsiteY10" fmla="*/ 603250 h 2949575"/>
                <a:gd name="connsiteX11" fmla="*/ 0 w 1454150"/>
                <a:gd name="connsiteY11" fmla="*/ 434975 h 2949575"/>
                <a:gd name="connsiteX12" fmla="*/ 22225 w 1454150"/>
                <a:gd name="connsiteY12" fmla="*/ 304800 h 2949575"/>
                <a:gd name="connsiteX13" fmla="*/ 60325 w 1454150"/>
                <a:gd name="connsiteY13" fmla="*/ 209550 h 2949575"/>
                <a:gd name="connsiteX14" fmla="*/ 127000 w 1454150"/>
                <a:gd name="connsiteY14" fmla="*/ 117475 h 2949575"/>
                <a:gd name="connsiteX15" fmla="*/ 206375 w 1454150"/>
                <a:gd name="connsiteY15" fmla="*/ 47625 h 2949575"/>
                <a:gd name="connsiteX16" fmla="*/ 298450 w 1454150"/>
                <a:gd name="connsiteY16" fmla="*/ 6350 h 2949575"/>
                <a:gd name="connsiteX17" fmla="*/ 384175 w 1454150"/>
                <a:gd name="connsiteY17" fmla="*/ 0 h 2949575"/>
                <a:gd name="connsiteX18" fmla="*/ 479425 w 1454150"/>
                <a:gd name="connsiteY18" fmla="*/ 12700 h 2949575"/>
                <a:gd name="connsiteX19" fmla="*/ 581025 w 1454150"/>
                <a:gd name="connsiteY19" fmla="*/ 34925 h 2949575"/>
                <a:gd name="connsiteX20" fmla="*/ 673100 w 1454150"/>
                <a:gd name="connsiteY20" fmla="*/ 66675 h 2949575"/>
                <a:gd name="connsiteX21" fmla="*/ 803275 w 1454150"/>
                <a:gd name="connsiteY21" fmla="*/ 117475 h 2949575"/>
                <a:gd name="connsiteX22" fmla="*/ 898525 w 1454150"/>
                <a:gd name="connsiteY22" fmla="*/ 158750 h 2949575"/>
                <a:gd name="connsiteX23" fmla="*/ 1016000 w 1454150"/>
                <a:gd name="connsiteY23" fmla="*/ 219075 h 2949575"/>
                <a:gd name="connsiteX24" fmla="*/ 1120775 w 1454150"/>
                <a:gd name="connsiteY24" fmla="*/ 292100 h 2949575"/>
                <a:gd name="connsiteX25" fmla="*/ 1238250 w 1454150"/>
                <a:gd name="connsiteY25" fmla="*/ 403225 h 2949575"/>
                <a:gd name="connsiteX26" fmla="*/ 1323975 w 1454150"/>
                <a:gd name="connsiteY26" fmla="*/ 479425 h 2949575"/>
                <a:gd name="connsiteX27" fmla="*/ 1400175 w 1454150"/>
                <a:gd name="connsiteY27" fmla="*/ 609600 h 2949575"/>
                <a:gd name="connsiteX28" fmla="*/ 1454150 w 1454150"/>
                <a:gd name="connsiteY28" fmla="*/ 682625 h 2949575"/>
                <a:gd name="connsiteX0" fmla="*/ 866775 w 1454150"/>
                <a:gd name="connsiteY0" fmla="*/ 2949575 h 2949575"/>
                <a:gd name="connsiteX1" fmla="*/ 711200 w 1454150"/>
                <a:gd name="connsiteY1" fmla="*/ 2698750 h 2949575"/>
                <a:gd name="connsiteX2" fmla="*/ 606425 w 1454150"/>
                <a:gd name="connsiteY2" fmla="*/ 2486025 h 2949575"/>
                <a:gd name="connsiteX3" fmla="*/ 523875 w 1454150"/>
                <a:gd name="connsiteY3" fmla="*/ 2320925 h 2949575"/>
                <a:gd name="connsiteX4" fmla="*/ 412750 w 1454150"/>
                <a:gd name="connsiteY4" fmla="*/ 2054225 h 2949575"/>
                <a:gd name="connsiteX5" fmla="*/ 301625 w 1454150"/>
                <a:gd name="connsiteY5" fmla="*/ 1793875 h 2949575"/>
                <a:gd name="connsiteX6" fmla="*/ 222250 w 1454150"/>
                <a:gd name="connsiteY6" fmla="*/ 1536700 h 2949575"/>
                <a:gd name="connsiteX7" fmla="*/ 152400 w 1454150"/>
                <a:gd name="connsiteY7" fmla="*/ 1304925 h 2949575"/>
                <a:gd name="connsiteX8" fmla="*/ 88900 w 1454150"/>
                <a:gd name="connsiteY8" fmla="*/ 1038225 h 2949575"/>
                <a:gd name="connsiteX9" fmla="*/ 25400 w 1454150"/>
                <a:gd name="connsiteY9" fmla="*/ 787400 h 2949575"/>
                <a:gd name="connsiteX10" fmla="*/ 6350 w 1454150"/>
                <a:gd name="connsiteY10" fmla="*/ 603250 h 2949575"/>
                <a:gd name="connsiteX11" fmla="*/ 0 w 1454150"/>
                <a:gd name="connsiteY11" fmla="*/ 434975 h 2949575"/>
                <a:gd name="connsiteX12" fmla="*/ 22225 w 1454150"/>
                <a:gd name="connsiteY12" fmla="*/ 304800 h 2949575"/>
                <a:gd name="connsiteX13" fmla="*/ 60325 w 1454150"/>
                <a:gd name="connsiteY13" fmla="*/ 209550 h 2949575"/>
                <a:gd name="connsiteX14" fmla="*/ 127000 w 1454150"/>
                <a:gd name="connsiteY14" fmla="*/ 117475 h 2949575"/>
                <a:gd name="connsiteX15" fmla="*/ 206375 w 1454150"/>
                <a:gd name="connsiteY15" fmla="*/ 47625 h 2949575"/>
                <a:gd name="connsiteX16" fmla="*/ 298450 w 1454150"/>
                <a:gd name="connsiteY16" fmla="*/ 6350 h 2949575"/>
                <a:gd name="connsiteX17" fmla="*/ 384175 w 1454150"/>
                <a:gd name="connsiteY17" fmla="*/ 0 h 2949575"/>
                <a:gd name="connsiteX18" fmla="*/ 479425 w 1454150"/>
                <a:gd name="connsiteY18" fmla="*/ 12700 h 2949575"/>
                <a:gd name="connsiteX19" fmla="*/ 581025 w 1454150"/>
                <a:gd name="connsiteY19" fmla="*/ 34925 h 2949575"/>
                <a:gd name="connsiteX20" fmla="*/ 673100 w 1454150"/>
                <a:gd name="connsiteY20" fmla="*/ 66675 h 2949575"/>
                <a:gd name="connsiteX21" fmla="*/ 803275 w 1454150"/>
                <a:gd name="connsiteY21" fmla="*/ 117475 h 2949575"/>
                <a:gd name="connsiteX22" fmla="*/ 898525 w 1454150"/>
                <a:gd name="connsiteY22" fmla="*/ 158750 h 2949575"/>
                <a:gd name="connsiteX23" fmla="*/ 1016000 w 1454150"/>
                <a:gd name="connsiteY23" fmla="*/ 219075 h 2949575"/>
                <a:gd name="connsiteX24" fmla="*/ 1120775 w 1454150"/>
                <a:gd name="connsiteY24" fmla="*/ 292100 h 2949575"/>
                <a:gd name="connsiteX25" fmla="*/ 1238250 w 1454150"/>
                <a:gd name="connsiteY25" fmla="*/ 403225 h 2949575"/>
                <a:gd name="connsiteX26" fmla="*/ 1320800 w 1454150"/>
                <a:gd name="connsiteY26" fmla="*/ 488950 h 2949575"/>
                <a:gd name="connsiteX27" fmla="*/ 1400175 w 1454150"/>
                <a:gd name="connsiteY27" fmla="*/ 609600 h 2949575"/>
                <a:gd name="connsiteX28" fmla="*/ 1454150 w 1454150"/>
                <a:gd name="connsiteY28" fmla="*/ 682625 h 2949575"/>
                <a:gd name="connsiteX0" fmla="*/ 866775 w 1454150"/>
                <a:gd name="connsiteY0" fmla="*/ 2950170 h 2950170"/>
                <a:gd name="connsiteX1" fmla="*/ 711200 w 1454150"/>
                <a:gd name="connsiteY1" fmla="*/ 2699345 h 2950170"/>
                <a:gd name="connsiteX2" fmla="*/ 606425 w 1454150"/>
                <a:gd name="connsiteY2" fmla="*/ 2486620 h 2950170"/>
                <a:gd name="connsiteX3" fmla="*/ 523875 w 1454150"/>
                <a:gd name="connsiteY3" fmla="*/ 2321520 h 2950170"/>
                <a:gd name="connsiteX4" fmla="*/ 412750 w 1454150"/>
                <a:gd name="connsiteY4" fmla="*/ 2054820 h 2950170"/>
                <a:gd name="connsiteX5" fmla="*/ 301625 w 1454150"/>
                <a:gd name="connsiteY5" fmla="*/ 1794470 h 2950170"/>
                <a:gd name="connsiteX6" fmla="*/ 222250 w 1454150"/>
                <a:gd name="connsiteY6" fmla="*/ 1537295 h 2950170"/>
                <a:gd name="connsiteX7" fmla="*/ 152400 w 1454150"/>
                <a:gd name="connsiteY7" fmla="*/ 1305520 h 2950170"/>
                <a:gd name="connsiteX8" fmla="*/ 88900 w 1454150"/>
                <a:gd name="connsiteY8" fmla="*/ 1038820 h 2950170"/>
                <a:gd name="connsiteX9" fmla="*/ 25400 w 1454150"/>
                <a:gd name="connsiteY9" fmla="*/ 787995 h 2950170"/>
                <a:gd name="connsiteX10" fmla="*/ 6350 w 1454150"/>
                <a:gd name="connsiteY10" fmla="*/ 603845 h 2950170"/>
                <a:gd name="connsiteX11" fmla="*/ 0 w 1454150"/>
                <a:gd name="connsiteY11" fmla="*/ 435570 h 2950170"/>
                <a:gd name="connsiteX12" fmla="*/ 22225 w 1454150"/>
                <a:gd name="connsiteY12" fmla="*/ 305395 h 2950170"/>
                <a:gd name="connsiteX13" fmla="*/ 60325 w 1454150"/>
                <a:gd name="connsiteY13" fmla="*/ 210145 h 2950170"/>
                <a:gd name="connsiteX14" fmla="*/ 127000 w 1454150"/>
                <a:gd name="connsiteY14" fmla="*/ 118070 h 2950170"/>
                <a:gd name="connsiteX15" fmla="*/ 206375 w 1454150"/>
                <a:gd name="connsiteY15" fmla="*/ 48220 h 2950170"/>
                <a:gd name="connsiteX16" fmla="*/ 298450 w 1454150"/>
                <a:gd name="connsiteY16" fmla="*/ 6945 h 2950170"/>
                <a:gd name="connsiteX17" fmla="*/ 384175 w 1454150"/>
                <a:gd name="connsiteY17" fmla="*/ 595 h 2950170"/>
                <a:gd name="connsiteX18" fmla="*/ 479425 w 1454150"/>
                <a:gd name="connsiteY18" fmla="*/ 13295 h 2950170"/>
                <a:gd name="connsiteX19" fmla="*/ 581025 w 1454150"/>
                <a:gd name="connsiteY19" fmla="*/ 35520 h 2950170"/>
                <a:gd name="connsiteX20" fmla="*/ 673100 w 1454150"/>
                <a:gd name="connsiteY20" fmla="*/ 67270 h 2950170"/>
                <a:gd name="connsiteX21" fmla="*/ 803275 w 1454150"/>
                <a:gd name="connsiteY21" fmla="*/ 118070 h 2950170"/>
                <a:gd name="connsiteX22" fmla="*/ 898525 w 1454150"/>
                <a:gd name="connsiteY22" fmla="*/ 159345 h 2950170"/>
                <a:gd name="connsiteX23" fmla="*/ 1016000 w 1454150"/>
                <a:gd name="connsiteY23" fmla="*/ 219670 h 2950170"/>
                <a:gd name="connsiteX24" fmla="*/ 1120775 w 1454150"/>
                <a:gd name="connsiteY24" fmla="*/ 292695 h 2950170"/>
                <a:gd name="connsiteX25" fmla="*/ 1238250 w 1454150"/>
                <a:gd name="connsiteY25" fmla="*/ 403820 h 2950170"/>
                <a:gd name="connsiteX26" fmla="*/ 1320800 w 1454150"/>
                <a:gd name="connsiteY26" fmla="*/ 489545 h 2950170"/>
                <a:gd name="connsiteX27" fmla="*/ 1400175 w 1454150"/>
                <a:gd name="connsiteY27" fmla="*/ 610195 h 2950170"/>
                <a:gd name="connsiteX28" fmla="*/ 1454150 w 1454150"/>
                <a:gd name="connsiteY28" fmla="*/ 683220 h 2950170"/>
                <a:gd name="connsiteX0" fmla="*/ 867537 w 1454912"/>
                <a:gd name="connsiteY0" fmla="*/ 2950170 h 2950170"/>
                <a:gd name="connsiteX1" fmla="*/ 711962 w 1454912"/>
                <a:gd name="connsiteY1" fmla="*/ 2699345 h 2950170"/>
                <a:gd name="connsiteX2" fmla="*/ 607187 w 1454912"/>
                <a:gd name="connsiteY2" fmla="*/ 2486620 h 2950170"/>
                <a:gd name="connsiteX3" fmla="*/ 524637 w 1454912"/>
                <a:gd name="connsiteY3" fmla="*/ 2321520 h 2950170"/>
                <a:gd name="connsiteX4" fmla="*/ 413512 w 1454912"/>
                <a:gd name="connsiteY4" fmla="*/ 2054820 h 2950170"/>
                <a:gd name="connsiteX5" fmla="*/ 302387 w 1454912"/>
                <a:gd name="connsiteY5" fmla="*/ 1794470 h 2950170"/>
                <a:gd name="connsiteX6" fmla="*/ 223012 w 1454912"/>
                <a:gd name="connsiteY6" fmla="*/ 1537295 h 2950170"/>
                <a:gd name="connsiteX7" fmla="*/ 153162 w 1454912"/>
                <a:gd name="connsiteY7" fmla="*/ 1305520 h 2950170"/>
                <a:gd name="connsiteX8" fmla="*/ 89662 w 1454912"/>
                <a:gd name="connsiteY8" fmla="*/ 1038820 h 2950170"/>
                <a:gd name="connsiteX9" fmla="*/ 26162 w 1454912"/>
                <a:gd name="connsiteY9" fmla="*/ 787995 h 2950170"/>
                <a:gd name="connsiteX10" fmla="*/ 7112 w 1454912"/>
                <a:gd name="connsiteY10" fmla="*/ 603845 h 2950170"/>
                <a:gd name="connsiteX11" fmla="*/ 762 w 1454912"/>
                <a:gd name="connsiteY11" fmla="*/ 435570 h 2950170"/>
                <a:gd name="connsiteX12" fmla="*/ 22987 w 1454912"/>
                <a:gd name="connsiteY12" fmla="*/ 305395 h 2950170"/>
                <a:gd name="connsiteX13" fmla="*/ 61087 w 1454912"/>
                <a:gd name="connsiteY13" fmla="*/ 210145 h 2950170"/>
                <a:gd name="connsiteX14" fmla="*/ 127762 w 1454912"/>
                <a:gd name="connsiteY14" fmla="*/ 118070 h 2950170"/>
                <a:gd name="connsiteX15" fmla="*/ 207137 w 1454912"/>
                <a:gd name="connsiteY15" fmla="*/ 48220 h 2950170"/>
                <a:gd name="connsiteX16" fmla="*/ 299212 w 1454912"/>
                <a:gd name="connsiteY16" fmla="*/ 6945 h 2950170"/>
                <a:gd name="connsiteX17" fmla="*/ 384937 w 1454912"/>
                <a:gd name="connsiteY17" fmla="*/ 595 h 2950170"/>
                <a:gd name="connsiteX18" fmla="*/ 480187 w 1454912"/>
                <a:gd name="connsiteY18" fmla="*/ 13295 h 2950170"/>
                <a:gd name="connsiteX19" fmla="*/ 581787 w 1454912"/>
                <a:gd name="connsiteY19" fmla="*/ 35520 h 2950170"/>
                <a:gd name="connsiteX20" fmla="*/ 673862 w 1454912"/>
                <a:gd name="connsiteY20" fmla="*/ 67270 h 2950170"/>
                <a:gd name="connsiteX21" fmla="*/ 804037 w 1454912"/>
                <a:gd name="connsiteY21" fmla="*/ 118070 h 2950170"/>
                <a:gd name="connsiteX22" fmla="*/ 899287 w 1454912"/>
                <a:gd name="connsiteY22" fmla="*/ 159345 h 2950170"/>
                <a:gd name="connsiteX23" fmla="*/ 1016762 w 1454912"/>
                <a:gd name="connsiteY23" fmla="*/ 219670 h 2950170"/>
                <a:gd name="connsiteX24" fmla="*/ 1121537 w 1454912"/>
                <a:gd name="connsiteY24" fmla="*/ 292695 h 2950170"/>
                <a:gd name="connsiteX25" fmla="*/ 1239012 w 1454912"/>
                <a:gd name="connsiteY25" fmla="*/ 403820 h 2950170"/>
                <a:gd name="connsiteX26" fmla="*/ 1321562 w 1454912"/>
                <a:gd name="connsiteY26" fmla="*/ 489545 h 2950170"/>
                <a:gd name="connsiteX27" fmla="*/ 1400937 w 1454912"/>
                <a:gd name="connsiteY27" fmla="*/ 610195 h 2950170"/>
                <a:gd name="connsiteX28" fmla="*/ 1454912 w 1454912"/>
                <a:gd name="connsiteY28" fmla="*/ 683220 h 2950170"/>
                <a:gd name="connsiteX0" fmla="*/ 869510 w 1456885"/>
                <a:gd name="connsiteY0" fmla="*/ 2950170 h 2950170"/>
                <a:gd name="connsiteX1" fmla="*/ 713935 w 1456885"/>
                <a:gd name="connsiteY1" fmla="*/ 2699345 h 2950170"/>
                <a:gd name="connsiteX2" fmla="*/ 609160 w 1456885"/>
                <a:gd name="connsiteY2" fmla="*/ 2486620 h 2950170"/>
                <a:gd name="connsiteX3" fmla="*/ 526610 w 1456885"/>
                <a:gd name="connsiteY3" fmla="*/ 2321520 h 2950170"/>
                <a:gd name="connsiteX4" fmla="*/ 415485 w 1456885"/>
                <a:gd name="connsiteY4" fmla="*/ 2054820 h 2950170"/>
                <a:gd name="connsiteX5" fmla="*/ 304360 w 1456885"/>
                <a:gd name="connsiteY5" fmla="*/ 1794470 h 2950170"/>
                <a:gd name="connsiteX6" fmla="*/ 224985 w 1456885"/>
                <a:gd name="connsiteY6" fmla="*/ 1537295 h 2950170"/>
                <a:gd name="connsiteX7" fmla="*/ 155135 w 1456885"/>
                <a:gd name="connsiteY7" fmla="*/ 1305520 h 2950170"/>
                <a:gd name="connsiteX8" fmla="*/ 91635 w 1456885"/>
                <a:gd name="connsiteY8" fmla="*/ 1038820 h 2950170"/>
                <a:gd name="connsiteX9" fmla="*/ 28135 w 1456885"/>
                <a:gd name="connsiteY9" fmla="*/ 787995 h 2950170"/>
                <a:gd name="connsiteX10" fmla="*/ 9085 w 1456885"/>
                <a:gd name="connsiteY10" fmla="*/ 603845 h 2950170"/>
                <a:gd name="connsiteX11" fmla="*/ 2735 w 1456885"/>
                <a:gd name="connsiteY11" fmla="*/ 435570 h 2950170"/>
                <a:gd name="connsiteX12" fmla="*/ 24960 w 1456885"/>
                <a:gd name="connsiteY12" fmla="*/ 305395 h 2950170"/>
                <a:gd name="connsiteX13" fmla="*/ 63060 w 1456885"/>
                <a:gd name="connsiteY13" fmla="*/ 210145 h 2950170"/>
                <a:gd name="connsiteX14" fmla="*/ 129735 w 1456885"/>
                <a:gd name="connsiteY14" fmla="*/ 118070 h 2950170"/>
                <a:gd name="connsiteX15" fmla="*/ 209110 w 1456885"/>
                <a:gd name="connsiteY15" fmla="*/ 48220 h 2950170"/>
                <a:gd name="connsiteX16" fmla="*/ 301185 w 1456885"/>
                <a:gd name="connsiteY16" fmla="*/ 6945 h 2950170"/>
                <a:gd name="connsiteX17" fmla="*/ 386910 w 1456885"/>
                <a:gd name="connsiteY17" fmla="*/ 595 h 2950170"/>
                <a:gd name="connsiteX18" fmla="*/ 482160 w 1456885"/>
                <a:gd name="connsiteY18" fmla="*/ 13295 h 2950170"/>
                <a:gd name="connsiteX19" fmla="*/ 583760 w 1456885"/>
                <a:gd name="connsiteY19" fmla="*/ 35520 h 2950170"/>
                <a:gd name="connsiteX20" fmla="*/ 675835 w 1456885"/>
                <a:gd name="connsiteY20" fmla="*/ 67270 h 2950170"/>
                <a:gd name="connsiteX21" fmla="*/ 806010 w 1456885"/>
                <a:gd name="connsiteY21" fmla="*/ 118070 h 2950170"/>
                <a:gd name="connsiteX22" fmla="*/ 901260 w 1456885"/>
                <a:gd name="connsiteY22" fmla="*/ 159345 h 2950170"/>
                <a:gd name="connsiteX23" fmla="*/ 1018735 w 1456885"/>
                <a:gd name="connsiteY23" fmla="*/ 219670 h 2950170"/>
                <a:gd name="connsiteX24" fmla="*/ 1123510 w 1456885"/>
                <a:gd name="connsiteY24" fmla="*/ 292695 h 2950170"/>
                <a:gd name="connsiteX25" fmla="*/ 1240985 w 1456885"/>
                <a:gd name="connsiteY25" fmla="*/ 403820 h 2950170"/>
                <a:gd name="connsiteX26" fmla="*/ 1323535 w 1456885"/>
                <a:gd name="connsiteY26" fmla="*/ 489545 h 2950170"/>
                <a:gd name="connsiteX27" fmla="*/ 1402910 w 1456885"/>
                <a:gd name="connsiteY27" fmla="*/ 610195 h 2950170"/>
                <a:gd name="connsiteX28" fmla="*/ 1456885 w 1456885"/>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90429 w 1455679"/>
                <a:gd name="connsiteY8" fmla="*/ 1038820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0954 w 1455679"/>
                <a:gd name="connsiteY18" fmla="*/ 13295 h 2950170"/>
                <a:gd name="connsiteX19" fmla="*/ 582554 w 1455679"/>
                <a:gd name="connsiteY19" fmla="*/ 35520 h 2950170"/>
                <a:gd name="connsiteX20" fmla="*/ 674629 w 1455679"/>
                <a:gd name="connsiteY20" fmla="*/ 67270 h 2950170"/>
                <a:gd name="connsiteX21" fmla="*/ 804804 w 1455679"/>
                <a:gd name="connsiteY21" fmla="*/ 118070 h 2950170"/>
                <a:gd name="connsiteX22" fmla="*/ 900054 w 1455679"/>
                <a:gd name="connsiteY22" fmla="*/ 159345 h 2950170"/>
                <a:gd name="connsiteX23" fmla="*/ 1017529 w 1455679"/>
                <a:gd name="connsiteY23" fmla="*/ 219670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0954 w 1455679"/>
                <a:gd name="connsiteY18" fmla="*/ 13295 h 2950170"/>
                <a:gd name="connsiteX19" fmla="*/ 582554 w 1455679"/>
                <a:gd name="connsiteY19" fmla="*/ 35520 h 2950170"/>
                <a:gd name="connsiteX20" fmla="*/ 674629 w 1455679"/>
                <a:gd name="connsiteY20" fmla="*/ 67270 h 2950170"/>
                <a:gd name="connsiteX21" fmla="*/ 804804 w 1455679"/>
                <a:gd name="connsiteY21" fmla="*/ 118070 h 2950170"/>
                <a:gd name="connsiteX22" fmla="*/ 900054 w 1455679"/>
                <a:gd name="connsiteY22" fmla="*/ 159345 h 2950170"/>
                <a:gd name="connsiteX23" fmla="*/ 1017529 w 1455679"/>
                <a:gd name="connsiteY23" fmla="*/ 219670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82554 w 1455679"/>
                <a:gd name="connsiteY19" fmla="*/ 35520 h 2950170"/>
                <a:gd name="connsiteX20" fmla="*/ 674629 w 1455679"/>
                <a:gd name="connsiteY20" fmla="*/ 67270 h 2950170"/>
                <a:gd name="connsiteX21" fmla="*/ 804804 w 1455679"/>
                <a:gd name="connsiteY21" fmla="*/ 118070 h 2950170"/>
                <a:gd name="connsiteX22" fmla="*/ 900054 w 1455679"/>
                <a:gd name="connsiteY22" fmla="*/ 159345 h 2950170"/>
                <a:gd name="connsiteX23" fmla="*/ 1017529 w 1455679"/>
                <a:gd name="connsiteY23" fmla="*/ 219670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74629 w 1455679"/>
                <a:gd name="connsiteY20" fmla="*/ 67270 h 2950170"/>
                <a:gd name="connsiteX21" fmla="*/ 804804 w 1455679"/>
                <a:gd name="connsiteY21" fmla="*/ 118070 h 2950170"/>
                <a:gd name="connsiteX22" fmla="*/ 900054 w 1455679"/>
                <a:gd name="connsiteY22" fmla="*/ 159345 h 2950170"/>
                <a:gd name="connsiteX23" fmla="*/ 1017529 w 1455679"/>
                <a:gd name="connsiteY23" fmla="*/ 219670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04804 w 1455679"/>
                <a:gd name="connsiteY21" fmla="*/ 118070 h 2950170"/>
                <a:gd name="connsiteX22" fmla="*/ 900054 w 1455679"/>
                <a:gd name="connsiteY22" fmla="*/ 159345 h 2950170"/>
                <a:gd name="connsiteX23" fmla="*/ 1017529 w 1455679"/>
                <a:gd name="connsiteY23" fmla="*/ 219670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17529 w 1455679"/>
                <a:gd name="connsiteY23" fmla="*/ 219670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92720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92720 h 2950170"/>
                <a:gd name="connsiteX27" fmla="*/ 1408054 w 1455679"/>
                <a:gd name="connsiteY27" fmla="*/ 607020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92720 h 2950170"/>
                <a:gd name="connsiteX27" fmla="*/ 1408054 w 1455679"/>
                <a:gd name="connsiteY27" fmla="*/ 607020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92720 h 2950170"/>
                <a:gd name="connsiteX27" fmla="*/ 1408054 w 1455679"/>
                <a:gd name="connsiteY27" fmla="*/ 607020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0604 w 1455679"/>
                <a:gd name="connsiteY6" fmla="*/ 154364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92720 h 2950170"/>
                <a:gd name="connsiteX27" fmla="*/ 1408054 w 1455679"/>
                <a:gd name="connsiteY27" fmla="*/ 607020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0604 w 1455679"/>
                <a:gd name="connsiteY6" fmla="*/ 154364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92720 h 2950170"/>
                <a:gd name="connsiteX27" fmla="*/ 1408054 w 1455679"/>
                <a:gd name="connsiteY27" fmla="*/ 607020 h 2950170"/>
                <a:gd name="connsiteX28" fmla="*/ 1455679 w 1455679"/>
                <a:gd name="connsiteY28" fmla="*/ 683220 h 2950170"/>
                <a:gd name="connsiteX0" fmla="*/ 879420 w 1455679"/>
                <a:gd name="connsiteY0" fmla="*/ 3061345 h 3061345"/>
                <a:gd name="connsiteX1" fmla="*/ 712729 w 1455679"/>
                <a:gd name="connsiteY1" fmla="*/ 2699345 h 3061345"/>
                <a:gd name="connsiteX2" fmla="*/ 607954 w 1455679"/>
                <a:gd name="connsiteY2" fmla="*/ 2486620 h 3061345"/>
                <a:gd name="connsiteX3" fmla="*/ 525404 w 1455679"/>
                <a:gd name="connsiteY3" fmla="*/ 2321520 h 3061345"/>
                <a:gd name="connsiteX4" fmla="*/ 414279 w 1455679"/>
                <a:gd name="connsiteY4" fmla="*/ 2054820 h 3061345"/>
                <a:gd name="connsiteX5" fmla="*/ 303154 w 1455679"/>
                <a:gd name="connsiteY5" fmla="*/ 1794470 h 3061345"/>
                <a:gd name="connsiteX6" fmla="*/ 220604 w 1455679"/>
                <a:gd name="connsiteY6" fmla="*/ 1543645 h 3061345"/>
                <a:gd name="connsiteX7" fmla="*/ 153929 w 1455679"/>
                <a:gd name="connsiteY7" fmla="*/ 1305520 h 3061345"/>
                <a:gd name="connsiteX8" fmla="*/ 80904 w 1455679"/>
                <a:gd name="connsiteY8" fmla="*/ 1035645 h 3061345"/>
                <a:gd name="connsiteX9" fmla="*/ 26929 w 1455679"/>
                <a:gd name="connsiteY9" fmla="*/ 787995 h 3061345"/>
                <a:gd name="connsiteX10" fmla="*/ 4704 w 1455679"/>
                <a:gd name="connsiteY10" fmla="*/ 613370 h 3061345"/>
                <a:gd name="connsiteX11" fmla="*/ 1529 w 1455679"/>
                <a:gd name="connsiteY11" fmla="*/ 435570 h 3061345"/>
                <a:gd name="connsiteX12" fmla="*/ 23754 w 1455679"/>
                <a:gd name="connsiteY12" fmla="*/ 305395 h 3061345"/>
                <a:gd name="connsiteX13" fmla="*/ 61854 w 1455679"/>
                <a:gd name="connsiteY13" fmla="*/ 210145 h 3061345"/>
                <a:gd name="connsiteX14" fmla="*/ 128529 w 1455679"/>
                <a:gd name="connsiteY14" fmla="*/ 118070 h 3061345"/>
                <a:gd name="connsiteX15" fmla="*/ 207904 w 1455679"/>
                <a:gd name="connsiteY15" fmla="*/ 48220 h 3061345"/>
                <a:gd name="connsiteX16" fmla="*/ 299979 w 1455679"/>
                <a:gd name="connsiteY16" fmla="*/ 6945 h 3061345"/>
                <a:gd name="connsiteX17" fmla="*/ 385704 w 1455679"/>
                <a:gd name="connsiteY17" fmla="*/ 595 h 3061345"/>
                <a:gd name="connsiteX18" fmla="*/ 484129 w 1455679"/>
                <a:gd name="connsiteY18" fmla="*/ 6945 h 3061345"/>
                <a:gd name="connsiteX19" fmla="*/ 595254 w 1455679"/>
                <a:gd name="connsiteY19" fmla="*/ 32345 h 3061345"/>
                <a:gd name="connsiteX20" fmla="*/ 696854 w 1455679"/>
                <a:gd name="connsiteY20" fmla="*/ 67270 h 3061345"/>
                <a:gd name="connsiteX21" fmla="*/ 823854 w 1455679"/>
                <a:gd name="connsiteY21" fmla="*/ 118070 h 3061345"/>
                <a:gd name="connsiteX22" fmla="*/ 900054 w 1455679"/>
                <a:gd name="connsiteY22" fmla="*/ 159345 h 3061345"/>
                <a:gd name="connsiteX23" fmla="*/ 1023879 w 1455679"/>
                <a:gd name="connsiteY23" fmla="*/ 229195 h 3061345"/>
                <a:gd name="connsiteX24" fmla="*/ 1122304 w 1455679"/>
                <a:gd name="connsiteY24" fmla="*/ 292695 h 3061345"/>
                <a:gd name="connsiteX25" fmla="*/ 1239779 w 1455679"/>
                <a:gd name="connsiteY25" fmla="*/ 403820 h 3061345"/>
                <a:gd name="connsiteX26" fmla="*/ 1322329 w 1455679"/>
                <a:gd name="connsiteY26" fmla="*/ 492720 h 3061345"/>
                <a:gd name="connsiteX27" fmla="*/ 1408054 w 1455679"/>
                <a:gd name="connsiteY27" fmla="*/ 607020 h 3061345"/>
                <a:gd name="connsiteX28" fmla="*/ 1455679 w 1455679"/>
                <a:gd name="connsiteY28" fmla="*/ 683220 h 306134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23879 w 1455679"/>
                <a:gd name="connsiteY23" fmla="*/ 229195 h 3011315"/>
                <a:gd name="connsiteX24" fmla="*/ 1122304 w 1455679"/>
                <a:gd name="connsiteY24" fmla="*/ 292695 h 3011315"/>
                <a:gd name="connsiteX25" fmla="*/ 1239779 w 1455679"/>
                <a:gd name="connsiteY25" fmla="*/ 403820 h 3011315"/>
                <a:gd name="connsiteX26" fmla="*/ 1322329 w 1455679"/>
                <a:gd name="connsiteY26" fmla="*/ 492720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23878 w 1455679"/>
                <a:gd name="connsiteY23" fmla="*/ 234752 h 3011315"/>
                <a:gd name="connsiteX24" fmla="*/ 1122304 w 1455679"/>
                <a:gd name="connsiteY24" fmla="*/ 292695 h 3011315"/>
                <a:gd name="connsiteX25" fmla="*/ 1239779 w 1455679"/>
                <a:gd name="connsiteY25" fmla="*/ 403820 h 3011315"/>
                <a:gd name="connsiteX26" fmla="*/ 1322329 w 1455679"/>
                <a:gd name="connsiteY26" fmla="*/ 492720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4 w 1455679"/>
                <a:gd name="connsiteY24" fmla="*/ 292695 h 3011315"/>
                <a:gd name="connsiteX25" fmla="*/ 1239779 w 1455679"/>
                <a:gd name="connsiteY25" fmla="*/ 403820 h 3011315"/>
                <a:gd name="connsiteX26" fmla="*/ 1322329 w 1455679"/>
                <a:gd name="connsiteY26" fmla="*/ 492720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79 w 1455679"/>
                <a:gd name="connsiteY25" fmla="*/ 403820 h 3011315"/>
                <a:gd name="connsiteX26" fmla="*/ 1322329 w 1455679"/>
                <a:gd name="connsiteY26" fmla="*/ 492720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03819 h 3011315"/>
                <a:gd name="connsiteX26" fmla="*/ 1322329 w 1455679"/>
                <a:gd name="connsiteY26" fmla="*/ 492720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03819 h 3011315"/>
                <a:gd name="connsiteX26" fmla="*/ 1316772 w 1455679"/>
                <a:gd name="connsiteY26" fmla="*/ 509394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85818 w 1455679"/>
                <a:gd name="connsiteY27" fmla="*/ 61258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96937 w 1455679"/>
                <a:gd name="connsiteY27" fmla="*/ 601464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18294 w 1455679"/>
                <a:gd name="connsiteY21" fmla="*/ 123629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96937 w 1455679"/>
                <a:gd name="connsiteY27" fmla="*/ 601464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85734 w 1455679"/>
                <a:gd name="connsiteY20" fmla="*/ 72828 h 3011315"/>
                <a:gd name="connsiteX21" fmla="*/ 818294 w 1455679"/>
                <a:gd name="connsiteY21" fmla="*/ 123629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96937 w 1455679"/>
                <a:gd name="connsiteY27" fmla="*/ 601464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7906 h 3011315"/>
                <a:gd name="connsiteX20" fmla="*/ 685734 w 1455679"/>
                <a:gd name="connsiteY20" fmla="*/ 72828 h 3011315"/>
                <a:gd name="connsiteX21" fmla="*/ 818294 w 1455679"/>
                <a:gd name="connsiteY21" fmla="*/ 123629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96937 w 1455679"/>
                <a:gd name="connsiteY27" fmla="*/ 601464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95245 w 1455679"/>
                <a:gd name="connsiteY18" fmla="*/ 18061 h 3011315"/>
                <a:gd name="connsiteX19" fmla="*/ 595254 w 1455679"/>
                <a:gd name="connsiteY19" fmla="*/ 37906 h 3011315"/>
                <a:gd name="connsiteX20" fmla="*/ 685734 w 1455679"/>
                <a:gd name="connsiteY20" fmla="*/ 72828 h 3011315"/>
                <a:gd name="connsiteX21" fmla="*/ 818294 w 1455679"/>
                <a:gd name="connsiteY21" fmla="*/ 123629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96937 w 1455679"/>
                <a:gd name="connsiteY27" fmla="*/ 601464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95245 w 1455679"/>
                <a:gd name="connsiteY18" fmla="*/ 18061 h 3011315"/>
                <a:gd name="connsiteX19" fmla="*/ 595254 w 1455679"/>
                <a:gd name="connsiteY19" fmla="*/ 37906 h 3011315"/>
                <a:gd name="connsiteX20" fmla="*/ 685734 w 1455679"/>
                <a:gd name="connsiteY20" fmla="*/ 72828 h 3011315"/>
                <a:gd name="connsiteX21" fmla="*/ 818294 w 1455679"/>
                <a:gd name="connsiteY21" fmla="*/ 123629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96937 w 1455679"/>
                <a:gd name="connsiteY27" fmla="*/ 601464 h 3011315"/>
                <a:gd name="connsiteX28" fmla="*/ 1455679 w 1455679"/>
                <a:gd name="connsiteY28" fmla="*/ 683220 h 3011315"/>
                <a:gd name="connsiteX0" fmla="*/ 890538 w 1455679"/>
                <a:gd name="connsiteY0" fmla="*/ 3010794 h 3010794"/>
                <a:gd name="connsiteX1" fmla="*/ 712729 w 1455679"/>
                <a:gd name="connsiteY1" fmla="*/ 2698824 h 3010794"/>
                <a:gd name="connsiteX2" fmla="*/ 607954 w 1455679"/>
                <a:gd name="connsiteY2" fmla="*/ 2486099 h 3010794"/>
                <a:gd name="connsiteX3" fmla="*/ 525404 w 1455679"/>
                <a:gd name="connsiteY3" fmla="*/ 2320999 h 3010794"/>
                <a:gd name="connsiteX4" fmla="*/ 414279 w 1455679"/>
                <a:gd name="connsiteY4" fmla="*/ 2054299 h 3010794"/>
                <a:gd name="connsiteX5" fmla="*/ 303154 w 1455679"/>
                <a:gd name="connsiteY5" fmla="*/ 1793949 h 3010794"/>
                <a:gd name="connsiteX6" fmla="*/ 220604 w 1455679"/>
                <a:gd name="connsiteY6" fmla="*/ 1543124 h 3010794"/>
                <a:gd name="connsiteX7" fmla="*/ 153929 w 1455679"/>
                <a:gd name="connsiteY7" fmla="*/ 1304999 h 3010794"/>
                <a:gd name="connsiteX8" fmla="*/ 80904 w 1455679"/>
                <a:gd name="connsiteY8" fmla="*/ 1035124 h 3010794"/>
                <a:gd name="connsiteX9" fmla="*/ 26929 w 1455679"/>
                <a:gd name="connsiteY9" fmla="*/ 787474 h 3010794"/>
                <a:gd name="connsiteX10" fmla="*/ 4704 w 1455679"/>
                <a:gd name="connsiteY10" fmla="*/ 612849 h 3010794"/>
                <a:gd name="connsiteX11" fmla="*/ 1529 w 1455679"/>
                <a:gd name="connsiteY11" fmla="*/ 435049 h 3010794"/>
                <a:gd name="connsiteX12" fmla="*/ 23754 w 1455679"/>
                <a:gd name="connsiteY12" fmla="*/ 304874 h 3010794"/>
                <a:gd name="connsiteX13" fmla="*/ 61854 w 1455679"/>
                <a:gd name="connsiteY13" fmla="*/ 209624 h 3010794"/>
                <a:gd name="connsiteX14" fmla="*/ 128529 w 1455679"/>
                <a:gd name="connsiteY14" fmla="*/ 117549 h 3010794"/>
                <a:gd name="connsiteX15" fmla="*/ 207904 w 1455679"/>
                <a:gd name="connsiteY15" fmla="*/ 47699 h 3010794"/>
                <a:gd name="connsiteX16" fmla="*/ 305537 w 1455679"/>
                <a:gd name="connsiteY16" fmla="*/ 17540 h 3010794"/>
                <a:gd name="connsiteX17" fmla="*/ 385704 w 1455679"/>
                <a:gd name="connsiteY17" fmla="*/ 74 h 3010794"/>
                <a:gd name="connsiteX18" fmla="*/ 495245 w 1455679"/>
                <a:gd name="connsiteY18" fmla="*/ 17540 h 3010794"/>
                <a:gd name="connsiteX19" fmla="*/ 595254 w 1455679"/>
                <a:gd name="connsiteY19" fmla="*/ 37385 h 3010794"/>
                <a:gd name="connsiteX20" fmla="*/ 685734 w 1455679"/>
                <a:gd name="connsiteY20" fmla="*/ 72307 h 3010794"/>
                <a:gd name="connsiteX21" fmla="*/ 818294 w 1455679"/>
                <a:gd name="connsiteY21" fmla="*/ 123108 h 3010794"/>
                <a:gd name="connsiteX22" fmla="*/ 900054 w 1455679"/>
                <a:gd name="connsiteY22" fmla="*/ 158824 h 3010794"/>
                <a:gd name="connsiteX23" fmla="*/ 1018317 w 1455679"/>
                <a:gd name="connsiteY23" fmla="*/ 245350 h 3010794"/>
                <a:gd name="connsiteX24" fmla="*/ 1122305 w 1455679"/>
                <a:gd name="connsiteY24" fmla="*/ 319968 h 3010794"/>
                <a:gd name="connsiteX25" fmla="*/ 1239780 w 1455679"/>
                <a:gd name="connsiteY25" fmla="*/ 419973 h 3010794"/>
                <a:gd name="connsiteX26" fmla="*/ 1316772 w 1455679"/>
                <a:gd name="connsiteY26" fmla="*/ 508873 h 3010794"/>
                <a:gd name="connsiteX27" fmla="*/ 1396937 w 1455679"/>
                <a:gd name="connsiteY27" fmla="*/ 600943 h 3010794"/>
                <a:gd name="connsiteX28" fmla="*/ 1455679 w 1455679"/>
                <a:gd name="connsiteY28" fmla="*/ 682699 h 3010794"/>
                <a:gd name="connsiteX0" fmla="*/ 890538 w 1455679"/>
                <a:gd name="connsiteY0" fmla="*/ 3010794 h 3010794"/>
                <a:gd name="connsiteX1" fmla="*/ 712729 w 1455679"/>
                <a:gd name="connsiteY1" fmla="*/ 2698824 h 3010794"/>
                <a:gd name="connsiteX2" fmla="*/ 607954 w 1455679"/>
                <a:gd name="connsiteY2" fmla="*/ 2486099 h 3010794"/>
                <a:gd name="connsiteX3" fmla="*/ 525404 w 1455679"/>
                <a:gd name="connsiteY3" fmla="*/ 2320999 h 3010794"/>
                <a:gd name="connsiteX4" fmla="*/ 414279 w 1455679"/>
                <a:gd name="connsiteY4" fmla="*/ 2054299 h 3010794"/>
                <a:gd name="connsiteX5" fmla="*/ 303154 w 1455679"/>
                <a:gd name="connsiteY5" fmla="*/ 1793949 h 3010794"/>
                <a:gd name="connsiteX6" fmla="*/ 220604 w 1455679"/>
                <a:gd name="connsiteY6" fmla="*/ 1543124 h 3010794"/>
                <a:gd name="connsiteX7" fmla="*/ 153929 w 1455679"/>
                <a:gd name="connsiteY7" fmla="*/ 1304999 h 3010794"/>
                <a:gd name="connsiteX8" fmla="*/ 80904 w 1455679"/>
                <a:gd name="connsiteY8" fmla="*/ 1035124 h 3010794"/>
                <a:gd name="connsiteX9" fmla="*/ 26929 w 1455679"/>
                <a:gd name="connsiteY9" fmla="*/ 787474 h 3010794"/>
                <a:gd name="connsiteX10" fmla="*/ 4704 w 1455679"/>
                <a:gd name="connsiteY10" fmla="*/ 612849 h 3010794"/>
                <a:gd name="connsiteX11" fmla="*/ 1529 w 1455679"/>
                <a:gd name="connsiteY11" fmla="*/ 435049 h 3010794"/>
                <a:gd name="connsiteX12" fmla="*/ 23754 w 1455679"/>
                <a:gd name="connsiteY12" fmla="*/ 304874 h 3010794"/>
                <a:gd name="connsiteX13" fmla="*/ 61854 w 1455679"/>
                <a:gd name="connsiteY13" fmla="*/ 209624 h 3010794"/>
                <a:gd name="connsiteX14" fmla="*/ 128529 w 1455679"/>
                <a:gd name="connsiteY14" fmla="*/ 117549 h 3010794"/>
                <a:gd name="connsiteX15" fmla="*/ 207904 w 1455679"/>
                <a:gd name="connsiteY15" fmla="*/ 47699 h 3010794"/>
                <a:gd name="connsiteX16" fmla="*/ 305537 w 1455679"/>
                <a:gd name="connsiteY16" fmla="*/ 17540 h 3010794"/>
                <a:gd name="connsiteX17" fmla="*/ 385704 w 1455679"/>
                <a:gd name="connsiteY17" fmla="*/ 74 h 3010794"/>
                <a:gd name="connsiteX18" fmla="*/ 495245 w 1455679"/>
                <a:gd name="connsiteY18" fmla="*/ 17540 h 3010794"/>
                <a:gd name="connsiteX19" fmla="*/ 595254 w 1455679"/>
                <a:gd name="connsiteY19" fmla="*/ 37385 h 3010794"/>
                <a:gd name="connsiteX20" fmla="*/ 685734 w 1455679"/>
                <a:gd name="connsiteY20" fmla="*/ 72307 h 3010794"/>
                <a:gd name="connsiteX21" fmla="*/ 779383 w 1455679"/>
                <a:gd name="connsiteY21" fmla="*/ 123108 h 3010794"/>
                <a:gd name="connsiteX22" fmla="*/ 900054 w 1455679"/>
                <a:gd name="connsiteY22" fmla="*/ 158824 h 3010794"/>
                <a:gd name="connsiteX23" fmla="*/ 1018317 w 1455679"/>
                <a:gd name="connsiteY23" fmla="*/ 245350 h 3010794"/>
                <a:gd name="connsiteX24" fmla="*/ 1122305 w 1455679"/>
                <a:gd name="connsiteY24" fmla="*/ 319968 h 3010794"/>
                <a:gd name="connsiteX25" fmla="*/ 1239780 w 1455679"/>
                <a:gd name="connsiteY25" fmla="*/ 419973 h 3010794"/>
                <a:gd name="connsiteX26" fmla="*/ 1316772 w 1455679"/>
                <a:gd name="connsiteY26" fmla="*/ 508873 h 3010794"/>
                <a:gd name="connsiteX27" fmla="*/ 1396937 w 1455679"/>
                <a:gd name="connsiteY27" fmla="*/ 600943 h 3010794"/>
                <a:gd name="connsiteX28" fmla="*/ 1455679 w 1455679"/>
                <a:gd name="connsiteY28" fmla="*/ 682699 h 3010794"/>
                <a:gd name="connsiteX0" fmla="*/ 890538 w 1455679"/>
                <a:gd name="connsiteY0" fmla="*/ 3010794 h 3010794"/>
                <a:gd name="connsiteX1" fmla="*/ 712729 w 1455679"/>
                <a:gd name="connsiteY1" fmla="*/ 2698824 h 3010794"/>
                <a:gd name="connsiteX2" fmla="*/ 607954 w 1455679"/>
                <a:gd name="connsiteY2" fmla="*/ 2486099 h 3010794"/>
                <a:gd name="connsiteX3" fmla="*/ 525404 w 1455679"/>
                <a:gd name="connsiteY3" fmla="*/ 2320999 h 3010794"/>
                <a:gd name="connsiteX4" fmla="*/ 414279 w 1455679"/>
                <a:gd name="connsiteY4" fmla="*/ 2054299 h 3010794"/>
                <a:gd name="connsiteX5" fmla="*/ 303154 w 1455679"/>
                <a:gd name="connsiteY5" fmla="*/ 1793949 h 3010794"/>
                <a:gd name="connsiteX6" fmla="*/ 220604 w 1455679"/>
                <a:gd name="connsiteY6" fmla="*/ 1543124 h 3010794"/>
                <a:gd name="connsiteX7" fmla="*/ 153929 w 1455679"/>
                <a:gd name="connsiteY7" fmla="*/ 1304999 h 3010794"/>
                <a:gd name="connsiteX8" fmla="*/ 80904 w 1455679"/>
                <a:gd name="connsiteY8" fmla="*/ 1035124 h 3010794"/>
                <a:gd name="connsiteX9" fmla="*/ 26929 w 1455679"/>
                <a:gd name="connsiteY9" fmla="*/ 787474 h 3010794"/>
                <a:gd name="connsiteX10" fmla="*/ 4704 w 1455679"/>
                <a:gd name="connsiteY10" fmla="*/ 612849 h 3010794"/>
                <a:gd name="connsiteX11" fmla="*/ 1529 w 1455679"/>
                <a:gd name="connsiteY11" fmla="*/ 435049 h 3010794"/>
                <a:gd name="connsiteX12" fmla="*/ 23754 w 1455679"/>
                <a:gd name="connsiteY12" fmla="*/ 304874 h 3010794"/>
                <a:gd name="connsiteX13" fmla="*/ 61854 w 1455679"/>
                <a:gd name="connsiteY13" fmla="*/ 209624 h 3010794"/>
                <a:gd name="connsiteX14" fmla="*/ 128529 w 1455679"/>
                <a:gd name="connsiteY14" fmla="*/ 117549 h 3010794"/>
                <a:gd name="connsiteX15" fmla="*/ 207904 w 1455679"/>
                <a:gd name="connsiteY15" fmla="*/ 47699 h 3010794"/>
                <a:gd name="connsiteX16" fmla="*/ 305537 w 1455679"/>
                <a:gd name="connsiteY16" fmla="*/ 17540 h 3010794"/>
                <a:gd name="connsiteX17" fmla="*/ 385704 w 1455679"/>
                <a:gd name="connsiteY17" fmla="*/ 74 h 3010794"/>
                <a:gd name="connsiteX18" fmla="*/ 495245 w 1455679"/>
                <a:gd name="connsiteY18" fmla="*/ 17540 h 3010794"/>
                <a:gd name="connsiteX19" fmla="*/ 595254 w 1455679"/>
                <a:gd name="connsiteY19" fmla="*/ 37385 h 3010794"/>
                <a:gd name="connsiteX20" fmla="*/ 685734 w 1455679"/>
                <a:gd name="connsiteY20" fmla="*/ 72307 h 3010794"/>
                <a:gd name="connsiteX21" fmla="*/ 796059 w 1455679"/>
                <a:gd name="connsiteY21" fmla="*/ 123108 h 3010794"/>
                <a:gd name="connsiteX22" fmla="*/ 900054 w 1455679"/>
                <a:gd name="connsiteY22" fmla="*/ 158824 h 3010794"/>
                <a:gd name="connsiteX23" fmla="*/ 1018317 w 1455679"/>
                <a:gd name="connsiteY23" fmla="*/ 245350 h 3010794"/>
                <a:gd name="connsiteX24" fmla="*/ 1122305 w 1455679"/>
                <a:gd name="connsiteY24" fmla="*/ 319968 h 3010794"/>
                <a:gd name="connsiteX25" fmla="*/ 1239780 w 1455679"/>
                <a:gd name="connsiteY25" fmla="*/ 419973 h 3010794"/>
                <a:gd name="connsiteX26" fmla="*/ 1316772 w 1455679"/>
                <a:gd name="connsiteY26" fmla="*/ 508873 h 3010794"/>
                <a:gd name="connsiteX27" fmla="*/ 1396937 w 1455679"/>
                <a:gd name="connsiteY27" fmla="*/ 600943 h 3010794"/>
                <a:gd name="connsiteX28" fmla="*/ 1455679 w 1455679"/>
                <a:gd name="connsiteY28" fmla="*/ 682699 h 3010794"/>
                <a:gd name="connsiteX0" fmla="*/ 890538 w 1455679"/>
                <a:gd name="connsiteY0" fmla="*/ 3012008 h 3012008"/>
                <a:gd name="connsiteX1" fmla="*/ 712729 w 1455679"/>
                <a:gd name="connsiteY1" fmla="*/ 2700038 h 3012008"/>
                <a:gd name="connsiteX2" fmla="*/ 607954 w 1455679"/>
                <a:gd name="connsiteY2" fmla="*/ 2487313 h 3012008"/>
                <a:gd name="connsiteX3" fmla="*/ 525404 w 1455679"/>
                <a:gd name="connsiteY3" fmla="*/ 2322213 h 3012008"/>
                <a:gd name="connsiteX4" fmla="*/ 414279 w 1455679"/>
                <a:gd name="connsiteY4" fmla="*/ 2055513 h 3012008"/>
                <a:gd name="connsiteX5" fmla="*/ 303154 w 1455679"/>
                <a:gd name="connsiteY5" fmla="*/ 1795163 h 3012008"/>
                <a:gd name="connsiteX6" fmla="*/ 220604 w 1455679"/>
                <a:gd name="connsiteY6" fmla="*/ 1544338 h 3012008"/>
                <a:gd name="connsiteX7" fmla="*/ 153929 w 1455679"/>
                <a:gd name="connsiteY7" fmla="*/ 1306213 h 3012008"/>
                <a:gd name="connsiteX8" fmla="*/ 80904 w 1455679"/>
                <a:gd name="connsiteY8" fmla="*/ 1036338 h 3012008"/>
                <a:gd name="connsiteX9" fmla="*/ 26929 w 1455679"/>
                <a:gd name="connsiteY9" fmla="*/ 788688 h 3012008"/>
                <a:gd name="connsiteX10" fmla="*/ 4704 w 1455679"/>
                <a:gd name="connsiteY10" fmla="*/ 614063 h 3012008"/>
                <a:gd name="connsiteX11" fmla="*/ 1529 w 1455679"/>
                <a:gd name="connsiteY11" fmla="*/ 436263 h 3012008"/>
                <a:gd name="connsiteX12" fmla="*/ 23754 w 1455679"/>
                <a:gd name="connsiteY12" fmla="*/ 306088 h 3012008"/>
                <a:gd name="connsiteX13" fmla="*/ 61854 w 1455679"/>
                <a:gd name="connsiteY13" fmla="*/ 210838 h 3012008"/>
                <a:gd name="connsiteX14" fmla="*/ 128529 w 1455679"/>
                <a:gd name="connsiteY14" fmla="*/ 118763 h 3012008"/>
                <a:gd name="connsiteX15" fmla="*/ 207904 w 1455679"/>
                <a:gd name="connsiteY15" fmla="*/ 48913 h 3012008"/>
                <a:gd name="connsiteX16" fmla="*/ 305537 w 1455679"/>
                <a:gd name="connsiteY16" fmla="*/ 18754 h 3012008"/>
                <a:gd name="connsiteX17" fmla="*/ 385704 w 1455679"/>
                <a:gd name="connsiteY17" fmla="*/ 1288 h 3012008"/>
                <a:gd name="connsiteX18" fmla="*/ 495245 w 1455679"/>
                <a:gd name="connsiteY18" fmla="*/ 18754 h 3012008"/>
                <a:gd name="connsiteX19" fmla="*/ 595254 w 1455679"/>
                <a:gd name="connsiteY19" fmla="*/ 38599 h 3012008"/>
                <a:gd name="connsiteX20" fmla="*/ 685734 w 1455679"/>
                <a:gd name="connsiteY20" fmla="*/ 73521 h 3012008"/>
                <a:gd name="connsiteX21" fmla="*/ 796059 w 1455679"/>
                <a:gd name="connsiteY21" fmla="*/ 124322 h 3012008"/>
                <a:gd name="connsiteX22" fmla="*/ 900054 w 1455679"/>
                <a:gd name="connsiteY22" fmla="*/ 160038 h 3012008"/>
                <a:gd name="connsiteX23" fmla="*/ 1018317 w 1455679"/>
                <a:gd name="connsiteY23" fmla="*/ 246564 h 3012008"/>
                <a:gd name="connsiteX24" fmla="*/ 1122305 w 1455679"/>
                <a:gd name="connsiteY24" fmla="*/ 321182 h 3012008"/>
                <a:gd name="connsiteX25" fmla="*/ 1239780 w 1455679"/>
                <a:gd name="connsiteY25" fmla="*/ 421187 h 3012008"/>
                <a:gd name="connsiteX26" fmla="*/ 1316772 w 1455679"/>
                <a:gd name="connsiteY26" fmla="*/ 510087 h 3012008"/>
                <a:gd name="connsiteX27" fmla="*/ 1396937 w 1455679"/>
                <a:gd name="connsiteY27" fmla="*/ 602157 h 3012008"/>
                <a:gd name="connsiteX28" fmla="*/ 1455679 w 1455679"/>
                <a:gd name="connsiteY28" fmla="*/ 683913 h 3012008"/>
                <a:gd name="connsiteX0" fmla="*/ 890538 w 1455679"/>
                <a:gd name="connsiteY0" fmla="*/ 3010719 h 3010719"/>
                <a:gd name="connsiteX1" fmla="*/ 712729 w 1455679"/>
                <a:gd name="connsiteY1" fmla="*/ 2698749 h 3010719"/>
                <a:gd name="connsiteX2" fmla="*/ 607954 w 1455679"/>
                <a:gd name="connsiteY2" fmla="*/ 2486024 h 3010719"/>
                <a:gd name="connsiteX3" fmla="*/ 525404 w 1455679"/>
                <a:gd name="connsiteY3" fmla="*/ 2320924 h 3010719"/>
                <a:gd name="connsiteX4" fmla="*/ 414279 w 1455679"/>
                <a:gd name="connsiteY4" fmla="*/ 2054224 h 3010719"/>
                <a:gd name="connsiteX5" fmla="*/ 303154 w 1455679"/>
                <a:gd name="connsiteY5" fmla="*/ 1793874 h 3010719"/>
                <a:gd name="connsiteX6" fmla="*/ 220604 w 1455679"/>
                <a:gd name="connsiteY6" fmla="*/ 1543049 h 3010719"/>
                <a:gd name="connsiteX7" fmla="*/ 153929 w 1455679"/>
                <a:gd name="connsiteY7" fmla="*/ 1304924 h 3010719"/>
                <a:gd name="connsiteX8" fmla="*/ 80904 w 1455679"/>
                <a:gd name="connsiteY8" fmla="*/ 1035049 h 3010719"/>
                <a:gd name="connsiteX9" fmla="*/ 26929 w 1455679"/>
                <a:gd name="connsiteY9" fmla="*/ 787399 h 3010719"/>
                <a:gd name="connsiteX10" fmla="*/ 4704 w 1455679"/>
                <a:gd name="connsiteY10" fmla="*/ 612774 h 3010719"/>
                <a:gd name="connsiteX11" fmla="*/ 1529 w 1455679"/>
                <a:gd name="connsiteY11" fmla="*/ 434974 h 3010719"/>
                <a:gd name="connsiteX12" fmla="*/ 23754 w 1455679"/>
                <a:gd name="connsiteY12" fmla="*/ 304799 h 3010719"/>
                <a:gd name="connsiteX13" fmla="*/ 61854 w 1455679"/>
                <a:gd name="connsiteY13" fmla="*/ 209549 h 3010719"/>
                <a:gd name="connsiteX14" fmla="*/ 128529 w 1455679"/>
                <a:gd name="connsiteY14" fmla="*/ 117474 h 3010719"/>
                <a:gd name="connsiteX15" fmla="*/ 207904 w 1455679"/>
                <a:gd name="connsiteY15" fmla="*/ 47624 h 3010719"/>
                <a:gd name="connsiteX16" fmla="*/ 385704 w 1455679"/>
                <a:gd name="connsiteY16" fmla="*/ -1 h 3010719"/>
                <a:gd name="connsiteX17" fmla="*/ 495245 w 1455679"/>
                <a:gd name="connsiteY17" fmla="*/ 17465 h 3010719"/>
                <a:gd name="connsiteX18" fmla="*/ 595254 w 1455679"/>
                <a:gd name="connsiteY18" fmla="*/ 37310 h 3010719"/>
                <a:gd name="connsiteX19" fmla="*/ 685734 w 1455679"/>
                <a:gd name="connsiteY19" fmla="*/ 72232 h 3010719"/>
                <a:gd name="connsiteX20" fmla="*/ 796059 w 1455679"/>
                <a:gd name="connsiteY20" fmla="*/ 123033 h 3010719"/>
                <a:gd name="connsiteX21" fmla="*/ 900054 w 1455679"/>
                <a:gd name="connsiteY21" fmla="*/ 158749 h 3010719"/>
                <a:gd name="connsiteX22" fmla="*/ 1018317 w 1455679"/>
                <a:gd name="connsiteY22" fmla="*/ 245275 h 3010719"/>
                <a:gd name="connsiteX23" fmla="*/ 1122305 w 1455679"/>
                <a:gd name="connsiteY23" fmla="*/ 319893 h 3010719"/>
                <a:gd name="connsiteX24" fmla="*/ 1239780 w 1455679"/>
                <a:gd name="connsiteY24" fmla="*/ 419898 h 3010719"/>
                <a:gd name="connsiteX25" fmla="*/ 1316772 w 1455679"/>
                <a:gd name="connsiteY25" fmla="*/ 508798 h 3010719"/>
                <a:gd name="connsiteX26" fmla="*/ 1396937 w 1455679"/>
                <a:gd name="connsiteY26" fmla="*/ 600868 h 3010719"/>
                <a:gd name="connsiteX27" fmla="*/ 1455679 w 1455679"/>
                <a:gd name="connsiteY27" fmla="*/ 682624 h 3010719"/>
                <a:gd name="connsiteX0" fmla="*/ 890538 w 1455679"/>
                <a:gd name="connsiteY0" fmla="*/ 3011382 h 3011382"/>
                <a:gd name="connsiteX1" fmla="*/ 712729 w 1455679"/>
                <a:gd name="connsiteY1" fmla="*/ 2699412 h 3011382"/>
                <a:gd name="connsiteX2" fmla="*/ 607954 w 1455679"/>
                <a:gd name="connsiteY2" fmla="*/ 2486687 h 3011382"/>
                <a:gd name="connsiteX3" fmla="*/ 525404 w 1455679"/>
                <a:gd name="connsiteY3" fmla="*/ 2321587 h 3011382"/>
                <a:gd name="connsiteX4" fmla="*/ 414279 w 1455679"/>
                <a:gd name="connsiteY4" fmla="*/ 2054887 h 3011382"/>
                <a:gd name="connsiteX5" fmla="*/ 303154 w 1455679"/>
                <a:gd name="connsiteY5" fmla="*/ 1794537 h 3011382"/>
                <a:gd name="connsiteX6" fmla="*/ 220604 w 1455679"/>
                <a:gd name="connsiteY6" fmla="*/ 1543712 h 3011382"/>
                <a:gd name="connsiteX7" fmla="*/ 153929 w 1455679"/>
                <a:gd name="connsiteY7" fmla="*/ 1305587 h 3011382"/>
                <a:gd name="connsiteX8" fmla="*/ 80904 w 1455679"/>
                <a:gd name="connsiteY8" fmla="*/ 1035712 h 3011382"/>
                <a:gd name="connsiteX9" fmla="*/ 26929 w 1455679"/>
                <a:gd name="connsiteY9" fmla="*/ 788062 h 3011382"/>
                <a:gd name="connsiteX10" fmla="*/ 4704 w 1455679"/>
                <a:gd name="connsiteY10" fmla="*/ 613437 h 3011382"/>
                <a:gd name="connsiteX11" fmla="*/ 1529 w 1455679"/>
                <a:gd name="connsiteY11" fmla="*/ 435637 h 3011382"/>
                <a:gd name="connsiteX12" fmla="*/ 23754 w 1455679"/>
                <a:gd name="connsiteY12" fmla="*/ 305462 h 3011382"/>
                <a:gd name="connsiteX13" fmla="*/ 61854 w 1455679"/>
                <a:gd name="connsiteY13" fmla="*/ 210212 h 3011382"/>
                <a:gd name="connsiteX14" fmla="*/ 128529 w 1455679"/>
                <a:gd name="connsiteY14" fmla="*/ 118137 h 3011382"/>
                <a:gd name="connsiteX15" fmla="*/ 207904 w 1455679"/>
                <a:gd name="connsiteY15" fmla="*/ 48287 h 3011382"/>
                <a:gd name="connsiteX16" fmla="*/ 385704 w 1455679"/>
                <a:gd name="connsiteY16" fmla="*/ 662 h 3011382"/>
                <a:gd name="connsiteX17" fmla="*/ 495245 w 1455679"/>
                <a:gd name="connsiteY17" fmla="*/ 18128 h 3011382"/>
                <a:gd name="connsiteX18" fmla="*/ 595254 w 1455679"/>
                <a:gd name="connsiteY18" fmla="*/ 37973 h 3011382"/>
                <a:gd name="connsiteX19" fmla="*/ 685734 w 1455679"/>
                <a:gd name="connsiteY19" fmla="*/ 72895 h 3011382"/>
                <a:gd name="connsiteX20" fmla="*/ 796059 w 1455679"/>
                <a:gd name="connsiteY20" fmla="*/ 123696 h 3011382"/>
                <a:gd name="connsiteX21" fmla="*/ 900054 w 1455679"/>
                <a:gd name="connsiteY21" fmla="*/ 159412 h 3011382"/>
                <a:gd name="connsiteX22" fmla="*/ 1018317 w 1455679"/>
                <a:gd name="connsiteY22" fmla="*/ 245938 h 3011382"/>
                <a:gd name="connsiteX23" fmla="*/ 1122305 w 1455679"/>
                <a:gd name="connsiteY23" fmla="*/ 320556 h 3011382"/>
                <a:gd name="connsiteX24" fmla="*/ 1239780 w 1455679"/>
                <a:gd name="connsiteY24" fmla="*/ 420561 h 3011382"/>
                <a:gd name="connsiteX25" fmla="*/ 1316772 w 1455679"/>
                <a:gd name="connsiteY25" fmla="*/ 509461 h 3011382"/>
                <a:gd name="connsiteX26" fmla="*/ 1396937 w 1455679"/>
                <a:gd name="connsiteY26" fmla="*/ 601531 h 3011382"/>
                <a:gd name="connsiteX27" fmla="*/ 1455679 w 1455679"/>
                <a:gd name="connsiteY27" fmla="*/ 683287 h 3011382"/>
                <a:gd name="connsiteX0" fmla="*/ 890538 w 1455679"/>
                <a:gd name="connsiteY0" fmla="*/ 3010719 h 3010719"/>
                <a:gd name="connsiteX1" fmla="*/ 712729 w 1455679"/>
                <a:gd name="connsiteY1" fmla="*/ 2698749 h 3010719"/>
                <a:gd name="connsiteX2" fmla="*/ 607954 w 1455679"/>
                <a:gd name="connsiteY2" fmla="*/ 2486024 h 3010719"/>
                <a:gd name="connsiteX3" fmla="*/ 525404 w 1455679"/>
                <a:gd name="connsiteY3" fmla="*/ 2320924 h 3010719"/>
                <a:gd name="connsiteX4" fmla="*/ 414279 w 1455679"/>
                <a:gd name="connsiteY4" fmla="*/ 2054224 h 3010719"/>
                <a:gd name="connsiteX5" fmla="*/ 303154 w 1455679"/>
                <a:gd name="connsiteY5" fmla="*/ 1793874 h 3010719"/>
                <a:gd name="connsiteX6" fmla="*/ 220604 w 1455679"/>
                <a:gd name="connsiteY6" fmla="*/ 1543049 h 3010719"/>
                <a:gd name="connsiteX7" fmla="*/ 153929 w 1455679"/>
                <a:gd name="connsiteY7" fmla="*/ 1304924 h 3010719"/>
                <a:gd name="connsiteX8" fmla="*/ 80904 w 1455679"/>
                <a:gd name="connsiteY8" fmla="*/ 1035049 h 3010719"/>
                <a:gd name="connsiteX9" fmla="*/ 26929 w 1455679"/>
                <a:gd name="connsiteY9" fmla="*/ 787399 h 3010719"/>
                <a:gd name="connsiteX10" fmla="*/ 4704 w 1455679"/>
                <a:gd name="connsiteY10" fmla="*/ 612774 h 3010719"/>
                <a:gd name="connsiteX11" fmla="*/ 1529 w 1455679"/>
                <a:gd name="connsiteY11" fmla="*/ 434974 h 3010719"/>
                <a:gd name="connsiteX12" fmla="*/ 23754 w 1455679"/>
                <a:gd name="connsiteY12" fmla="*/ 304799 h 3010719"/>
                <a:gd name="connsiteX13" fmla="*/ 61854 w 1455679"/>
                <a:gd name="connsiteY13" fmla="*/ 209549 h 3010719"/>
                <a:gd name="connsiteX14" fmla="*/ 128529 w 1455679"/>
                <a:gd name="connsiteY14" fmla="*/ 117474 h 3010719"/>
                <a:gd name="connsiteX15" fmla="*/ 207904 w 1455679"/>
                <a:gd name="connsiteY15" fmla="*/ 47624 h 3010719"/>
                <a:gd name="connsiteX16" fmla="*/ 385704 w 1455679"/>
                <a:gd name="connsiteY16" fmla="*/ -1 h 3010719"/>
                <a:gd name="connsiteX17" fmla="*/ 495245 w 1455679"/>
                <a:gd name="connsiteY17" fmla="*/ 17465 h 3010719"/>
                <a:gd name="connsiteX18" fmla="*/ 595254 w 1455679"/>
                <a:gd name="connsiteY18" fmla="*/ 37310 h 3010719"/>
                <a:gd name="connsiteX19" fmla="*/ 685734 w 1455679"/>
                <a:gd name="connsiteY19" fmla="*/ 72232 h 3010719"/>
                <a:gd name="connsiteX20" fmla="*/ 796059 w 1455679"/>
                <a:gd name="connsiteY20" fmla="*/ 123033 h 3010719"/>
                <a:gd name="connsiteX21" fmla="*/ 900054 w 1455679"/>
                <a:gd name="connsiteY21" fmla="*/ 158749 h 3010719"/>
                <a:gd name="connsiteX22" fmla="*/ 1018317 w 1455679"/>
                <a:gd name="connsiteY22" fmla="*/ 245275 h 3010719"/>
                <a:gd name="connsiteX23" fmla="*/ 1122305 w 1455679"/>
                <a:gd name="connsiteY23" fmla="*/ 319893 h 3010719"/>
                <a:gd name="connsiteX24" fmla="*/ 1239780 w 1455679"/>
                <a:gd name="connsiteY24" fmla="*/ 419898 h 3010719"/>
                <a:gd name="connsiteX25" fmla="*/ 1316772 w 1455679"/>
                <a:gd name="connsiteY25" fmla="*/ 508798 h 3010719"/>
                <a:gd name="connsiteX26" fmla="*/ 1396937 w 1455679"/>
                <a:gd name="connsiteY26" fmla="*/ 600868 h 3010719"/>
                <a:gd name="connsiteX27" fmla="*/ 1455679 w 1455679"/>
                <a:gd name="connsiteY27" fmla="*/ 682624 h 3010719"/>
                <a:gd name="connsiteX0" fmla="*/ 890538 w 1455679"/>
                <a:gd name="connsiteY0" fmla="*/ 3011653 h 3011653"/>
                <a:gd name="connsiteX1" fmla="*/ 712729 w 1455679"/>
                <a:gd name="connsiteY1" fmla="*/ 2699683 h 3011653"/>
                <a:gd name="connsiteX2" fmla="*/ 607954 w 1455679"/>
                <a:gd name="connsiteY2" fmla="*/ 2486958 h 3011653"/>
                <a:gd name="connsiteX3" fmla="*/ 525404 w 1455679"/>
                <a:gd name="connsiteY3" fmla="*/ 2321858 h 3011653"/>
                <a:gd name="connsiteX4" fmla="*/ 414279 w 1455679"/>
                <a:gd name="connsiteY4" fmla="*/ 2055158 h 3011653"/>
                <a:gd name="connsiteX5" fmla="*/ 303154 w 1455679"/>
                <a:gd name="connsiteY5" fmla="*/ 1794808 h 3011653"/>
                <a:gd name="connsiteX6" fmla="*/ 220604 w 1455679"/>
                <a:gd name="connsiteY6" fmla="*/ 1543983 h 3011653"/>
                <a:gd name="connsiteX7" fmla="*/ 153929 w 1455679"/>
                <a:gd name="connsiteY7" fmla="*/ 1305858 h 3011653"/>
                <a:gd name="connsiteX8" fmla="*/ 80904 w 1455679"/>
                <a:gd name="connsiteY8" fmla="*/ 1035983 h 3011653"/>
                <a:gd name="connsiteX9" fmla="*/ 26929 w 1455679"/>
                <a:gd name="connsiteY9" fmla="*/ 788333 h 3011653"/>
                <a:gd name="connsiteX10" fmla="*/ 4704 w 1455679"/>
                <a:gd name="connsiteY10" fmla="*/ 613708 h 3011653"/>
                <a:gd name="connsiteX11" fmla="*/ 1529 w 1455679"/>
                <a:gd name="connsiteY11" fmla="*/ 435908 h 3011653"/>
                <a:gd name="connsiteX12" fmla="*/ 23754 w 1455679"/>
                <a:gd name="connsiteY12" fmla="*/ 305733 h 3011653"/>
                <a:gd name="connsiteX13" fmla="*/ 61854 w 1455679"/>
                <a:gd name="connsiteY13" fmla="*/ 210483 h 3011653"/>
                <a:gd name="connsiteX14" fmla="*/ 128529 w 1455679"/>
                <a:gd name="connsiteY14" fmla="*/ 118408 h 3011653"/>
                <a:gd name="connsiteX15" fmla="*/ 241255 w 1455679"/>
                <a:gd name="connsiteY15" fmla="*/ 48558 h 3011653"/>
                <a:gd name="connsiteX16" fmla="*/ 385704 w 1455679"/>
                <a:gd name="connsiteY16" fmla="*/ 933 h 3011653"/>
                <a:gd name="connsiteX17" fmla="*/ 495245 w 1455679"/>
                <a:gd name="connsiteY17" fmla="*/ 18399 h 3011653"/>
                <a:gd name="connsiteX18" fmla="*/ 595254 w 1455679"/>
                <a:gd name="connsiteY18" fmla="*/ 38244 h 3011653"/>
                <a:gd name="connsiteX19" fmla="*/ 685734 w 1455679"/>
                <a:gd name="connsiteY19" fmla="*/ 73166 h 3011653"/>
                <a:gd name="connsiteX20" fmla="*/ 796059 w 1455679"/>
                <a:gd name="connsiteY20" fmla="*/ 123967 h 3011653"/>
                <a:gd name="connsiteX21" fmla="*/ 900054 w 1455679"/>
                <a:gd name="connsiteY21" fmla="*/ 159683 h 3011653"/>
                <a:gd name="connsiteX22" fmla="*/ 1018317 w 1455679"/>
                <a:gd name="connsiteY22" fmla="*/ 246209 h 3011653"/>
                <a:gd name="connsiteX23" fmla="*/ 1122305 w 1455679"/>
                <a:gd name="connsiteY23" fmla="*/ 320827 h 3011653"/>
                <a:gd name="connsiteX24" fmla="*/ 1239780 w 1455679"/>
                <a:gd name="connsiteY24" fmla="*/ 420832 h 3011653"/>
                <a:gd name="connsiteX25" fmla="*/ 1316772 w 1455679"/>
                <a:gd name="connsiteY25" fmla="*/ 509732 h 3011653"/>
                <a:gd name="connsiteX26" fmla="*/ 1396937 w 1455679"/>
                <a:gd name="connsiteY26" fmla="*/ 601802 h 3011653"/>
                <a:gd name="connsiteX27" fmla="*/ 1455679 w 1455679"/>
                <a:gd name="connsiteY27" fmla="*/ 683558 h 3011653"/>
                <a:gd name="connsiteX0" fmla="*/ 890538 w 1455679"/>
                <a:gd name="connsiteY0" fmla="*/ 2995742 h 2995742"/>
                <a:gd name="connsiteX1" fmla="*/ 712729 w 1455679"/>
                <a:gd name="connsiteY1" fmla="*/ 2683772 h 2995742"/>
                <a:gd name="connsiteX2" fmla="*/ 607954 w 1455679"/>
                <a:gd name="connsiteY2" fmla="*/ 2471047 h 2995742"/>
                <a:gd name="connsiteX3" fmla="*/ 525404 w 1455679"/>
                <a:gd name="connsiteY3" fmla="*/ 2305947 h 2995742"/>
                <a:gd name="connsiteX4" fmla="*/ 414279 w 1455679"/>
                <a:gd name="connsiteY4" fmla="*/ 2039247 h 2995742"/>
                <a:gd name="connsiteX5" fmla="*/ 303154 w 1455679"/>
                <a:gd name="connsiteY5" fmla="*/ 1778897 h 2995742"/>
                <a:gd name="connsiteX6" fmla="*/ 220604 w 1455679"/>
                <a:gd name="connsiteY6" fmla="*/ 1528072 h 2995742"/>
                <a:gd name="connsiteX7" fmla="*/ 153929 w 1455679"/>
                <a:gd name="connsiteY7" fmla="*/ 1289947 h 2995742"/>
                <a:gd name="connsiteX8" fmla="*/ 80904 w 1455679"/>
                <a:gd name="connsiteY8" fmla="*/ 1020072 h 2995742"/>
                <a:gd name="connsiteX9" fmla="*/ 26929 w 1455679"/>
                <a:gd name="connsiteY9" fmla="*/ 772422 h 2995742"/>
                <a:gd name="connsiteX10" fmla="*/ 4704 w 1455679"/>
                <a:gd name="connsiteY10" fmla="*/ 597797 h 2995742"/>
                <a:gd name="connsiteX11" fmla="*/ 1529 w 1455679"/>
                <a:gd name="connsiteY11" fmla="*/ 419997 h 2995742"/>
                <a:gd name="connsiteX12" fmla="*/ 23754 w 1455679"/>
                <a:gd name="connsiteY12" fmla="*/ 289822 h 2995742"/>
                <a:gd name="connsiteX13" fmla="*/ 61854 w 1455679"/>
                <a:gd name="connsiteY13" fmla="*/ 194572 h 2995742"/>
                <a:gd name="connsiteX14" fmla="*/ 128529 w 1455679"/>
                <a:gd name="connsiteY14" fmla="*/ 102497 h 2995742"/>
                <a:gd name="connsiteX15" fmla="*/ 241255 w 1455679"/>
                <a:gd name="connsiteY15" fmla="*/ 32647 h 2995742"/>
                <a:gd name="connsiteX16" fmla="*/ 385704 w 1455679"/>
                <a:gd name="connsiteY16" fmla="*/ 7258 h 2995742"/>
                <a:gd name="connsiteX17" fmla="*/ 495245 w 1455679"/>
                <a:gd name="connsiteY17" fmla="*/ 2488 h 2995742"/>
                <a:gd name="connsiteX18" fmla="*/ 595254 w 1455679"/>
                <a:gd name="connsiteY18" fmla="*/ 22333 h 2995742"/>
                <a:gd name="connsiteX19" fmla="*/ 685734 w 1455679"/>
                <a:gd name="connsiteY19" fmla="*/ 57255 h 2995742"/>
                <a:gd name="connsiteX20" fmla="*/ 796059 w 1455679"/>
                <a:gd name="connsiteY20" fmla="*/ 108056 h 2995742"/>
                <a:gd name="connsiteX21" fmla="*/ 900054 w 1455679"/>
                <a:gd name="connsiteY21" fmla="*/ 143772 h 2995742"/>
                <a:gd name="connsiteX22" fmla="*/ 1018317 w 1455679"/>
                <a:gd name="connsiteY22" fmla="*/ 230298 h 2995742"/>
                <a:gd name="connsiteX23" fmla="*/ 1122305 w 1455679"/>
                <a:gd name="connsiteY23" fmla="*/ 304916 h 2995742"/>
                <a:gd name="connsiteX24" fmla="*/ 1239780 w 1455679"/>
                <a:gd name="connsiteY24" fmla="*/ 404921 h 2995742"/>
                <a:gd name="connsiteX25" fmla="*/ 1316772 w 1455679"/>
                <a:gd name="connsiteY25" fmla="*/ 493821 h 2995742"/>
                <a:gd name="connsiteX26" fmla="*/ 1396937 w 1455679"/>
                <a:gd name="connsiteY26" fmla="*/ 585891 h 2995742"/>
                <a:gd name="connsiteX27" fmla="*/ 1455679 w 1455679"/>
                <a:gd name="connsiteY27" fmla="*/ 667647 h 2995742"/>
                <a:gd name="connsiteX0" fmla="*/ 890538 w 1455679"/>
                <a:gd name="connsiteY0" fmla="*/ 3006431 h 3006431"/>
                <a:gd name="connsiteX1" fmla="*/ 712729 w 1455679"/>
                <a:gd name="connsiteY1" fmla="*/ 2694461 h 3006431"/>
                <a:gd name="connsiteX2" fmla="*/ 607954 w 1455679"/>
                <a:gd name="connsiteY2" fmla="*/ 2481736 h 3006431"/>
                <a:gd name="connsiteX3" fmla="*/ 525404 w 1455679"/>
                <a:gd name="connsiteY3" fmla="*/ 2316636 h 3006431"/>
                <a:gd name="connsiteX4" fmla="*/ 414279 w 1455679"/>
                <a:gd name="connsiteY4" fmla="*/ 2049936 h 3006431"/>
                <a:gd name="connsiteX5" fmla="*/ 303154 w 1455679"/>
                <a:gd name="connsiteY5" fmla="*/ 1789586 h 3006431"/>
                <a:gd name="connsiteX6" fmla="*/ 220604 w 1455679"/>
                <a:gd name="connsiteY6" fmla="*/ 1538761 h 3006431"/>
                <a:gd name="connsiteX7" fmla="*/ 153929 w 1455679"/>
                <a:gd name="connsiteY7" fmla="*/ 1300636 h 3006431"/>
                <a:gd name="connsiteX8" fmla="*/ 80904 w 1455679"/>
                <a:gd name="connsiteY8" fmla="*/ 1030761 h 3006431"/>
                <a:gd name="connsiteX9" fmla="*/ 26929 w 1455679"/>
                <a:gd name="connsiteY9" fmla="*/ 783111 h 3006431"/>
                <a:gd name="connsiteX10" fmla="*/ 4704 w 1455679"/>
                <a:gd name="connsiteY10" fmla="*/ 608486 h 3006431"/>
                <a:gd name="connsiteX11" fmla="*/ 1529 w 1455679"/>
                <a:gd name="connsiteY11" fmla="*/ 430686 h 3006431"/>
                <a:gd name="connsiteX12" fmla="*/ 23754 w 1455679"/>
                <a:gd name="connsiteY12" fmla="*/ 300511 h 3006431"/>
                <a:gd name="connsiteX13" fmla="*/ 61854 w 1455679"/>
                <a:gd name="connsiteY13" fmla="*/ 205261 h 3006431"/>
                <a:gd name="connsiteX14" fmla="*/ 128529 w 1455679"/>
                <a:gd name="connsiteY14" fmla="*/ 113186 h 3006431"/>
                <a:gd name="connsiteX15" fmla="*/ 241255 w 1455679"/>
                <a:gd name="connsiteY15" fmla="*/ 43336 h 3006431"/>
                <a:gd name="connsiteX16" fmla="*/ 380144 w 1455679"/>
                <a:gd name="connsiteY16" fmla="*/ 1270 h 3006431"/>
                <a:gd name="connsiteX17" fmla="*/ 495245 w 1455679"/>
                <a:gd name="connsiteY17" fmla="*/ 13177 h 3006431"/>
                <a:gd name="connsiteX18" fmla="*/ 595254 w 1455679"/>
                <a:gd name="connsiteY18" fmla="*/ 33022 h 3006431"/>
                <a:gd name="connsiteX19" fmla="*/ 685734 w 1455679"/>
                <a:gd name="connsiteY19" fmla="*/ 67944 h 3006431"/>
                <a:gd name="connsiteX20" fmla="*/ 796059 w 1455679"/>
                <a:gd name="connsiteY20" fmla="*/ 118745 h 3006431"/>
                <a:gd name="connsiteX21" fmla="*/ 900054 w 1455679"/>
                <a:gd name="connsiteY21" fmla="*/ 154461 h 3006431"/>
                <a:gd name="connsiteX22" fmla="*/ 1018317 w 1455679"/>
                <a:gd name="connsiteY22" fmla="*/ 240987 h 3006431"/>
                <a:gd name="connsiteX23" fmla="*/ 1122305 w 1455679"/>
                <a:gd name="connsiteY23" fmla="*/ 315605 h 3006431"/>
                <a:gd name="connsiteX24" fmla="*/ 1239780 w 1455679"/>
                <a:gd name="connsiteY24" fmla="*/ 415610 h 3006431"/>
                <a:gd name="connsiteX25" fmla="*/ 1316772 w 1455679"/>
                <a:gd name="connsiteY25" fmla="*/ 504510 h 3006431"/>
                <a:gd name="connsiteX26" fmla="*/ 1396937 w 1455679"/>
                <a:gd name="connsiteY26" fmla="*/ 596580 h 3006431"/>
                <a:gd name="connsiteX27" fmla="*/ 1455679 w 1455679"/>
                <a:gd name="connsiteY27" fmla="*/ 678336 h 3006431"/>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900054 w 1455679"/>
                <a:gd name="connsiteY21" fmla="*/ 149596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88935 w 1455679"/>
                <a:gd name="connsiteY21" fmla="*/ 166273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49599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55157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60715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60715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60715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60715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79162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60715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55679" h="3001566">
                  <a:moveTo>
                    <a:pt x="890538" y="3001566"/>
                  </a:moveTo>
                  <a:lnTo>
                    <a:pt x="712729" y="2689596"/>
                  </a:lnTo>
                  <a:lnTo>
                    <a:pt x="607954" y="2476871"/>
                  </a:lnTo>
                  <a:cubicBezTo>
                    <a:pt x="576733" y="2413900"/>
                    <a:pt x="557683" y="2383738"/>
                    <a:pt x="525404" y="2311771"/>
                  </a:cubicBezTo>
                  <a:cubicBezTo>
                    <a:pt x="493125" y="2239804"/>
                    <a:pt x="451321" y="2132913"/>
                    <a:pt x="414279" y="2045071"/>
                  </a:cubicBezTo>
                  <a:cubicBezTo>
                    <a:pt x="377237" y="1957229"/>
                    <a:pt x="335433" y="1864358"/>
                    <a:pt x="303154" y="1779162"/>
                  </a:cubicBezTo>
                  <a:cubicBezTo>
                    <a:pt x="270875" y="1693966"/>
                    <a:pt x="245475" y="1615388"/>
                    <a:pt x="220604" y="1533896"/>
                  </a:cubicBezTo>
                  <a:lnTo>
                    <a:pt x="153929" y="1295771"/>
                  </a:lnTo>
                  <a:lnTo>
                    <a:pt x="80904" y="1025896"/>
                  </a:lnTo>
                  <a:lnTo>
                    <a:pt x="26929" y="778246"/>
                  </a:lnTo>
                  <a:cubicBezTo>
                    <a:pt x="13171" y="705750"/>
                    <a:pt x="8937" y="662358"/>
                    <a:pt x="4704" y="603621"/>
                  </a:cubicBezTo>
                  <a:cubicBezTo>
                    <a:pt x="471" y="544884"/>
                    <a:pt x="-1646" y="477150"/>
                    <a:pt x="1529" y="425821"/>
                  </a:cubicBezTo>
                  <a:cubicBezTo>
                    <a:pt x="4704" y="374492"/>
                    <a:pt x="16346" y="339038"/>
                    <a:pt x="23754" y="295646"/>
                  </a:cubicBezTo>
                  <a:lnTo>
                    <a:pt x="61854" y="200396"/>
                  </a:lnTo>
                  <a:cubicBezTo>
                    <a:pt x="79316" y="169175"/>
                    <a:pt x="98629" y="135308"/>
                    <a:pt x="128529" y="108321"/>
                  </a:cubicBezTo>
                  <a:cubicBezTo>
                    <a:pt x="158429" y="81334"/>
                    <a:pt x="199319" y="56197"/>
                    <a:pt x="241255" y="38471"/>
                  </a:cubicBezTo>
                  <a:cubicBezTo>
                    <a:pt x="283191" y="20745"/>
                    <a:pt x="337812" y="6990"/>
                    <a:pt x="380144" y="1963"/>
                  </a:cubicBezTo>
                  <a:cubicBezTo>
                    <a:pt x="422476" y="-3064"/>
                    <a:pt x="458731" y="2490"/>
                    <a:pt x="495245" y="8312"/>
                  </a:cubicBezTo>
                  <a:lnTo>
                    <a:pt x="595254" y="28157"/>
                  </a:lnTo>
                  <a:lnTo>
                    <a:pt x="685734" y="63079"/>
                  </a:lnTo>
                  <a:lnTo>
                    <a:pt x="796059" y="113880"/>
                  </a:lnTo>
                  <a:lnTo>
                    <a:pt x="894493" y="160715"/>
                  </a:lnTo>
                  <a:lnTo>
                    <a:pt x="1018317" y="236122"/>
                  </a:lnTo>
                  <a:cubicBezTo>
                    <a:pt x="1055358" y="258347"/>
                    <a:pt x="1085395" y="281636"/>
                    <a:pt x="1122305" y="310740"/>
                  </a:cubicBezTo>
                  <a:cubicBezTo>
                    <a:pt x="1159215" y="339844"/>
                    <a:pt x="1206443" y="377408"/>
                    <a:pt x="1239780" y="410745"/>
                  </a:cubicBezTo>
                  <a:lnTo>
                    <a:pt x="1316772" y="499645"/>
                  </a:lnTo>
                  <a:lnTo>
                    <a:pt x="1396937" y="591715"/>
                  </a:lnTo>
                  <a:lnTo>
                    <a:pt x="1455679" y="673471"/>
                  </a:lnTo>
                </a:path>
              </a:pathLst>
            </a:custGeom>
            <a:noFill/>
            <a:ln w="88900" cap="rnd"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Freeform 63"/>
            <p:cNvSpPr/>
            <p:nvPr/>
          </p:nvSpPr>
          <p:spPr>
            <a:xfrm>
              <a:off x="1312692" y="3613408"/>
              <a:ext cx="894491" cy="1568471"/>
            </a:xfrm>
            <a:custGeom>
              <a:avLst/>
              <a:gdLst>
                <a:gd name="connsiteX0" fmla="*/ 666496 w 2072640"/>
                <a:gd name="connsiteY0" fmla="*/ 495808 h 3665728"/>
                <a:gd name="connsiteX1" fmla="*/ 727456 w 2072640"/>
                <a:gd name="connsiteY1" fmla="*/ 617728 h 3665728"/>
                <a:gd name="connsiteX2" fmla="*/ 796544 w 2072640"/>
                <a:gd name="connsiteY2" fmla="*/ 751840 h 3665728"/>
                <a:gd name="connsiteX3" fmla="*/ 824992 w 2072640"/>
                <a:gd name="connsiteY3" fmla="*/ 865632 h 3665728"/>
                <a:gd name="connsiteX4" fmla="*/ 833120 w 2072640"/>
                <a:gd name="connsiteY4" fmla="*/ 938784 h 3665728"/>
                <a:gd name="connsiteX5" fmla="*/ 816864 w 2072640"/>
                <a:gd name="connsiteY5" fmla="*/ 1016000 h 3665728"/>
                <a:gd name="connsiteX6" fmla="*/ 759968 w 2072640"/>
                <a:gd name="connsiteY6" fmla="*/ 1060704 h 3665728"/>
                <a:gd name="connsiteX7" fmla="*/ 719328 w 2072640"/>
                <a:gd name="connsiteY7" fmla="*/ 1068832 h 3665728"/>
                <a:gd name="connsiteX8" fmla="*/ 654304 w 2072640"/>
                <a:gd name="connsiteY8" fmla="*/ 1064768 h 3665728"/>
                <a:gd name="connsiteX9" fmla="*/ 597408 w 2072640"/>
                <a:gd name="connsiteY9" fmla="*/ 1040384 h 3665728"/>
                <a:gd name="connsiteX10" fmla="*/ 568960 w 2072640"/>
                <a:gd name="connsiteY10" fmla="*/ 975360 h 3665728"/>
                <a:gd name="connsiteX11" fmla="*/ 548640 w 2072640"/>
                <a:gd name="connsiteY11" fmla="*/ 922528 h 3665728"/>
                <a:gd name="connsiteX12" fmla="*/ 548640 w 2072640"/>
                <a:gd name="connsiteY12" fmla="*/ 833120 h 3665728"/>
                <a:gd name="connsiteX13" fmla="*/ 581152 w 2072640"/>
                <a:gd name="connsiteY13" fmla="*/ 768096 h 3665728"/>
                <a:gd name="connsiteX14" fmla="*/ 593344 w 2072640"/>
                <a:gd name="connsiteY14" fmla="*/ 715264 h 3665728"/>
                <a:gd name="connsiteX15" fmla="*/ 650240 w 2072640"/>
                <a:gd name="connsiteY15" fmla="*/ 674624 h 3665728"/>
                <a:gd name="connsiteX16" fmla="*/ 690880 w 2072640"/>
                <a:gd name="connsiteY16" fmla="*/ 617728 h 3665728"/>
                <a:gd name="connsiteX17" fmla="*/ 784352 w 2072640"/>
                <a:gd name="connsiteY17" fmla="*/ 532384 h 3665728"/>
                <a:gd name="connsiteX18" fmla="*/ 890016 w 2072640"/>
                <a:gd name="connsiteY18" fmla="*/ 438912 h 3665728"/>
                <a:gd name="connsiteX19" fmla="*/ 999744 w 2072640"/>
                <a:gd name="connsiteY19" fmla="*/ 337312 h 3665728"/>
                <a:gd name="connsiteX20" fmla="*/ 1129792 w 2072640"/>
                <a:gd name="connsiteY20" fmla="*/ 243840 h 3665728"/>
                <a:gd name="connsiteX21" fmla="*/ 1300480 w 2072640"/>
                <a:gd name="connsiteY21" fmla="*/ 154432 h 3665728"/>
                <a:gd name="connsiteX22" fmla="*/ 1442720 w 2072640"/>
                <a:gd name="connsiteY22" fmla="*/ 73152 h 3665728"/>
                <a:gd name="connsiteX23" fmla="*/ 1556512 w 2072640"/>
                <a:gd name="connsiteY23" fmla="*/ 32512 h 3665728"/>
                <a:gd name="connsiteX24" fmla="*/ 1645920 w 2072640"/>
                <a:gd name="connsiteY24" fmla="*/ 8128 h 3665728"/>
                <a:gd name="connsiteX25" fmla="*/ 1686560 w 2072640"/>
                <a:gd name="connsiteY25" fmla="*/ 4064 h 3665728"/>
                <a:gd name="connsiteX26" fmla="*/ 1739392 w 2072640"/>
                <a:gd name="connsiteY26" fmla="*/ 4064 h 3665728"/>
                <a:gd name="connsiteX27" fmla="*/ 1755648 w 2072640"/>
                <a:gd name="connsiteY27" fmla="*/ 0 h 3665728"/>
                <a:gd name="connsiteX28" fmla="*/ 1836928 w 2072640"/>
                <a:gd name="connsiteY28" fmla="*/ 12192 h 3665728"/>
                <a:gd name="connsiteX29" fmla="*/ 1897888 w 2072640"/>
                <a:gd name="connsiteY29" fmla="*/ 28448 h 3665728"/>
                <a:gd name="connsiteX30" fmla="*/ 1983232 w 2072640"/>
                <a:gd name="connsiteY30" fmla="*/ 81280 h 3665728"/>
                <a:gd name="connsiteX31" fmla="*/ 2015744 w 2072640"/>
                <a:gd name="connsiteY31" fmla="*/ 134112 h 3665728"/>
                <a:gd name="connsiteX32" fmla="*/ 2048256 w 2072640"/>
                <a:gd name="connsiteY32" fmla="*/ 199136 h 3665728"/>
                <a:gd name="connsiteX33" fmla="*/ 2064512 w 2072640"/>
                <a:gd name="connsiteY33" fmla="*/ 264160 h 3665728"/>
                <a:gd name="connsiteX34" fmla="*/ 2064512 w 2072640"/>
                <a:gd name="connsiteY34" fmla="*/ 321056 h 3665728"/>
                <a:gd name="connsiteX35" fmla="*/ 2072640 w 2072640"/>
                <a:gd name="connsiteY35" fmla="*/ 410464 h 3665728"/>
                <a:gd name="connsiteX36" fmla="*/ 2060448 w 2072640"/>
                <a:gd name="connsiteY36" fmla="*/ 487680 h 3665728"/>
                <a:gd name="connsiteX37" fmla="*/ 2023872 w 2072640"/>
                <a:gd name="connsiteY37" fmla="*/ 589280 h 3665728"/>
                <a:gd name="connsiteX38" fmla="*/ 1975104 w 2072640"/>
                <a:gd name="connsiteY38" fmla="*/ 739648 h 3665728"/>
                <a:gd name="connsiteX39" fmla="*/ 1926336 w 2072640"/>
                <a:gd name="connsiteY39" fmla="*/ 885952 h 3665728"/>
                <a:gd name="connsiteX40" fmla="*/ 1845056 w 2072640"/>
                <a:gd name="connsiteY40" fmla="*/ 1020064 h 3665728"/>
                <a:gd name="connsiteX41" fmla="*/ 1759712 w 2072640"/>
                <a:gd name="connsiteY41" fmla="*/ 1154176 h 3665728"/>
                <a:gd name="connsiteX42" fmla="*/ 1670304 w 2072640"/>
                <a:gd name="connsiteY42" fmla="*/ 1337056 h 3665728"/>
                <a:gd name="connsiteX43" fmla="*/ 1552448 w 2072640"/>
                <a:gd name="connsiteY43" fmla="*/ 1503680 h 3665728"/>
                <a:gd name="connsiteX44" fmla="*/ 1381760 w 2072640"/>
                <a:gd name="connsiteY44" fmla="*/ 1767840 h 3665728"/>
                <a:gd name="connsiteX45" fmla="*/ 1247648 w 2072640"/>
                <a:gd name="connsiteY45" fmla="*/ 1946656 h 3665728"/>
                <a:gd name="connsiteX46" fmla="*/ 1060704 w 2072640"/>
                <a:gd name="connsiteY46" fmla="*/ 2186432 h 3665728"/>
                <a:gd name="connsiteX47" fmla="*/ 898144 w 2072640"/>
                <a:gd name="connsiteY47" fmla="*/ 2397760 h 3665728"/>
                <a:gd name="connsiteX48" fmla="*/ 548640 w 2072640"/>
                <a:gd name="connsiteY48" fmla="*/ 2852928 h 3665728"/>
                <a:gd name="connsiteX49" fmla="*/ 308864 w 2072640"/>
                <a:gd name="connsiteY49" fmla="*/ 3165856 h 3665728"/>
                <a:gd name="connsiteX50" fmla="*/ 65024 w 2072640"/>
                <a:gd name="connsiteY50" fmla="*/ 3551936 h 3665728"/>
                <a:gd name="connsiteX51" fmla="*/ 0 w 2072640"/>
                <a:gd name="connsiteY51" fmla="*/ 3665728 h 3665728"/>
                <a:gd name="connsiteX0" fmla="*/ 666496 w 2072640"/>
                <a:gd name="connsiteY0" fmla="*/ 495808 h 3665728"/>
                <a:gd name="connsiteX1" fmla="*/ 727456 w 2072640"/>
                <a:gd name="connsiteY1" fmla="*/ 617728 h 3665728"/>
                <a:gd name="connsiteX2" fmla="*/ 796544 w 2072640"/>
                <a:gd name="connsiteY2" fmla="*/ 751840 h 3665728"/>
                <a:gd name="connsiteX3" fmla="*/ 824992 w 2072640"/>
                <a:gd name="connsiteY3" fmla="*/ 865632 h 3665728"/>
                <a:gd name="connsiteX4" fmla="*/ 833120 w 2072640"/>
                <a:gd name="connsiteY4" fmla="*/ 938784 h 3665728"/>
                <a:gd name="connsiteX5" fmla="*/ 816864 w 2072640"/>
                <a:gd name="connsiteY5" fmla="*/ 1016000 h 3665728"/>
                <a:gd name="connsiteX6" fmla="*/ 759968 w 2072640"/>
                <a:gd name="connsiteY6" fmla="*/ 1060704 h 3665728"/>
                <a:gd name="connsiteX7" fmla="*/ 719328 w 2072640"/>
                <a:gd name="connsiteY7" fmla="*/ 1068832 h 3665728"/>
                <a:gd name="connsiteX8" fmla="*/ 654304 w 2072640"/>
                <a:gd name="connsiteY8" fmla="*/ 1064768 h 3665728"/>
                <a:gd name="connsiteX9" fmla="*/ 597408 w 2072640"/>
                <a:gd name="connsiteY9" fmla="*/ 1040384 h 3665728"/>
                <a:gd name="connsiteX10" fmla="*/ 568960 w 2072640"/>
                <a:gd name="connsiteY10" fmla="*/ 975360 h 3665728"/>
                <a:gd name="connsiteX11" fmla="*/ 548640 w 2072640"/>
                <a:gd name="connsiteY11" fmla="*/ 922528 h 3665728"/>
                <a:gd name="connsiteX12" fmla="*/ 548640 w 2072640"/>
                <a:gd name="connsiteY12" fmla="*/ 833120 h 3665728"/>
                <a:gd name="connsiteX13" fmla="*/ 581152 w 2072640"/>
                <a:gd name="connsiteY13" fmla="*/ 768096 h 3665728"/>
                <a:gd name="connsiteX14" fmla="*/ 593344 w 2072640"/>
                <a:gd name="connsiteY14" fmla="*/ 715264 h 3665728"/>
                <a:gd name="connsiteX15" fmla="*/ 650240 w 2072640"/>
                <a:gd name="connsiteY15" fmla="*/ 674624 h 3665728"/>
                <a:gd name="connsiteX16" fmla="*/ 690880 w 2072640"/>
                <a:gd name="connsiteY16" fmla="*/ 617728 h 3665728"/>
                <a:gd name="connsiteX17" fmla="*/ 784352 w 2072640"/>
                <a:gd name="connsiteY17" fmla="*/ 532384 h 3665728"/>
                <a:gd name="connsiteX18" fmla="*/ 890016 w 2072640"/>
                <a:gd name="connsiteY18" fmla="*/ 438912 h 3665728"/>
                <a:gd name="connsiteX19" fmla="*/ 999744 w 2072640"/>
                <a:gd name="connsiteY19" fmla="*/ 337312 h 3665728"/>
                <a:gd name="connsiteX20" fmla="*/ 1129792 w 2072640"/>
                <a:gd name="connsiteY20" fmla="*/ 243840 h 3665728"/>
                <a:gd name="connsiteX21" fmla="*/ 1300480 w 2072640"/>
                <a:gd name="connsiteY21" fmla="*/ 154432 h 3665728"/>
                <a:gd name="connsiteX22" fmla="*/ 1442720 w 2072640"/>
                <a:gd name="connsiteY22" fmla="*/ 73152 h 3665728"/>
                <a:gd name="connsiteX23" fmla="*/ 1556512 w 2072640"/>
                <a:gd name="connsiteY23" fmla="*/ 32512 h 3665728"/>
                <a:gd name="connsiteX24" fmla="*/ 1645920 w 2072640"/>
                <a:gd name="connsiteY24" fmla="*/ 8128 h 3665728"/>
                <a:gd name="connsiteX25" fmla="*/ 1686560 w 2072640"/>
                <a:gd name="connsiteY25" fmla="*/ 4064 h 3665728"/>
                <a:gd name="connsiteX26" fmla="*/ 1739392 w 2072640"/>
                <a:gd name="connsiteY26" fmla="*/ 4064 h 3665728"/>
                <a:gd name="connsiteX27" fmla="*/ 1755648 w 2072640"/>
                <a:gd name="connsiteY27" fmla="*/ 0 h 3665728"/>
                <a:gd name="connsiteX28" fmla="*/ 1836928 w 2072640"/>
                <a:gd name="connsiteY28" fmla="*/ 12192 h 3665728"/>
                <a:gd name="connsiteX29" fmla="*/ 1897888 w 2072640"/>
                <a:gd name="connsiteY29" fmla="*/ 28448 h 3665728"/>
                <a:gd name="connsiteX30" fmla="*/ 1983232 w 2072640"/>
                <a:gd name="connsiteY30" fmla="*/ 81280 h 3665728"/>
                <a:gd name="connsiteX31" fmla="*/ 2015744 w 2072640"/>
                <a:gd name="connsiteY31" fmla="*/ 134112 h 3665728"/>
                <a:gd name="connsiteX32" fmla="*/ 2048256 w 2072640"/>
                <a:gd name="connsiteY32" fmla="*/ 199136 h 3665728"/>
                <a:gd name="connsiteX33" fmla="*/ 2064512 w 2072640"/>
                <a:gd name="connsiteY33" fmla="*/ 264160 h 3665728"/>
                <a:gd name="connsiteX34" fmla="*/ 2064512 w 2072640"/>
                <a:gd name="connsiteY34" fmla="*/ 321056 h 3665728"/>
                <a:gd name="connsiteX35" fmla="*/ 2072640 w 2072640"/>
                <a:gd name="connsiteY35" fmla="*/ 410464 h 3665728"/>
                <a:gd name="connsiteX36" fmla="*/ 2060448 w 2072640"/>
                <a:gd name="connsiteY36" fmla="*/ 487680 h 3665728"/>
                <a:gd name="connsiteX37" fmla="*/ 2023872 w 2072640"/>
                <a:gd name="connsiteY37" fmla="*/ 589280 h 3665728"/>
                <a:gd name="connsiteX38" fmla="*/ 1975104 w 2072640"/>
                <a:gd name="connsiteY38" fmla="*/ 739648 h 3665728"/>
                <a:gd name="connsiteX39" fmla="*/ 1926336 w 2072640"/>
                <a:gd name="connsiteY39" fmla="*/ 885952 h 3665728"/>
                <a:gd name="connsiteX40" fmla="*/ 1845056 w 2072640"/>
                <a:gd name="connsiteY40" fmla="*/ 1020064 h 3665728"/>
                <a:gd name="connsiteX41" fmla="*/ 1763776 w 2072640"/>
                <a:gd name="connsiteY41" fmla="*/ 1162304 h 3665728"/>
                <a:gd name="connsiteX42" fmla="*/ 1670304 w 2072640"/>
                <a:gd name="connsiteY42" fmla="*/ 1337056 h 3665728"/>
                <a:gd name="connsiteX43" fmla="*/ 1552448 w 2072640"/>
                <a:gd name="connsiteY43" fmla="*/ 1503680 h 3665728"/>
                <a:gd name="connsiteX44" fmla="*/ 1381760 w 2072640"/>
                <a:gd name="connsiteY44" fmla="*/ 1767840 h 3665728"/>
                <a:gd name="connsiteX45" fmla="*/ 1247648 w 2072640"/>
                <a:gd name="connsiteY45" fmla="*/ 1946656 h 3665728"/>
                <a:gd name="connsiteX46" fmla="*/ 1060704 w 2072640"/>
                <a:gd name="connsiteY46" fmla="*/ 2186432 h 3665728"/>
                <a:gd name="connsiteX47" fmla="*/ 898144 w 2072640"/>
                <a:gd name="connsiteY47" fmla="*/ 2397760 h 3665728"/>
                <a:gd name="connsiteX48" fmla="*/ 548640 w 2072640"/>
                <a:gd name="connsiteY48" fmla="*/ 2852928 h 3665728"/>
                <a:gd name="connsiteX49" fmla="*/ 308864 w 2072640"/>
                <a:gd name="connsiteY49" fmla="*/ 3165856 h 3665728"/>
                <a:gd name="connsiteX50" fmla="*/ 65024 w 2072640"/>
                <a:gd name="connsiteY50" fmla="*/ 3551936 h 3665728"/>
                <a:gd name="connsiteX51" fmla="*/ 0 w 2072640"/>
                <a:gd name="connsiteY51" fmla="*/ 3665728 h 3665728"/>
                <a:gd name="connsiteX0" fmla="*/ 666496 w 2072640"/>
                <a:gd name="connsiteY0" fmla="*/ 495808 h 3665728"/>
                <a:gd name="connsiteX1" fmla="*/ 727456 w 2072640"/>
                <a:gd name="connsiteY1" fmla="*/ 617728 h 3665728"/>
                <a:gd name="connsiteX2" fmla="*/ 796544 w 2072640"/>
                <a:gd name="connsiteY2" fmla="*/ 751840 h 3665728"/>
                <a:gd name="connsiteX3" fmla="*/ 824992 w 2072640"/>
                <a:gd name="connsiteY3" fmla="*/ 865632 h 3665728"/>
                <a:gd name="connsiteX4" fmla="*/ 833120 w 2072640"/>
                <a:gd name="connsiteY4" fmla="*/ 938784 h 3665728"/>
                <a:gd name="connsiteX5" fmla="*/ 816864 w 2072640"/>
                <a:gd name="connsiteY5" fmla="*/ 1016000 h 3665728"/>
                <a:gd name="connsiteX6" fmla="*/ 759968 w 2072640"/>
                <a:gd name="connsiteY6" fmla="*/ 1060704 h 3665728"/>
                <a:gd name="connsiteX7" fmla="*/ 719328 w 2072640"/>
                <a:gd name="connsiteY7" fmla="*/ 1068832 h 3665728"/>
                <a:gd name="connsiteX8" fmla="*/ 654304 w 2072640"/>
                <a:gd name="connsiteY8" fmla="*/ 1064768 h 3665728"/>
                <a:gd name="connsiteX9" fmla="*/ 597408 w 2072640"/>
                <a:gd name="connsiteY9" fmla="*/ 1040384 h 3665728"/>
                <a:gd name="connsiteX10" fmla="*/ 568960 w 2072640"/>
                <a:gd name="connsiteY10" fmla="*/ 975360 h 3665728"/>
                <a:gd name="connsiteX11" fmla="*/ 548640 w 2072640"/>
                <a:gd name="connsiteY11" fmla="*/ 922528 h 3665728"/>
                <a:gd name="connsiteX12" fmla="*/ 548640 w 2072640"/>
                <a:gd name="connsiteY12" fmla="*/ 833120 h 3665728"/>
                <a:gd name="connsiteX13" fmla="*/ 581152 w 2072640"/>
                <a:gd name="connsiteY13" fmla="*/ 768096 h 3665728"/>
                <a:gd name="connsiteX14" fmla="*/ 593344 w 2072640"/>
                <a:gd name="connsiteY14" fmla="*/ 715264 h 3665728"/>
                <a:gd name="connsiteX15" fmla="*/ 650240 w 2072640"/>
                <a:gd name="connsiteY15" fmla="*/ 674624 h 3665728"/>
                <a:gd name="connsiteX16" fmla="*/ 690880 w 2072640"/>
                <a:gd name="connsiteY16" fmla="*/ 617728 h 3665728"/>
                <a:gd name="connsiteX17" fmla="*/ 784352 w 2072640"/>
                <a:gd name="connsiteY17" fmla="*/ 532384 h 3665728"/>
                <a:gd name="connsiteX18" fmla="*/ 890016 w 2072640"/>
                <a:gd name="connsiteY18" fmla="*/ 438912 h 3665728"/>
                <a:gd name="connsiteX19" fmla="*/ 999744 w 2072640"/>
                <a:gd name="connsiteY19" fmla="*/ 337312 h 3665728"/>
                <a:gd name="connsiteX20" fmla="*/ 1129792 w 2072640"/>
                <a:gd name="connsiteY20" fmla="*/ 243840 h 3665728"/>
                <a:gd name="connsiteX21" fmla="*/ 1300480 w 2072640"/>
                <a:gd name="connsiteY21" fmla="*/ 154432 h 3665728"/>
                <a:gd name="connsiteX22" fmla="*/ 1442720 w 2072640"/>
                <a:gd name="connsiteY22" fmla="*/ 73152 h 3665728"/>
                <a:gd name="connsiteX23" fmla="*/ 1556512 w 2072640"/>
                <a:gd name="connsiteY23" fmla="*/ 32512 h 3665728"/>
                <a:gd name="connsiteX24" fmla="*/ 1645920 w 2072640"/>
                <a:gd name="connsiteY24" fmla="*/ 8128 h 3665728"/>
                <a:gd name="connsiteX25" fmla="*/ 1686560 w 2072640"/>
                <a:gd name="connsiteY25" fmla="*/ 4064 h 3665728"/>
                <a:gd name="connsiteX26" fmla="*/ 1739392 w 2072640"/>
                <a:gd name="connsiteY26" fmla="*/ 4064 h 3665728"/>
                <a:gd name="connsiteX27" fmla="*/ 1755648 w 2072640"/>
                <a:gd name="connsiteY27" fmla="*/ 0 h 3665728"/>
                <a:gd name="connsiteX28" fmla="*/ 1836928 w 2072640"/>
                <a:gd name="connsiteY28" fmla="*/ 12192 h 3665728"/>
                <a:gd name="connsiteX29" fmla="*/ 1897888 w 2072640"/>
                <a:gd name="connsiteY29" fmla="*/ 28448 h 3665728"/>
                <a:gd name="connsiteX30" fmla="*/ 1983232 w 2072640"/>
                <a:gd name="connsiteY30" fmla="*/ 81280 h 3665728"/>
                <a:gd name="connsiteX31" fmla="*/ 2015744 w 2072640"/>
                <a:gd name="connsiteY31" fmla="*/ 134112 h 3665728"/>
                <a:gd name="connsiteX32" fmla="*/ 2048256 w 2072640"/>
                <a:gd name="connsiteY32" fmla="*/ 199136 h 3665728"/>
                <a:gd name="connsiteX33" fmla="*/ 2064512 w 2072640"/>
                <a:gd name="connsiteY33" fmla="*/ 264160 h 3665728"/>
                <a:gd name="connsiteX34" fmla="*/ 2064512 w 2072640"/>
                <a:gd name="connsiteY34" fmla="*/ 321056 h 3665728"/>
                <a:gd name="connsiteX35" fmla="*/ 2072640 w 2072640"/>
                <a:gd name="connsiteY35" fmla="*/ 410464 h 3665728"/>
                <a:gd name="connsiteX36" fmla="*/ 2060448 w 2072640"/>
                <a:gd name="connsiteY36" fmla="*/ 487680 h 3665728"/>
                <a:gd name="connsiteX37" fmla="*/ 2023872 w 2072640"/>
                <a:gd name="connsiteY37" fmla="*/ 589280 h 3665728"/>
                <a:gd name="connsiteX38" fmla="*/ 1975104 w 2072640"/>
                <a:gd name="connsiteY38" fmla="*/ 739648 h 3665728"/>
                <a:gd name="connsiteX39" fmla="*/ 1910080 w 2072640"/>
                <a:gd name="connsiteY39" fmla="*/ 873760 h 3665728"/>
                <a:gd name="connsiteX40" fmla="*/ 1845056 w 2072640"/>
                <a:gd name="connsiteY40" fmla="*/ 1020064 h 3665728"/>
                <a:gd name="connsiteX41" fmla="*/ 1763776 w 2072640"/>
                <a:gd name="connsiteY41" fmla="*/ 1162304 h 3665728"/>
                <a:gd name="connsiteX42" fmla="*/ 1670304 w 2072640"/>
                <a:gd name="connsiteY42" fmla="*/ 1337056 h 3665728"/>
                <a:gd name="connsiteX43" fmla="*/ 1552448 w 2072640"/>
                <a:gd name="connsiteY43" fmla="*/ 1503680 h 3665728"/>
                <a:gd name="connsiteX44" fmla="*/ 1381760 w 2072640"/>
                <a:gd name="connsiteY44" fmla="*/ 1767840 h 3665728"/>
                <a:gd name="connsiteX45" fmla="*/ 1247648 w 2072640"/>
                <a:gd name="connsiteY45" fmla="*/ 1946656 h 3665728"/>
                <a:gd name="connsiteX46" fmla="*/ 1060704 w 2072640"/>
                <a:gd name="connsiteY46" fmla="*/ 2186432 h 3665728"/>
                <a:gd name="connsiteX47" fmla="*/ 898144 w 2072640"/>
                <a:gd name="connsiteY47" fmla="*/ 2397760 h 3665728"/>
                <a:gd name="connsiteX48" fmla="*/ 548640 w 2072640"/>
                <a:gd name="connsiteY48" fmla="*/ 2852928 h 3665728"/>
                <a:gd name="connsiteX49" fmla="*/ 308864 w 2072640"/>
                <a:gd name="connsiteY49" fmla="*/ 3165856 h 3665728"/>
                <a:gd name="connsiteX50" fmla="*/ 65024 w 2072640"/>
                <a:gd name="connsiteY50" fmla="*/ 3551936 h 3665728"/>
                <a:gd name="connsiteX51" fmla="*/ 0 w 2072640"/>
                <a:gd name="connsiteY51" fmla="*/ 3665728 h 3665728"/>
                <a:gd name="connsiteX0" fmla="*/ 666496 w 2072640"/>
                <a:gd name="connsiteY0" fmla="*/ 495808 h 3665728"/>
                <a:gd name="connsiteX1" fmla="*/ 727456 w 2072640"/>
                <a:gd name="connsiteY1" fmla="*/ 617728 h 3665728"/>
                <a:gd name="connsiteX2" fmla="*/ 796544 w 2072640"/>
                <a:gd name="connsiteY2" fmla="*/ 751840 h 3665728"/>
                <a:gd name="connsiteX3" fmla="*/ 824992 w 2072640"/>
                <a:gd name="connsiteY3" fmla="*/ 865632 h 3665728"/>
                <a:gd name="connsiteX4" fmla="*/ 833120 w 2072640"/>
                <a:gd name="connsiteY4" fmla="*/ 938784 h 3665728"/>
                <a:gd name="connsiteX5" fmla="*/ 816864 w 2072640"/>
                <a:gd name="connsiteY5" fmla="*/ 1016000 h 3665728"/>
                <a:gd name="connsiteX6" fmla="*/ 759968 w 2072640"/>
                <a:gd name="connsiteY6" fmla="*/ 1060704 h 3665728"/>
                <a:gd name="connsiteX7" fmla="*/ 719328 w 2072640"/>
                <a:gd name="connsiteY7" fmla="*/ 1068832 h 3665728"/>
                <a:gd name="connsiteX8" fmla="*/ 654304 w 2072640"/>
                <a:gd name="connsiteY8" fmla="*/ 1064768 h 3665728"/>
                <a:gd name="connsiteX9" fmla="*/ 597408 w 2072640"/>
                <a:gd name="connsiteY9" fmla="*/ 1040384 h 3665728"/>
                <a:gd name="connsiteX10" fmla="*/ 568960 w 2072640"/>
                <a:gd name="connsiteY10" fmla="*/ 975360 h 3665728"/>
                <a:gd name="connsiteX11" fmla="*/ 548640 w 2072640"/>
                <a:gd name="connsiteY11" fmla="*/ 922528 h 3665728"/>
                <a:gd name="connsiteX12" fmla="*/ 548640 w 2072640"/>
                <a:gd name="connsiteY12" fmla="*/ 833120 h 3665728"/>
                <a:gd name="connsiteX13" fmla="*/ 581152 w 2072640"/>
                <a:gd name="connsiteY13" fmla="*/ 768096 h 3665728"/>
                <a:gd name="connsiteX14" fmla="*/ 593344 w 2072640"/>
                <a:gd name="connsiteY14" fmla="*/ 715264 h 3665728"/>
                <a:gd name="connsiteX15" fmla="*/ 650240 w 2072640"/>
                <a:gd name="connsiteY15" fmla="*/ 674624 h 3665728"/>
                <a:gd name="connsiteX16" fmla="*/ 690880 w 2072640"/>
                <a:gd name="connsiteY16" fmla="*/ 617728 h 3665728"/>
                <a:gd name="connsiteX17" fmla="*/ 784352 w 2072640"/>
                <a:gd name="connsiteY17" fmla="*/ 532384 h 3665728"/>
                <a:gd name="connsiteX18" fmla="*/ 890016 w 2072640"/>
                <a:gd name="connsiteY18" fmla="*/ 438912 h 3665728"/>
                <a:gd name="connsiteX19" fmla="*/ 999744 w 2072640"/>
                <a:gd name="connsiteY19" fmla="*/ 337312 h 3665728"/>
                <a:gd name="connsiteX20" fmla="*/ 1129792 w 2072640"/>
                <a:gd name="connsiteY20" fmla="*/ 243840 h 3665728"/>
                <a:gd name="connsiteX21" fmla="*/ 1300480 w 2072640"/>
                <a:gd name="connsiteY21" fmla="*/ 154432 h 3665728"/>
                <a:gd name="connsiteX22" fmla="*/ 1442720 w 2072640"/>
                <a:gd name="connsiteY22" fmla="*/ 73152 h 3665728"/>
                <a:gd name="connsiteX23" fmla="*/ 1556512 w 2072640"/>
                <a:gd name="connsiteY23" fmla="*/ 32512 h 3665728"/>
                <a:gd name="connsiteX24" fmla="*/ 1645920 w 2072640"/>
                <a:gd name="connsiteY24" fmla="*/ 8128 h 3665728"/>
                <a:gd name="connsiteX25" fmla="*/ 1686560 w 2072640"/>
                <a:gd name="connsiteY25" fmla="*/ 4064 h 3665728"/>
                <a:gd name="connsiteX26" fmla="*/ 1739392 w 2072640"/>
                <a:gd name="connsiteY26" fmla="*/ 4064 h 3665728"/>
                <a:gd name="connsiteX27" fmla="*/ 1755648 w 2072640"/>
                <a:gd name="connsiteY27" fmla="*/ 0 h 3665728"/>
                <a:gd name="connsiteX28" fmla="*/ 1836928 w 2072640"/>
                <a:gd name="connsiteY28" fmla="*/ 12192 h 3665728"/>
                <a:gd name="connsiteX29" fmla="*/ 1897888 w 2072640"/>
                <a:gd name="connsiteY29" fmla="*/ 28448 h 3665728"/>
                <a:gd name="connsiteX30" fmla="*/ 1983232 w 2072640"/>
                <a:gd name="connsiteY30" fmla="*/ 81280 h 3665728"/>
                <a:gd name="connsiteX31" fmla="*/ 2015744 w 2072640"/>
                <a:gd name="connsiteY31" fmla="*/ 134112 h 3665728"/>
                <a:gd name="connsiteX32" fmla="*/ 2048256 w 2072640"/>
                <a:gd name="connsiteY32" fmla="*/ 199136 h 3665728"/>
                <a:gd name="connsiteX33" fmla="*/ 2064512 w 2072640"/>
                <a:gd name="connsiteY33" fmla="*/ 264160 h 3665728"/>
                <a:gd name="connsiteX34" fmla="*/ 2064512 w 2072640"/>
                <a:gd name="connsiteY34" fmla="*/ 321056 h 3665728"/>
                <a:gd name="connsiteX35" fmla="*/ 2072640 w 2072640"/>
                <a:gd name="connsiteY35" fmla="*/ 410464 h 3665728"/>
                <a:gd name="connsiteX36" fmla="*/ 2060448 w 2072640"/>
                <a:gd name="connsiteY36" fmla="*/ 487680 h 3665728"/>
                <a:gd name="connsiteX37" fmla="*/ 2023872 w 2072640"/>
                <a:gd name="connsiteY37" fmla="*/ 589280 h 3665728"/>
                <a:gd name="connsiteX38" fmla="*/ 1975104 w 2072640"/>
                <a:gd name="connsiteY38" fmla="*/ 739648 h 3665728"/>
                <a:gd name="connsiteX39" fmla="*/ 1910080 w 2072640"/>
                <a:gd name="connsiteY39" fmla="*/ 873760 h 3665728"/>
                <a:gd name="connsiteX40" fmla="*/ 1845056 w 2072640"/>
                <a:gd name="connsiteY40" fmla="*/ 1020064 h 3665728"/>
                <a:gd name="connsiteX41" fmla="*/ 1763776 w 2072640"/>
                <a:gd name="connsiteY41" fmla="*/ 1162304 h 3665728"/>
                <a:gd name="connsiteX42" fmla="*/ 1666240 w 2072640"/>
                <a:gd name="connsiteY42" fmla="*/ 1341120 h 3665728"/>
                <a:gd name="connsiteX43" fmla="*/ 1552448 w 2072640"/>
                <a:gd name="connsiteY43" fmla="*/ 1503680 h 3665728"/>
                <a:gd name="connsiteX44" fmla="*/ 1381760 w 2072640"/>
                <a:gd name="connsiteY44" fmla="*/ 1767840 h 3665728"/>
                <a:gd name="connsiteX45" fmla="*/ 1247648 w 2072640"/>
                <a:gd name="connsiteY45" fmla="*/ 1946656 h 3665728"/>
                <a:gd name="connsiteX46" fmla="*/ 1060704 w 2072640"/>
                <a:gd name="connsiteY46" fmla="*/ 2186432 h 3665728"/>
                <a:gd name="connsiteX47" fmla="*/ 898144 w 2072640"/>
                <a:gd name="connsiteY47" fmla="*/ 2397760 h 3665728"/>
                <a:gd name="connsiteX48" fmla="*/ 548640 w 2072640"/>
                <a:gd name="connsiteY48" fmla="*/ 2852928 h 3665728"/>
                <a:gd name="connsiteX49" fmla="*/ 308864 w 2072640"/>
                <a:gd name="connsiteY49" fmla="*/ 3165856 h 3665728"/>
                <a:gd name="connsiteX50" fmla="*/ 65024 w 2072640"/>
                <a:gd name="connsiteY50" fmla="*/ 3551936 h 3665728"/>
                <a:gd name="connsiteX51" fmla="*/ 0 w 2072640"/>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90016 w 2080768"/>
                <a:gd name="connsiteY18" fmla="*/ 438912 h 3665728"/>
                <a:gd name="connsiteX19" fmla="*/ 999744 w 2080768"/>
                <a:gd name="connsiteY19" fmla="*/ 337312 h 3665728"/>
                <a:gd name="connsiteX20" fmla="*/ 1129792 w 2080768"/>
                <a:gd name="connsiteY20" fmla="*/ 243840 h 3665728"/>
                <a:gd name="connsiteX21" fmla="*/ 1300480 w 2080768"/>
                <a:gd name="connsiteY21" fmla="*/ 154432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686560 w 2080768"/>
                <a:gd name="connsiteY25" fmla="*/ 4064 h 3665728"/>
                <a:gd name="connsiteX26" fmla="*/ 1739392 w 2080768"/>
                <a:gd name="connsiteY26" fmla="*/ 4064 h 3665728"/>
                <a:gd name="connsiteX27" fmla="*/ 1755648 w 2080768"/>
                <a:gd name="connsiteY27" fmla="*/ 0 h 3665728"/>
                <a:gd name="connsiteX28" fmla="*/ 1836928 w 2080768"/>
                <a:gd name="connsiteY28" fmla="*/ 12192 h 3665728"/>
                <a:gd name="connsiteX29" fmla="*/ 1897888 w 2080768"/>
                <a:gd name="connsiteY29" fmla="*/ 28448 h 3665728"/>
                <a:gd name="connsiteX30" fmla="*/ 1983232 w 2080768"/>
                <a:gd name="connsiteY30" fmla="*/ 81280 h 3665728"/>
                <a:gd name="connsiteX31" fmla="*/ 2015744 w 2080768"/>
                <a:gd name="connsiteY31" fmla="*/ 134112 h 3665728"/>
                <a:gd name="connsiteX32" fmla="*/ 2048256 w 2080768"/>
                <a:gd name="connsiteY32" fmla="*/ 199136 h 3665728"/>
                <a:gd name="connsiteX33" fmla="*/ 2064512 w 2080768"/>
                <a:gd name="connsiteY33" fmla="*/ 264160 h 3665728"/>
                <a:gd name="connsiteX34" fmla="*/ 2080768 w 2080768"/>
                <a:gd name="connsiteY34" fmla="*/ 337312 h 3665728"/>
                <a:gd name="connsiteX35" fmla="*/ 2072640 w 2080768"/>
                <a:gd name="connsiteY35" fmla="*/ 410464 h 3665728"/>
                <a:gd name="connsiteX36" fmla="*/ 2060448 w 2080768"/>
                <a:gd name="connsiteY36" fmla="*/ 487680 h 3665728"/>
                <a:gd name="connsiteX37" fmla="*/ 2023872 w 2080768"/>
                <a:gd name="connsiteY37" fmla="*/ 589280 h 3665728"/>
                <a:gd name="connsiteX38" fmla="*/ 1975104 w 2080768"/>
                <a:gd name="connsiteY38" fmla="*/ 739648 h 3665728"/>
                <a:gd name="connsiteX39" fmla="*/ 1910080 w 2080768"/>
                <a:gd name="connsiteY39" fmla="*/ 873760 h 3665728"/>
                <a:gd name="connsiteX40" fmla="*/ 1845056 w 2080768"/>
                <a:gd name="connsiteY40" fmla="*/ 1020064 h 3665728"/>
                <a:gd name="connsiteX41" fmla="*/ 1763776 w 2080768"/>
                <a:gd name="connsiteY41" fmla="*/ 1162304 h 3665728"/>
                <a:gd name="connsiteX42" fmla="*/ 1666240 w 2080768"/>
                <a:gd name="connsiteY42" fmla="*/ 1341120 h 3665728"/>
                <a:gd name="connsiteX43" fmla="*/ 1552448 w 2080768"/>
                <a:gd name="connsiteY43" fmla="*/ 1503680 h 3665728"/>
                <a:gd name="connsiteX44" fmla="*/ 1381760 w 2080768"/>
                <a:gd name="connsiteY44" fmla="*/ 1767840 h 3665728"/>
                <a:gd name="connsiteX45" fmla="*/ 1247648 w 2080768"/>
                <a:gd name="connsiteY45" fmla="*/ 1946656 h 3665728"/>
                <a:gd name="connsiteX46" fmla="*/ 1060704 w 2080768"/>
                <a:gd name="connsiteY46" fmla="*/ 2186432 h 3665728"/>
                <a:gd name="connsiteX47" fmla="*/ 898144 w 2080768"/>
                <a:gd name="connsiteY47" fmla="*/ 2397760 h 3665728"/>
                <a:gd name="connsiteX48" fmla="*/ 548640 w 2080768"/>
                <a:gd name="connsiteY48" fmla="*/ 2852928 h 3665728"/>
                <a:gd name="connsiteX49" fmla="*/ 308864 w 2080768"/>
                <a:gd name="connsiteY49" fmla="*/ 3165856 h 3665728"/>
                <a:gd name="connsiteX50" fmla="*/ 65024 w 2080768"/>
                <a:gd name="connsiteY50" fmla="*/ 3551936 h 3665728"/>
                <a:gd name="connsiteX51" fmla="*/ 0 w 2080768"/>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90016 w 2080768"/>
                <a:gd name="connsiteY18" fmla="*/ 438912 h 3665728"/>
                <a:gd name="connsiteX19" fmla="*/ 999744 w 2080768"/>
                <a:gd name="connsiteY19" fmla="*/ 337312 h 3665728"/>
                <a:gd name="connsiteX20" fmla="*/ 1129792 w 2080768"/>
                <a:gd name="connsiteY20" fmla="*/ 243840 h 3665728"/>
                <a:gd name="connsiteX21" fmla="*/ 1300480 w 2080768"/>
                <a:gd name="connsiteY21" fmla="*/ 154432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686560 w 2080768"/>
                <a:gd name="connsiteY25" fmla="*/ 4064 h 3665728"/>
                <a:gd name="connsiteX26" fmla="*/ 1739392 w 2080768"/>
                <a:gd name="connsiteY26" fmla="*/ 4064 h 3665728"/>
                <a:gd name="connsiteX27" fmla="*/ 1755648 w 2080768"/>
                <a:gd name="connsiteY27" fmla="*/ 0 h 3665728"/>
                <a:gd name="connsiteX28" fmla="*/ 1836928 w 2080768"/>
                <a:gd name="connsiteY28" fmla="*/ 12192 h 3665728"/>
                <a:gd name="connsiteX29" fmla="*/ 1897888 w 2080768"/>
                <a:gd name="connsiteY29" fmla="*/ 28448 h 3665728"/>
                <a:gd name="connsiteX30" fmla="*/ 1983232 w 2080768"/>
                <a:gd name="connsiteY30" fmla="*/ 81280 h 3665728"/>
                <a:gd name="connsiteX31" fmla="*/ 2015744 w 2080768"/>
                <a:gd name="connsiteY31" fmla="*/ 134112 h 3665728"/>
                <a:gd name="connsiteX32" fmla="*/ 2048256 w 2080768"/>
                <a:gd name="connsiteY32" fmla="*/ 199136 h 3665728"/>
                <a:gd name="connsiteX33" fmla="*/ 2064512 w 2080768"/>
                <a:gd name="connsiteY33" fmla="*/ 264160 h 3665728"/>
                <a:gd name="connsiteX34" fmla="*/ 2080768 w 2080768"/>
                <a:gd name="connsiteY34" fmla="*/ 337312 h 3665728"/>
                <a:gd name="connsiteX35" fmla="*/ 2072640 w 2080768"/>
                <a:gd name="connsiteY35" fmla="*/ 410464 h 3665728"/>
                <a:gd name="connsiteX36" fmla="*/ 2060448 w 2080768"/>
                <a:gd name="connsiteY36" fmla="*/ 487680 h 3665728"/>
                <a:gd name="connsiteX37" fmla="*/ 2027936 w 2080768"/>
                <a:gd name="connsiteY37" fmla="*/ 597408 h 3665728"/>
                <a:gd name="connsiteX38" fmla="*/ 1975104 w 2080768"/>
                <a:gd name="connsiteY38" fmla="*/ 739648 h 3665728"/>
                <a:gd name="connsiteX39" fmla="*/ 1910080 w 2080768"/>
                <a:gd name="connsiteY39" fmla="*/ 873760 h 3665728"/>
                <a:gd name="connsiteX40" fmla="*/ 1845056 w 2080768"/>
                <a:gd name="connsiteY40" fmla="*/ 1020064 h 3665728"/>
                <a:gd name="connsiteX41" fmla="*/ 1763776 w 2080768"/>
                <a:gd name="connsiteY41" fmla="*/ 1162304 h 3665728"/>
                <a:gd name="connsiteX42" fmla="*/ 1666240 w 2080768"/>
                <a:gd name="connsiteY42" fmla="*/ 1341120 h 3665728"/>
                <a:gd name="connsiteX43" fmla="*/ 1552448 w 2080768"/>
                <a:gd name="connsiteY43" fmla="*/ 1503680 h 3665728"/>
                <a:gd name="connsiteX44" fmla="*/ 1381760 w 2080768"/>
                <a:gd name="connsiteY44" fmla="*/ 1767840 h 3665728"/>
                <a:gd name="connsiteX45" fmla="*/ 1247648 w 2080768"/>
                <a:gd name="connsiteY45" fmla="*/ 1946656 h 3665728"/>
                <a:gd name="connsiteX46" fmla="*/ 1060704 w 2080768"/>
                <a:gd name="connsiteY46" fmla="*/ 2186432 h 3665728"/>
                <a:gd name="connsiteX47" fmla="*/ 898144 w 2080768"/>
                <a:gd name="connsiteY47" fmla="*/ 2397760 h 3665728"/>
                <a:gd name="connsiteX48" fmla="*/ 548640 w 2080768"/>
                <a:gd name="connsiteY48" fmla="*/ 2852928 h 3665728"/>
                <a:gd name="connsiteX49" fmla="*/ 308864 w 2080768"/>
                <a:gd name="connsiteY49" fmla="*/ 3165856 h 3665728"/>
                <a:gd name="connsiteX50" fmla="*/ 65024 w 2080768"/>
                <a:gd name="connsiteY50" fmla="*/ 3551936 h 3665728"/>
                <a:gd name="connsiteX51" fmla="*/ 0 w 2080768"/>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90016 w 2080768"/>
                <a:gd name="connsiteY18" fmla="*/ 438912 h 3665728"/>
                <a:gd name="connsiteX19" fmla="*/ 999744 w 2080768"/>
                <a:gd name="connsiteY19" fmla="*/ 337312 h 3665728"/>
                <a:gd name="connsiteX20" fmla="*/ 1129792 w 2080768"/>
                <a:gd name="connsiteY20" fmla="*/ 243840 h 3665728"/>
                <a:gd name="connsiteX21" fmla="*/ 1300480 w 2080768"/>
                <a:gd name="connsiteY21" fmla="*/ 154432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686560 w 2080768"/>
                <a:gd name="connsiteY25" fmla="*/ 4064 h 3665728"/>
                <a:gd name="connsiteX26" fmla="*/ 1739392 w 2080768"/>
                <a:gd name="connsiteY26" fmla="*/ 4064 h 3665728"/>
                <a:gd name="connsiteX27" fmla="*/ 1755648 w 2080768"/>
                <a:gd name="connsiteY27" fmla="*/ 0 h 3665728"/>
                <a:gd name="connsiteX28" fmla="*/ 1836928 w 2080768"/>
                <a:gd name="connsiteY28" fmla="*/ 12192 h 3665728"/>
                <a:gd name="connsiteX29" fmla="*/ 1897888 w 2080768"/>
                <a:gd name="connsiteY29" fmla="*/ 28448 h 3665728"/>
                <a:gd name="connsiteX30" fmla="*/ 1983232 w 2080768"/>
                <a:gd name="connsiteY30" fmla="*/ 81280 h 3665728"/>
                <a:gd name="connsiteX31" fmla="*/ 2015744 w 2080768"/>
                <a:gd name="connsiteY31" fmla="*/ 134112 h 3665728"/>
                <a:gd name="connsiteX32" fmla="*/ 2048256 w 2080768"/>
                <a:gd name="connsiteY32" fmla="*/ 199136 h 3665728"/>
                <a:gd name="connsiteX33" fmla="*/ 2064512 w 2080768"/>
                <a:gd name="connsiteY33" fmla="*/ 264160 h 3665728"/>
                <a:gd name="connsiteX34" fmla="*/ 2080768 w 2080768"/>
                <a:gd name="connsiteY34" fmla="*/ 337312 h 3665728"/>
                <a:gd name="connsiteX35" fmla="*/ 2072640 w 2080768"/>
                <a:gd name="connsiteY35" fmla="*/ 410464 h 3665728"/>
                <a:gd name="connsiteX36" fmla="*/ 2060448 w 2080768"/>
                <a:gd name="connsiteY36" fmla="*/ 487680 h 3665728"/>
                <a:gd name="connsiteX37" fmla="*/ 2027936 w 2080768"/>
                <a:gd name="connsiteY37" fmla="*/ 597408 h 3665728"/>
                <a:gd name="connsiteX38" fmla="*/ 1975104 w 2080768"/>
                <a:gd name="connsiteY38" fmla="*/ 739648 h 3665728"/>
                <a:gd name="connsiteX39" fmla="*/ 1914144 w 2080768"/>
                <a:gd name="connsiteY39" fmla="*/ 865632 h 3665728"/>
                <a:gd name="connsiteX40" fmla="*/ 1845056 w 2080768"/>
                <a:gd name="connsiteY40" fmla="*/ 1020064 h 3665728"/>
                <a:gd name="connsiteX41" fmla="*/ 1763776 w 2080768"/>
                <a:gd name="connsiteY41" fmla="*/ 1162304 h 3665728"/>
                <a:gd name="connsiteX42" fmla="*/ 1666240 w 2080768"/>
                <a:gd name="connsiteY42" fmla="*/ 1341120 h 3665728"/>
                <a:gd name="connsiteX43" fmla="*/ 1552448 w 2080768"/>
                <a:gd name="connsiteY43" fmla="*/ 1503680 h 3665728"/>
                <a:gd name="connsiteX44" fmla="*/ 1381760 w 2080768"/>
                <a:gd name="connsiteY44" fmla="*/ 1767840 h 3665728"/>
                <a:gd name="connsiteX45" fmla="*/ 1247648 w 2080768"/>
                <a:gd name="connsiteY45" fmla="*/ 1946656 h 3665728"/>
                <a:gd name="connsiteX46" fmla="*/ 1060704 w 2080768"/>
                <a:gd name="connsiteY46" fmla="*/ 2186432 h 3665728"/>
                <a:gd name="connsiteX47" fmla="*/ 898144 w 2080768"/>
                <a:gd name="connsiteY47" fmla="*/ 2397760 h 3665728"/>
                <a:gd name="connsiteX48" fmla="*/ 548640 w 2080768"/>
                <a:gd name="connsiteY48" fmla="*/ 2852928 h 3665728"/>
                <a:gd name="connsiteX49" fmla="*/ 308864 w 2080768"/>
                <a:gd name="connsiteY49" fmla="*/ 3165856 h 3665728"/>
                <a:gd name="connsiteX50" fmla="*/ 65024 w 2080768"/>
                <a:gd name="connsiteY50" fmla="*/ 3551936 h 3665728"/>
                <a:gd name="connsiteX51" fmla="*/ 0 w 2080768"/>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90016 w 2080768"/>
                <a:gd name="connsiteY18" fmla="*/ 438912 h 3665728"/>
                <a:gd name="connsiteX19" fmla="*/ 999744 w 2080768"/>
                <a:gd name="connsiteY19" fmla="*/ 337312 h 3665728"/>
                <a:gd name="connsiteX20" fmla="*/ 1129792 w 2080768"/>
                <a:gd name="connsiteY20" fmla="*/ 243840 h 3665728"/>
                <a:gd name="connsiteX21" fmla="*/ 1300480 w 2080768"/>
                <a:gd name="connsiteY21" fmla="*/ 154432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686560 w 2080768"/>
                <a:gd name="connsiteY25" fmla="*/ 4064 h 3665728"/>
                <a:gd name="connsiteX26" fmla="*/ 1739392 w 2080768"/>
                <a:gd name="connsiteY26" fmla="*/ 4064 h 3665728"/>
                <a:gd name="connsiteX27" fmla="*/ 1755648 w 2080768"/>
                <a:gd name="connsiteY27" fmla="*/ 0 h 3665728"/>
                <a:gd name="connsiteX28" fmla="*/ 1836928 w 2080768"/>
                <a:gd name="connsiteY28" fmla="*/ 12192 h 3665728"/>
                <a:gd name="connsiteX29" fmla="*/ 1897888 w 2080768"/>
                <a:gd name="connsiteY29" fmla="*/ 28448 h 3665728"/>
                <a:gd name="connsiteX30" fmla="*/ 1983232 w 2080768"/>
                <a:gd name="connsiteY30" fmla="*/ 81280 h 3665728"/>
                <a:gd name="connsiteX31" fmla="*/ 2015744 w 2080768"/>
                <a:gd name="connsiteY31" fmla="*/ 134112 h 3665728"/>
                <a:gd name="connsiteX32" fmla="*/ 2048256 w 2080768"/>
                <a:gd name="connsiteY32" fmla="*/ 199136 h 3665728"/>
                <a:gd name="connsiteX33" fmla="*/ 2064512 w 2080768"/>
                <a:gd name="connsiteY33" fmla="*/ 264160 h 3665728"/>
                <a:gd name="connsiteX34" fmla="*/ 2080768 w 2080768"/>
                <a:gd name="connsiteY34" fmla="*/ 337312 h 3665728"/>
                <a:gd name="connsiteX35" fmla="*/ 2072640 w 2080768"/>
                <a:gd name="connsiteY35" fmla="*/ 410464 h 3665728"/>
                <a:gd name="connsiteX36" fmla="*/ 2060448 w 2080768"/>
                <a:gd name="connsiteY36" fmla="*/ 487680 h 3665728"/>
                <a:gd name="connsiteX37" fmla="*/ 2027936 w 2080768"/>
                <a:gd name="connsiteY37" fmla="*/ 597408 h 3665728"/>
                <a:gd name="connsiteX38" fmla="*/ 1975104 w 2080768"/>
                <a:gd name="connsiteY38" fmla="*/ 739648 h 3665728"/>
                <a:gd name="connsiteX39" fmla="*/ 1918208 w 2080768"/>
                <a:gd name="connsiteY39" fmla="*/ 865632 h 3665728"/>
                <a:gd name="connsiteX40" fmla="*/ 1845056 w 2080768"/>
                <a:gd name="connsiteY40" fmla="*/ 1020064 h 3665728"/>
                <a:gd name="connsiteX41" fmla="*/ 1763776 w 2080768"/>
                <a:gd name="connsiteY41" fmla="*/ 1162304 h 3665728"/>
                <a:gd name="connsiteX42" fmla="*/ 1666240 w 2080768"/>
                <a:gd name="connsiteY42" fmla="*/ 1341120 h 3665728"/>
                <a:gd name="connsiteX43" fmla="*/ 1552448 w 2080768"/>
                <a:gd name="connsiteY43" fmla="*/ 1503680 h 3665728"/>
                <a:gd name="connsiteX44" fmla="*/ 1381760 w 2080768"/>
                <a:gd name="connsiteY44" fmla="*/ 1767840 h 3665728"/>
                <a:gd name="connsiteX45" fmla="*/ 1247648 w 2080768"/>
                <a:gd name="connsiteY45" fmla="*/ 1946656 h 3665728"/>
                <a:gd name="connsiteX46" fmla="*/ 1060704 w 2080768"/>
                <a:gd name="connsiteY46" fmla="*/ 2186432 h 3665728"/>
                <a:gd name="connsiteX47" fmla="*/ 898144 w 2080768"/>
                <a:gd name="connsiteY47" fmla="*/ 2397760 h 3665728"/>
                <a:gd name="connsiteX48" fmla="*/ 548640 w 2080768"/>
                <a:gd name="connsiteY48" fmla="*/ 2852928 h 3665728"/>
                <a:gd name="connsiteX49" fmla="*/ 308864 w 2080768"/>
                <a:gd name="connsiteY49" fmla="*/ 3165856 h 3665728"/>
                <a:gd name="connsiteX50" fmla="*/ 65024 w 2080768"/>
                <a:gd name="connsiteY50" fmla="*/ 3551936 h 3665728"/>
                <a:gd name="connsiteX51" fmla="*/ 0 w 2080768"/>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85952 w 2080768"/>
                <a:gd name="connsiteY18" fmla="*/ 422656 h 3665728"/>
                <a:gd name="connsiteX19" fmla="*/ 999744 w 2080768"/>
                <a:gd name="connsiteY19" fmla="*/ 337312 h 3665728"/>
                <a:gd name="connsiteX20" fmla="*/ 1129792 w 2080768"/>
                <a:gd name="connsiteY20" fmla="*/ 243840 h 3665728"/>
                <a:gd name="connsiteX21" fmla="*/ 1300480 w 2080768"/>
                <a:gd name="connsiteY21" fmla="*/ 154432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686560 w 2080768"/>
                <a:gd name="connsiteY25" fmla="*/ 4064 h 3665728"/>
                <a:gd name="connsiteX26" fmla="*/ 1739392 w 2080768"/>
                <a:gd name="connsiteY26" fmla="*/ 4064 h 3665728"/>
                <a:gd name="connsiteX27" fmla="*/ 1755648 w 2080768"/>
                <a:gd name="connsiteY27" fmla="*/ 0 h 3665728"/>
                <a:gd name="connsiteX28" fmla="*/ 1836928 w 2080768"/>
                <a:gd name="connsiteY28" fmla="*/ 12192 h 3665728"/>
                <a:gd name="connsiteX29" fmla="*/ 1897888 w 2080768"/>
                <a:gd name="connsiteY29" fmla="*/ 28448 h 3665728"/>
                <a:gd name="connsiteX30" fmla="*/ 1983232 w 2080768"/>
                <a:gd name="connsiteY30" fmla="*/ 81280 h 3665728"/>
                <a:gd name="connsiteX31" fmla="*/ 2015744 w 2080768"/>
                <a:gd name="connsiteY31" fmla="*/ 134112 h 3665728"/>
                <a:gd name="connsiteX32" fmla="*/ 2048256 w 2080768"/>
                <a:gd name="connsiteY32" fmla="*/ 199136 h 3665728"/>
                <a:gd name="connsiteX33" fmla="*/ 2064512 w 2080768"/>
                <a:gd name="connsiteY33" fmla="*/ 264160 h 3665728"/>
                <a:gd name="connsiteX34" fmla="*/ 2080768 w 2080768"/>
                <a:gd name="connsiteY34" fmla="*/ 337312 h 3665728"/>
                <a:gd name="connsiteX35" fmla="*/ 2072640 w 2080768"/>
                <a:gd name="connsiteY35" fmla="*/ 410464 h 3665728"/>
                <a:gd name="connsiteX36" fmla="*/ 2060448 w 2080768"/>
                <a:gd name="connsiteY36" fmla="*/ 487680 h 3665728"/>
                <a:gd name="connsiteX37" fmla="*/ 2027936 w 2080768"/>
                <a:gd name="connsiteY37" fmla="*/ 597408 h 3665728"/>
                <a:gd name="connsiteX38" fmla="*/ 1975104 w 2080768"/>
                <a:gd name="connsiteY38" fmla="*/ 739648 h 3665728"/>
                <a:gd name="connsiteX39" fmla="*/ 1918208 w 2080768"/>
                <a:gd name="connsiteY39" fmla="*/ 865632 h 3665728"/>
                <a:gd name="connsiteX40" fmla="*/ 1845056 w 2080768"/>
                <a:gd name="connsiteY40" fmla="*/ 1020064 h 3665728"/>
                <a:gd name="connsiteX41" fmla="*/ 1763776 w 2080768"/>
                <a:gd name="connsiteY41" fmla="*/ 1162304 h 3665728"/>
                <a:gd name="connsiteX42" fmla="*/ 1666240 w 2080768"/>
                <a:gd name="connsiteY42" fmla="*/ 1341120 h 3665728"/>
                <a:gd name="connsiteX43" fmla="*/ 1552448 w 2080768"/>
                <a:gd name="connsiteY43" fmla="*/ 1503680 h 3665728"/>
                <a:gd name="connsiteX44" fmla="*/ 1381760 w 2080768"/>
                <a:gd name="connsiteY44" fmla="*/ 1767840 h 3665728"/>
                <a:gd name="connsiteX45" fmla="*/ 1247648 w 2080768"/>
                <a:gd name="connsiteY45" fmla="*/ 1946656 h 3665728"/>
                <a:gd name="connsiteX46" fmla="*/ 1060704 w 2080768"/>
                <a:gd name="connsiteY46" fmla="*/ 2186432 h 3665728"/>
                <a:gd name="connsiteX47" fmla="*/ 898144 w 2080768"/>
                <a:gd name="connsiteY47" fmla="*/ 2397760 h 3665728"/>
                <a:gd name="connsiteX48" fmla="*/ 548640 w 2080768"/>
                <a:gd name="connsiteY48" fmla="*/ 2852928 h 3665728"/>
                <a:gd name="connsiteX49" fmla="*/ 308864 w 2080768"/>
                <a:gd name="connsiteY49" fmla="*/ 3165856 h 3665728"/>
                <a:gd name="connsiteX50" fmla="*/ 65024 w 2080768"/>
                <a:gd name="connsiteY50" fmla="*/ 3551936 h 3665728"/>
                <a:gd name="connsiteX51" fmla="*/ 0 w 2080768"/>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85952 w 2080768"/>
                <a:gd name="connsiteY18" fmla="*/ 422656 h 3665728"/>
                <a:gd name="connsiteX19" fmla="*/ 999744 w 2080768"/>
                <a:gd name="connsiteY19" fmla="*/ 337312 h 3665728"/>
                <a:gd name="connsiteX20" fmla="*/ 1129792 w 2080768"/>
                <a:gd name="connsiteY20" fmla="*/ 243840 h 3665728"/>
                <a:gd name="connsiteX21" fmla="*/ 1300480 w 2080768"/>
                <a:gd name="connsiteY21" fmla="*/ 142240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686560 w 2080768"/>
                <a:gd name="connsiteY25" fmla="*/ 4064 h 3665728"/>
                <a:gd name="connsiteX26" fmla="*/ 1739392 w 2080768"/>
                <a:gd name="connsiteY26" fmla="*/ 4064 h 3665728"/>
                <a:gd name="connsiteX27" fmla="*/ 1755648 w 2080768"/>
                <a:gd name="connsiteY27" fmla="*/ 0 h 3665728"/>
                <a:gd name="connsiteX28" fmla="*/ 1836928 w 2080768"/>
                <a:gd name="connsiteY28" fmla="*/ 12192 h 3665728"/>
                <a:gd name="connsiteX29" fmla="*/ 1897888 w 2080768"/>
                <a:gd name="connsiteY29" fmla="*/ 28448 h 3665728"/>
                <a:gd name="connsiteX30" fmla="*/ 1983232 w 2080768"/>
                <a:gd name="connsiteY30" fmla="*/ 81280 h 3665728"/>
                <a:gd name="connsiteX31" fmla="*/ 2015744 w 2080768"/>
                <a:gd name="connsiteY31" fmla="*/ 134112 h 3665728"/>
                <a:gd name="connsiteX32" fmla="*/ 2048256 w 2080768"/>
                <a:gd name="connsiteY32" fmla="*/ 199136 h 3665728"/>
                <a:gd name="connsiteX33" fmla="*/ 2064512 w 2080768"/>
                <a:gd name="connsiteY33" fmla="*/ 264160 h 3665728"/>
                <a:gd name="connsiteX34" fmla="*/ 2080768 w 2080768"/>
                <a:gd name="connsiteY34" fmla="*/ 337312 h 3665728"/>
                <a:gd name="connsiteX35" fmla="*/ 2072640 w 2080768"/>
                <a:gd name="connsiteY35" fmla="*/ 410464 h 3665728"/>
                <a:gd name="connsiteX36" fmla="*/ 2060448 w 2080768"/>
                <a:gd name="connsiteY36" fmla="*/ 487680 h 3665728"/>
                <a:gd name="connsiteX37" fmla="*/ 2027936 w 2080768"/>
                <a:gd name="connsiteY37" fmla="*/ 597408 h 3665728"/>
                <a:gd name="connsiteX38" fmla="*/ 1975104 w 2080768"/>
                <a:gd name="connsiteY38" fmla="*/ 739648 h 3665728"/>
                <a:gd name="connsiteX39" fmla="*/ 1918208 w 2080768"/>
                <a:gd name="connsiteY39" fmla="*/ 865632 h 3665728"/>
                <a:gd name="connsiteX40" fmla="*/ 1845056 w 2080768"/>
                <a:gd name="connsiteY40" fmla="*/ 1020064 h 3665728"/>
                <a:gd name="connsiteX41" fmla="*/ 1763776 w 2080768"/>
                <a:gd name="connsiteY41" fmla="*/ 1162304 h 3665728"/>
                <a:gd name="connsiteX42" fmla="*/ 1666240 w 2080768"/>
                <a:gd name="connsiteY42" fmla="*/ 1341120 h 3665728"/>
                <a:gd name="connsiteX43" fmla="*/ 1552448 w 2080768"/>
                <a:gd name="connsiteY43" fmla="*/ 1503680 h 3665728"/>
                <a:gd name="connsiteX44" fmla="*/ 1381760 w 2080768"/>
                <a:gd name="connsiteY44" fmla="*/ 1767840 h 3665728"/>
                <a:gd name="connsiteX45" fmla="*/ 1247648 w 2080768"/>
                <a:gd name="connsiteY45" fmla="*/ 1946656 h 3665728"/>
                <a:gd name="connsiteX46" fmla="*/ 1060704 w 2080768"/>
                <a:gd name="connsiteY46" fmla="*/ 2186432 h 3665728"/>
                <a:gd name="connsiteX47" fmla="*/ 898144 w 2080768"/>
                <a:gd name="connsiteY47" fmla="*/ 2397760 h 3665728"/>
                <a:gd name="connsiteX48" fmla="*/ 548640 w 2080768"/>
                <a:gd name="connsiteY48" fmla="*/ 2852928 h 3665728"/>
                <a:gd name="connsiteX49" fmla="*/ 308864 w 2080768"/>
                <a:gd name="connsiteY49" fmla="*/ 3165856 h 3665728"/>
                <a:gd name="connsiteX50" fmla="*/ 65024 w 2080768"/>
                <a:gd name="connsiteY50" fmla="*/ 3551936 h 3665728"/>
                <a:gd name="connsiteX51" fmla="*/ 0 w 2080768"/>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85952 w 2080768"/>
                <a:gd name="connsiteY18" fmla="*/ 422656 h 3665728"/>
                <a:gd name="connsiteX19" fmla="*/ 999744 w 2080768"/>
                <a:gd name="connsiteY19" fmla="*/ 337312 h 3665728"/>
                <a:gd name="connsiteX20" fmla="*/ 1129792 w 2080768"/>
                <a:gd name="connsiteY20" fmla="*/ 243840 h 3665728"/>
                <a:gd name="connsiteX21" fmla="*/ 1300480 w 2080768"/>
                <a:gd name="connsiteY21" fmla="*/ 142240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739392 w 2080768"/>
                <a:gd name="connsiteY25" fmla="*/ 4064 h 3665728"/>
                <a:gd name="connsiteX26" fmla="*/ 1755648 w 2080768"/>
                <a:gd name="connsiteY26" fmla="*/ 0 h 3665728"/>
                <a:gd name="connsiteX27" fmla="*/ 1836928 w 2080768"/>
                <a:gd name="connsiteY27" fmla="*/ 12192 h 3665728"/>
                <a:gd name="connsiteX28" fmla="*/ 1897888 w 2080768"/>
                <a:gd name="connsiteY28" fmla="*/ 28448 h 3665728"/>
                <a:gd name="connsiteX29" fmla="*/ 1983232 w 2080768"/>
                <a:gd name="connsiteY29" fmla="*/ 81280 h 3665728"/>
                <a:gd name="connsiteX30" fmla="*/ 2015744 w 2080768"/>
                <a:gd name="connsiteY30" fmla="*/ 134112 h 3665728"/>
                <a:gd name="connsiteX31" fmla="*/ 2048256 w 2080768"/>
                <a:gd name="connsiteY31" fmla="*/ 199136 h 3665728"/>
                <a:gd name="connsiteX32" fmla="*/ 2064512 w 2080768"/>
                <a:gd name="connsiteY32" fmla="*/ 264160 h 3665728"/>
                <a:gd name="connsiteX33" fmla="*/ 2080768 w 2080768"/>
                <a:gd name="connsiteY33" fmla="*/ 337312 h 3665728"/>
                <a:gd name="connsiteX34" fmla="*/ 2072640 w 2080768"/>
                <a:gd name="connsiteY34" fmla="*/ 410464 h 3665728"/>
                <a:gd name="connsiteX35" fmla="*/ 2060448 w 2080768"/>
                <a:gd name="connsiteY35" fmla="*/ 487680 h 3665728"/>
                <a:gd name="connsiteX36" fmla="*/ 2027936 w 2080768"/>
                <a:gd name="connsiteY36" fmla="*/ 597408 h 3665728"/>
                <a:gd name="connsiteX37" fmla="*/ 1975104 w 2080768"/>
                <a:gd name="connsiteY37" fmla="*/ 739648 h 3665728"/>
                <a:gd name="connsiteX38" fmla="*/ 1918208 w 2080768"/>
                <a:gd name="connsiteY38" fmla="*/ 865632 h 3665728"/>
                <a:gd name="connsiteX39" fmla="*/ 1845056 w 2080768"/>
                <a:gd name="connsiteY39" fmla="*/ 1020064 h 3665728"/>
                <a:gd name="connsiteX40" fmla="*/ 1763776 w 2080768"/>
                <a:gd name="connsiteY40" fmla="*/ 1162304 h 3665728"/>
                <a:gd name="connsiteX41" fmla="*/ 1666240 w 2080768"/>
                <a:gd name="connsiteY41" fmla="*/ 1341120 h 3665728"/>
                <a:gd name="connsiteX42" fmla="*/ 1552448 w 2080768"/>
                <a:gd name="connsiteY42" fmla="*/ 1503680 h 3665728"/>
                <a:gd name="connsiteX43" fmla="*/ 1381760 w 2080768"/>
                <a:gd name="connsiteY43" fmla="*/ 1767840 h 3665728"/>
                <a:gd name="connsiteX44" fmla="*/ 1247648 w 2080768"/>
                <a:gd name="connsiteY44" fmla="*/ 1946656 h 3665728"/>
                <a:gd name="connsiteX45" fmla="*/ 1060704 w 2080768"/>
                <a:gd name="connsiteY45" fmla="*/ 2186432 h 3665728"/>
                <a:gd name="connsiteX46" fmla="*/ 898144 w 2080768"/>
                <a:gd name="connsiteY46" fmla="*/ 2397760 h 3665728"/>
                <a:gd name="connsiteX47" fmla="*/ 548640 w 2080768"/>
                <a:gd name="connsiteY47" fmla="*/ 2852928 h 3665728"/>
                <a:gd name="connsiteX48" fmla="*/ 308864 w 2080768"/>
                <a:gd name="connsiteY48" fmla="*/ 3165856 h 3665728"/>
                <a:gd name="connsiteX49" fmla="*/ 65024 w 2080768"/>
                <a:gd name="connsiteY49" fmla="*/ 3551936 h 3665728"/>
                <a:gd name="connsiteX50" fmla="*/ 0 w 2080768"/>
                <a:gd name="connsiteY50" fmla="*/ 3665728 h 3665728"/>
                <a:gd name="connsiteX0" fmla="*/ 666496 w 2080768"/>
                <a:gd name="connsiteY0" fmla="*/ 499872 h 3669792"/>
                <a:gd name="connsiteX1" fmla="*/ 727456 w 2080768"/>
                <a:gd name="connsiteY1" fmla="*/ 621792 h 3669792"/>
                <a:gd name="connsiteX2" fmla="*/ 796544 w 2080768"/>
                <a:gd name="connsiteY2" fmla="*/ 755904 h 3669792"/>
                <a:gd name="connsiteX3" fmla="*/ 824992 w 2080768"/>
                <a:gd name="connsiteY3" fmla="*/ 869696 h 3669792"/>
                <a:gd name="connsiteX4" fmla="*/ 833120 w 2080768"/>
                <a:gd name="connsiteY4" fmla="*/ 942848 h 3669792"/>
                <a:gd name="connsiteX5" fmla="*/ 816864 w 2080768"/>
                <a:gd name="connsiteY5" fmla="*/ 1020064 h 3669792"/>
                <a:gd name="connsiteX6" fmla="*/ 759968 w 2080768"/>
                <a:gd name="connsiteY6" fmla="*/ 1064768 h 3669792"/>
                <a:gd name="connsiteX7" fmla="*/ 719328 w 2080768"/>
                <a:gd name="connsiteY7" fmla="*/ 1072896 h 3669792"/>
                <a:gd name="connsiteX8" fmla="*/ 654304 w 2080768"/>
                <a:gd name="connsiteY8" fmla="*/ 1068832 h 3669792"/>
                <a:gd name="connsiteX9" fmla="*/ 597408 w 2080768"/>
                <a:gd name="connsiteY9" fmla="*/ 1044448 h 3669792"/>
                <a:gd name="connsiteX10" fmla="*/ 568960 w 2080768"/>
                <a:gd name="connsiteY10" fmla="*/ 979424 h 3669792"/>
                <a:gd name="connsiteX11" fmla="*/ 548640 w 2080768"/>
                <a:gd name="connsiteY11" fmla="*/ 926592 h 3669792"/>
                <a:gd name="connsiteX12" fmla="*/ 548640 w 2080768"/>
                <a:gd name="connsiteY12" fmla="*/ 837184 h 3669792"/>
                <a:gd name="connsiteX13" fmla="*/ 581152 w 2080768"/>
                <a:gd name="connsiteY13" fmla="*/ 772160 h 3669792"/>
                <a:gd name="connsiteX14" fmla="*/ 593344 w 2080768"/>
                <a:gd name="connsiteY14" fmla="*/ 719328 h 3669792"/>
                <a:gd name="connsiteX15" fmla="*/ 650240 w 2080768"/>
                <a:gd name="connsiteY15" fmla="*/ 678688 h 3669792"/>
                <a:gd name="connsiteX16" fmla="*/ 690880 w 2080768"/>
                <a:gd name="connsiteY16" fmla="*/ 621792 h 3669792"/>
                <a:gd name="connsiteX17" fmla="*/ 784352 w 2080768"/>
                <a:gd name="connsiteY17" fmla="*/ 536448 h 3669792"/>
                <a:gd name="connsiteX18" fmla="*/ 885952 w 2080768"/>
                <a:gd name="connsiteY18" fmla="*/ 426720 h 3669792"/>
                <a:gd name="connsiteX19" fmla="*/ 999744 w 2080768"/>
                <a:gd name="connsiteY19" fmla="*/ 341376 h 3669792"/>
                <a:gd name="connsiteX20" fmla="*/ 1129792 w 2080768"/>
                <a:gd name="connsiteY20" fmla="*/ 247904 h 3669792"/>
                <a:gd name="connsiteX21" fmla="*/ 1300480 w 2080768"/>
                <a:gd name="connsiteY21" fmla="*/ 146304 h 3669792"/>
                <a:gd name="connsiteX22" fmla="*/ 1442720 w 2080768"/>
                <a:gd name="connsiteY22" fmla="*/ 77216 h 3669792"/>
                <a:gd name="connsiteX23" fmla="*/ 1556512 w 2080768"/>
                <a:gd name="connsiteY23" fmla="*/ 36576 h 3669792"/>
                <a:gd name="connsiteX24" fmla="*/ 1645920 w 2080768"/>
                <a:gd name="connsiteY24" fmla="*/ 12192 h 3669792"/>
                <a:gd name="connsiteX25" fmla="*/ 1715008 w 2080768"/>
                <a:gd name="connsiteY25" fmla="*/ 0 h 3669792"/>
                <a:gd name="connsiteX26" fmla="*/ 1755648 w 2080768"/>
                <a:gd name="connsiteY26" fmla="*/ 4064 h 3669792"/>
                <a:gd name="connsiteX27" fmla="*/ 1836928 w 2080768"/>
                <a:gd name="connsiteY27" fmla="*/ 16256 h 3669792"/>
                <a:gd name="connsiteX28" fmla="*/ 1897888 w 2080768"/>
                <a:gd name="connsiteY28" fmla="*/ 32512 h 3669792"/>
                <a:gd name="connsiteX29" fmla="*/ 1983232 w 2080768"/>
                <a:gd name="connsiteY29" fmla="*/ 85344 h 3669792"/>
                <a:gd name="connsiteX30" fmla="*/ 2015744 w 2080768"/>
                <a:gd name="connsiteY30" fmla="*/ 138176 h 3669792"/>
                <a:gd name="connsiteX31" fmla="*/ 2048256 w 2080768"/>
                <a:gd name="connsiteY31" fmla="*/ 203200 h 3669792"/>
                <a:gd name="connsiteX32" fmla="*/ 2064512 w 2080768"/>
                <a:gd name="connsiteY32" fmla="*/ 268224 h 3669792"/>
                <a:gd name="connsiteX33" fmla="*/ 2080768 w 2080768"/>
                <a:gd name="connsiteY33" fmla="*/ 341376 h 3669792"/>
                <a:gd name="connsiteX34" fmla="*/ 2072640 w 2080768"/>
                <a:gd name="connsiteY34" fmla="*/ 414528 h 3669792"/>
                <a:gd name="connsiteX35" fmla="*/ 2060448 w 2080768"/>
                <a:gd name="connsiteY35" fmla="*/ 491744 h 3669792"/>
                <a:gd name="connsiteX36" fmla="*/ 2027936 w 2080768"/>
                <a:gd name="connsiteY36" fmla="*/ 601472 h 3669792"/>
                <a:gd name="connsiteX37" fmla="*/ 1975104 w 2080768"/>
                <a:gd name="connsiteY37" fmla="*/ 743712 h 3669792"/>
                <a:gd name="connsiteX38" fmla="*/ 1918208 w 2080768"/>
                <a:gd name="connsiteY38" fmla="*/ 869696 h 3669792"/>
                <a:gd name="connsiteX39" fmla="*/ 1845056 w 2080768"/>
                <a:gd name="connsiteY39" fmla="*/ 1024128 h 3669792"/>
                <a:gd name="connsiteX40" fmla="*/ 1763776 w 2080768"/>
                <a:gd name="connsiteY40" fmla="*/ 1166368 h 3669792"/>
                <a:gd name="connsiteX41" fmla="*/ 1666240 w 2080768"/>
                <a:gd name="connsiteY41" fmla="*/ 1345184 h 3669792"/>
                <a:gd name="connsiteX42" fmla="*/ 1552448 w 2080768"/>
                <a:gd name="connsiteY42" fmla="*/ 1507744 h 3669792"/>
                <a:gd name="connsiteX43" fmla="*/ 1381760 w 2080768"/>
                <a:gd name="connsiteY43" fmla="*/ 1771904 h 3669792"/>
                <a:gd name="connsiteX44" fmla="*/ 1247648 w 2080768"/>
                <a:gd name="connsiteY44" fmla="*/ 1950720 h 3669792"/>
                <a:gd name="connsiteX45" fmla="*/ 1060704 w 2080768"/>
                <a:gd name="connsiteY45" fmla="*/ 2190496 h 3669792"/>
                <a:gd name="connsiteX46" fmla="*/ 898144 w 2080768"/>
                <a:gd name="connsiteY46" fmla="*/ 2401824 h 3669792"/>
                <a:gd name="connsiteX47" fmla="*/ 548640 w 2080768"/>
                <a:gd name="connsiteY47" fmla="*/ 2856992 h 3669792"/>
                <a:gd name="connsiteX48" fmla="*/ 308864 w 2080768"/>
                <a:gd name="connsiteY48" fmla="*/ 3169920 h 3669792"/>
                <a:gd name="connsiteX49" fmla="*/ 65024 w 2080768"/>
                <a:gd name="connsiteY49" fmla="*/ 3556000 h 3669792"/>
                <a:gd name="connsiteX50" fmla="*/ 0 w 2080768"/>
                <a:gd name="connsiteY50" fmla="*/ 3669792 h 3669792"/>
                <a:gd name="connsiteX0" fmla="*/ 666496 w 2080768"/>
                <a:gd name="connsiteY0" fmla="*/ 499872 h 3669792"/>
                <a:gd name="connsiteX1" fmla="*/ 727456 w 2080768"/>
                <a:gd name="connsiteY1" fmla="*/ 621792 h 3669792"/>
                <a:gd name="connsiteX2" fmla="*/ 796544 w 2080768"/>
                <a:gd name="connsiteY2" fmla="*/ 755904 h 3669792"/>
                <a:gd name="connsiteX3" fmla="*/ 824992 w 2080768"/>
                <a:gd name="connsiteY3" fmla="*/ 869696 h 3669792"/>
                <a:gd name="connsiteX4" fmla="*/ 833120 w 2080768"/>
                <a:gd name="connsiteY4" fmla="*/ 942848 h 3669792"/>
                <a:gd name="connsiteX5" fmla="*/ 816864 w 2080768"/>
                <a:gd name="connsiteY5" fmla="*/ 1020064 h 3669792"/>
                <a:gd name="connsiteX6" fmla="*/ 759968 w 2080768"/>
                <a:gd name="connsiteY6" fmla="*/ 1064768 h 3669792"/>
                <a:gd name="connsiteX7" fmla="*/ 719328 w 2080768"/>
                <a:gd name="connsiteY7" fmla="*/ 1072896 h 3669792"/>
                <a:gd name="connsiteX8" fmla="*/ 654304 w 2080768"/>
                <a:gd name="connsiteY8" fmla="*/ 1068832 h 3669792"/>
                <a:gd name="connsiteX9" fmla="*/ 597408 w 2080768"/>
                <a:gd name="connsiteY9" fmla="*/ 1044448 h 3669792"/>
                <a:gd name="connsiteX10" fmla="*/ 568960 w 2080768"/>
                <a:gd name="connsiteY10" fmla="*/ 979424 h 3669792"/>
                <a:gd name="connsiteX11" fmla="*/ 548640 w 2080768"/>
                <a:gd name="connsiteY11" fmla="*/ 926592 h 3669792"/>
                <a:gd name="connsiteX12" fmla="*/ 548640 w 2080768"/>
                <a:gd name="connsiteY12" fmla="*/ 837184 h 3669792"/>
                <a:gd name="connsiteX13" fmla="*/ 568960 w 2080768"/>
                <a:gd name="connsiteY13" fmla="*/ 772160 h 3669792"/>
                <a:gd name="connsiteX14" fmla="*/ 593344 w 2080768"/>
                <a:gd name="connsiteY14" fmla="*/ 719328 h 3669792"/>
                <a:gd name="connsiteX15" fmla="*/ 650240 w 2080768"/>
                <a:gd name="connsiteY15" fmla="*/ 678688 h 3669792"/>
                <a:gd name="connsiteX16" fmla="*/ 690880 w 2080768"/>
                <a:gd name="connsiteY16" fmla="*/ 621792 h 3669792"/>
                <a:gd name="connsiteX17" fmla="*/ 784352 w 2080768"/>
                <a:gd name="connsiteY17" fmla="*/ 536448 h 3669792"/>
                <a:gd name="connsiteX18" fmla="*/ 885952 w 2080768"/>
                <a:gd name="connsiteY18" fmla="*/ 426720 h 3669792"/>
                <a:gd name="connsiteX19" fmla="*/ 999744 w 2080768"/>
                <a:gd name="connsiteY19" fmla="*/ 341376 h 3669792"/>
                <a:gd name="connsiteX20" fmla="*/ 1129792 w 2080768"/>
                <a:gd name="connsiteY20" fmla="*/ 247904 h 3669792"/>
                <a:gd name="connsiteX21" fmla="*/ 1300480 w 2080768"/>
                <a:gd name="connsiteY21" fmla="*/ 146304 h 3669792"/>
                <a:gd name="connsiteX22" fmla="*/ 1442720 w 2080768"/>
                <a:gd name="connsiteY22" fmla="*/ 77216 h 3669792"/>
                <a:gd name="connsiteX23" fmla="*/ 1556512 w 2080768"/>
                <a:gd name="connsiteY23" fmla="*/ 36576 h 3669792"/>
                <a:gd name="connsiteX24" fmla="*/ 1645920 w 2080768"/>
                <a:gd name="connsiteY24" fmla="*/ 12192 h 3669792"/>
                <a:gd name="connsiteX25" fmla="*/ 1715008 w 2080768"/>
                <a:gd name="connsiteY25" fmla="*/ 0 h 3669792"/>
                <a:gd name="connsiteX26" fmla="*/ 1755648 w 2080768"/>
                <a:gd name="connsiteY26" fmla="*/ 4064 h 3669792"/>
                <a:gd name="connsiteX27" fmla="*/ 1836928 w 2080768"/>
                <a:gd name="connsiteY27" fmla="*/ 16256 h 3669792"/>
                <a:gd name="connsiteX28" fmla="*/ 1897888 w 2080768"/>
                <a:gd name="connsiteY28" fmla="*/ 32512 h 3669792"/>
                <a:gd name="connsiteX29" fmla="*/ 1983232 w 2080768"/>
                <a:gd name="connsiteY29" fmla="*/ 85344 h 3669792"/>
                <a:gd name="connsiteX30" fmla="*/ 2015744 w 2080768"/>
                <a:gd name="connsiteY30" fmla="*/ 138176 h 3669792"/>
                <a:gd name="connsiteX31" fmla="*/ 2048256 w 2080768"/>
                <a:gd name="connsiteY31" fmla="*/ 203200 h 3669792"/>
                <a:gd name="connsiteX32" fmla="*/ 2064512 w 2080768"/>
                <a:gd name="connsiteY32" fmla="*/ 268224 h 3669792"/>
                <a:gd name="connsiteX33" fmla="*/ 2080768 w 2080768"/>
                <a:gd name="connsiteY33" fmla="*/ 341376 h 3669792"/>
                <a:gd name="connsiteX34" fmla="*/ 2072640 w 2080768"/>
                <a:gd name="connsiteY34" fmla="*/ 414528 h 3669792"/>
                <a:gd name="connsiteX35" fmla="*/ 2060448 w 2080768"/>
                <a:gd name="connsiteY35" fmla="*/ 491744 h 3669792"/>
                <a:gd name="connsiteX36" fmla="*/ 2027936 w 2080768"/>
                <a:gd name="connsiteY36" fmla="*/ 601472 h 3669792"/>
                <a:gd name="connsiteX37" fmla="*/ 1975104 w 2080768"/>
                <a:gd name="connsiteY37" fmla="*/ 743712 h 3669792"/>
                <a:gd name="connsiteX38" fmla="*/ 1918208 w 2080768"/>
                <a:gd name="connsiteY38" fmla="*/ 869696 h 3669792"/>
                <a:gd name="connsiteX39" fmla="*/ 1845056 w 2080768"/>
                <a:gd name="connsiteY39" fmla="*/ 1024128 h 3669792"/>
                <a:gd name="connsiteX40" fmla="*/ 1763776 w 2080768"/>
                <a:gd name="connsiteY40" fmla="*/ 1166368 h 3669792"/>
                <a:gd name="connsiteX41" fmla="*/ 1666240 w 2080768"/>
                <a:gd name="connsiteY41" fmla="*/ 1345184 h 3669792"/>
                <a:gd name="connsiteX42" fmla="*/ 1552448 w 2080768"/>
                <a:gd name="connsiteY42" fmla="*/ 1507744 h 3669792"/>
                <a:gd name="connsiteX43" fmla="*/ 1381760 w 2080768"/>
                <a:gd name="connsiteY43" fmla="*/ 1771904 h 3669792"/>
                <a:gd name="connsiteX44" fmla="*/ 1247648 w 2080768"/>
                <a:gd name="connsiteY44" fmla="*/ 1950720 h 3669792"/>
                <a:gd name="connsiteX45" fmla="*/ 1060704 w 2080768"/>
                <a:gd name="connsiteY45" fmla="*/ 2190496 h 3669792"/>
                <a:gd name="connsiteX46" fmla="*/ 898144 w 2080768"/>
                <a:gd name="connsiteY46" fmla="*/ 2401824 h 3669792"/>
                <a:gd name="connsiteX47" fmla="*/ 548640 w 2080768"/>
                <a:gd name="connsiteY47" fmla="*/ 2856992 h 3669792"/>
                <a:gd name="connsiteX48" fmla="*/ 308864 w 2080768"/>
                <a:gd name="connsiteY48" fmla="*/ 3169920 h 3669792"/>
                <a:gd name="connsiteX49" fmla="*/ 65024 w 2080768"/>
                <a:gd name="connsiteY49" fmla="*/ 3556000 h 3669792"/>
                <a:gd name="connsiteX50" fmla="*/ 0 w 2080768"/>
                <a:gd name="connsiteY50" fmla="*/ 3669792 h 3669792"/>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68960 w 2080768"/>
                <a:gd name="connsiteY10" fmla="*/ 991616 h 3681984"/>
                <a:gd name="connsiteX11" fmla="*/ 548640 w 2080768"/>
                <a:gd name="connsiteY11" fmla="*/ 938784 h 3681984"/>
                <a:gd name="connsiteX12" fmla="*/ 548640 w 2080768"/>
                <a:gd name="connsiteY12" fmla="*/ 849376 h 3681984"/>
                <a:gd name="connsiteX13" fmla="*/ 568960 w 2080768"/>
                <a:gd name="connsiteY13" fmla="*/ 784352 h 3681984"/>
                <a:gd name="connsiteX14" fmla="*/ 593344 w 2080768"/>
                <a:gd name="connsiteY14" fmla="*/ 731520 h 3681984"/>
                <a:gd name="connsiteX15" fmla="*/ 650240 w 2080768"/>
                <a:gd name="connsiteY15" fmla="*/ 690880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36928 w 2080768"/>
                <a:gd name="connsiteY27" fmla="*/ 28448 h 3681984"/>
                <a:gd name="connsiteX28" fmla="*/ 1897888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68960 w 2080768"/>
                <a:gd name="connsiteY10" fmla="*/ 991616 h 3681984"/>
                <a:gd name="connsiteX11" fmla="*/ 548640 w 2080768"/>
                <a:gd name="connsiteY11" fmla="*/ 938784 h 3681984"/>
                <a:gd name="connsiteX12" fmla="*/ 548640 w 2080768"/>
                <a:gd name="connsiteY12" fmla="*/ 849376 h 3681984"/>
                <a:gd name="connsiteX13" fmla="*/ 568960 w 2080768"/>
                <a:gd name="connsiteY13" fmla="*/ 784352 h 3681984"/>
                <a:gd name="connsiteX14" fmla="*/ 593344 w 2080768"/>
                <a:gd name="connsiteY14" fmla="*/ 731520 h 3681984"/>
                <a:gd name="connsiteX15" fmla="*/ 650240 w 2080768"/>
                <a:gd name="connsiteY15" fmla="*/ 690880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897888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68960 w 2080768"/>
                <a:gd name="connsiteY10" fmla="*/ 991616 h 3681984"/>
                <a:gd name="connsiteX11" fmla="*/ 548640 w 2080768"/>
                <a:gd name="connsiteY11" fmla="*/ 938784 h 3681984"/>
                <a:gd name="connsiteX12" fmla="*/ 548640 w 2080768"/>
                <a:gd name="connsiteY12" fmla="*/ 849376 h 3681984"/>
                <a:gd name="connsiteX13" fmla="*/ 568960 w 2080768"/>
                <a:gd name="connsiteY13" fmla="*/ 784352 h 3681984"/>
                <a:gd name="connsiteX14" fmla="*/ 593344 w 2080768"/>
                <a:gd name="connsiteY14" fmla="*/ 731520 h 3681984"/>
                <a:gd name="connsiteX15" fmla="*/ 650240 w 2080768"/>
                <a:gd name="connsiteY15" fmla="*/ 690880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68960 w 2080768"/>
                <a:gd name="connsiteY10" fmla="*/ 991616 h 3681984"/>
                <a:gd name="connsiteX11" fmla="*/ 548640 w 2080768"/>
                <a:gd name="connsiteY11" fmla="*/ 938784 h 3681984"/>
                <a:gd name="connsiteX12" fmla="*/ 548640 w 2080768"/>
                <a:gd name="connsiteY12" fmla="*/ 849376 h 3681984"/>
                <a:gd name="connsiteX13" fmla="*/ 568960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68960 w 2080768"/>
                <a:gd name="connsiteY10" fmla="*/ 991616 h 3681984"/>
                <a:gd name="connsiteX11" fmla="*/ 548640 w 2080768"/>
                <a:gd name="connsiteY11" fmla="*/ 938784 h 3681984"/>
                <a:gd name="connsiteX12" fmla="*/ 528320 w 2080768"/>
                <a:gd name="connsiteY12" fmla="*/ 865632 h 3681984"/>
                <a:gd name="connsiteX13" fmla="*/ 568960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68960 w 2080768"/>
                <a:gd name="connsiteY10" fmla="*/ 991616 h 3681984"/>
                <a:gd name="connsiteX11" fmla="*/ 532384 w 2080768"/>
                <a:gd name="connsiteY11" fmla="*/ 950976 h 3681984"/>
                <a:gd name="connsiteX12" fmla="*/ 528320 w 2080768"/>
                <a:gd name="connsiteY12" fmla="*/ 865632 h 3681984"/>
                <a:gd name="connsiteX13" fmla="*/ 568960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995680 h 3681984"/>
                <a:gd name="connsiteX11" fmla="*/ 532384 w 2080768"/>
                <a:gd name="connsiteY11" fmla="*/ 950976 h 3681984"/>
                <a:gd name="connsiteX12" fmla="*/ 528320 w 2080768"/>
                <a:gd name="connsiteY12" fmla="*/ 865632 h 3681984"/>
                <a:gd name="connsiteX13" fmla="*/ 568960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995680 h 3681984"/>
                <a:gd name="connsiteX11" fmla="*/ 532384 w 2080768"/>
                <a:gd name="connsiteY11" fmla="*/ 950976 h 3681984"/>
                <a:gd name="connsiteX12" fmla="*/ 528320 w 2080768"/>
                <a:gd name="connsiteY12" fmla="*/ 865632 h 3681984"/>
                <a:gd name="connsiteX13" fmla="*/ 568960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995680 h 3681984"/>
                <a:gd name="connsiteX11" fmla="*/ 532384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1011936 h 3681984"/>
                <a:gd name="connsiteX11" fmla="*/ 532384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1011936 h 3681984"/>
                <a:gd name="connsiteX11" fmla="*/ 532384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1011936 h 3681984"/>
                <a:gd name="connsiteX11" fmla="*/ 532384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46176 w 2080768"/>
                <a:gd name="connsiteY8" fmla="*/ 1101344 h 3681984"/>
                <a:gd name="connsiteX9" fmla="*/ 597408 w 2080768"/>
                <a:gd name="connsiteY9" fmla="*/ 105664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7408 w 2080768"/>
                <a:gd name="connsiteY9" fmla="*/ 105664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41248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68096 h 3681984"/>
                <a:gd name="connsiteX3" fmla="*/ 841248 w 2080768"/>
                <a:gd name="connsiteY3" fmla="*/ 857504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6864 w 2080768"/>
                <a:gd name="connsiteY5" fmla="*/ 1032256 h 3681984"/>
                <a:gd name="connsiteX6" fmla="*/ 776636 w 2080768"/>
                <a:gd name="connsiteY6" fmla="*/ 1083406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6864 w 2080768"/>
                <a:gd name="connsiteY5" fmla="*/ 1032256 h 3681984"/>
                <a:gd name="connsiteX6" fmla="*/ 776636 w 2080768"/>
                <a:gd name="connsiteY6" fmla="*/ 1083406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9246 w 2080768"/>
                <a:gd name="connsiteY5" fmla="*/ 1039400 h 3681984"/>
                <a:gd name="connsiteX6" fmla="*/ 776636 w 2080768"/>
                <a:gd name="connsiteY6" fmla="*/ 1083406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9246 w 2080768"/>
                <a:gd name="connsiteY5" fmla="*/ 1039400 h 3681984"/>
                <a:gd name="connsiteX6" fmla="*/ 776636 w 2080768"/>
                <a:gd name="connsiteY6" fmla="*/ 1083406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8926 w 2080768"/>
                <a:gd name="connsiteY2" fmla="*/ 757587 h 3681984"/>
                <a:gd name="connsiteX3" fmla="*/ 841248 w 2080768"/>
                <a:gd name="connsiteY3" fmla="*/ 857504 h 3681984"/>
                <a:gd name="connsiteX4" fmla="*/ 853440 w 2080768"/>
                <a:gd name="connsiteY4" fmla="*/ 971296 h 3681984"/>
                <a:gd name="connsiteX5" fmla="*/ 819246 w 2080768"/>
                <a:gd name="connsiteY5" fmla="*/ 1039400 h 3681984"/>
                <a:gd name="connsiteX6" fmla="*/ 776636 w 2080768"/>
                <a:gd name="connsiteY6" fmla="*/ 1083406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8926 w 2080768"/>
                <a:gd name="connsiteY2" fmla="*/ 757587 h 3681984"/>
                <a:gd name="connsiteX3" fmla="*/ 841248 w 2080768"/>
                <a:gd name="connsiteY3" fmla="*/ 857504 h 3681984"/>
                <a:gd name="connsiteX4" fmla="*/ 853440 w 2080768"/>
                <a:gd name="connsiteY4" fmla="*/ 971296 h 3681984"/>
                <a:gd name="connsiteX5" fmla="*/ 826390 w 2080768"/>
                <a:gd name="connsiteY5" fmla="*/ 1041781 h 3681984"/>
                <a:gd name="connsiteX6" fmla="*/ 776636 w 2080768"/>
                <a:gd name="connsiteY6" fmla="*/ 1083406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4160 h 3684080"/>
                <a:gd name="connsiteX1" fmla="*/ 743712 w 2080768"/>
                <a:gd name="connsiteY1" fmla="*/ 652336 h 3684080"/>
                <a:gd name="connsiteX2" fmla="*/ 798926 w 2080768"/>
                <a:gd name="connsiteY2" fmla="*/ 759683 h 3684080"/>
                <a:gd name="connsiteX3" fmla="*/ 841248 w 2080768"/>
                <a:gd name="connsiteY3" fmla="*/ 859600 h 3684080"/>
                <a:gd name="connsiteX4" fmla="*/ 853440 w 2080768"/>
                <a:gd name="connsiteY4" fmla="*/ 973392 h 3684080"/>
                <a:gd name="connsiteX5" fmla="*/ 826390 w 2080768"/>
                <a:gd name="connsiteY5" fmla="*/ 1043877 h 3684080"/>
                <a:gd name="connsiteX6" fmla="*/ 776636 w 2080768"/>
                <a:gd name="connsiteY6" fmla="*/ 1085502 h 3684080"/>
                <a:gd name="connsiteX7" fmla="*/ 715264 w 2080768"/>
                <a:gd name="connsiteY7" fmla="*/ 1107504 h 3684080"/>
                <a:gd name="connsiteX8" fmla="*/ 646176 w 2080768"/>
                <a:gd name="connsiteY8" fmla="*/ 1103440 h 3684080"/>
                <a:gd name="connsiteX9" fmla="*/ 593344 w 2080768"/>
                <a:gd name="connsiteY9" fmla="*/ 1079056 h 3684080"/>
                <a:gd name="connsiteX10" fmla="*/ 540512 w 2080768"/>
                <a:gd name="connsiteY10" fmla="*/ 1014032 h 3684080"/>
                <a:gd name="connsiteX11" fmla="*/ 524256 w 2080768"/>
                <a:gd name="connsiteY11" fmla="*/ 953072 h 3684080"/>
                <a:gd name="connsiteX12" fmla="*/ 528320 w 2080768"/>
                <a:gd name="connsiteY12" fmla="*/ 867728 h 3684080"/>
                <a:gd name="connsiteX13" fmla="*/ 556768 w 2080768"/>
                <a:gd name="connsiteY13" fmla="*/ 786448 h 3684080"/>
                <a:gd name="connsiteX14" fmla="*/ 593344 w 2080768"/>
                <a:gd name="connsiteY14" fmla="*/ 733616 h 3684080"/>
                <a:gd name="connsiteX15" fmla="*/ 650240 w 2080768"/>
                <a:gd name="connsiteY15" fmla="*/ 668592 h 3684080"/>
                <a:gd name="connsiteX16" fmla="*/ 703072 w 2080768"/>
                <a:gd name="connsiteY16" fmla="*/ 603568 h 3684080"/>
                <a:gd name="connsiteX17" fmla="*/ 784352 w 2080768"/>
                <a:gd name="connsiteY17" fmla="*/ 526352 h 3684080"/>
                <a:gd name="connsiteX18" fmla="*/ 885952 w 2080768"/>
                <a:gd name="connsiteY18" fmla="*/ 441008 h 3684080"/>
                <a:gd name="connsiteX19" fmla="*/ 999744 w 2080768"/>
                <a:gd name="connsiteY19" fmla="*/ 355664 h 3684080"/>
                <a:gd name="connsiteX20" fmla="*/ 1129792 w 2080768"/>
                <a:gd name="connsiteY20" fmla="*/ 262192 h 3684080"/>
                <a:gd name="connsiteX21" fmla="*/ 1300480 w 2080768"/>
                <a:gd name="connsiteY21" fmla="*/ 160592 h 3684080"/>
                <a:gd name="connsiteX22" fmla="*/ 1442720 w 2080768"/>
                <a:gd name="connsiteY22" fmla="*/ 91504 h 3684080"/>
                <a:gd name="connsiteX23" fmla="*/ 1556512 w 2080768"/>
                <a:gd name="connsiteY23" fmla="*/ 50864 h 3684080"/>
                <a:gd name="connsiteX24" fmla="*/ 1645920 w 2080768"/>
                <a:gd name="connsiteY24" fmla="*/ 26480 h 3684080"/>
                <a:gd name="connsiteX25" fmla="*/ 1717390 w 2080768"/>
                <a:gd name="connsiteY25" fmla="*/ 0 h 3684080"/>
                <a:gd name="connsiteX26" fmla="*/ 1771904 w 2080768"/>
                <a:gd name="connsiteY26" fmla="*/ 2096 h 3684080"/>
                <a:gd name="connsiteX27" fmla="*/ 1845056 w 2080768"/>
                <a:gd name="connsiteY27" fmla="*/ 14288 h 3684080"/>
                <a:gd name="connsiteX28" fmla="*/ 1906016 w 2080768"/>
                <a:gd name="connsiteY28" fmla="*/ 46800 h 3684080"/>
                <a:gd name="connsiteX29" fmla="*/ 1983232 w 2080768"/>
                <a:gd name="connsiteY29" fmla="*/ 99632 h 3684080"/>
                <a:gd name="connsiteX30" fmla="*/ 2015744 w 2080768"/>
                <a:gd name="connsiteY30" fmla="*/ 152464 h 3684080"/>
                <a:gd name="connsiteX31" fmla="*/ 2048256 w 2080768"/>
                <a:gd name="connsiteY31" fmla="*/ 217488 h 3684080"/>
                <a:gd name="connsiteX32" fmla="*/ 2064512 w 2080768"/>
                <a:gd name="connsiteY32" fmla="*/ 282512 h 3684080"/>
                <a:gd name="connsiteX33" fmla="*/ 2080768 w 2080768"/>
                <a:gd name="connsiteY33" fmla="*/ 355664 h 3684080"/>
                <a:gd name="connsiteX34" fmla="*/ 2072640 w 2080768"/>
                <a:gd name="connsiteY34" fmla="*/ 428816 h 3684080"/>
                <a:gd name="connsiteX35" fmla="*/ 2060448 w 2080768"/>
                <a:gd name="connsiteY35" fmla="*/ 506032 h 3684080"/>
                <a:gd name="connsiteX36" fmla="*/ 2027936 w 2080768"/>
                <a:gd name="connsiteY36" fmla="*/ 615760 h 3684080"/>
                <a:gd name="connsiteX37" fmla="*/ 1975104 w 2080768"/>
                <a:gd name="connsiteY37" fmla="*/ 758000 h 3684080"/>
                <a:gd name="connsiteX38" fmla="*/ 1918208 w 2080768"/>
                <a:gd name="connsiteY38" fmla="*/ 883984 h 3684080"/>
                <a:gd name="connsiteX39" fmla="*/ 1845056 w 2080768"/>
                <a:gd name="connsiteY39" fmla="*/ 1038416 h 3684080"/>
                <a:gd name="connsiteX40" fmla="*/ 1763776 w 2080768"/>
                <a:gd name="connsiteY40" fmla="*/ 1180656 h 3684080"/>
                <a:gd name="connsiteX41" fmla="*/ 1666240 w 2080768"/>
                <a:gd name="connsiteY41" fmla="*/ 1359472 h 3684080"/>
                <a:gd name="connsiteX42" fmla="*/ 1552448 w 2080768"/>
                <a:gd name="connsiteY42" fmla="*/ 1522032 h 3684080"/>
                <a:gd name="connsiteX43" fmla="*/ 1381760 w 2080768"/>
                <a:gd name="connsiteY43" fmla="*/ 1786192 h 3684080"/>
                <a:gd name="connsiteX44" fmla="*/ 1247648 w 2080768"/>
                <a:gd name="connsiteY44" fmla="*/ 1965008 h 3684080"/>
                <a:gd name="connsiteX45" fmla="*/ 1060704 w 2080768"/>
                <a:gd name="connsiteY45" fmla="*/ 2204784 h 3684080"/>
                <a:gd name="connsiteX46" fmla="*/ 898144 w 2080768"/>
                <a:gd name="connsiteY46" fmla="*/ 2416112 h 3684080"/>
                <a:gd name="connsiteX47" fmla="*/ 548640 w 2080768"/>
                <a:gd name="connsiteY47" fmla="*/ 2871280 h 3684080"/>
                <a:gd name="connsiteX48" fmla="*/ 308864 w 2080768"/>
                <a:gd name="connsiteY48" fmla="*/ 3184208 h 3684080"/>
                <a:gd name="connsiteX49" fmla="*/ 65024 w 2080768"/>
                <a:gd name="connsiteY49" fmla="*/ 3570288 h 3684080"/>
                <a:gd name="connsiteX50" fmla="*/ 0 w 2080768"/>
                <a:gd name="connsiteY50" fmla="*/ 3684080 h 3684080"/>
                <a:gd name="connsiteX0" fmla="*/ 666496 w 2080768"/>
                <a:gd name="connsiteY0" fmla="*/ 515954 h 3685874"/>
                <a:gd name="connsiteX1" fmla="*/ 743712 w 2080768"/>
                <a:gd name="connsiteY1" fmla="*/ 654130 h 3685874"/>
                <a:gd name="connsiteX2" fmla="*/ 798926 w 2080768"/>
                <a:gd name="connsiteY2" fmla="*/ 761477 h 3685874"/>
                <a:gd name="connsiteX3" fmla="*/ 841248 w 2080768"/>
                <a:gd name="connsiteY3" fmla="*/ 861394 h 3685874"/>
                <a:gd name="connsiteX4" fmla="*/ 853440 w 2080768"/>
                <a:gd name="connsiteY4" fmla="*/ 975186 h 3685874"/>
                <a:gd name="connsiteX5" fmla="*/ 826390 w 2080768"/>
                <a:gd name="connsiteY5" fmla="*/ 1045671 h 3685874"/>
                <a:gd name="connsiteX6" fmla="*/ 776636 w 2080768"/>
                <a:gd name="connsiteY6" fmla="*/ 1087296 h 3685874"/>
                <a:gd name="connsiteX7" fmla="*/ 715264 w 2080768"/>
                <a:gd name="connsiteY7" fmla="*/ 1109298 h 3685874"/>
                <a:gd name="connsiteX8" fmla="*/ 646176 w 2080768"/>
                <a:gd name="connsiteY8" fmla="*/ 1105234 h 3685874"/>
                <a:gd name="connsiteX9" fmla="*/ 593344 w 2080768"/>
                <a:gd name="connsiteY9" fmla="*/ 1080850 h 3685874"/>
                <a:gd name="connsiteX10" fmla="*/ 540512 w 2080768"/>
                <a:gd name="connsiteY10" fmla="*/ 1015826 h 3685874"/>
                <a:gd name="connsiteX11" fmla="*/ 524256 w 2080768"/>
                <a:gd name="connsiteY11" fmla="*/ 954866 h 3685874"/>
                <a:gd name="connsiteX12" fmla="*/ 528320 w 2080768"/>
                <a:gd name="connsiteY12" fmla="*/ 869522 h 3685874"/>
                <a:gd name="connsiteX13" fmla="*/ 556768 w 2080768"/>
                <a:gd name="connsiteY13" fmla="*/ 788242 h 3685874"/>
                <a:gd name="connsiteX14" fmla="*/ 593344 w 2080768"/>
                <a:gd name="connsiteY14" fmla="*/ 735410 h 3685874"/>
                <a:gd name="connsiteX15" fmla="*/ 650240 w 2080768"/>
                <a:gd name="connsiteY15" fmla="*/ 670386 h 3685874"/>
                <a:gd name="connsiteX16" fmla="*/ 703072 w 2080768"/>
                <a:gd name="connsiteY16" fmla="*/ 605362 h 3685874"/>
                <a:gd name="connsiteX17" fmla="*/ 784352 w 2080768"/>
                <a:gd name="connsiteY17" fmla="*/ 528146 h 3685874"/>
                <a:gd name="connsiteX18" fmla="*/ 885952 w 2080768"/>
                <a:gd name="connsiteY18" fmla="*/ 442802 h 3685874"/>
                <a:gd name="connsiteX19" fmla="*/ 999744 w 2080768"/>
                <a:gd name="connsiteY19" fmla="*/ 357458 h 3685874"/>
                <a:gd name="connsiteX20" fmla="*/ 1129792 w 2080768"/>
                <a:gd name="connsiteY20" fmla="*/ 263986 h 3685874"/>
                <a:gd name="connsiteX21" fmla="*/ 1300480 w 2080768"/>
                <a:gd name="connsiteY21" fmla="*/ 162386 h 3685874"/>
                <a:gd name="connsiteX22" fmla="*/ 1442720 w 2080768"/>
                <a:gd name="connsiteY22" fmla="*/ 93298 h 3685874"/>
                <a:gd name="connsiteX23" fmla="*/ 1556512 w 2080768"/>
                <a:gd name="connsiteY23" fmla="*/ 52658 h 3685874"/>
                <a:gd name="connsiteX24" fmla="*/ 1645920 w 2080768"/>
                <a:gd name="connsiteY24" fmla="*/ 28274 h 3685874"/>
                <a:gd name="connsiteX25" fmla="*/ 1717390 w 2080768"/>
                <a:gd name="connsiteY25" fmla="*/ 1794 h 3685874"/>
                <a:gd name="connsiteX26" fmla="*/ 1771904 w 2080768"/>
                <a:gd name="connsiteY26" fmla="*/ 3890 h 3685874"/>
                <a:gd name="connsiteX27" fmla="*/ 1845056 w 2080768"/>
                <a:gd name="connsiteY27" fmla="*/ 16082 h 3685874"/>
                <a:gd name="connsiteX28" fmla="*/ 1906016 w 2080768"/>
                <a:gd name="connsiteY28" fmla="*/ 48594 h 3685874"/>
                <a:gd name="connsiteX29" fmla="*/ 1983232 w 2080768"/>
                <a:gd name="connsiteY29" fmla="*/ 101426 h 3685874"/>
                <a:gd name="connsiteX30" fmla="*/ 2015744 w 2080768"/>
                <a:gd name="connsiteY30" fmla="*/ 154258 h 3685874"/>
                <a:gd name="connsiteX31" fmla="*/ 2048256 w 2080768"/>
                <a:gd name="connsiteY31" fmla="*/ 219282 h 3685874"/>
                <a:gd name="connsiteX32" fmla="*/ 2064512 w 2080768"/>
                <a:gd name="connsiteY32" fmla="*/ 284306 h 3685874"/>
                <a:gd name="connsiteX33" fmla="*/ 2080768 w 2080768"/>
                <a:gd name="connsiteY33" fmla="*/ 357458 h 3685874"/>
                <a:gd name="connsiteX34" fmla="*/ 2072640 w 2080768"/>
                <a:gd name="connsiteY34" fmla="*/ 430610 h 3685874"/>
                <a:gd name="connsiteX35" fmla="*/ 2060448 w 2080768"/>
                <a:gd name="connsiteY35" fmla="*/ 507826 h 3685874"/>
                <a:gd name="connsiteX36" fmla="*/ 2027936 w 2080768"/>
                <a:gd name="connsiteY36" fmla="*/ 617554 h 3685874"/>
                <a:gd name="connsiteX37" fmla="*/ 1975104 w 2080768"/>
                <a:gd name="connsiteY37" fmla="*/ 759794 h 3685874"/>
                <a:gd name="connsiteX38" fmla="*/ 1918208 w 2080768"/>
                <a:gd name="connsiteY38" fmla="*/ 885778 h 3685874"/>
                <a:gd name="connsiteX39" fmla="*/ 1845056 w 2080768"/>
                <a:gd name="connsiteY39" fmla="*/ 1040210 h 3685874"/>
                <a:gd name="connsiteX40" fmla="*/ 1763776 w 2080768"/>
                <a:gd name="connsiteY40" fmla="*/ 1182450 h 3685874"/>
                <a:gd name="connsiteX41" fmla="*/ 1666240 w 2080768"/>
                <a:gd name="connsiteY41" fmla="*/ 1361266 h 3685874"/>
                <a:gd name="connsiteX42" fmla="*/ 1552448 w 2080768"/>
                <a:gd name="connsiteY42" fmla="*/ 1523826 h 3685874"/>
                <a:gd name="connsiteX43" fmla="*/ 1381760 w 2080768"/>
                <a:gd name="connsiteY43" fmla="*/ 1787986 h 3685874"/>
                <a:gd name="connsiteX44" fmla="*/ 1247648 w 2080768"/>
                <a:gd name="connsiteY44" fmla="*/ 1966802 h 3685874"/>
                <a:gd name="connsiteX45" fmla="*/ 1060704 w 2080768"/>
                <a:gd name="connsiteY45" fmla="*/ 2206578 h 3685874"/>
                <a:gd name="connsiteX46" fmla="*/ 898144 w 2080768"/>
                <a:gd name="connsiteY46" fmla="*/ 2417906 h 3685874"/>
                <a:gd name="connsiteX47" fmla="*/ 548640 w 2080768"/>
                <a:gd name="connsiteY47" fmla="*/ 2873074 h 3685874"/>
                <a:gd name="connsiteX48" fmla="*/ 308864 w 2080768"/>
                <a:gd name="connsiteY48" fmla="*/ 3186002 h 3685874"/>
                <a:gd name="connsiteX49" fmla="*/ 65024 w 2080768"/>
                <a:gd name="connsiteY49" fmla="*/ 3572082 h 3685874"/>
                <a:gd name="connsiteX50" fmla="*/ 0 w 2080768"/>
                <a:gd name="connsiteY50" fmla="*/ 3685874 h 3685874"/>
                <a:gd name="connsiteX0" fmla="*/ 666496 w 2080768"/>
                <a:gd name="connsiteY0" fmla="*/ 515954 h 3685874"/>
                <a:gd name="connsiteX1" fmla="*/ 743712 w 2080768"/>
                <a:gd name="connsiteY1" fmla="*/ 654130 h 3685874"/>
                <a:gd name="connsiteX2" fmla="*/ 798926 w 2080768"/>
                <a:gd name="connsiteY2" fmla="*/ 761477 h 3685874"/>
                <a:gd name="connsiteX3" fmla="*/ 841248 w 2080768"/>
                <a:gd name="connsiteY3" fmla="*/ 861394 h 3685874"/>
                <a:gd name="connsiteX4" fmla="*/ 853440 w 2080768"/>
                <a:gd name="connsiteY4" fmla="*/ 975186 h 3685874"/>
                <a:gd name="connsiteX5" fmla="*/ 826390 w 2080768"/>
                <a:gd name="connsiteY5" fmla="*/ 1045671 h 3685874"/>
                <a:gd name="connsiteX6" fmla="*/ 776636 w 2080768"/>
                <a:gd name="connsiteY6" fmla="*/ 1087296 h 3685874"/>
                <a:gd name="connsiteX7" fmla="*/ 715264 w 2080768"/>
                <a:gd name="connsiteY7" fmla="*/ 1109298 h 3685874"/>
                <a:gd name="connsiteX8" fmla="*/ 646176 w 2080768"/>
                <a:gd name="connsiteY8" fmla="*/ 1105234 h 3685874"/>
                <a:gd name="connsiteX9" fmla="*/ 593344 w 2080768"/>
                <a:gd name="connsiteY9" fmla="*/ 1080850 h 3685874"/>
                <a:gd name="connsiteX10" fmla="*/ 540512 w 2080768"/>
                <a:gd name="connsiteY10" fmla="*/ 1015826 h 3685874"/>
                <a:gd name="connsiteX11" fmla="*/ 524256 w 2080768"/>
                <a:gd name="connsiteY11" fmla="*/ 954866 h 3685874"/>
                <a:gd name="connsiteX12" fmla="*/ 528320 w 2080768"/>
                <a:gd name="connsiteY12" fmla="*/ 869522 h 3685874"/>
                <a:gd name="connsiteX13" fmla="*/ 556768 w 2080768"/>
                <a:gd name="connsiteY13" fmla="*/ 788242 h 3685874"/>
                <a:gd name="connsiteX14" fmla="*/ 593344 w 2080768"/>
                <a:gd name="connsiteY14" fmla="*/ 735410 h 3685874"/>
                <a:gd name="connsiteX15" fmla="*/ 650240 w 2080768"/>
                <a:gd name="connsiteY15" fmla="*/ 670386 h 3685874"/>
                <a:gd name="connsiteX16" fmla="*/ 703072 w 2080768"/>
                <a:gd name="connsiteY16" fmla="*/ 605362 h 3685874"/>
                <a:gd name="connsiteX17" fmla="*/ 784352 w 2080768"/>
                <a:gd name="connsiteY17" fmla="*/ 528146 h 3685874"/>
                <a:gd name="connsiteX18" fmla="*/ 885952 w 2080768"/>
                <a:gd name="connsiteY18" fmla="*/ 442802 h 3685874"/>
                <a:gd name="connsiteX19" fmla="*/ 999744 w 2080768"/>
                <a:gd name="connsiteY19" fmla="*/ 357458 h 3685874"/>
                <a:gd name="connsiteX20" fmla="*/ 1129792 w 2080768"/>
                <a:gd name="connsiteY20" fmla="*/ 263986 h 3685874"/>
                <a:gd name="connsiteX21" fmla="*/ 1300480 w 2080768"/>
                <a:gd name="connsiteY21" fmla="*/ 162386 h 3685874"/>
                <a:gd name="connsiteX22" fmla="*/ 1442720 w 2080768"/>
                <a:gd name="connsiteY22" fmla="*/ 93298 h 3685874"/>
                <a:gd name="connsiteX23" fmla="*/ 1556512 w 2080768"/>
                <a:gd name="connsiteY23" fmla="*/ 52658 h 3685874"/>
                <a:gd name="connsiteX24" fmla="*/ 1643539 w 2080768"/>
                <a:gd name="connsiteY24" fmla="*/ 21130 h 3685874"/>
                <a:gd name="connsiteX25" fmla="*/ 1717390 w 2080768"/>
                <a:gd name="connsiteY25" fmla="*/ 1794 h 3685874"/>
                <a:gd name="connsiteX26" fmla="*/ 1771904 w 2080768"/>
                <a:gd name="connsiteY26" fmla="*/ 3890 h 3685874"/>
                <a:gd name="connsiteX27" fmla="*/ 1845056 w 2080768"/>
                <a:gd name="connsiteY27" fmla="*/ 16082 h 3685874"/>
                <a:gd name="connsiteX28" fmla="*/ 1906016 w 2080768"/>
                <a:gd name="connsiteY28" fmla="*/ 48594 h 3685874"/>
                <a:gd name="connsiteX29" fmla="*/ 1983232 w 2080768"/>
                <a:gd name="connsiteY29" fmla="*/ 101426 h 3685874"/>
                <a:gd name="connsiteX30" fmla="*/ 2015744 w 2080768"/>
                <a:gd name="connsiteY30" fmla="*/ 154258 h 3685874"/>
                <a:gd name="connsiteX31" fmla="*/ 2048256 w 2080768"/>
                <a:gd name="connsiteY31" fmla="*/ 219282 h 3685874"/>
                <a:gd name="connsiteX32" fmla="*/ 2064512 w 2080768"/>
                <a:gd name="connsiteY32" fmla="*/ 284306 h 3685874"/>
                <a:gd name="connsiteX33" fmla="*/ 2080768 w 2080768"/>
                <a:gd name="connsiteY33" fmla="*/ 357458 h 3685874"/>
                <a:gd name="connsiteX34" fmla="*/ 2072640 w 2080768"/>
                <a:gd name="connsiteY34" fmla="*/ 430610 h 3685874"/>
                <a:gd name="connsiteX35" fmla="*/ 2060448 w 2080768"/>
                <a:gd name="connsiteY35" fmla="*/ 507826 h 3685874"/>
                <a:gd name="connsiteX36" fmla="*/ 2027936 w 2080768"/>
                <a:gd name="connsiteY36" fmla="*/ 617554 h 3685874"/>
                <a:gd name="connsiteX37" fmla="*/ 1975104 w 2080768"/>
                <a:gd name="connsiteY37" fmla="*/ 759794 h 3685874"/>
                <a:gd name="connsiteX38" fmla="*/ 1918208 w 2080768"/>
                <a:gd name="connsiteY38" fmla="*/ 885778 h 3685874"/>
                <a:gd name="connsiteX39" fmla="*/ 1845056 w 2080768"/>
                <a:gd name="connsiteY39" fmla="*/ 1040210 h 3685874"/>
                <a:gd name="connsiteX40" fmla="*/ 1763776 w 2080768"/>
                <a:gd name="connsiteY40" fmla="*/ 1182450 h 3685874"/>
                <a:gd name="connsiteX41" fmla="*/ 1666240 w 2080768"/>
                <a:gd name="connsiteY41" fmla="*/ 1361266 h 3685874"/>
                <a:gd name="connsiteX42" fmla="*/ 1552448 w 2080768"/>
                <a:gd name="connsiteY42" fmla="*/ 1523826 h 3685874"/>
                <a:gd name="connsiteX43" fmla="*/ 1381760 w 2080768"/>
                <a:gd name="connsiteY43" fmla="*/ 1787986 h 3685874"/>
                <a:gd name="connsiteX44" fmla="*/ 1247648 w 2080768"/>
                <a:gd name="connsiteY44" fmla="*/ 1966802 h 3685874"/>
                <a:gd name="connsiteX45" fmla="*/ 1060704 w 2080768"/>
                <a:gd name="connsiteY45" fmla="*/ 2206578 h 3685874"/>
                <a:gd name="connsiteX46" fmla="*/ 898144 w 2080768"/>
                <a:gd name="connsiteY46" fmla="*/ 2417906 h 3685874"/>
                <a:gd name="connsiteX47" fmla="*/ 548640 w 2080768"/>
                <a:gd name="connsiteY47" fmla="*/ 2873074 h 3685874"/>
                <a:gd name="connsiteX48" fmla="*/ 308864 w 2080768"/>
                <a:gd name="connsiteY48" fmla="*/ 3186002 h 3685874"/>
                <a:gd name="connsiteX49" fmla="*/ 65024 w 2080768"/>
                <a:gd name="connsiteY49" fmla="*/ 3572082 h 3685874"/>
                <a:gd name="connsiteX50" fmla="*/ 0 w 2080768"/>
                <a:gd name="connsiteY50" fmla="*/ 3685874 h 3685874"/>
                <a:gd name="connsiteX0" fmla="*/ 666496 w 2080768"/>
                <a:gd name="connsiteY0" fmla="*/ 515954 h 3685874"/>
                <a:gd name="connsiteX1" fmla="*/ 743712 w 2080768"/>
                <a:gd name="connsiteY1" fmla="*/ 654130 h 3685874"/>
                <a:gd name="connsiteX2" fmla="*/ 798926 w 2080768"/>
                <a:gd name="connsiteY2" fmla="*/ 761477 h 3685874"/>
                <a:gd name="connsiteX3" fmla="*/ 841248 w 2080768"/>
                <a:gd name="connsiteY3" fmla="*/ 861394 h 3685874"/>
                <a:gd name="connsiteX4" fmla="*/ 853440 w 2080768"/>
                <a:gd name="connsiteY4" fmla="*/ 975186 h 3685874"/>
                <a:gd name="connsiteX5" fmla="*/ 826390 w 2080768"/>
                <a:gd name="connsiteY5" fmla="*/ 1045671 h 3685874"/>
                <a:gd name="connsiteX6" fmla="*/ 776636 w 2080768"/>
                <a:gd name="connsiteY6" fmla="*/ 1087296 h 3685874"/>
                <a:gd name="connsiteX7" fmla="*/ 715264 w 2080768"/>
                <a:gd name="connsiteY7" fmla="*/ 1109298 h 3685874"/>
                <a:gd name="connsiteX8" fmla="*/ 646176 w 2080768"/>
                <a:gd name="connsiteY8" fmla="*/ 1105234 h 3685874"/>
                <a:gd name="connsiteX9" fmla="*/ 593344 w 2080768"/>
                <a:gd name="connsiteY9" fmla="*/ 1080850 h 3685874"/>
                <a:gd name="connsiteX10" fmla="*/ 540512 w 2080768"/>
                <a:gd name="connsiteY10" fmla="*/ 1015826 h 3685874"/>
                <a:gd name="connsiteX11" fmla="*/ 524256 w 2080768"/>
                <a:gd name="connsiteY11" fmla="*/ 954866 h 3685874"/>
                <a:gd name="connsiteX12" fmla="*/ 528320 w 2080768"/>
                <a:gd name="connsiteY12" fmla="*/ 869522 h 3685874"/>
                <a:gd name="connsiteX13" fmla="*/ 556768 w 2080768"/>
                <a:gd name="connsiteY13" fmla="*/ 788242 h 3685874"/>
                <a:gd name="connsiteX14" fmla="*/ 593344 w 2080768"/>
                <a:gd name="connsiteY14" fmla="*/ 735410 h 3685874"/>
                <a:gd name="connsiteX15" fmla="*/ 650240 w 2080768"/>
                <a:gd name="connsiteY15" fmla="*/ 670386 h 3685874"/>
                <a:gd name="connsiteX16" fmla="*/ 703072 w 2080768"/>
                <a:gd name="connsiteY16" fmla="*/ 605362 h 3685874"/>
                <a:gd name="connsiteX17" fmla="*/ 784352 w 2080768"/>
                <a:gd name="connsiteY17" fmla="*/ 528146 h 3685874"/>
                <a:gd name="connsiteX18" fmla="*/ 885952 w 2080768"/>
                <a:gd name="connsiteY18" fmla="*/ 442802 h 3685874"/>
                <a:gd name="connsiteX19" fmla="*/ 999744 w 2080768"/>
                <a:gd name="connsiteY19" fmla="*/ 357458 h 3685874"/>
                <a:gd name="connsiteX20" fmla="*/ 1129792 w 2080768"/>
                <a:gd name="connsiteY20" fmla="*/ 263986 h 3685874"/>
                <a:gd name="connsiteX21" fmla="*/ 1300480 w 2080768"/>
                <a:gd name="connsiteY21" fmla="*/ 162386 h 3685874"/>
                <a:gd name="connsiteX22" fmla="*/ 1442720 w 2080768"/>
                <a:gd name="connsiteY22" fmla="*/ 93298 h 3685874"/>
                <a:gd name="connsiteX23" fmla="*/ 1556512 w 2080768"/>
                <a:gd name="connsiteY23" fmla="*/ 52658 h 3685874"/>
                <a:gd name="connsiteX24" fmla="*/ 1643539 w 2080768"/>
                <a:gd name="connsiteY24" fmla="*/ 21130 h 3685874"/>
                <a:gd name="connsiteX25" fmla="*/ 1717390 w 2080768"/>
                <a:gd name="connsiteY25" fmla="*/ 1794 h 3685874"/>
                <a:gd name="connsiteX26" fmla="*/ 1771904 w 2080768"/>
                <a:gd name="connsiteY26" fmla="*/ 3890 h 3685874"/>
                <a:gd name="connsiteX27" fmla="*/ 1845056 w 2080768"/>
                <a:gd name="connsiteY27" fmla="*/ 16082 h 3685874"/>
                <a:gd name="connsiteX28" fmla="*/ 1906016 w 2080768"/>
                <a:gd name="connsiteY28" fmla="*/ 48594 h 3685874"/>
                <a:gd name="connsiteX29" fmla="*/ 1983232 w 2080768"/>
                <a:gd name="connsiteY29" fmla="*/ 101426 h 3685874"/>
                <a:gd name="connsiteX30" fmla="*/ 2015744 w 2080768"/>
                <a:gd name="connsiteY30" fmla="*/ 154258 h 3685874"/>
                <a:gd name="connsiteX31" fmla="*/ 2048256 w 2080768"/>
                <a:gd name="connsiteY31" fmla="*/ 219282 h 3685874"/>
                <a:gd name="connsiteX32" fmla="*/ 2064512 w 2080768"/>
                <a:gd name="connsiteY32" fmla="*/ 284306 h 3685874"/>
                <a:gd name="connsiteX33" fmla="*/ 2080768 w 2080768"/>
                <a:gd name="connsiteY33" fmla="*/ 357458 h 3685874"/>
                <a:gd name="connsiteX34" fmla="*/ 2072640 w 2080768"/>
                <a:gd name="connsiteY34" fmla="*/ 430610 h 3685874"/>
                <a:gd name="connsiteX35" fmla="*/ 2060448 w 2080768"/>
                <a:gd name="connsiteY35" fmla="*/ 507826 h 3685874"/>
                <a:gd name="connsiteX36" fmla="*/ 2027936 w 2080768"/>
                <a:gd name="connsiteY36" fmla="*/ 617554 h 3685874"/>
                <a:gd name="connsiteX37" fmla="*/ 1975104 w 2080768"/>
                <a:gd name="connsiteY37" fmla="*/ 759794 h 3685874"/>
                <a:gd name="connsiteX38" fmla="*/ 1918208 w 2080768"/>
                <a:gd name="connsiteY38" fmla="*/ 885778 h 3685874"/>
                <a:gd name="connsiteX39" fmla="*/ 1845056 w 2080768"/>
                <a:gd name="connsiteY39" fmla="*/ 1040210 h 3685874"/>
                <a:gd name="connsiteX40" fmla="*/ 1763776 w 2080768"/>
                <a:gd name="connsiteY40" fmla="*/ 1182450 h 3685874"/>
                <a:gd name="connsiteX41" fmla="*/ 1666240 w 2080768"/>
                <a:gd name="connsiteY41" fmla="*/ 1361266 h 3685874"/>
                <a:gd name="connsiteX42" fmla="*/ 1552448 w 2080768"/>
                <a:gd name="connsiteY42" fmla="*/ 1523826 h 3685874"/>
                <a:gd name="connsiteX43" fmla="*/ 1381760 w 2080768"/>
                <a:gd name="connsiteY43" fmla="*/ 1787986 h 3685874"/>
                <a:gd name="connsiteX44" fmla="*/ 1247648 w 2080768"/>
                <a:gd name="connsiteY44" fmla="*/ 1966802 h 3685874"/>
                <a:gd name="connsiteX45" fmla="*/ 1060704 w 2080768"/>
                <a:gd name="connsiteY45" fmla="*/ 2206578 h 3685874"/>
                <a:gd name="connsiteX46" fmla="*/ 898144 w 2080768"/>
                <a:gd name="connsiteY46" fmla="*/ 2417906 h 3685874"/>
                <a:gd name="connsiteX47" fmla="*/ 548640 w 2080768"/>
                <a:gd name="connsiteY47" fmla="*/ 2873074 h 3685874"/>
                <a:gd name="connsiteX48" fmla="*/ 308864 w 2080768"/>
                <a:gd name="connsiteY48" fmla="*/ 3186002 h 3685874"/>
                <a:gd name="connsiteX49" fmla="*/ 65024 w 2080768"/>
                <a:gd name="connsiteY49" fmla="*/ 3572082 h 3685874"/>
                <a:gd name="connsiteX50" fmla="*/ 0 w 2080768"/>
                <a:gd name="connsiteY50" fmla="*/ 3685874 h 3685874"/>
                <a:gd name="connsiteX0" fmla="*/ 666496 w 2080768"/>
                <a:gd name="connsiteY0" fmla="*/ 516737 h 3686657"/>
                <a:gd name="connsiteX1" fmla="*/ 743712 w 2080768"/>
                <a:gd name="connsiteY1" fmla="*/ 654913 h 3686657"/>
                <a:gd name="connsiteX2" fmla="*/ 798926 w 2080768"/>
                <a:gd name="connsiteY2" fmla="*/ 762260 h 3686657"/>
                <a:gd name="connsiteX3" fmla="*/ 841248 w 2080768"/>
                <a:gd name="connsiteY3" fmla="*/ 862177 h 3686657"/>
                <a:gd name="connsiteX4" fmla="*/ 853440 w 2080768"/>
                <a:gd name="connsiteY4" fmla="*/ 975969 h 3686657"/>
                <a:gd name="connsiteX5" fmla="*/ 826390 w 2080768"/>
                <a:gd name="connsiteY5" fmla="*/ 1046454 h 3686657"/>
                <a:gd name="connsiteX6" fmla="*/ 776636 w 2080768"/>
                <a:gd name="connsiteY6" fmla="*/ 1088079 h 3686657"/>
                <a:gd name="connsiteX7" fmla="*/ 715264 w 2080768"/>
                <a:gd name="connsiteY7" fmla="*/ 1110081 h 3686657"/>
                <a:gd name="connsiteX8" fmla="*/ 646176 w 2080768"/>
                <a:gd name="connsiteY8" fmla="*/ 1106017 h 3686657"/>
                <a:gd name="connsiteX9" fmla="*/ 593344 w 2080768"/>
                <a:gd name="connsiteY9" fmla="*/ 1081633 h 3686657"/>
                <a:gd name="connsiteX10" fmla="*/ 540512 w 2080768"/>
                <a:gd name="connsiteY10" fmla="*/ 1016609 h 3686657"/>
                <a:gd name="connsiteX11" fmla="*/ 524256 w 2080768"/>
                <a:gd name="connsiteY11" fmla="*/ 955649 h 3686657"/>
                <a:gd name="connsiteX12" fmla="*/ 528320 w 2080768"/>
                <a:gd name="connsiteY12" fmla="*/ 870305 h 3686657"/>
                <a:gd name="connsiteX13" fmla="*/ 556768 w 2080768"/>
                <a:gd name="connsiteY13" fmla="*/ 789025 h 3686657"/>
                <a:gd name="connsiteX14" fmla="*/ 593344 w 2080768"/>
                <a:gd name="connsiteY14" fmla="*/ 736193 h 3686657"/>
                <a:gd name="connsiteX15" fmla="*/ 650240 w 2080768"/>
                <a:gd name="connsiteY15" fmla="*/ 671169 h 3686657"/>
                <a:gd name="connsiteX16" fmla="*/ 703072 w 2080768"/>
                <a:gd name="connsiteY16" fmla="*/ 606145 h 3686657"/>
                <a:gd name="connsiteX17" fmla="*/ 784352 w 2080768"/>
                <a:gd name="connsiteY17" fmla="*/ 528929 h 3686657"/>
                <a:gd name="connsiteX18" fmla="*/ 885952 w 2080768"/>
                <a:gd name="connsiteY18" fmla="*/ 443585 h 3686657"/>
                <a:gd name="connsiteX19" fmla="*/ 999744 w 2080768"/>
                <a:gd name="connsiteY19" fmla="*/ 358241 h 3686657"/>
                <a:gd name="connsiteX20" fmla="*/ 1129792 w 2080768"/>
                <a:gd name="connsiteY20" fmla="*/ 264769 h 3686657"/>
                <a:gd name="connsiteX21" fmla="*/ 1300480 w 2080768"/>
                <a:gd name="connsiteY21" fmla="*/ 163169 h 3686657"/>
                <a:gd name="connsiteX22" fmla="*/ 1442720 w 2080768"/>
                <a:gd name="connsiteY22" fmla="*/ 94081 h 3686657"/>
                <a:gd name="connsiteX23" fmla="*/ 1556512 w 2080768"/>
                <a:gd name="connsiteY23" fmla="*/ 53441 h 3686657"/>
                <a:gd name="connsiteX24" fmla="*/ 1643539 w 2080768"/>
                <a:gd name="connsiteY24" fmla="*/ 21913 h 3686657"/>
                <a:gd name="connsiteX25" fmla="*/ 1717390 w 2080768"/>
                <a:gd name="connsiteY25" fmla="*/ 2577 h 3686657"/>
                <a:gd name="connsiteX26" fmla="*/ 1786192 w 2080768"/>
                <a:gd name="connsiteY26" fmla="*/ 2292 h 3686657"/>
                <a:gd name="connsiteX27" fmla="*/ 1845056 w 2080768"/>
                <a:gd name="connsiteY27" fmla="*/ 16865 h 3686657"/>
                <a:gd name="connsiteX28" fmla="*/ 1906016 w 2080768"/>
                <a:gd name="connsiteY28" fmla="*/ 49377 h 3686657"/>
                <a:gd name="connsiteX29" fmla="*/ 1983232 w 2080768"/>
                <a:gd name="connsiteY29" fmla="*/ 102209 h 3686657"/>
                <a:gd name="connsiteX30" fmla="*/ 2015744 w 2080768"/>
                <a:gd name="connsiteY30" fmla="*/ 155041 h 3686657"/>
                <a:gd name="connsiteX31" fmla="*/ 2048256 w 2080768"/>
                <a:gd name="connsiteY31" fmla="*/ 220065 h 3686657"/>
                <a:gd name="connsiteX32" fmla="*/ 2064512 w 2080768"/>
                <a:gd name="connsiteY32" fmla="*/ 285089 h 3686657"/>
                <a:gd name="connsiteX33" fmla="*/ 2080768 w 2080768"/>
                <a:gd name="connsiteY33" fmla="*/ 358241 h 3686657"/>
                <a:gd name="connsiteX34" fmla="*/ 2072640 w 2080768"/>
                <a:gd name="connsiteY34" fmla="*/ 431393 h 3686657"/>
                <a:gd name="connsiteX35" fmla="*/ 2060448 w 2080768"/>
                <a:gd name="connsiteY35" fmla="*/ 508609 h 3686657"/>
                <a:gd name="connsiteX36" fmla="*/ 2027936 w 2080768"/>
                <a:gd name="connsiteY36" fmla="*/ 618337 h 3686657"/>
                <a:gd name="connsiteX37" fmla="*/ 1975104 w 2080768"/>
                <a:gd name="connsiteY37" fmla="*/ 760577 h 3686657"/>
                <a:gd name="connsiteX38" fmla="*/ 1918208 w 2080768"/>
                <a:gd name="connsiteY38" fmla="*/ 886561 h 3686657"/>
                <a:gd name="connsiteX39" fmla="*/ 1845056 w 2080768"/>
                <a:gd name="connsiteY39" fmla="*/ 1040993 h 3686657"/>
                <a:gd name="connsiteX40" fmla="*/ 1763776 w 2080768"/>
                <a:gd name="connsiteY40" fmla="*/ 1183233 h 3686657"/>
                <a:gd name="connsiteX41" fmla="*/ 1666240 w 2080768"/>
                <a:gd name="connsiteY41" fmla="*/ 1362049 h 3686657"/>
                <a:gd name="connsiteX42" fmla="*/ 1552448 w 2080768"/>
                <a:gd name="connsiteY42" fmla="*/ 1524609 h 3686657"/>
                <a:gd name="connsiteX43" fmla="*/ 1381760 w 2080768"/>
                <a:gd name="connsiteY43" fmla="*/ 1788769 h 3686657"/>
                <a:gd name="connsiteX44" fmla="*/ 1247648 w 2080768"/>
                <a:gd name="connsiteY44" fmla="*/ 1967585 h 3686657"/>
                <a:gd name="connsiteX45" fmla="*/ 1060704 w 2080768"/>
                <a:gd name="connsiteY45" fmla="*/ 2207361 h 3686657"/>
                <a:gd name="connsiteX46" fmla="*/ 898144 w 2080768"/>
                <a:gd name="connsiteY46" fmla="*/ 2418689 h 3686657"/>
                <a:gd name="connsiteX47" fmla="*/ 548640 w 2080768"/>
                <a:gd name="connsiteY47" fmla="*/ 2873857 h 3686657"/>
                <a:gd name="connsiteX48" fmla="*/ 308864 w 2080768"/>
                <a:gd name="connsiteY48" fmla="*/ 3186785 h 3686657"/>
                <a:gd name="connsiteX49" fmla="*/ 65024 w 2080768"/>
                <a:gd name="connsiteY49" fmla="*/ 3572865 h 3686657"/>
                <a:gd name="connsiteX50" fmla="*/ 0 w 2080768"/>
                <a:gd name="connsiteY50" fmla="*/ 3686657 h 3686657"/>
                <a:gd name="connsiteX0" fmla="*/ 666496 w 2080768"/>
                <a:gd name="connsiteY0" fmla="*/ 516737 h 3686657"/>
                <a:gd name="connsiteX1" fmla="*/ 743712 w 2080768"/>
                <a:gd name="connsiteY1" fmla="*/ 654913 h 3686657"/>
                <a:gd name="connsiteX2" fmla="*/ 798926 w 2080768"/>
                <a:gd name="connsiteY2" fmla="*/ 762260 h 3686657"/>
                <a:gd name="connsiteX3" fmla="*/ 841248 w 2080768"/>
                <a:gd name="connsiteY3" fmla="*/ 862177 h 3686657"/>
                <a:gd name="connsiteX4" fmla="*/ 853440 w 2080768"/>
                <a:gd name="connsiteY4" fmla="*/ 975969 h 3686657"/>
                <a:gd name="connsiteX5" fmla="*/ 826390 w 2080768"/>
                <a:gd name="connsiteY5" fmla="*/ 1046454 h 3686657"/>
                <a:gd name="connsiteX6" fmla="*/ 776636 w 2080768"/>
                <a:gd name="connsiteY6" fmla="*/ 1088079 h 3686657"/>
                <a:gd name="connsiteX7" fmla="*/ 715264 w 2080768"/>
                <a:gd name="connsiteY7" fmla="*/ 1110081 h 3686657"/>
                <a:gd name="connsiteX8" fmla="*/ 646176 w 2080768"/>
                <a:gd name="connsiteY8" fmla="*/ 1106017 h 3686657"/>
                <a:gd name="connsiteX9" fmla="*/ 593344 w 2080768"/>
                <a:gd name="connsiteY9" fmla="*/ 1081633 h 3686657"/>
                <a:gd name="connsiteX10" fmla="*/ 540512 w 2080768"/>
                <a:gd name="connsiteY10" fmla="*/ 1016609 h 3686657"/>
                <a:gd name="connsiteX11" fmla="*/ 524256 w 2080768"/>
                <a:gd name="connsiteY11" fmla="*/ 955649 h 3686657"/>
                <a:gd name="connsiteX12" fmla="*/ 528320 w 2080768"/>
                <a:gd name="connsiteY12" fmla="*/ 870305 h 3686657"/>
                <a:gd name="connsiteX13" fmla="*/ 556768 w 2080768"/>
                <a:gd name="connsiteY13" fmla="*/ 789025 h 3686657"/>
                <a:gd name="connsiteX14" fmla="*/ 593344 w 2080768"/>
                <a:gd name="connsiteY14" fmla="*/ 736193 h 3686657"/>
                <a:gd name="connsiteX15" fmla="*/ 650240 w 2080768"/>
                <a:gd name="connsiteY15" fmla="*/ 671169 h 3686657"/>
                <a:gd name="connsiteX16" fmla="*/ 703072 w 2080768"/>
                <a:gd name="connsiteY16" fmla="*/ 606145 h 3686657"/>
                <a:gd name="connsiteX17" fmla="*/ 784352 w 2080768"/>
                <a:gd name="connsiteY17" fmla="*/ 528929 h 3686657"/>
                <a:gd name="connsiteX18" fmla="*/ 885952 w 2080768"/>
                <a:gd name="connsiteY18" fmla="*/ 443585 h 3686657"/>
                <a:gd name="connsiteX19" fmla="*/ 999744 w 2080768"/>
                <a:gd name="connsiteY19" fmla="*/ 358241 h 3686657"/>
                <a:gd name="connsiteX20" fmla="*/ 1129792 w 2080768"/>
                <a:gd name="connsiteY20" fmla="*/ 264769 h 3686657"/>
                <a:gd name="connsiteX21" fmla="*/ 1300480 w 2080768"/>
                <a:gd name="connsiteY21" fmla="*/ 163169 h 3686657"/>
                <a:gd name="connsiteX22" fmla="*/ 1442720 w 2080768"/>
                <a:gd name="connsiteY22" fmla="*/ 94081 h 3686657"/>
                <a:gd name="connsiteX23" fmla="*/ 1556512 w 2080768"/>
                <a:gd name="connsiteY23" fmla="*/ 53441 h 3686657"/>
                <a:gd name="connsiteX24" fmla="*/ 1643539 w 2080768"/>
                <a:gd name="connsiteY24" fmla="*/ 21913 h 3686657"/>
                <a:gd name="connsiteX25" fmla="*/ 1717390 w 2080768"/>
                <a:gd name="connsiteY25" fmla="*/ 2577 h 3686657"/>
                <a:gd name="connsiteX26" fmla="*/ 1786192 w 2080768"/>
                <a:gd name="connsiteY26" fmla="*/ 2292 h 3686657"/>
                <a:gd name="connsiteX27" fmla="*/ 1845056 w 2080768"/>
                <a:gd name="connsiteY27" fmla="*/ 16865 h 3686657"/>
                <a:gd name="connsiteX28" fmla="*/ 1906016 w 2080768"/>
                <a:gd name="connsiteY28" fmla="*/ 49377 h 3686657"/>
                <a:gd name="connsiteX29" fmla="*/ 1983232 w 2080768"/>
                <a:gd name="connsiteY29" fmla="*/ 102209 h 3686657"/>
                <a:gd name="connsiteX30" fmla="*/ 2015744 w 2080768"/>
                <a:gd name="connsiteY30" fmla="*/ 155041 h 3686657"/>
                <a:gd name="connsiteX31" fmla="*/ 2048256 w 2080768"/>
                <a:gd name="connsiteY31" fmla="*/ 220065 h 3686657"/>
                <a:gd name="connsiteX32" fmla="*/ 2064512 w 2080768"/>
                <a:gd name="connsiteY32" fmla="*/ 285089 h 3686657"/>
                <a:gd name="connsiteX33" fmla="*/ 2080768 w 2080768"/>
                <a:gd name="connsiteY33" fmla="*/ 358241 h 3686657"/>
                <a:gd name="connsiteX34" fmla="*/ 2072640 w 2080768"/>
                <a:gd name="connsiteY34" fmla="*/ 431393 h 3686657"/>
                <a:gd name="connsiteX35" fmla="*/ 2060448 w 2080768"/>
                <a:gd name="connsiteY35" fmla="*/ 508609 h 3686657"/>
                <a:gd name="connsiteX36" fmla="*/ 2027936 w 2080768"/>
                <a:gd name="connsiteY36" fmla="*/ 618337 h 3686657"/>
                <a:gd name="connsiteX37" fmla="*/ 1975104 w 2080768"/>
                <a:gd name="connsiteY37" fmla="*/ 760577 h 3686657"/>
                <a:gd name="connsiteX38" fmla="*/ 1918208 w 2080768"/>
                <a:gd name="connsiteY38" fmla="*/ 886561 h 3686657"/>
                <a:gd name="connsiteX39" fmla="*/ 1845056 w 2080768"/>
                <a:gd name="connsiteY39" fmla="*/ 1040993 h 3686657"/>
                <a:gd name="connsiteX40" fmla="*/ 1763776 w 2080768"/>
                <a:gd name="connsiteY40" fmla="*/ 1183233 h 3686657"/>
                <a:gd name="connsiteX41" fmla="*/ 1666240 w 2080768"/>
                <a:gd name="connsiteY41" fmla="*/ 1362049 h 3686657"/>
                <a:gd name="connsiteX42" fmla="*/ 1552448 w 2080768"/>
                <a:gd name="connsiteY42" fmla="*/ 1524609 h 3686657"/>
                <a:gd name="connsiteX43" fmla="*/ 1381760 w 2080768"/>
                <a:gd name="connsiteY43" fmla="*/ 1788769 h 3686657"/>
                <a:gd name="connsiteX44" fmla="*/ 1247648 w 2080768"/>
                <a:gd name="connsiteY44" fmla="*/ 1967585 h 3686657"/>
                <a:gd name="connsiteX45" fmla="*/ 1060704 w 2080768"/>
                <a:gd name="connsiteY45" fmla="*/ 2207361 h 3686657"/>
                <a:gd name="connsiteX46" fmla="*/ 898144 w 2080768"/>
                <a:gd name="connsiteY46" fmla="*/ 2418689 h 3686657"/>
                <a:gd name="connsiteX47" fmla="*/ 548640 w 2080768"/>
                <a:gd name="connsiteY47" fmla="*/ 2873857 h 3686657"/>
                <a:gd name="connsiteX48" fmla="*/ 308864 w 2080768"/>
                <a:gd name="connsiteY48" fmla="*/ 3186785 h 3686657"/>
                <a:gd name="connsiteX49" fmla="*/ 65024 w 2080768"/>
                <a:gd name="connsiteY49" fmla="*/ 3572865 h 3686657"/>
                <a:gd name="connsiteX50" fmla="*/ 0 w 2080768"/>
                <a:gd name="connsiteY50" fmla="*/ 3686657 h 3686657"/>
                <a:gd name="connsiteX0" fmla="*/ 666496 w 2080768"/>
                <a:gd name="connsiteY0" fmla="*/ 516737 h 3686657"/>
                <a:gd name="connsiteX1" fmla="*/ 743712 w 2080768"/>
                <a:gd name="connsiteY1" fmla="*/ 654913 h 3686657"/>
                <a:gd name="connsiteX2" fmla="*/ 798926 w 2080768"/>
                <a:gd name="connsiteY2" fmla="*/ 762260 h 3686657"/>
                <a:gd name="connsiteX3" fmla="*/ 841248 w 2080768"/>
                <a:gd name="connsiteY3" fmla="*/ 862177 h 3686657"/>
                <a:gd name="connsiteX4" fmla="*/ 853440 w 2080768"/>
                <a:gd name="connsiteY4" fmla="*/ 975969 h 3686657"/>
                <a:gd name="connsiteX5" fmla="*/ 826390 w 2080768"/>
                <a:gd name="connsiteY5" fmla="*/ 1046454 h 3686657"/>
                <a:gd name="connsiteX6" fmla="*/ 776636 w 2080768"/>
                <a:gd name="connsiteY6" fmla="*/ 1088079 h 3686657"/>
                <a:gd name="connsiteX7" fmla="*/ 715264 w 2080768"/>
                <a:gd name="connsiteY7" fmla="*/ 1110081 h 3686657"/>
                <a:gd name="connsiteX8" fmla="*/ 646176 w 2080768"/>
                <a:gd name="connsiteY8" fmla="*/ 1106017 h 3686657"/>
                <a:gd name="connsiteX9" fmla="*/ 593344 w 2080768"/>
                <a:gd name="connsiteY9" fmla="*/ 1081633 h 3686657"/>
                <a:gd name="connsiteX10" fmla="*/ 540512 w 2080768"/>
                <a:gd name="connsiteY10" fmla="*/ 1016609 h 3686657"/>
                <a:gd name="connsiteX11" fmla="*/ 524256 w 2080768"/>
                <a:gd name="connsiteY11" fmla="*/ 955649 h 3686657"/>
                <a:gd name="connsiteX12" fmla="*/ 528320 w 2080768"/>
                <a:gd name="connsiteY12" fmla="*/ 870305 h 3686657"/>
                <a:gd name="connsiteX13" fmla="*/ 556768 w 2080768"/>
                <a:gd name="connsiteY13" fmla="*/ 789025 h 3686657"/>
                <a:gd name="connsiteX14" fmla="*/ 593344 w 2080768"/>
                <a:gd name="connsiteY14" fmla="*/ 736193 h 3686657"/>
                <a:gd name="connsiteX15" fmla="*/ 650240 w 2080768"/>
                <a:gd name="connsiteY15" fmla="*/ 671169 h 3686657"/>
                <a:gd name="connsiteX16" fmla="*/ 703072 w 2080768"/>
                <a:gd name="connsiteY16" fmla="*/ 606145 h 3686657"/>
                <a:gd name="connsiteX17" fmla="*/ 784352 w 2080768"/>
                <a:gd name="connsiteY17" fmla="*/ 528929 h 3686657"/>
                <a:gd name="connsiteX18" fmla="*/ 885952 w 2080768"/>
                <a:gd name="connsiteY18" fmla="*/ 443585 h 3686657"/>
                <a:gd name="connsiteX19" fmla="*/ 999744 w 2080768"/>
                <a:gd name="connsiteY19" fmla="*/ 358241 h 3686657"/>
                <a:gd name="connsiteX20" fmla="*/ 1129792 w 2080768"/>
                <a:gd name="connsiteY20" fmla="*/ 264769 h 3686657"/>
                <a:gd name="connsiteX21" fmla="*/ 1300480 w 2080768"/>
                <a:gd name="connsiteY21" fmla="*/ 163169 h 3686657"/>
                <a:gd name="connsiteX22" fmla="*/ 1442720 w 2080768"/>
                <a:gd name="connsiteY22" fmla="*/ 94081 h 3686657"/>
                <a:gd name="connsiteX23" fmla="*/ 1556512 w 2080768"/>
                <a:gd name="connsiteY23" fmla="*/ 53441 h 3686657"/>
                <a:gd name="connsiteX24" fmla="*/ 1643539 w 2080768"/>
                <a:gd name="connsiteY24" fmla="*/ 21913 h 3686657"/>
                <a:gd name="connsiteX25" fmla="*/ 1717390 w 2080768"/>
                <a:gd name="connsiteY25" fmla="*/ 2577 h 3686657"/>
                <a:gd name="connsiteX26" fmla="*/ 1786192 w 2080768"/>
                <a:gd name="connsiteY26" fmla="*/ 2292 h 3686657"/>
                <a:gd name="connsiteX27" fmla="*/ 1845056 w 2080768"/>
                <a:gd name="connsiteY27" fmla="*/ 16865 h 3686657"/>
                <a:gd name="connsiteX28" fmla="*/ 1906016 w 2080768"/>
                <a:gd name="connsiteY28" fmla="*/ 49377 h 3686657"/>
                <a:gd name="connsiteX29" fmla="*/ 1983232 w 2080768"/>
                <a:gd name="connsiteY29" fmla="*/ 102209 h 3686657"/>
                <a:gd name="connsiteX30" fmla="*/ 2015744 w 2080768"/>
                <a:gd name="connsiteY30" fmla="*/ 155041 h 3686657"/>
                <a:gd name="connsiteX31" fmla="*/ 2048256 w 2080768"/>
                <a:gd name="connsiteY31" fmla="*/ 220065 h 3686657"/>
                <a:gd name="connsiteX32" fmla="*/ 2064512 w 2080768"/>
                <a:gd name="connsiteY32" fmla="*/ 285089 h 3686657"/>
                <a:gd name="connsiteX33" fmla="*/ 2080768 w 2080768"/>
                <a:gd name="connsiteY33" fmla="*/ 358241 h 3686657"/>
                <a:gd name="connsiteX34" fmla="*/ 2072640 w 2080768"/>
                <a:gd name="connsiteY34" fmla="*/ 431393 h 3686657"/>
                <a:gd name="connsiteX35" fmla="*/ 2060448 w 2080768"/>
                <a:gd name="connsiteY35" fmla="*/ 508609 h 3686657"/>
                <a:gd name="connsiteX36" fmla="*/ 2027936 w 2080768"/>
                <a:gd name="connsiteY36" fmla="*/ 618337 h 3686657"/>
                <a:gd name="connsiteX37" fmla="*/ 1975104 w 2080768"/>
                <a:gd name="connsiteY37" fmla="*/ 760577 h 3686657"/>
                <a:gd name="connsiteX38" fmla="*/ 1918208 w 2080768"/>
                <a:gd name="connsiteY38" fmla="*/ 886561 h 3686657"/>
                <a:gd name="connsiteX39" fmla="*/ 1845056 w 2080768"/>
                <a:gd name="connsiteY39" fmla="*/ 1040993 h 3686657"/>
                <a:gd name="connsiteX40" fmla="*/ 1763776 w 2080768"/>
                <a:gd name="connsiteY40" fmla="*/ 1183233 h 3686657"/>
                <a:gd name="connsiteX41" fmla="*/ 1666240 w 2080768"/>
                <a:gd name="connsiteY41" fmla="*/ 1362049 h 3686657"/>
                <a:gd name="connsiteX42" fmla="*/ 1552448 w 2080768"/>
                <a:gd name="connsiteY42" fmla="*/ 1524609 h 3686657"/>
                <a:gd name="connsiteX43" fmla="*/ 1381760 w 2080768"/>
                <a:gd name="connsiteY43" fmla="*/ 1788769 h 3686657"/>
                <a:gd name="connsiteX44" fmla="*/ 1247648 w 2080768"/>
                <a:gd name="connsiteY44" fmla="*/ 1967585 h 3686657"/>
                <a:gd name="connsiteX45" fmla="*/ 1060704 w 2080768"/>
                <a:gd name="connsiteY45" fmla="*/ 2207361 h 3686657"/>
                <a:gd name="connsiteX46" fmla="*/ 898144 w 2080768"/>
                <a:gd name="connsiteY46" fmla="*/ 2418689 h 3686657"/>
                <a:gd name="connsiteX47" fmla="*/ 548640 w 2080768"/>
                <a:gd name="connsiteY47" fmla="*/ 2873857 h 3686657"/>
                <a:gd name="connsiteX48" fmla="*/ 308864 w 2080768"/>
                <a:gd name="connsiteY48" fmla="*/ 3186785 h 3686657"/>
                <a:gd name="connsiteX49" fmla="*/ 65024 w 2080768"/>
                <a:gd name="connsiteY49" fmla="*/ 3572865 h 3686657"/>
                <a:gd name="connsiteX50" fmla="*/ 0 w 2080768"/>
                <a:gd name="connsiteY50" fmla="*/ 3686657 h 3686657"/>
                <a:gd name="connsiteX0" fmla="*/ 666496 w 2080961"/>
                <a:gd name="connsiteY0" fmla="*/ 516737 h 3686657"/>
                <a:gd name="connsiteX1" fmla="*/ 743712 w 2080961"/>
                <a:gd name="connsiteY1" fmla="*/ 654913 h 3686657"/>
                <a:gd name="connsiteX2" fmla="*/ 798926 w 2080961"/>
                <a:gd name="connsiteY2" fmla="*/ 762260 h 3686657"/>
                <a:gd name="connsiteX3" fmla="*/ 841248 w 2080961"/>
                <a:gd name="connsiteY3" fmla="*/ 862177 h 3686657"/>
                <a:gd name="connsiteX4" fmla="*/ 853440 w 2080961"/>
                <a:gd name="connsiteY4" fmla="*/ 975969 h 3686657"/>
                <a:gd name="connsiteX5" fmla="*/ 826390 w 2080961"/>
                <a:gd name="connsiteY5" fmla="*/ 1046454 h 3686657"/>
                <a:gd name="connsiteX6" fmla="*/ 776636 w 2080961"/>
                <a:gd name="connsiteY6" fmla="*/ 1088079 h 3686657"/>
                <a:gd name="connsiteX7" fmla="*/ 715264 w 2080961"/>
                <a:gd name="connsiteY7" fmla="*/ 1110081 h 3686657"/>
                <a:gd name="connsiteX8" fmla="*/ 646176 w 2080961"/>
                <a:gd name="connsiteY8" fmla="*/ 1106017 h 3686657"/>
                <a:gd name="connsiteX9" fmla="*/ 593344 w 2080961"/>
                <a:gd name="connsiteY9" fmla="*/ 1081633 h 3686657"/>
                <a:gd name="connsiteX10" fmla="*/ 540512 w 2080961"/>
                <a:gd name="connsiteY10" fmla="*/ 1016609 h 3686657"/>
                <a:gd name="connsiteX11" fmla="*/ 524256 w 2080961"/>
                <a:gd name="connsiteY11" fmla="*/ 955649 h 3686657"/>
                <a:gd name="connsiteX12" fmla="*/ 528320 w 2080961"/>
                <a:gd name="connsiteY12" fmla="*/ 870305 h 3686657"/>
                <a:gd name="connsiteX13" fmla="*/ 556768 w 2080961"/>
                <a:gd name="connsiteY13" fmla="*/ 789025 h 3686657"/>
                <a:gd name="connsiteX14" fmla="*/ 593344 w 2080961"/>
                <a:gd name="connsiteY14" fmla="*/ 736193 h 3686657"/>
                <a:gd name="connsiteX15" fmla="*/ 650240 w 2080961"/>
                <a:gd name="connsiteY15" fmla="*/ 671169 h 3686657"/>
                <a:gd name="connsiteX16" fmla="*/ 703072 w 2080961"/>
                <a:gd name="connsiteY16" fmla="*/ 606145 h 3686657"/>
                <a:gd name="connsiteX17" fmla="*/ 784352 w 2080961"/>
                <a:gd name="connsiteY17" fmla="*/ 528929 h 3686657"/>
                <a:gd name="connsiteX18" fmla="*/ 885952 w 2080961"/>
                <a:gd name="connsiteY18" fmla="*/ 443585 h 3686657"/>
                <a:gd name="connsiteX19" fmla="*/ 999744 w 2080961"/>
                <a:gd name="connsiteY19" fmla="*/ 358241 h 3686657"/>
                <a:gd name="connsiteX20" fmla="*/ 1129792 w 2080961"/>
                <a:gd name="connsiteY20" fmla="*/ 264769 h 3686657"/>
                <a:gd name="connsiteX21" fmla="*/ 1300480 w 2080961"/>
                <a:gd name="connsiteY21" fmla="*/ 163169 h 3686657"/>
                <a:gd name="connsiteX22" fmla="*/ 1442720 w 2080961"/>
                <a:gd name="connsiteY22" fmla="*/ 94081 h 3686657"/>
                <a:gd name="connsiteX23" fmla="*/ 1556512 w 2080961"/>
                <a:gd name="connsiteY23" fmla="*/ 53441 h 3686657"/>
                <a:gd name="connsiteX24" fmla="*/ 1643539 w 2080961"/>
                <a:gd name="connsiteY24" fmla="*/ 21913 h 3686657"/>
                <a:gd name="connsiteX25" fmla="*/ 1717390 w 2080961"/>
                <a:gd name="connsiteY25" fmla="*/ 2577 h 3686657"/>
                <a:gd name="connsiteX26" fmla="*/ 1786192 w 2080961"/>
                <a:gd name="connsiteY26" fmla="*/ 2292 h 3686657"/>
                <a:gd name="connsiteX27" fmla="*/ 1845056 w 2080961"/>
                <a:gd name="connsiteY27" fmla="*/ 16865 h 3686657"/>
                <a:gd name="connsiteX28" fmla="*/ 1906016 w 2080961"/>
                <a:gd name="connsiteY28" fmla="*/ 49377 h 3686657"/>
                <a:gd name="connsiteX29" fmla="*/ 1983232 w 2080961"/>
                <a:gd name="connsiteY29" fmla="*/ 102209 h 3686657"/>
                <a:gd name="connsiteX30" fmla="*/ 2015744 w 2080961"/>
                <a:gd name="connsiteY30" fmla="*/ 155041 h 3686657"/>
                <a:gd name="connsiteX31" fmla="*/ 2048256 w 2080961"/>
                <a:gd name="connsiteY31" fmla="*/ 220065 h 3686657"/>
                <a:gd name="connsiteX32" fmla="*/ 2064512 w 2080961"/>
                <a:gd name="connsiteY32" fmla="*/ 285089 h 3686657"/>
                <a:gd name="connsiteX33" fmla="*/ 2080768 w 2080961"/>
                <a:gd name="connsiteY33" fmla="*/ 358241 h 3686657"/>
                <a:gd name="connsiteX34" fmla="*/ 2072640 w 2080961"/>
                <a:gd name="connsiteY34" fmla="*/ 431393 h 3686657"/>
                <a:gd name="connsiteX35" fmla="*/ 2060448 w 2080961"/>
                <a:gd name="connsiteY35" fmla="*/ 508609 h 3686657"/>
                <a:gd name="connsiteX36" fmla="*/ 2027936 w 2080961"/>
                <a:gd name="connsiteY36" fmla="*/ 618337 h 3686657"/>
                <a:gd name="connsiteX37" fmla="*/ 1975104 w 2080961"/>
                <a:gd name="connsiteY37" fmla="*/ 760577 h 3686657"/>
                <a:gd name="connsiteX38" fmla="*/ 1918208 w 2080961"/>
                <a:gd name="connsiteY38" fmla="*/ 886561 h 3686657"/>
                <a:gd name="connsiteX39" fmla="*/ 1845056 w 2080961"/>
                <a:gd name="connsiteY39" fmla="*/ 1040993 h 3686657"/>
                <a:gd name="connsiteX40" fmla="*/ 1763776 w 2080961"/>
                <a:gd name="connsiteY40" fmla="*/ 1183233 h 3686657"/>
                <a:gd name="connsiteX41" fmla="*/ 1666240 w 2080961"/>
                <a:gd name="connsiteY41" fmla="*/ 1362049 h 3686657"/>
                <a:gd name="connsiteX42" fmla="*/ 1552448 w 2080961"/>
                <a:gd name="connsiteY42" fmla="*/ 1524609 h 3686657"/>
                <a:gd name="connsiteX43" fmla="*/ 1381760 w 2080961"/>
                <a:gd name="connsiteY43" fmla="*/ 1788769 h 3686657"/>
                <a:gd name="connsiteX44" fmla="*/ 1247648 w 2080961"/>
                <a:gd name="connsiteY44" fmla="*/ 1967585 h 3686657"/>
                <a:gd name="connsiteX45" fmla="*/ 1060704 w 2080961"/>
                <a:gd name="connsiteY45" fmla="*/ 2207361 h 3686657"/>
                <a:gd name="connsiteX46" fmla="*/ 898144 w 2080961"/>
                <a:gd name="connsiteY46" fmla="*/ 2418689 h 3686657"/>
                <a:gd name="connsiteX47" fmla="*/ 548640 w 2080961"/>
                <a:gd name="connsiteY47" fmla="*/ 2873857 h 3686657"/>
                <a:gd name="connsiteX48" fmla="*/ 308864 w 2080961"/>
                <a:gd name="connsiteY48" fmla="*/ 3186785 h 3686657"/>
                <a:gd name="connsiteX49" fmla="*/ 65024 w 2080961"/>
                <a:gd name="connsiteY49" fmla="*/ 3572865 h 3686657"/>
                <a:gd name="connsiteX50" fmla="*/ 0 w 2080961"/>
                <a:gd name="connsiteY50" fmla="*/ 3686657 h 3686657"/>
                <a:gd name="connsiteX0" fmla="*/ 666496 w 2080961"/>
                <a:gd name="connsiteY0" fmla="*/ 516737 h 3686657"/>
                <a:gd name="connsiteX1" fmla="*/ 743712 w 2080961"/>
                <a:gd name="connsiteY1" fmla="*/ 654913 h 3686657"/>
                <a:gd name="connsiteX2" fmla="*/ 798926 w 2080961"/>
                <a:gd name="connsiteY2" fmla="*/ 762260 h 3686657"/>
                <a:gd name="connsiteX3" fmla="*/ 841248 w 2080961"/>
                <a:gd name="connsiteY3" fmla="*/ 862177 h 3686657"/>
                <a:gd name="connsiteX4" fmla="*/ 853440 w 2080961"/>
                <a:gd name="connsiteY4" fmla="*/ 975969 h 3686657"/>
                <a:gd name="connsiteX5" fmla="*/ 826390 w 2080961"/>
                <a:gd name="connsiteY5" fmla="*/ 1046454 h 3686657"/>
                <a:gd name="connsiteX6" fmla="*/ 776636 w 2080961"/>
                <a:gd name="connsiteY6" fmla="*/ 1088079 h 3686657"/>
                <a:gd name="connsiteX7" fmla="*/ 715264 w 2080961"/>
                <a:gd name="connsiteY7" fmla="*/ 1110081 h 3686657"/>
                <a:gd name="connsiteX8" fmla="*/ 646176 w 2080961"/>
                <a:gd name="connsiteY8" fmla="*/ 1106017 h 3686657"/>
                <a:gd name="connsiteX9" fmla="*/ 593344 w 2080961"/>
                <a:gd name="connsiteY9" fmla="*/ 1081633 h 3686657"/>
                <a:gd name="connsiteX10" fmla="*/ 540512 w 2080961"/>
                <a:gd name="connsiteY10" fmla="*/ 1016609 h 3686657"/>
                <a:gd name="connsiteX11" fmla="*/ 524256 w 2080961"/>
                <a:gd name="connsiteY11" fmla="*/ 955649 h 3686657"/>
                <a:gd name="connsiteX12" fmla="*/ 528320 w 2080961"/>
                <a:gd name="connsiteY12" fmla="*/ 870305 h 3686657"/>
                <a:gd name="connsiteX13" fmla="*/ 556768 w 2080961"/>
                <a:gd name="connsiteY13" fmla="*/ 789025 h 3686657"/>
                <a:gd name="connsiteX14" fmla="*/ 593344 w 2080961"/>
                <a:gd name="connsiteY14" fmla="*/ 736193 h 3686657"/>
                <a:gd name="connsiteX15" fmla="*/ 650240 w 2080961"/>
                <a:gd name="connsiteY15" fmla="*/ 671169 h 3686657"/>
                <a:gd name="connsiteX16" fmla="*/ 703072 w 2080961"/>
                <a:gd name="connsiteY16" fmla="*/ 606145 h 3686657"/>
                <a:gd name="connsiteX17" fmla="*/ 784352 w 2080961"/>
                <a:gd name="connsiteY17" fmla="*/ 528929 h 3686657"/>
                <a:gd name="connsiteX18" fmla="*/ 885952 w 2080961"/>
                <a:gd name="connsiteY18" fmla="*/ 443585 h 3686657"/>
                <a:gd name="connsiteX19" fmla="*/ 999744 w 2080961"/>
                <a:gd name="connsiteY19" fmla="*/ 358241 h 3686657"/>
                <a:gd name="connsiteX20" fmla="*/ 1129792 w 2080961"/>
                <a:gd name="connsiteY20" fmla="*/ 264769 h 3686657"/>
                <a:gd name="connsiteX21" fmla="*/ 1300480 w 2080961"/>
                <a:gd name="connsiteY21" fmla="*/ 163169 h 3686657"/>
                <a:gd name="connsiteX22" fmla="*/ 1442720 w 2080961"/>
                <a:gd name="connsiteY22" fmla="*/ 94081 h 3686657"/>
                <a:gd name="connsiteX23" fmla="*/ 1556512 w 2080961"/>
                <a:gd name="connsiteY23" fmla="*/ 53441 h 3686657"/>
                <a:gd name="connsiteX24" fmla="*/ 1643539 w 2080961"/>
                <a:gd name="connsiteY24" fmla="*/ 21913 h 3686657"/>
                <a:gd name="connsiteX25" fmla="*/ 1717390 w 2080961"/>
                <a:gd name="connsiteY25" fmla="*/ 2577 h 3686657"/>
                <a:gd name="connsiteX26" fmla="*/ 1786192 w 2080961"/>
                <a:gd name="connsiteY26" fmla="*/ 2292 h 3686657"/>
                <a:gd name="connsiteX27" fmla="*/ 1845056 w 2080961"/>
                <a:gd name="connsiteY27" fmla="*/ 16865 h 3686657"/>
                <a:gd name="connsiteX28" fmla="*/ 1906016 w 2080961"/>
                <a:gd name="connsiteY28" fmla="*/ 49377 h 3686657"/>
                <a:gd name="connsiteX29" fmla="*/ 1983232 w 2080961"/>
                <a:gd name="connsiteY29" fmla="*/ 102209 h 3686657"/>
                <a:gd name="connsiteX30" fmla="*/ 2015744 w 2080961"/>
                <a:gd name="connsiteY30" fmla="*/ 155041 h 3686657"/>
                <a:gd name="connsiteX31" fmla="*/ 2048256 w 2080961"/>
                <a:gd name="connsiteY31" fmla="*/ 220065 h 3686657"/>
                <a:gd name="connsiteX32" fmla="*/ 2064512 w 2080961"/>
                <a:gd name="connsiteY32" fmla="*/ 285089 h 3686657"/>
                <a:gd name="connsiteX33" fmla="*/ 2080768 w 2080961"/>
                <a:gd name="connsiteY33" fmla="*/ 358241 h 3686657"/>
                <a:gd name="connsiteX34" fmla="*/ 2072640 w 2080961"/>
                <a:gd name="connsiteY34" fmla="*/ 431393 h 3686657"/>
                <a:gd name="connsiteX35" fmla="*/ 2060448 w 2080961"/>
                <a:gd name="connsiteY35" fmla="*/ 508609 h 3686657"/>
                <a:gd name="connsiteX36" fmla="*/ 2027936 w 2080961"/>
                <a:gd name="connsiteY36" fmla="*/ 618337 h 3686657"/>
                <a:gd name="connsiteX37" fmla="*/ 1975104 w 2080961"/>
                <a:gd name="connsiteY37" fmla="*/ 760577 h 3686657"/>
                <a:gd name="connsiteX38" fmla="*/ 1918208 w 2080961"/>
                <a:gd name="connsiteY38" fmla="*/ 886561 h 3686657"/>
                <a:gd name="connsiteX39" fmla="*/ 1845056 w 2080961"/>
                <a:gd name="connsiteY39" fmla="*/ 1040993 h 3686657"/>
                <a:gd name="connsiteX40" fmla="*/ 1763776 w 2080961"/>
                <a:gd name="connsiteY40" fmla="*/ 1183233 h 3686657"/>
                <a:gd name="connsiteX41" fmla="*/ 1666240 w 2080961"/>
                <a:gd name="connsiteY41" fmla="*/ 1362049 h 3686657"/>
                <a:gd name="connsiteX42" fmla="*/ 1552448 w 2080961"/>
                <a:gd name="connsiteY42" fmla="*/ 1524609 h 3686657"/>
                <a:gd name="connsiteX43" fmla="*/ 1381760 w 2080961"/>
                <a:gd name="connsiteY43" fmla="*/ 1788769 h 3686657"/>
                <a:gd name="connsiteX44" fmla="*/ 1247648 w 2080961"/>
                <a:gd name="connsiteY44" fmla="*/ 1967585 h 3686657"/>
                <a:gd name="connsiteX45" fmla="*/ 1060704 w 2080961"/>
                <a:gd name="connsiteY45" fmla="*/ 2207361 h 3686657"/>
                <a:gd name="connsiteX46" fmla="*/ 898144 w 2080961"/>
                <a:gd name="connsiteY46" fmla="*/ 2418689 h 3686657"/>
                <a:gd name="connsiteX47" fmla="*/ 548640 w 2080961"/>
                <a:gd name="connsiteY47" fmla="*/ 2873857 h 3686657"/>
                <a:gd name="connsiteX48" fmla="*/ 308864 w 2080961"/>
                <a:gd name="connsiteY48" fmla="*/ 3186785 h 3686657"/>
                <a:gd name="connsiteX49" fmla="*/ 65024 w 2080961"/>
                <a:gd name="connsiteY49" fmla="*/ 3572865 h 3686657"/>
                <a:gd name="connsiteX50" fmla="*/ 0 w 2080961"/>
                <a:gd name="connsiteY50" fmla="*/ 3686657 h 3686657"/>
                <a:gd name="connsiteX0" fmla="*/ 666496 w 2080961"/>
                <a:gd name="connsiteY0" fmla="*/ 516737 h 3686657"/>
                <a:gd name="connsiteX1" fmla="*/ 743712 w 2080961"/>
                <a:gd name="connsiteY1" fmla="*/ 654913 h 3686657"/>
                <a:gd name="connsiteX2" fmla="*/ 798926 w 2080961"/>
                <a:gd name="connsiteY2" fmla="*/ 762260 h 3686657"/>
                <a:gd name="connsiteX3" fmla="*/ 841248 w 2080961"/>
                <a:gd name="connsiteY3" fmla="*/ 862177 h 3686657"/>
                <a:gd name="connsiteX4" fmla="*/ 853440 w 2080961"/>
                <a:gd name="connsiteY4" fmla="*/ 975969 h 3686657"/>
                <a:gd name="connsiteX5" fmla="*/ 826390 w 2080961"/>
                <a:gd name="connsiteY5" fmla="*/ 1046454 h 3686657"/>
                <a:gd name="connsiteX6" fmla="*/ 776636 w 2080961"/>
                <a:gd name="connsiteY6" fmla="*/ 1088079 h 3686657"/>
                <a:gd name="connsiteX7" fmla="*/ 715264 w 2080961"/>
                <a:gd name="connsiteY7" fmla="*/ 1110081 h 3686657"/>
                <a:gd name="connsiteX8" fmla="*/ 646176 w 2080961"/>
                <a:gd name="connsiteY8" fmla="*/ 1106017 h 3686657"/>
                <a:gd name="connsiteX9" fmla="*/ 593344 w 2080961"/>
                <a:gd name="connsiteY9" fmla="*/ 1081633 h 3686657"/>
                <a:gd name="connsiteX10" fmla="*/ 540512 w 2080961"/>
                <a:gd name="connsiteY10" fmla="*/ 1016609 h 3686657"/>
                <a:gd name="connsiteX11" fmla="*/ 524256 w 2080961"/>
                <a:gd name="connsiteY11" fmla="*/ 955649 h 3686657"/>
                <a:gd name="connsiteX12" fmla="*/ 528320 w 2080961"/>
                <a:gd name="connsiteY12" fmla="*/ 870305 h 3686657"/>
                <a:gd name="connsiteX13" fmla="*/ 556768 w 2080961"/>
                <a:gd name="connsiteY13" fmla="*/ 789025 h 3686657"/>
                <a:gd name="connsiteX14" fmla="*/ 593344 w 2080961"/>
                <a:gd name="connsiteY14" fmla="*/ 736193 h 3686657"/>
                <a:gd name="connsiteX15" fmla="*/ 650240 w 2080961"/>
                <a:gd name="connsiteY15" fmla="*/ 671169 h 3686657"/>
                <a:gd name="connsiteX16" fmla="*/ 703072 w 2080961"/>
                <a:gd name="connsiteY16" fmla="*/ 606145 h 3686657"/>
                <a:gd name="connsiteX17" fmla="*/ 784352 w 2080961"/>
                <a:gd name="connsiteY17" fmla="*/ 528929 h 3686657"/>
                <a:gd name="connsiteX18" fmla="*/ 885952 w 2080961"/>
                <a:gd name="connsiteY18" fmla="*/ 443585 h 3686657"/>
                <a:gd name="connsiteX19" fmla="*/ 999744 w 2080961"/>
                <a:gd name="connsiteY19" fmla="*/ 358241 h 3686657"/>
                <a:gd name="connsiteX20" fmla="*/ 1129792 w 2080961"/>
                <a:gd name="connsiteY20" fmla="*/ 264769 h 3686657"/>
                <a:gd name="connsiteX21" fmla="*/ 1300480 w 2080961"/>
                <a:gd name="connsiteY21" fmla="*/ 163169 h 3686657"/>
                <a:gd name="connsiteX22" fmla="*/ 1442720 w 2080961"/>
                <a:gd name="connsiteY22" fmla="*/ 94081 h 3686657"/>
                <a:gd name="connsiteX23" fmla="*/ 1556512 w 2080961"/>
                <a:gd name="connsiteY23" fmla="*/ 53441 h 3686657"/>
                <a:gd name="connsiteX24" fmla="*/ 1643539 w 2080961"/>
                <a:gd name="connsiteY24" fmla="*/ 21913 h 3686657"/>
                <a:gd name="connsiteX25" fmla="*/ 1717390 w 2080961"/>
                <a:gd name="connsiteY25" fmla="*/ 2577 h 3686657"/>
                <a:gd name="connsiteX26" fmla="*/ 1786192 w 2080961"/>
                <a:gd name="connsiteY26" fmla="*/ 2292 h 3686657"/>
                <a:gd name="connsiteX27" fmla="*/ 1845056 w 2080961"/>
                <a:gd name="connsiteY27" fmla="*/ 16865 h 3686657"/>
                <a:gd name="connsiteX28" fmla="*/ 1906016 w 2080961"/>
                <a:gd name="connsiteY28" fmla="*/ 49377 h 3686657"/>
                <a:gd name="connsiteX29" fmla="*/ 1983232 w 2080961"/>
                <a:gd name="connsiteY29" fmla="*/ 102209 h 3686657"/>
                <a:gd name="connsiteX30" fmla="*/ 2015744 w 2080961"/>
                <a:gd name="connsiteY30" fmla="*/ 155041 h 3686657"/>
                <a:gd name="connsiteX31" fmla="*/ 2048256 w 2080961"/>
                <a:gd name="connsiteY31" fmla="*/ 220065 h 3686657"/>
                <a:gd name="connsiteX32" fmla="*/ 2064512 w 2080961"/>
                <a:gd name="connsiteY32" fmla="*/ 285089 h 3686657"/>
                <a:gd name="connsiteX33" fmla="*/ 2080768 w 2080961"/>
                <a:gd name="connsiteY33" fmla="*/ 358241 h 3686657"/>
                <a:gd name="connsiteX34" fmla="*/ 2072640 w 2080961"/>
                <a:gd name="connsiteY34" fmla="*/ 431393 h 3686657"/>
                <a:gd name="connsiteX35" fmla="*/ 2060448 w 2080961"/>
                <a:gd name="connsiteY35" fmla="*/ 508609 h 3686657"/>
                <a:gd name="connsiteX36" fmla="*/ 2027936 w 2080961"/>
                <a:gd name="connsiteY36" fmla="*/ 618337 h 3686657"/>
                <a:gd name="connsiteX37" fmla="*/ 1975104 w 2080961"/>
                <a:gd name="connsiteY37" fmla="*/ 760577 h 3686657"/>
                <a:gd name="connsiteX38" fmla="*/ 1918208 w 2080961"/>
                <a:gd name="connsiteY38" fmla="*/ 886561 h 3686657"/>
                <a:gd name="connsiteX39" fmla="*/ 1845056 w 2080961"/>
                <a:gd name="connsiteY39" fmla="*/ 1040993 h 3686657"/>
                <a:gd name="connsiteX40" fmla="*/ 1763776 w 2080961"/>
                <a:gd name="connsiteY40" fmla="*/ 1183233 h 3686657"/>
                <a:gd name="connsiteX41" fmla="*/ 1666240 w 2080961"/>
                <a:gd name="connsiteY41" fmla="*/ 1362049 h 3686657"/>
                <a:gd name="connsiteX42" fmla="*/ 1552448 w 2080961"/>
                <a:gd name="connsiteY42" fmla="*/ 1524609 h 3686657"/>
                <a:gd name="connsiteX43" fmla="*/ 1381760 w 2080961"/>
                <a:gd name="connsiteY43" fmla="*/ 1788769 h 3686657"/>
                <a:gd name="connsiteX44" fmla="*/ 1247648 w 2080961"/>
                <a:gd name="connsiteY44" fmla="*/ 1967585 h 3686657"/>
                <a:gd name="connsiteX45" fmla="*/ 1060704 w 2080961"/>
                <a:gd name="connsiteY45" fmla="*/ 2207361 h 3686657"/>
                <a:gd name="connsiteX46" fmla="*/ 898144 w 2080961"/>
                <a:gd name="connsiteY46" fmla="*/ 2418689 h 3686657"/>
                <a:gd name="connsiteX47" fmla="*/ 548640 w 2080961"/>
                <a:gd name="connsiteY47" fmla="*/ 2873857 h 3686657"/>
                <a:gd name="connsiteX48" fmla="*/ 308864 w 2080961"/>
                <a:gd name="connsiteY48" fmla="*/ 3186785 h 3686657"/>
                <a:gd name="connsiteX49" fmla="*/ 65024 w 2080961"/>
                <a:gd name="connsiteY49" fmla="*/ 3572865 h 3686657"/>
                <a:gd name="connsiteX50" fmla="*/ 0 w 2080961"/>
                <a:gd name="connsiteY50" fmla="*/ 3686657 h 3686657"/>
                <a:gd name="connsiteX0" fmla="*/ 666496 w 2080961"/>
                <a:gd name="connsiteY0" fmla="*/ 516737 h 3686657"/>
                <a:gd name="connsiteX1" fmla="*/ 743712 w 2080961"/>
                <a:gd name="connsiteY1" fmla="*/ 654913 h 3686657"/>
                <a:gd name="connsiteX2" fmla="*/ 798926 w 2080961"/>
                <a:gd name="connsiteY2" fmla="*/ 762260 h 3686657"/>
                <a:gd name="connsiteX3" fmla="*/ 841248 w 2080961"/>
                <a:gd name="connsiteY3" fmla="*/ 862177 h 3686657"/>
                <a:gd name="connsiteX4" fmla="*/ 853440 w 2080961"/>
                <a:gd name="connsiteY4" fmla="*/ 975969 h 3686657"/>
                <a:gd name="connsiteX5" fmla="*/ 826390 w 2080961"/>
                <a:gd name="connsiteY5" fmla="*/ 1046454 h 3686657"/>
                <a:gd name="connsiteX6" fmla="*/ 776636 w 2080961"/>
                <a:gd name="connsiteY6" fmla="*/ 1088079 h 3686657"/>
                <a:gd name="connsiteX7" fmla="*/ 715264 w 2080961"/>
                <a:gd name="connsiteY7" fmla="*/ 1110081 h 3686657"/>
                <a:gd name="connsiteX8" fmla="*/ 646176 w 2080961"/>
                <a:gd name="connsiteY8" fmla="*/ 1106017 h 3686657"/>
                <a:gd name="connsiteX9" fmla="*/ 593344 w 2080961"/>
                <a:gd name="connsiteY9" fmla="*/ 1081633 h 3686657"/>
                <a:gd name="connsiteX10" fmla="*/ 540512 w 2080961"/>
                <a:gd name="connsiteY10" fmla="*/ 1016609 h 3686657"/>
                <a:gd name="connsiteX11" fmla="*/ 524256 w 2080961"/>
                <a:gd name="connsiteY11" fmla="*/ 955649 h 3686657"/>
                <a:gd name="connsiteX12" fmla="*/ 528320 w 2080961"/>
                <a:gd name="connsiteY12" fmla="*/ 870305 h 3686657"/>
                <a:gd name="connsiteX13" fmla="*/ 556768 w 2080961"/>
                <a:gd name="connsiteY13" fmla="*/ 789025 h 3686657"/>
                <a:gd name="connsiteX14" fmla="*/ 593344 w 2080961"/>
                <a:gd name="connsiteY14" fmla="*/ 736193 h 3686657"/>
                <a:gd name="connsiteX15" fmla="*/ 650240 w 2080961"/>
                <a:gd name="connsiteY15" fmla="*/ 671169 h 3686657"/>
                <a:gd name="connsiteX16" fmla="*/ 703072 w 2080961"/>
                <a:gd name="connsiteY16" fmla="*/ 606145 h 3686657"/>
                <a:gd name="connsiteX17" fmla="*/ 784352 w 2080961"/>
                <a:gd name="connsiteY17" fmla="*/ 528929 h 3686657"/>
                <a:gd name="connsiteX18" fmla="*/ 885952 w 2080961"/>
                <a:gd name="connsiteY18" fmla="*/ 443585 h 3686657"/>
                <a:gd name="connsiteX19" fmla="*/ 999744 w 2080961"/>
                <a:gd name="connsiteY19" fmla="*/ 358241 h 3686657"/>
                <a:gd name="connsiteX20" fmla="*/ 1129792 w 2080961"/>
                <a:gd name="connsiteY20" fmla="*/ 264769 h 3686657"/>
                <a:gd name="connsiteX21" fmla="*/ 1300480 w 2080961"/>
                <a:gd name="connsiteY21" fmla="*/ 163169 h 3686657"/>
                <a:gd name="connsiteX22" fmla="*/ 1442720 w 2080961"/>
                <a:gd name="connsiteY22" fmla="*/ 94081 h 3686657"/>
                <a:gd name="connsiteX23" fmla="*/ 1556512 w 2080961"/>
                <a:gd name="connsiteY23" fmla="*/ 53441 h 3686657"/>
                <a:gd name="connsiteX24" fmla="*/ 1643539 w 2080961"/>
                <a:gd name="connsiteY24" fmla="*/ 21913 h 3686657"/>
                <a:gd name="connsiteX25" fmla="*/ 1717390 w 2080961"/>
                <a:gd name="connsiteY25" fmla="*/ 2577 h 3686657"/>
                <a:gd name="connsiteX26" fmla="*/ 1786192 w 2080961"/>
                <a:gd name="connsiteY26" fmla="*/ 2292 h 3686657"/>
                <a:gd name="connsiteX27" fmla="*/ 1845056 w 2080961"/>
                <a:gd name="connsiteY27" fmla="*/ 16865 h 3686657"/>
                <a:gd name="connsiteX28" fmla="*/ 1920304 w 2080961"/>
                <a:gd name="connsiteY28" fmla="*/ 46995 h 3686657"/>
                <a:gd name="connsiteX29" fmla="*/ 1983232 w 2080961"/>
                <a:gd name="connsiteY29" fmla="*/ 102209 h 3686657"/>
                <a:gd name="connsiteX30" fmla="*/ 2015744 w 2080961"/>
                <a:gd name="connsiteY30" fmla="*/ 155041 h 3686657"/>
                <a:gd name="connsiteX31" fmla="*/ 2048256 w 2080961"/>
                <a:gd name="connsiteY31" fmla="*/ 220065 h 3686657"/>
                <a:gd name="connsiteX32" fmla="*/ 2064512 w 2080961"/>
                <a:gd name="connsiteY32" fmla="*/ 285089 h 3686657"/>
                <a:gd name="connsiteX33" fmla="*/ 2080768 w 2080961"/>
                <a:gd name="connsiteY33" fmla="*/ 358241 h 3686657"/>
                <a:gd name="connsiteX34" fmla="*/ 2072640 w 2080961"/>
                <a:gd name="connsiteY34" fmla="*/ 431393 h 3686657"/>
                <a:gd name="connsiteX35" fmla="*/ 2060448 w 2080961"/>
                <a:gd name="connsiteY35" fmla="*/ 508609 h 3686657"/>
                <a:gd name="connsiteX36" fmla="*/ 2027936 w 2080961"/>
                <a:gd name="connsiteY36" fmla="*/ 618337 h 3686657"/>
                <a:gd name="connsiteX37" fmla="*/ 1975104 w 2080961"/>
                <a:gd name="connsiteY37" fmla="*/ 760577 h 3686657"/>
                <a:gd name="connsiteX38" fmla="*/ 1918208 w 2080961"/>
                <a:gd name="connsiteY38" fmla="*/ 886561 h 3686657"/>
                <a:gd name="connsiteX39" fmla="*/ 1845056 w 2080961"/>
                <a:gd name="connsiteY39" fmla="*/ 1040993 h 3686657"/>
                <a:gd name="connsiteX40" fmla="*/ 1763776 w 2080961"/>
                <a:gd name="connsiteY40" fmla="*/ 1183233 h 3686657"/>
                <a:gd name="connsiteX41" fmla="*/ 1666240 w 2080961"/>
                <a:gd name="connsiteY41" fmla="*/ 1362049 h 3686657"/>
                <a:gd name="connsiteX42" fmla="*/ 1552448 w 2080961"/>
                <a:gd name="connsiteY42" fmla="*/ 1524609 h 3686657"/>
                <a:gd name="connsiteX43" fmla="*/ 1381760 w 2080961"/>
                <a:gd name="connsiteY43" fmla="*/ 1788769 h 3686657"/>
                <a:gd name="connsiteX44" fmla="*/ 1247648 w 2080961"/>
                <a:gd name="connsiteY44" fmla="*/ 1967585 h 3686657"/>
                <a:gd name="connsiteX45" fmla="*/ 1060704 w 2080961"/>
                <a:gd name="connsiteY45" fmla="*/ 2207361 h 3686657"/>
                <a:gd name="connsiteX46" fmla="*/ 898144 w 2080961"/>
                <a:gd name="connsiteY46" fmla="*/ 2418689 h 3686657"/>
                <a:gd name="connsiteX47" fmla="*/ 548640 w 2080961"/>
                <a:gd name="connsiteY47" fmla="*/ 2873857 h 3686657"/>
                <a:gd name="connsiteX48" fmla="*/ 308864 w 2080961"/>
                <a:gd name="connsiteY48" fmla="*/ 3186785 h 3686657"/>
                <a:gd name="connsiteX49" fmla="*/ 65024 w 2080961"/>
                <a:gd name="connsiteY49" fmla="*/ 3572865 h 3686657"/>
                <a:gd name="connsiteX50" fmla="*/ 0 w 2080961"/>
                <a:gd name="connsiteY50" fmla="*/ 3686657 h 3686657"/>
                <a:gd name="connsiteX0" fmla="*/ 666496 w 2080961"/>
                <a:gd name="connsiteY0" fmla="*/ 514874 h 3684794"/>
                <a:gd name="connsiteX1" fmla="*/ 743712 w 2080961"/>
                <a:gd name="connsiteY1" fmla="*/ 653050 h 3684794"/>
                <a:gd name="connsiteX2" fmla="*/ 798926 w 2080961"/>
                <a:gd name="connsiteY2" fmla="*/ 760397 h 3684794"/>
                <a:gd name="connsiteX3" fmla="*/ 841248 w 2080961"/>
                <a:gd name="connsiteY3" fmla="*/ 860314 h 3684794"/>
                <a:gd name="connsiteX4" fmla="*/ 853440 w 2080961"/>
                <a:gd name="connsiteY4" fmla="*/ 974106 h 3684794"/>
                <a:gd name="connsiteX5" fmla="*/ 826390 w 2080961"/>
                <a:gd name="connsiteY5" fmla="*/ 1044591 h 3684794"/>
                <a:gd name="connsiteX6" fmla="*/ 776636 w 2080961"/>
                <a:gd name="connsiteY6" fmla="*/ 1086216 h 3684794"/>
                <a:gd name="connsiteX7" fmla="*/ 715264 w 2080961"/>
                <a:gd name="connsiteY7" fmla="*/ 1108218 h 3684794"/>
                <a:gd name="connsiteX8" fmla="*/ 646176 w 2080961"/>
                <a:gd name="connsiteY8" fmla="*/ 1104154 h 3684794"/>
                <a:gd name="connsiteX9" fmla="*/ 593344 w 2080961"/>
                <a:gd name="connsiteY9" fmla="*/ 1079770 h 3684794"/>
                <a:gd name="connsiteX10" fmla="*/ 540512 w 2080961"/>
                <a:gd name="connsiteY10" fmla="*/ 1014746 h 3684794"/>
                <a:gd name="connsiteX11" fmla="*/ 524256 w 2080961"/>
                <a:gd name="connsiteY11" fmla="*/ 953786 h 3684794"/>
                <a:gd name="connsiteX12" fmla="*/ 528320 w 2080961"/>
                <a:gd name="connsiteY12" fmla="*/ 868442 h 3684794"/>
                <a:gd name="connsiteX13" fmla="*/ 556768 w 2080961"/>
                <a:gd name="connsiteY13" fmla="*/ 787162 h 3684794"/>
                <a:gd name="connsiteX14" fmla="*/ 593344 w 2080961"/>
                <a:gd name="connsiteY14" fmla="*/ 734330 h 3684794"/>
                <a:gd name="connsiteX15" fmla="*/ 650240 w 2080961"/>
                <a:gd name="connsiteY15" fmla="*/ 669306 h 3684794"/>
                <a:gd name="connsiteX16" fmla="*/ 703072 w 2080961"/>
                <a:gd name="connsiteY16" fmla="*/ 604282 h 3684794"/>
                <a:gd name="connsiteX17" fmla="*/ 784352 w 2080961"/>
                <a:gd name="connsiteY17" fmla="*/ 527066 h 3684794"/>
                <a:gd name="connsiteX18" fmla="*/ 885952 w 2080961"/>
                <a:gd name="connsiteY18" fmla="*/ 441722 h 3684794"/>
                <a:gd name="connsiteX19" fmla="*/ 999744 w 2080961"/>
                <a:gd name="connsiteY19" fmla="*/ 356378 h 3684794"/>
                <a:gd name="connsiteX20" fmla="*/ 1129792 w 2080961"/>
                <a:gd name="connsiteY20" fmla="*/ 262906 h 3684794"/>
                <a:gd name="connsiteX21" fmla="*/ 1300480 w 2080961"/>
                <a:gd name="connsiteY21" fmla="*/ 161306 h 3684794"/>
                <a:gd name="connsiteX22" fmla="*/ 1442720 w 2080961"/>
                <a:gd name="connsiteY22" fmla="*/ 92218 h 3684794"/>
                <a:gd name="connsiteX23" fmla="*/ 1556512 w 2080961"/>
                <a:gd name="connsiteY23" fmla="*/ 51578 h 3684794"/>
                <a:gd name="connsiteX24" fmla="*/ 1643539 w 2080961"/>
                <a:gd name="connsiteY24" fmla="*/ 20050 h 3684794"/>
                <a:gd name="connsiteX25" fmla="*/ 1717390 w 2080961"/>
                <a:gd name="connsiteY25" fmla="*/ 714 h 3684794"/>
                <a:gd name="connsiteX26" fmla="*/ 1786192 w 2080961"/>
                <a:gd name="connsiteY26" fmla="*/ 5191 h 3684794"/>
                <a:gd name="connsiteX27" fmla="*/ 1845056 w 2080961"/>
                <a:gd name="connsiteY27" fmla="*/ 15002 h 3684794"/>
                <a:gd name="connsiteX28" fmla="*/ 1920304 w 2080961"/>
                <a:gd name="connsiteY28" fmla="*/ 45132 h 3684794"/>
                <a:gd name="connsiteX29" fmla="*/ 1983232 w 2080961"/>
                <a:gd name="connsiteY29" fmla="*/ 100346 h 3684794"/>
                <a:gd name="connsiteX30" fmla="*/ 2015744 w 2080961"/>
                <a:gd name="connsiteY30" fmla="*/ 153178 h 3684794"/>
                <a:gd name="connsiteX31" fmla="*/ 2048256 w 2080961"/>
                <a:gd name="connsiteY31" fmla="*/ 218202 h 3684794"/>
                <a:gd name="connsiteX32" fmla="*/ 2064512 w 2080961"/>
                <a:gd name="connsiteY32" fmla="*/ 283226 h 3684794"/>
                <a:gd name="connsiteX33" fmla="*/ 2080768 w 2080961"/>
                <a:gd name="connsiteY33" fmla="*/ 356378 h 3684794"/>
                <a:gd name="connsiteX34" fmla="*/ 2072640 w 2080961"/>
                <a:gd name="connsiteY34" fmla="*/ 429530 h 3684794"/>
                <a:gd name="connsiteX35" fmla="*/ 2060448 w 2080961"/>
                <a:gd name="connsiteY35" fmla="*/ 506746 h 3684794"/>
                <a:gd name="connsiteX36" fmla="*/ 2027936 w 2080961"/>
                <a:gd name="connsiteY36" fmla="*/ 616474 h 3684794"/>
                <a:gd name="connsiteX37" fmla="*/ 1975104 w 2080961"/>
                <a:gd name="connsiteY37" fmla="*/ 758714 h 3684794"/>
                <a:gd name="connsiteX38" fmla="*/ 1918208 w 2080961"/>
                <a:gd name="connsiteY38" fmla="*/ 884698 h 3684794"/>
                <a:gd name="connsiteX39" fmla="*/ 1845056 w 2080961"/>
                <a:gd name="connsiteY39" fmla="*/ 1039130 h 3684794"/>
                <a:gd name="connsiteX40" fmla="*/ 1763776 w 2080961"/>
                <a:gd name="connsiteY40" fmla="*/ 1181370 h 3684794"/>
                <a:gd name="connsiteX41" fmla="*/ 1666240 w 2080961"/>
                <a:gd name="connsiteY41" fmla="*/ 1360186 h 3684794"/>
                <a:gd name="connsiteX42" fmla="*/ 1552448 w 2080961"/>
                <a:gd name="connsiteY42" fmla="*/ 1522746 h 3684794"/>
                <a:gd name="connsiteX43" fmla="*/ 1381760 w 2080961"/>
                <a:gd name="connsiteY43" fmla="*/ 1786906 h 3684794"/>
                <a:gd name="connsiteX44" fmla="*/ 1247648 w 2080961"/>
                <a:gd name="connsiteY44" fmla="*/ 1965722 h 3684794"/>
                <a:gd name="connsiteX45" fmla="*/ 1060704 w 2080961"/>
                <a:gd name="connsiteY45" fmla="*/ 2205498 h 3684794"/>
                <a:gd name="connsiteX46" fmla="*/ 898144 w 2080961"/>
                <a:gd name="connsiteY46" fmla="*/ 2416826 h 3684794"/>
                <a:gd name="connsiteX47" fmla="*/ 548640 w 2080961"/>
                <a:gd name="connsiteY47" fmla="*/ 2871994 h 3684794"/>
                <a:gd name="connsiteX48" fmla="*/ 308864 w 2080961"/>
                <a:gd name="connsiteY48" fmla="*/ 3184922 h 3684794"/>
                <a:gd name="connsiteX49" fmla="*/ 65024 w 2080961"/>
                <a:gd name="connsiteY49" fmla="*/ 3571002 h 3684794"/>
                <a:gd name="connsiteX50" fmla="*/ 0 w 2080961"/>
                <a:gd name="connsiteY50" fmla="*/ 3684794 h 3684794"/>
                <a:gd name="connsiteX0" fmla="*/ 666496 w 2080961"/>
                <a:gd name="connsiteY0" fmla="*/ 509802 h 3679722"/>
                <a:gd name="connsiteX1" fmla="*/ 743712 w 2080961"/>
                <a:gd name="connsiteY1" fmla="*/ 647978 h 3679722"/>
                <a:gd name="connsiteX2" fmla="*/ 798926 w 2080961"/>
                <a:gd name="connsiteY2" fmla="*/ 755325 h 3679722"/>
                <a:gd name="connsiteX3" fmla="*/ 841248 w 2080961"/>
                <a:gd name="connsiteY3" fmla="*/ 855242 h 3679722"/>
                <a:gd name="connsiteX4" fmla="*/ 853440 w 2080961"/>
                <a:gd name="connsiteY4" fmla="*/ 969034 h 3679722"/>
                <a:gd name="connsiteX5" fmla="*/ 826390 w 2080961"/>
                <a:gd name="connsiteY5" fmla="*/ 1039519 h 3679722"/>
                <a:gd name="connsiteX6" fmla="*/ 776636 w 2080961"/>
                <a:gd name="connsiteY6" fmla="*/ 1081144 h 3679722"/>
                <a:gd name="connsiteX7" fmla="*/ 715264 w 2080961"/>
                <a:gd name="connsiteY7" fmla="*/ 1103146 h 3679722"/>
                <a:gd name="connsiteX8" fmla="*/ 646176 w 2080961"/>
                <a:gd name="connsiteY8" fmla="*/ 1099082 h 3679722"/>
                <a:gd name="connsiteX9" fmla="*/ 593344 w 2080961"/>
                <a:gd name="connsiteY9" fmla="*/ 1074698 h 3679722"/>
                <a:gd name="connsiteX10" fmla="*/ 540512 w 2080961"/>
                <a:gd name="connsiteY10" fmla="*/ 1009674 h 3679722"/>
                <a:gd name="connsiteX11" fmla="*/ 524256 w 2080961"/>
                <a:gd name="connsiteY11" fmla="*/ 948714 h 3679722"/>
                <a:gd name="connsiteX12" fmla="*/ 528320 w 2080961"/>
                <a:gd name="connsiteY12" fmla="*/ 863370 h 3679722"/>
                <a:gd name="connsiteX13" fmla="*/ 556768 w 2080961"/>
                <a:gd name="connsiteY13" fmla="*/ 782090 h 3679722"/>
                <a:gd name="connsiteX14" fmla="*/ 593344 w 2080961"/>
                <a:gd name="connsiteY14" fmla="*/ 729258 h 3679722"/>
                <a:gd name="connsiteX15" fmla="*/ 650240 w 2080961"/>
                <a:gd name="connsiteY15" fmla="*/ 664234 h 3679722"/>
                <a:gd name="connsiteX16" fmla="*/ 703072 w 2080961"/>
                <a:gd name="connsiteY16" fmla="*/ 599210 h 3679722"/>
                <a:gd name="connsiteX17" fmla="*/ 784352 w 2080961"/>
                <a:gd name="connsiteY17" fmla="*/ 521994 h 3679722"/>
                <a:gd name="connsiteX18" fmla="*/ 885952 w 2080961"/>
                <a:gd name="connsiteY18" fmla="*/ 436650 h 3679722"/>
                <a:gd name="connsiteX19" fmla="*/ 999744 w 2080961"/>
                <a:gd name="connsiteY19" fmla="*/ 351306 h 3679722"/>
                <a:gd name="connsiteX20" fmla="*/ 1129792 w 2080961"/>
                <a:gd name="connsiteY20" fmla="*/ 257834 h 3679722"/>
                <a:gd name="connsiteX21" fmla="*/ 1300480 w 2080961"/>
                <a:gd name="connsiteY21" fmla="*/ 156234 h 3679722"/>
                <a:gd name="connsiteX22" fmla="*/ 1442720 w 2080961"/>
                <a:gd name="connsiteY22" fmla="*/ 87146 h 3679722"/>
                <a:gd name="connsiteX23" fmla="*/ 1556512 w 2080961"/>
                <a:gd name="connsiteY23" fmla="*/ 46506 h 3679722"/>
                <a:gd name="connsiteX24" fmla="*/ 1643539 w 2080961"/>
                <a:gd name="connsiteY24" fmla="*/ 14978 h 3679722"/>
                <a:gd name="connsiteX25" fmla="*/ 1717390 w 2080961"/>
                <a:gd name="connsiteY25" fmla="*/ 5167 h 3679722"/>
                <a:gd name="connsiteX26" fmla="*/ 1786192 w 2080961"/>
                <a:gd name="connsiteY26" fmla="*/ 119 h 3679722"/>
                <a:gd name="connsiteX27" fmla="*/ 1845056 w 2080961"/>
                <a:gd name="connsiteY27" fmla="*/ 9930 h 3679722"/>
                <a:gd name="connsiteX28" fmla="*/ 1920304 w 2080961"/>
                <a:gd name="connsiteY28" fmla="*/ 40060 h 3679722"/>
                <a:gd name="connsiteX29" fmla="*/ 1983232 w 2080961"/>
                <a:gd name="connsiteY29" fmla="*/ 95274 h 3679722"/>
                <a:gd name="connsiteX30" fmla="*/ 2015744 w 2080961"/>
                <a:gd name="connsiteY30" fmla="*/ 148106 h 3679722"/>
                <a:gd name="connsiteX31" fmla="*/ 2048256 w 2080961"/>
                <a:gd name="connsiteY31" fmla="*/ 213130 h 3679722"/>
                <a:gd name="connsiteX32" fmla="*/ 2064512 w 2080961"/>
                <a:gd name="connsiteY32" fmla="*/ 278154 h 3679722"/>
                <a:gd name="connsiteX33" fmla="*/ 2080768 w 2080961"/>
                <a:gd name="connsiteY33" fmla="*/ 351306 h 3679722"/>
                <a:gd name="connsiteX34" fmla="*/ 2072640 w 2080961"/>
                <a:gd name="connsiteY34" fmla="*/ 424458 h 3679722"/>
                <a:gd name="connsiteX35" fmla="*/ 2060448 w 2080961"/>
                <a:gd name="connsiteY35" fmla="*/ 501674 h 3679722"/>
                <a:gd name="connsiteX36" fmla="*/ 2027936 w 2080961"/>
                <a:gd name="connsiteY36" fmla="*/ 611402 h 3679722"/>
                <a:gd name="connsiteX37" fmla="*/ 1975104 w 2080961"/>
                <a:gd name="connsiteY37" fmla="*/ 753642 h 3679722"/>
                <a:gd name="connsiteX38" fmla="*/ 1918208 w 2080961"/>
                <a:gd name="connsiteY38" fmla="*/ 879626 h 3679722"/>
                <a:gd name="connsiteX39" fmla="*/ 1845056 w 2080961"/>
                <a:gd name="connsiteY39" fmla="*/ 1034058 h 3679722"/>
                <a:gd name="connsiteX40" fmla="*/ 1763776 w 2080961"/>
                <a:gd name="connsiteY40" fmla="*/ 1176298 h 3679722"/>
                <a:gd name="connsiteX41" fmla="*/ 1666240 w 2080961"/>
                <a:gd name="connsiteY41" fmla="*/ 1355114 h 3679722"/>
                <a:gd name="connsiteX42" fmla="*/ 1552448 w 2080961"/>
                <a:gd name="connsiteY42" fmla="*/ 1517674 h 3679722"/>
                <a:gd name="connsiteX43" fmla="*/ 1381760 w 2080961"/>
                <a:gd name="connsiteY43" fmla="*/ 1781834 h 3679722"/>
                <a:gd name="connsiteX44" fmla="*/ 1247648 w 2080961"/>
                <a:gd name="connsiteY44" fmla="*/ 1960650 h 3679722"/>
                <a:gd name="connsiteX45" fmla="*/ 1060704 w 2080961"/>
                <a:gd name="connsiteY45" fmla="*/ 2200426 h 3679722"/>
                <a:gd name="connsiteX46" fmla="*/ 898144 w 2080961"/>
                <a:gd name="connsiteY46" fmla="*/ 2411754 h 3679722"/>
                <a:gd name="connsiteX47" fmla="*/ 548640 w 2080961"/>
                <a:gd name="connsiteY47" fmla="*/ 2866922 h 3679722"/>
                <a:gd name="connsiteX48" fmla="*/ 308864 w 2080961"/>
                <a:gd name="connsiteY48" fmla="*/ 3179850 h 3679722"/>
                <a:gd name="connsiteX49" fmla="*/ 65024 w 2080961"/>
                <a:gd name="connsiteY49" fmla="*/ 3565930 h 3679722"/>
                <a:gd name="connsiteX50" fmla="*/ 0 w 2080961"/>
                <a:gd name="connsiteY50" fmla="*/ 3679722 h 3679722"/>
                <a:gd name="connsiteX0" fmla="*/ 666496 w 2080961"/>
                <a:gd name="connsiteY0" fmla="*/ 509802 h 3679722"/>
                <a:gd name="connsiteX1" fmla="*/ 743712 w 2080961"/>
                <a:gd name="connsiteY1" fmla="*/ 647978 h 3679722"/>
                <a:gd name="connsiteX2" fmla="*/ 798926 w 2080961"/>
                <a:gd name="connsiteY2" fmla="*/ 755325 h 3679722"/>
                <a:gd name="connsiteX3" fmla="*/ 841248 w 2080961"/>
                <a:gd name="connsiteY3" fmla="*/ 855242 h 3679722"/>
                <a:gd name="connsiteX4" fmla="*/ 853440 w 2080961"/>
                <a:gd name="connsiteY4" fmla="*/ 969034 h 3679722"/>
                <a:gd name="connsiteX5" fmla="*/ 826390 w 2080961"/>
                <a:gd name="connsiteY5" fmla="*/ 1039519 h 3679722"/>
                <a:gd name="connsiteX6" fmla="*/ 776636 w 2080961"/>
                <a:gd name="connsiteY6" fmla="*/ 1081144 h 3679722"/>
                <a:gd name="connsiteX7" fmla="*/ 715264 w 2080961"/>
                <a:gd name="connsiteY7" fmla="*/ 1103146 h 3679722"/>
                <a:gd name="connsiteX8" fmla="*/ 646176 w 2080961"/>
                <a:gd name="connsiteY8" fmla="*/ 1099082 h 3679722"/>
                <a:gd name="connsiteX9" fmla="*/ 593344 w 2080961"/>
                <a:gd name="connsiteY9" fmla="*/ 1074698 h 3679722"/>
                <a:gd name="connsiteX10" fmla="*/ 540512 w 2080961"/>
                <a:gd name="connsiteY10" fmla="*/ 1009674 h 3679722"/>
                <a:gd name="connsiteX11" fmla="*/ 524256 w 2080961"/>
                <a:gd name="connsiteY11" fmla="*/ 948714 h 3679722"/>
                <a:gd name="connsiteX12" fmla="*/ 528320 w 2080961"/>
                <a:gd name="connsiteY12" fmla="*/ 863370 h 3679722"/>
                <a:gd name="connsiteX13" fmla="*/ 556768 w 2080961"/>
                <a:gd name="connsiteY13" fmla="*/ 782090 h 3679722"/>
                <a:gd name="connsiteX14" fmla="*/ 593344 w 2080961"/>
                <a:gd name="connsiteY14" fmla="*/ 729258 h 3679722"/>
                <a:gd name="connsiteX15" fmla="*/ 650240 w 2080961"/>
                <a:gd name="connsiteY15" fmla="*/ 664234 h 3679722"/>
                <a:gd name="connsiteX16" fmla="*/ 703072 w 2080961"/>
                <a:gd name="connsiteY16" fmla="*/ 599210 h 3679722"/>
                <a:gd name="connsiteX17" fmla="*/ 784352 w 2080961"/>
                <a:gd name="connsiteY17" fmla="*/ 521994 h 3679722"/>
                <a:gd name="connsiteX18" fmla="*/ 885952 w 2080961"/>
                <a:gd name="connsiteY18" fmla="*/ 436650 h 3679722"/>
                <a:gd name="connsiteX19" fmla="*/ 999744 w 2080961"/>
                <a:gd name="connsiteY19" fmla="*/ 351306 h 3679722"/>
                <a:gd name="connsiteX20" fmla="*/ 1129792 w 2080961"/>
                <a:gd name="connsiteY20" fmla="*/ 257834 h 3679722"/>
                <a:gd name="connsiteX21" fmla="*/ 1300480 w 2080961"/>
                <a:gd name="connsiteY21" fmla="*/ 156234 h 3679722"/>
                <a:gd name="connsiteX22" fmla="*/ 1442720 w 2080961"/>
                <a:gd name="connsiteY22" fmla="*/ 87146 h 3679722"/>
                <a:gd name="connsiteX23" fmla="*/ 1551750 w 2080961"/>
                <a:gd name="connsiteY23" fmla="*/ 36981 h 3679722"/>
                <a:gd name="connsiteX24" fmla="*/ 1643539 w 2080961"/>
                <a:gd name="connsiteY24" fmla="*/ 14978 h 3679722"/>
                <a:gd name="connsiteX25" fmla="*/ 1717390 w 2080961"/>
                <a:gd name="connsiteY25" fmla="*/ 5167 h 3679722"/>
                <a:gd name="connsiteX26" fmla="*/ 1786192 w 2080961"/>
                <a:gd name="connsiteY26" fmla="*/ 119 h 3679722"/>
                <a:gd name="connsiteX27" fmla="*/ 1845056 w 2080961"/>
                <a:gd name="connsiteY27" fmla="*/ 9930 h 3679722"/>
                <a:gd name="connsiteX28" fmla="*/ 1920304 w 2080961"/>
                <a:gd name="connsiteY28" fmla="*/ 40060 h 3679722"/>
                <a:gd name="connsiteX29" fmla="*/ 1983232 w 2080961"/>
                <a:gd name="connsiteY29" fmla="*/ 95274 h 3679722"/>
                <a:gd name="connsiteX30" fmla="*/ 2015744 w 2080961"/>
                <a:gd name="connsiteY30" fmla="*/ 148106 h 3679722"/>
                <a:gd name="connsiteX31" fmla="*/ 2048256 w 2080961"/>
                <a:gd name="connsiteY31" fmla="*/ 213130 h 3679722"/>
                <a:gd name="connsiteX32" fmla="*/ 2064512 w 2080961"/>
                <a:gd name="connsiteY32" fmla="*/ 278154 h 3679722"/>
                <a:gd name="connsiteX33" fmla="*/ 2080768 w 2080961"/>
                <a:gd name="connsiteY33" fmla="*/ 351306 h 3679722"/>
                <a:gd name="connsiteX34" fmla="*/ 2072640 w 2080961"/>
                <a:gd name="connsiteY34" fmla="*/ 424458 h 3679722"/>
                <a:gd name="connsiteX35" fmla="*/ 2060448 w 2080961"/>
                <a:gd name="connsiteY35" fmla="*/ 501674 h 3679722"/>
                <a:gd name="connsiteX36" fmla="*/ 2027936 w 2080961"/>
                <a:gd name="connsiteY36" fmla="*/ 611402 h 3679722"/>
                <a:gd name="connsiteX37" fmla="*/ 1975104 w 2080961"/>
                <a:gd name="connsiteY37" fmla="*/ 753642 h 3679722"/>
                <a:gd name="connsiteX38" fmla="*/ 1918208 w 2080961"/>
                <a:gd name="connsiteY38" fmla="*/ 879626 h 3679722"/>
                <a:gd name="connsiteX39" fmla="*/ 1845056 w 2080961"/>
                <a:gd name="connsiteY39" fmla="*/ 1034058 h 3679722"/>
                <a:gd name="connsiteX40" fmla="*/ 1763776 w 2080961"/>
                <a:gd name="connsiteY40" fmla="*/ 1176298 h 3679722"/>
                <a:gd name="connsiteX41" fmla="*/ 1666240 w 2080961"/>
                <a:gd name="connsiteY41" fmla="*/ 1355114 h 3679722"/>
                <a:gd name="connsiteX42" fmla="*/ 1552448 w 2080961"/>
                <a:gd name="connsiteY42" fmla="*/ 1517674 h 3679722"/>
                <a:gd name="connsiteX43" fmla="*/ 1381760 w 2080961"/>
                <a:gd name="connsiteY43" fmla="*/ 1781834 h 3679722"/>
                <a:gd name="connsiteX44" fmla="*/ 1247648 w 2080961"/>
                <a:gd name="connsiteY44" fmla="*/ 1960650 h 3679722"/>
                <a:gd name="connsiteX45" fmla="*/ 1060704 w 2080961"/>
                <a:gd name="connsiteY45" fmla="*/ 2200426 h 3679722"/>
                <a:gd name="connsiteX46" fmla="*/ 898144 w 2080961"/>
                <a:gd name="connsiteY46" fmla="*/ 2411754 h 3679722"/>
                <a:gd name="connsiteX47" fmla="*/ 548640 w 2080961"/>
                <a:gd name="connsiteY47" fmla="*/ 2866922 h 3679722"/>
                <a:gd name="connsiteX48" fmla="*/ 308864 w 2080961"/>
                <a:gd name="connsiteY48" fmla="*/ 3179850 h 3679722"/>
                <a:gd name="connsiteX49" fmla="*/ 65024 w 2080961"/>
                <a:gd name="connsiteY49" fmla="*/ 3565930 h 3679722"/>
                <a:gd name="connsiteX50" fmla="*/ 0 w 2080961"/>
                <a:gd name="connsiteY50" fmla="*/ 3679722 h 3679722"/>
                <a:gd name="connsiteX0" fmla="*/ 666496 w 2080961"/>
                <a:gd name="connsiteY0" fmla="*/ 509802 h 3679722"/>
                <a:gd name="connsiteX1" fmla="*/ 743712 w 2080961"/>
                <a:gd name="connsiteY1" fmla="*/ 647978 h 3679722"/>
                <a:gd name="connsiteX2" fmla="*/ 798926 w 2080961"/>
                <a:gd name="connsiteY2" fmla="*/ 755325 h 3679722"/>
                <a:gd name="connsiteX3" fmla="*/ 841248 w 2080961"/>
                <a:gd name="connsiteY3" fmla="*/ 855242 h 3679722"/>
                <a:gd name="connsiteX4" fmla="*/ 853440 w 2080961"/>
                <a:gd name="connsiteY4" fmla="*/ 969034 h 3679722"/>
                <a:gd name="connsiteX5" fmla="*/ 826390 w 2080961"/>
                <a:gd name="connsiteY5" fmla="*/ 1039519 h 3679722"/>
                <a:gd name="connsiteX6" fmla="*/ 776636 w 2080961"/>
                <a:gd name="connsiteY6" fmla="*/ 1081144 h 3679722"/>
                <a:gd name="connsiteX7" fmla="*/ 715264 w 2080961"/>
                <a:gd name="connsiteY7" fmla="*/ 1103146 h 3679722"/>
                <a:gd name="connsiteX8" fmla="*/ 646176 w 2080961"/>
                <a:gd name="connsiteY8" fmla="*/ 1099082 h 3679722"/>
                <a:gd name="connsiteX9" fmla="*/ 593344 w 2080961"/>
                <a:gd name="connsiteY9" fmla="*/ 1074698 h 3679722"/>
                <a:gd name="connsiteX10" fmla="*/ 540512 w 2080961"/>
                <a:gd name="connsiteY10" fmla="*/ 1009674 h 3679722"/>
                <a:gd name="connsiteX11" fmla="*/ 524256 w 2080961"/>
                <a:gd name="connsiteY11" fmla="*/ 948714 h 3679722"/>
                <a:gd name="connsiteX12" fmla="*/ 528320 w 2080961"/>
                <a:gd name="connsiteY12" fmla="*/ 863370 h 3679722"/>
                <a:gd name="connsiteX13" fmla="*/ 556768 w 2080961"/>
                <a:gd name="connsiteY13" fmla="*/ 782090 h 3679722"/>
                <a:gd name="connsiteX14" fmla="*/ 593344 w 2080961"/>
                <a:gd name="connsiteY14" fmla="*/ 729258 h 3679722"/>
                <a:gd name="connsiteX15" fmla="*/ 650240 w 2080961"/>
                <a:gd name="connsiteY15" fmla="*/ 664234 h 3679722"/>
                <a:gd name="connsiteX16" fmla="*/ 703072 w 2080961"/>
                <a:gd name="connsiteY16" fmla="*/ 599210 h 3679722"/>
                <a:gd name="connsiteX17" fmla="*/ 784352 w 2080961"/>
                <a:gd name="connsiteY17" fmla="*/ 521994 h 3679722"/>
                <a:gd name="connsiteX18" fmla="*/ 885952 w 2080961"/>
                <a:gd name="connsiteY18" fmla="*/ 436650 h 3679722"/>
                <a:gd name="connsiteX19" fmla="*/ 999744 w 2080961"/>
                <a:gd name="connsiteY19" fmla="*/ 351306 h 3679722"/>
                <a:gd name="connsiteX20" fmla="*/ 1129792 w 2080961"/>
                <a:gd name="connsiteY20" fmla="*/ 267359 h 3679722"/>
                <a:gd name="connsiteX21" fmla="*/ 1300480 w 2080961"/>
                <a:gd name="connsiteY21" fmla="*/ 156234 h 3679722"/>
                <a:gd name="connsiteX22" fmla="*/ 1442720 w 2080961"/>
                <a:gd name="connsiteY22" fmla="*/ 87146 h 3679722"/>
                <a:gd name="connsiteX23" fmla="*/ 1551750 w 2080961"/>
                <a:gd name="connsiteY23" fmla="*/ 36981 h 3679722"/>
                <a:gd name="connsiteX24" fmla="*/ 1643539 w 2080961"/>
                <a:gd name="connsiteY24" fmla="*/ 14978 h 3679722"/>
                <a:gd name="connsiteX25" fmla="*/ 1717390 w 2080961"/>
                <a:gd name="connsiteY25" fmla="*/ 5167 h 3679722"/>
                <a:gd name="connsiteX26" fmla="*/ 1786192 w 2080961"/>
                <a:gd name="connsiteY26" fmla="*/ 119 h 3679722"/>
                <a:gd name="connsiteX27" fmla="*/ 1845056 w 2080961"/>
                <a:gd name="connsiteY27" fmla="*/ 9930 h 3679722"/>
                <a:gd name="connsiteX28" fmla="*/ 1920304 w 2080961"/>
                <a:gd name="connsiteY28" fmla="*/ 40060 h 3679722"/>
                <a:gd name="connsiteX29" fmla="*/ 1983232 w 2080961"/>
                <a:gd name="connsiteY29" fmla="*/ 95274 h 3679722"/>
                <a:gd name="connsiteX30" fmla="*/ 2015744 w 2080961"/>
                <a:gd name="connsiteY30" fmla="*/ 148106 h 3679722"/>
                <a:gd name="connsiteX31" fmla="*/ 2048256 w 2080961"/>
                <a:gd name="connsiteY31" fmla="*/ 213130 h 3679722"/>
                <a:gd name="connsiteX32" fmla="*/ 2064512 w 2080961"/>
                <a:gd name="connsiteY32" fmla="*/ 278154 h 3679722"/>
                <a:gd name="connsiteX33" fmla="*/ 2080768 w 2080961"/>
                <a:gd name="connsiteY33" fmla="*/ 351306 h 3679722"/>
                <a:gd name="connsiteX34" fmla="*/ 2072640 w 2080961"/>
                <a:gd name="connsiteY34" fmla="*/ 424458 h 3679722"/>
                <a:gd name="connsiteX35" fmla="*/ 2060448 w 2080961"/>
                <a:gd name="connsiteY35" fmla="*/ 501674 h 3679722"/>
                <a:gd name="connsiteX36" fmla="*/ 2027936 w 2080961"/>
                <a:gd name="connsiteY36" fmla="*/ 611402 h 3679722"/>
                <a:gd name="connsiteX37" fmla="*/ 1975104 w 2080961"/>
                <a:gd name="connsiteY37" fmla="*/ 753642 h 3679722"/>
                <a:gd name="connsiteX38" fmla="*/ 1918208 w 2080961"/>
                <a:gd name="connsiteY38" fmla="*/ 879626 h 3679722"/>
                <a:gd name="connsiteX39" fmla="*/ 1845056 w 2080961"/>
                <a:gd name="connsiteY39" fmla="*/ 1034058 h 3679722"/>
                <a:gd name="connsiteX40" fmla="*/ 1763776 w 2080961"/>
                <a:gd name="connsiteY40" fmla="*/ 1176298 h 3679722"/>
                <a:gd name="connsiteX41" fmla="*/ 1666240 w 2080961"/>
                <a:gd name="connsiteY41" fmla="*/ 1355114 h 3679722"/>
                <a:gd name="connsiteX42" fmla="*/ 1552448 w 2080961"/>
                <a:gd name="connsiteY42" fmla="*/ 1517674 h 3679722"/>
                <a:gd name="connsiteX43" fmla="*/ 1381760 w 2080961"/>
                <a:gd name="connsiteY43" fmla="*/ 1781834 h 3679722"/>
                <a:gd name="connsiteX44" fmla="*/ 1247648 w 2080961"/>
                <a:gd name="connsiteY44" fmla="*/ 1960650 h 3679722"/>
                <a:gd name="connsiteX45" fmla="*/ 1060704 w 2080961"/>
                <a:gd name="connsiteY45" fmla="*/ 2200426 h 3679722"/>
                <a:gd name="connsiteX46" fmla="*/ 898144 w 2080961"/>
                <a:gd name="connsiteY46" fmla="*/ 2411754 h 3679722"/>
                <a:gd name="connsiteX47" fmla="*/ 548640 w 2080961"/>
                <a:gd name="connsiteY47" fmla="*/ 2866922 h 3679722"/>
                <a:gd name="connsiteX48" fmla="*/ 308864 w 2080961"/>
                <a:gd name="connsiteY48" fmla="*/ 3179850 h 3679722"/>
                <a:gd name="connsiteX49" fmla="*/ 65024 w 2080961"/>
                <a:gd name="connsiteY49" fmla="*/ 3565930 h 3679722"/>
                <a:gd name="connsiteX50" fmla="*/ 0 w 2080961"/>
                <a:gd name="connsiteY50" fmla="*/ 3679722 h 3679722"/>
                <a:gd name="connsiteX0" fmla="*/ 666496 w 2080772"/>
                <a:gd name="connsiteY0" fmla="*/ 509802 h 3679722"/>
                <a:gd name="connsiteX1" fmla="*/ 743712 w 2080772"/>
                <a:gd name="connsiteY1" fmla="*/ 647978 h 3679722"/>
                <a:gd name="connsiteX2" fmla="*/ 798926 w 2080772"/>
                <a:gd name="connsiteY2" fmla="*/ 755325 h 3679722"/>
                <a:gd name="connsiteX3" fmla="*/ 841248 w 2080772"/>
                <a:gd name="connsiteY3" fmla="*/ 855242 h 3679722"/>
                <a:gd name="connsiteX4" fmla="*/ 853440 w 2080772"/>
                <a:gd name="connsiteY4" fmla="*/ 969034 h 3679722"/>
                <a:gd name="connsiteX5" fmla="*/ 826390 w 2080772"/>
                <a:gd name="connsiteY5" fmla="*/ 1039519 h 3679722"/>
                <a:gd name="connsiteX6" fmla="*/ 776636 w 2080772"/>
                <a:gd name="connsiteY6" fmla="*/ 1081144 h 3679722"/>
                <a:gd name="connsiteX7" fmla="*/ 715264 w 2080772"/>
                <a:gd name="connsiteY7" fmla="*/ 1103146 h 3679722"/>
                <a:gd name="connsiteX8" fmla="*/ 646176 w 2080772"/>
                <a:gd name="connsiteY8" fmla="*/ 1099082 h 3679722"/>
                <a:gd name="connsiteX9" fmla="*/ 593344 w 2080772"/>
                <a:gd name="connsiteY9" fmla="*/ 1074698 h 3679722"/>
                <a:gd name="connsiteX10" fmla="*/ 540512 w 2080772"/>
                <a:gd name="connsiteY10" fmla="*/ 1009674 h 3679722"/>
                <a:gd name="connsiteX11" fmla="*/ 524256 w 2080772"/>
                <a:gd name="connsiteY11" fmla="*/ 948714 h 3679722"/>
                <a:gd name="connsiteX12" fmla="*/ 528320 w 2080772"/>
                <a:gd name="connsiteY12" fmla="*/ 863370 h 3679722"/>
                <a:gd name="connsiteX13" fmla="*/ 556768 w 2080772"/>
                <a:gd name="connsiteY13" fmla="*/ 782090 h 3679722"/>
                <a:gd name="connsiteX14" fmla="*/ 593344 w 2080772"/>
                <a:gd name="connsiteY14" fmla="*/ 729258 h 3679722"/>
                <a:gd name="connsiteX15" fmla="*/ 650240 w 2080772"/>
                <a:gd name="connsiteY15" fmla="*/ 664234 h 3679722"/>
                <a:gd name="connsiteX16" fmla="*/ 703072 w 2080772"/>
                <a:gd name="connsiteY16" fmla="*/ 599210 h 3679722"/>
                <a:gd name="connsiteX17" fmla="*/ 784352 w 2080772"/>
                <a:gd name="connsiteY17" fmla="*/ 521994 h 3679722"/>
                <a:gd name="connsiteX18" fmla="*/ 885952 w 2080772"/>
                <a:gd name="connsiteY18" fmla="*/ 436650 h 3679722"/>
                <a:gd name="connsiteX19" fmla="*/ 999744 w 2080772"/>
                <a:gd name="connsiteY19" fmla="*/ 351306 h 3679722"/>
                <a:gd name="connsiteX20" fmla="*/ 1129792 w 2080772"/>
                <a:gd name="connsiteY20" fmla="*/ 267359 h 3679722"/>
                <a:gd name="connsiteX21" fmla="*/ 1300480 w 2080772"/>
                <a:gd name="connsiteY21" fmla="*/ 156234 h 3679722"/>
                <a:gd name="connsiteX22" fmla="*/ 1442720 w 2080772"/>
                <a:gd name="connsiteY22" fmla="*/ 87146 h 3679722"/>
                <a:gd name="connsiteX23" fmla="*/ 1551750 w 2080772"/>
                <a:gd name="connsiteY23" fmla="*/ 36981 h 3679722"/>
                <a:gd name="connsiteX24" fmla="*/ 1643539 w 2080772"/>
                <a:gd name="connsiteY24" fmla="*/ 14978 h 3679722"/>
                <a:gd name="connsiteX25" fmla="*/ 1717390 w 2080772"/>
                <a:gd name="connsiteY25" fmla="*/ 5167 h 3679722"/>
                <a:gd name="connsiteX26" fmla="*/ 1786192 w 2080772"/>
                <a:gd name="connsiteY26" fmla="*/ 119 h 3679722"/>
                <a:gd name="connsiteX27" fmla="*/ 1845056 w 2080772"/>
                <a:gd name="connsiteY27" fmla="*/ 9930 h 3679722"/>
                <a:gd name="connsiteX28" fmla="*/ 1920304 w 2080772"/>
                <a:gd name="connsiteY28" fmla="*/ 40060 h 3679722"/>
                <a:gd name="connsiteX29" fmla="*/ 1983232 w 2080772"/>
                <a:gd name="connsiteY29" fmla="*/ 95274 h 3679722"/>
                <a:gd name="connsiteX30" fmla="*/ 2015744 w 2080772"/>
                <a:gd name="connsiteY30" fmla="*/ 148106 h 3679722"/>
                <a:gd name="connsiteX31" fmla="*/ 2048256 w 2080772"/>
                <a:gd name="connsiteY31" fmla="*/ 213130 h 3679722"/>
                <a:gd name="connsiteX32" fmla="*/ 2071656 w 2080772"/>
                <a:gd name="connsiteY32" fmla="*/ 275773 h 3679722"/>
                <a:gd name="connsiteX33" fmla="*/ 2080768 w 2080772"/>
                <a:gd name="connsiteY33" fmla="*/ 351306 h 3679722"/>
                <a:gd name="connsiteX34" fmla="*/ 2072640 w 2080772"/>
                <a:gd name="connsiteY34" fmla="*/ 424458 h 3679722"/>
                <a:gd name="connsiteX35" fmla="*/ 2060448 w 2080772"/>
                <a:gd name="connsiteY35" fmla="*/ 501674 h 3679722"/>
                <a:gd name="connsiteX36" fmla="*/ 2027936 w 2080772"/>
                <a:gd name="connsiteY36" fmla="*/ 611402 h 3679722"/>
                <a:gd name="connsiteX37" fmla="*/ 1975104 w 2080772"/>
                <a:gd name="connsiteY37" fmla="*/ 753642 h 3679722"/>
                <a:gd name="connsiteX38" fmla="*/ 1918208 w 2080772"/>
                <a:gd name="connsiteY38" fmla="*/ 879626 h 3679722"/>
                <a:gd name="connsiteX39" fmla="*/ 1845056 w 2080772"/>
                <a:gd name="connsiteY39" fmla="*/ 1034058 h 3679722"/>
                <a:gd name="connsiteX40" fmla="*/ 1763776 w 2080772"/>
                <a:gd name="connsiteY40" fmla="*/ 1176298 h 3679722"/>
                <a:gd name="connsiteX41" fmla="*/ 1666240 w 2080772"/>
                <a:gd name="connsiteY41" fmla="*/ 1355114 h 3679722"/>
                <a:gd name="connsiteX42" fmla="*/ 1552448 w 2080772"/>
                <a:gd name="connsiteY42" fmla="*/ 1517674 h 3679722"/>
                <a:gd name="connsiteX43" fmla="*/ 1381760 w 2080772"/>
                <a:gd name="connsiteY43" fmla="*/ 1781834 h 3679722"/>
                <a:gd name="connsiteX44" fmla="*/ 1247648 w 2080772"/>
                <a:gd name="connsiteY44" fmla="*/ 1960650 h 3679722"/>
                <a:gd name="connsiteX45" fmla="*/ 1060704 w 2080772"/>
                <a:gd name="connsiteY45" fmla="*/ 2200426 h 3679722"/>
                <a:gd name="connsiteX46" fmla="*/ 898144 w 2080772"/>
                <a:gd name="connsiteY46" fmla="*/ 2411754 h 3679722"/>
                <a:gd name="connsiteX47" fmla="*/ 548640 w 2080772"/>
                <a:gd name="connsiteY47" fmla="*/ 2866922 h 3679722"/>
                <a:gd name="connsiteX48" fmla="*/ 308864 w 2080772"/>
                <a:gd name="connsiteY48" fmla="*/ 3179850 h 3679722"/>
                <a:gd name="connsiteX49" fmla="*/ 65024 w 2080772"/>
                <a:gd name="connsiteY49" fmla="*/ 3565930 h 3679722"/>
                <a:gd name="connsiteX50" fmla="*/ 0 w 2080772"/>
                <a:gd name="connsiteY50" fmla="*/ 3679722 h 3679722"/>
                <a:gd name="connsiteX0" fmla="*/ 666496 w 2080772"/>
                <a:gd name="connsiteY0" fmla="*/ 509783 h 3679703"/>
                <a:gd name="connsiteX1" fmla="*/ 743712 w 2080772"/>
                <a:gd name="connsiteY1" fmla="*/ 647959 h 3679703"/>
                <a:gd name="connsiteX2" fmla="*/ 798926 w 2080772"/>
                <a:gd name="connsiteY2" fmla="*/ 755306 h 3679703"/>
                <a:gd name="connsiteX3" fmla="*/ 841248 w 2080772"/>
                <a:gd name="connsiteY3" fmla="*/ 855223 h 3679703"/>
                <a:gd name="connsiteX4" fmla="*/ 853440 w 2080772"/>
                <a:gd name="connsiteY4" fmla="*/ 969015 h 3679703"/>
                <a:gd name="connsiteX5" fmla="*/ 826390 w 2080772"/>
                <a:gd name="connsiteY5" fmla="*/ 1039500 h 3679703"/>
                <a:gd name="connsiteX6" fmla="*/ 776636 w 2080772"/>
                <a:gd name="connsiteY6" fmla="*/ 1081125 h 3679703"/>
                <a:gd name="connsiteX7" fmla="*/ 715264 w 2080772"/>
                <a:gd name="connsiteY7" fmla="*/ 1103127 h 3679703"/>
                <a:gd name="connsiteX8" fmla="*/ 646176 w 2080772"/>
                <a:gd name="connsiteY8" fmla="*/ 1099063 h 3679703"/>
                <a:gd name="connsiteX9" fmla="*/ 593344 w 2080772"/>
                <a:gd name="connsiteY9" fmla="*/ 1074679 h 3679703"/>
                <a:gd name="connsiteX10" fmla="*/ 540512 w 2080772"/>
                <a:gd name="connsiteY10" fmla="*/ 1009655 h 3679703"/>
                <a:gd name="connsiteX11" fmla="*/ 524256 w 2080772"/>
                <a:gd name="connsiteY11" fmla="*/ 948695 h 3679703"/>
                <a:gd name="connsiteX12" fmla="*/ 528320 w 2080772"/>
                <a:gd name="connsiteY12" fmla="*/ 863351 h 3679703"/>
                <a:gd name="connsiteX13" fmla="*/ 556768 w 2080772"/>
                <a:gd name="connsiteY13" fmla="*/ 782071 h 3679703"/>
                <a:gd name="connsiteX14" fmla="*/ 593344 w 2080772"/>
                <a:gd name="connsiteY14" fmla="*/ 729239 h 3679703"/>
                <a:gd name="connsiteX15" fmla="*/ 650240 w 2080772"/>
                <a:gd name="connsiteY15" fmla="*/ 664215 h 3679703"/>
                <a:gd name="connsiteX16" fmla="*/ 703072 w 2080772"/>
                <a:gd name="connsiteY16" fmla="*/ 599191 h 3679703"/>
                <a:gd name="connsiteX17" fmla="*/ 784352 w 2080772"/>
                <a:gd name="connsiteY17" fmla="*/ 521975 h 3679703"/>
                <a:gd name="connsiteX18" fmla="*/ 885952 w 2080772"/>
                <a:gd name="connsiteY18" fmla="*/ 436631 h 3679703"/>
                <a:gd name="connsiteX19" fmla="*/ 999744 w 2080772"/>
                <a:gd name="connsiteY19" fmla="*/ 351287 h 3679703"/>
                <a:gd name="connsiteX20" fmla="*/ 1129792 w 2080772"/>
                <a:gd name="connsiteY20" fmla="*/ 267340 h 3679703"/>
                <a:gd name="connsiteX21" fmla="*/ 1300480 w 2080772"/>
                <a:gd name="connsiteY21" fmla="*/ 156215 h 3679703"/>
                <a:gd name="connsiteX22" fmla="*/ 1442720 w 2080772"/>
                <a:gd name="connsiteY22" fmla="*/ 87127 h 3679703"/>
                <a:gd name="connsiteX23" fmla="*/ 1551750 w 2080772"/>
                <a:gd name="connsiteY23" fmla="*/ 36962 h 3679703"/>
                <a:gd name="connsiteX24" fmla="*/ 1643539 w 2080772"/>
                <a:gd name="connsiteY24" fmla="*/ 10197 h 3679703"/>
                <a:gd name="connsiteX25" fmla="*/ 1717390 w 2080772"/>
                <a:gd name="connsiteY25" fmla="*/ 5148 h 3679703"/>
                <a:gd name="connsiteX26" fmla="*/ 1786192 w 2080772"/>
                <a:gd name="connsiteY26" fmla="*/ 100 h 3679703"/>
                <a:gd name="connsiteX27" fmla="*/ 1845056 w 2080772"/>
                <a:gd name="connsiteY27" fmla="*/ 9911 h 3679703"/>
                <a:gd name="connsiteX28" fmla="*/ 1920304 w 2080772"/>
                <a:gd name="connsiteY28" fmla="*/ 40041 h 3679703"/>
                <a:gd name="connsiteX29" fmla="*/ 1983232 w 2080772"/>
                <a:gd name="connsiteY29" fmla="*/ 95255 h 3679703"/>
                <a:gd name="connsiteX30" fmla="*/ 2015744 w 2080772"/>
                <a:gd name="connsiteY30" fmla="*/ 148087 h 3679703"/>
                <a:gd name="connsiteX31" fmla="*/ 2048256 w 2080772"/>
                <a:gd name="connsiteY31" fmla="*/ 213111 h 3679703"/>
                <a:gd name="connsiteX32" fmla="*/ 2071656 w 2080772"/>
                <a:gd name="connsiteY32" fmla="*/ 275754 h 3679703"/>
                <a:gd name="connsiteX33" fmla="*/ 2080768 w 2080772"/>
                <a:gd name="connsiteY33" fmla="*/ 351287 h 3679703"/>
                <a:gd name="connsiteX34" fmla="*/ 2072640 w 2080772"/>
                <a:gd name="connsiteY34" fmla="*/ 424439 h 3679703"/>
                <a:gd name="connsiteX35" fmla="*/ 2060448 w 2080772"/>
                <a:gd name="connsiteY35" fmla="*/ 501655 h 3679703"/>
                <a:gd name="connsiteX36" fmla="*/ 2027936 w 2080772"/>
                <a:gd name="connsiteY36" fmla="*/ 611383 h 3679703"/>
                <a:gd name="connsiteX37" fmla="*/ 1975104 w 2080772"/>
                <a:gd name="connsiteY37" fmla="*/ 753623 h 3679703"/>
                <a:gd name="connsiteX38" fmla="*/ 1918208 w 2080772"/>
                <a:gd name="connsiteY38" fmla="*/ 879607 h 3679703"/>
                <a:gd name="connsiteX39" fmla="*/ 1845056 w 2080772"/>
                <a:gd name="connsiteY39" fmla="*/ 1034039 h 3679703"/>
                <a:gd name="connsiteX40" fmla="*/ 1763776 w 2080772"/>
                <a:gd name="connsiteY40" fmla="*/ 1176279 h 3679703"/>
                <a:gd name="connsiteX41" fmla="*/ 1666240 w 2080772"/>
                <a:gd name="connsiteY41" fmla="*/ 1355095 h 3679703"/>
                <a:gd name="connsiteX42" fmla="*/ 1552448 w 2080772"/>
                <a:gd name="connsiteY42" fmla="*/ 1517655 h 3679703"/>
                <a:gd name="connsiteX43" fmla="*/ 1381760 w 2080772"/>
                <a:gd name="connsiteY43" fmla="*/ 1781815 h 3679703"/>
                <a:gd name="connsiteX44" fmla="*/ 1247648 w 2080772"/>
                <a:gd name="connsiteY44" fmla="*/ 1960631 h 3679703"/>
                <a:gd name="connsiteX45" fmla="*/ 1060704 w 2080772"/>
                <a:gd name="connsiteY45" fmla="*/ 2200407 h 3679703"/>
                <a:gd name="connsiteX46" fmla="*/ 898144 w 2080772"/>
                <a:gd name="connsiteY46" fmla="*/ 2411735 h 3679703"/>
                <a:gd name="connsiteX47" fmla="*/ 548640 w 2080772"/>
                <a:gd name="connsiteY47" fmla="*/ 2866903 h 3679703"/>
                <a:gd name="connsiteX48" fmla="*/ 308864 w 2080772"/>
                <a:gd name="connsiteY48" fmla="*/ 3179831 h 3679703"/>
                <a:gd name="connsiteX49" fmla="*/ 65024 w 2080772"/>
                <a:gd name="connsiteY49" fmla="*/ 3565911 h 3679703"/>
                <a:gd name="connsiteX50" fmla="*/ 0 w 2080772"/>
                <a:gd name="connsiteY50" fmla="*/ 3679703 h 367970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15744 w 2080772"/>
                <a:gd name="connsiteY30" fmla="*/ 149077 h 3680693"/>
                <a:gd name="connsiteX31" fmla="*/ 2048256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6240 w 2080772"/>
                <a:gd name="connsiteY41" fmla="*/ 1356085 h 3680693"/>
                <a:gd name="connsiteX42" fmla="*/ 1552448 w 2080772"/>
                <a:gd name="connsiteY42" fmla="*/ 1518645 h 3680693"/>
                <a:gd name="connsiteX43" fmla="*/ 1381760 w 2080772"/>
                <a:gd name="connsiteY43" fmla="*/ 1782805 h 3680693"/>
                <a:gd name="connsiteX44" fmla="*/ 1247648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08864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15744 w 2080772"/>
                <a:gd name="connsiteY30" fmla="*/ 149077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6240 w 2080772"/>
                <a:gd name="connsiteY41" fmla="*/ 1356085 h 3680693"/>
                <a:gd name="connsiteX42" fmla="*/ 1552448 w 2080772"/>
                <a:gd name="connsiteY42" fmla="*/ 1518645 h 3680693"/>
                <a:gd name="connsiteX43" fmla="*/ 1381760 w 2080772"/>
                <a:gd name="connsiteY43" fmla="*/ 1782805 h 3680693"/>
                <a:gd name="connsiteX44" fmla="*/ 1247648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08864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20507 w 2080772"/>
                <a:gd name="connsiteY30" fmla="*/ 144314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6240 w 2080772"/>
                <a:gd name="connsiteY41" fmla="*/ 1356085 h 3680693"/>
                <a:gd name="connsiteX42" fmla="*/ 1552448 w 2080772"/>
                <a:gd name="connsiteY42" fmla="*/ 1518645 h 3680693"/>
                <a:gd name="connsiteX43" fmla="*/ 1381760 w 2080772"/>
                <a:gd name="connsiteY43" fmla="*/ 1782805 h 3680693"/>
                <a:gd name="connsiteX44" fmla="*/ 1247648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08864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20507 w 2080772"/>
                <a:gd name="connsiteY30" fmla="*/ 144314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1477 w 2080772"/>
                <a:gd name="connsiteY41" fmla="*/ 1353703 h 3680693"/>
                <a:gd name="connsiteX42" fmla="*/ 1552448 w 2080772"/>
                <a:gd name="connsiteY42" fmla="*/ 1518645 h 3680693"/>
                <a:gd name="connsiteX43" fmla="*/ 1381760 w 2080772"/>
                <a:gd name="connsiteY43" fmla="*/ 1782805 h 3680693"/>
                <a:gd name="connsiteX44" fmla="*/ 1247648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08864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20507 w 2080772"/>
                <a:gd name="connsiteY30" fmla="*/ 144314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1477 w 2080772"/>
                <a:gd name="connsiteY41" fmla="*/ 1353703 h 3680693"/>
                <a:gd name="connsiteX42" fmla="*/ 1552448 w 2080772"/>
                <a:gd name="connsiteY42" fmla="*/ 1518645 h 3680693"/>
                <a:gd name="connsiteX43" fmla="*/ 1372235 w 2080772"/>
                <a:gd name="connsiteY43" fmla="*/ 1782805 h 3680693"/>
                <a:gd name="connsiteX44" fmla="*/ 1247648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08864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20507 w 2080772"/>
                <a:gd name="connsiteY30" fmla="*/ 144314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1477 w 2080772"/>
                <a:gd name="connsiteY41" fmla="*/ 1353703 h 3680693"/>
                <a:gd name="connsiteX42" fmla="*/ 1552448 w 2080772"/>
                <a:gd name="connsiteY42" fmla="*/ 1518645 h 3680693"/>
                <a:gd name="connsiteX43" fmla="*/ 1372235 w 2080772"/>
                <a:gd name="connsiteY43" fmla="*/ 1782805 h 3680693"/>
                <a:gd name="connsiteX44" fmla="*/ 1247648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16008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20507 w 2080772"/>
                <a:gd name="connsiteY30" fmla="*/ 144314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1477 w 2080772"/>
                <a:gd name="connsiteY41" fmla="*/ 1353703 h 3680693"/>
                <a:gd name="connsiteX42" fmla="*/ 1552448 w 2080772"/>
                <a:gd name="connsiteY42" fmla="*/ 1518645 h 3680693"/>
                <a:gd name="connsiteX43" fmla="*/ 1372235 w 2080772"/>
                <a:gd name="connsiteY43" fmla="*/ 1782805 h 3680693"/>
                <a:gd name="connsiteX44" fmla="*/ 1242885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16008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20507 w 2080772"/>
                <a:gd name="connsiteY30" fmla="*/ 144314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7740 h 3680693"/>
                <a:gd name="connsiteX39" fmla="*/ 1845056 w 2080772"/>
                <a:gd name="connsiteY39" fmla="*/ 1035029 h 3680693"/>
                <a:gd name="connsiteX40" fmla="*/ 1763776 w 2080772"/>
                <a:gd name="connsiteY40" fmla="*/ 1177269 h 3680693"/>
                <a:gd name="connsiteX41" fmla="*/ 1661477 w 2080772"/>
                <a:gd name="connsiteY41" fmla="*/ 1353703 h 3680693"/>
                <a:gd name="connsiteX42" fmla="*/ 1552448 w 2080772"/>
                <a:gd name="connsiteY42" fmla="*/ 1518645 h 3680693"/>
                <a:gd name="connsiteX43" fmla="*/ 1372235 w 2080772"/>
                <a:gd name="connsiteY43" fmla="*/ 1782805 h 3680693"/>
                <a:gd name="connsiteX44" fmla="*/ 1242885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16008 w 2080772"/>
                <a:gd name="connsiteY48" fmla="*/ 3180821 h 3680693"/>
                <a:gd name="connsiteX49" fmla="*/ 65024 w 2080772"/>
                <a:gd name="connsiteY49" fmla="*/ 3566901 h 3680693"/>
                <a:gd name="connsiteX50" fmla="*/ 0 w 2080772"/>
                <a:gd name="connsiteY50" fmla="*/ 3680693 h 3680693"/>
                <a:gd name="connsiteX0" fmla="*/ 666496 w 2080837"/>
                <a:gd name="connsiteY0" fmla="*/ 510773 h 3680693"/>
                <a:gd name="connsiteX1" fmla="*/ 743712 w 2080837"/>
                <a:gd name="connsiteY1" fmla="*/ 648949 h 3680693"/>
                <a:gd name="connsiteX2" fmla="*/ 798926 w 2080837"/>
                <a:gd name="connsiteY2" fmla="*/ 756296 h 3680693"/>
                <a:gd name="connsiteX3" fmla="*/ 841248 w 2080837"/>
                <a:gd name="connsiteY3" fmla="*/ 856213 h 3680693"/>
                <a:gd name="connsiteX4" fmla="*/ 853440 w 2080837"/>
                <a:gd name="connsiteY4" fmla="*/ 970005 h 3680693"/>
                <a:gd name="connsiteX5" fmla="*/ 826390 w 2080837"/>
                <a:gd name="connsiteY5" fmla="*/ 1040490 h 3680693"/>
                <a:gd name="connsiteX6" fmla="*/ 776636 w 2080837"/>
                <a:gd name="connsiteY6" fmla="*/ 1082115 h 3680693"/>
                <a:gd name="connsiteX7" fmla="*/ 715264 w 2080837"/>
                <a:gd name="connsiteY7" fmla="*/ 1104117 h 3680693"/>
                <a:gd name="connsiteX8" fmla="*/ 646176 w 2080837"/>
                <a:gd name="connsiteY8" fmla="*/ 1100053 h 3680693"/>
                <a:gd name="connsiteX9" fmla="*/ 593344 w 2080837"/>
                <a:gd name="connsiteY9" fmla="*/ 1075669 h 3680693"/>
                <a:gd name="connsiteX10" fmla="*/ 540512 w 2080837"/>
                <a:gd name="connsiteY10" fmla="*/ 1010645 h 3680693"/>
                <a:gd name="connsiteX11" fmla="*/ 524256 w 2080837"/>
                <a:gd name="connsiteY11" fmla="*/ 949685 h 3680693"/>
                <a:gd name="connsiteX12" fmla="*/ 528320 w 2080837"/>
                <a:gd name="connsiteY12" fmla="*/ 864341 h 3680693"/>
                <a:gd name="connsiteX13" fmla="*/ 556768 w 2080837"/>
                <a:gd name="connsiteY13" fmla="*/ 783061 h 3680693"/>
                <a:gd name="connsiteX14" fmla="*/ 593344 w 2080837"/>
                <a:gd name="connsiteY14" fmla="*/ 730229 h 3680693"/>
                <a:gd name="connsiteX15" fmla="*/ 650240 w 2080837"/>
                <a:gd name="connsiteY15" fmla="*/ 665205 h 3680693"/>
                <a:gd name="connsiteX16" fmla="*/ 703072 w 2080837"/>
                <a:gd name="connsiteY16" fmla="*/ 600181 h 3680693"/>
                <a:gd name="connsiteX17" fmla="*/ 784352 w 2080837"/>
                <a:gd name="connsiteY17" fmla="*/ 522965 h 3680693"/>
                <a:gd name="connsiteX18" fmla="*/ 885952 w 2080837"/>
                <a:gd name="connsiteY18" fmla="*/ 437621 h 3680693"/>
                <a:gd name="connsiteX19" fmla="*/ 999744 w 2080837"/>
                <a:gd name="connsiteY19" fmla="*/ 352277 h 3680693"/>
                <a:gd name="connsiteX20" fmla="*/ 1129792 w 2080837"/>
                <a:gd name="connsiteY20" fmla="*/ 268330 h 3680693"/>
                <a:gd name="connsiteX21" fmla="*/ 1300480 w 2080837"/>
                <a:gd name="connsiteY21" fmla="*/ 157205 h 3680693"/>
                <a:gd name="connsiteX22" fmla="*/ 1442720 w 2080837"/>
                <a:gd name="connsiteY22" fmla="*/ 88117 h 3680693"/>
                <a:gd name="connsiteX23" fmla="*/ 1551750 w 2080837"/>
                <a:gd name="connsiteY23" fmla="*/ 37952 h 3680693"/>
                <a:gd name="connsiteX24" fmla="*/ 1643539 w 2080837"/>
                <a:gd name="connsiteY24" fmla="*/ 11187 h 3680693"/>
                <a:gd name="connsiteX25" fmla="*/ 1717390 w 2080837"/>
                <a:gd name="connsiteY25" fmla="*/ 1375 h 3680693"/>
                <a:gd name="connsiteX26" fmla="*/ 1786192 w 2080837"/>
                <a:gd name="connsiteY26" fmla="*/ 1090 h 3680693"/>
                <a:gd name="connsiteX27" fmla="*/ 1845056 w 2080837"/>
                <a:gd name="connsiteY27" fmla="*/ 10901 h 3680693"/>
                <a:gd name="connsiteX28" fmla="*/ 1920304 w 2080837"/>
                <a:gd name="connsiteY28" fmla="*/ 41031 h 3680693"/>
                <a:gd name="connsiteX29" fmla="*/ 1983232 w 2080837"/>
                <a:gd name="connsiteY29" fmla="*/ 96245 h 3680693"/>
                <a:gd name="connsiteX30" fmla="*/ 2020507 w 2080837"/>
                <a:gd name="connsiteY30" fmla="*/ 144314 h 3680693"/>
                <a:gd name="connsiteX31" fmla="*/ 2053018 w 2080837"/>
                <a:gd name="connsiteY31" fmla="*/ 214101 h 3680693"/>
                <a:gd name="connsiteX32" fmla="*/ 2071656 w 2080837"/>
                <a:gd name="connsiteY32" fmla="*/ 276744 h 3680693"/>
                <a:gd name="connsiteX33" fmla="*/ 2080768 w 2080837"/>
                <a:gd name="connsiteY33" fmla="*/ 352277 h 3680693"/>
                <a:gd name="connsiteX34" fmla="*/ 2075021 w 2080837"/>
                <a:gd name="connsiteY34" fmla="*/ 430191 h 3680693"/>
                <a:gd name="connsiteX35" fmla="*/ 2060448 w 2080837"/>
                <a:gd name="connsiteY35" fmla="*/ 502645 h 3680693"/>
                <a:gd name="connsiteX36" fmla="*/ 2027936 w 2080837"/>
                <a:gd name="connsiteY36" fmla="*/ 612373 h 3680693"/>
                <a:gd name="connsiteX37" fmla="*/ 1975104 w 2080837"/>
                <a:gd name="connsiteY37" fmla="*/ 754613 h 3680693"/>
                <a:gd name="connsiteX38" fmla="*/ 1918208 w 2080837"/>
                <a:gd name="connsiteY38" fmla="*/ 887740 h 3680693"/>
                <a:gd name="connsiteX39" fmla="*/ 1845056 w 2080837"/>
                <a:gd name="connsiteY39" fmla="*/ 1035029 h 3680693"/>
                <a:gd name="connsiteX40" fmla="*/ 1763776 w 2080837"/>
                <a:gd name="connsiteY40" fmla="*/ 1177269 h 3680693"/>
                <a:gd name="connsiteX41" fmla="*/ 1661477 w 2080837"/>
                <a:gd name="connsiteY41" fmla="*/ 1353703 h 3680693"/>
                <a:gd name="connsiteX42" fmla="*/ 1552448 w 2080837"/>
                <a:gd name="connsiteY42" fmla="*/ 1518645 h 3680693"/>
                <a:gd name="connsiteX43" fmla="*/ 1372235 w 2080837"/>
                <a:gd name="connsiteY43" fmla="*/ 1782805 h 3680693"/>
                <a:gd name="connsiteX44" fmla="*/ 1242885 w 2080837"/>
                <a:gd name="connsiteY44" fmla="*/ 1961621 h 3680693"/>
                <a:gd name="connsiteX45" fmla="*/ 1060704 w 2080837"/>
                <a:gd name="connsiteY45" fmla="*/ 2201397 h 3680693"/>
                <a:gd name="connsiteX46" fmla="*/ 898144 w 2080837"/>
                <a:gd name="connsiteY46" fmla="*/ 2412725 h 3680693"/>
                <a:gd name="connsiteX47" fmla="*/ 548640 w 2080837"/>
                <a:gd name="connsiteY47" fmla="*/ 2867893 h 3680693"/>
                <a:gd name="connsiteX48" fmla="*/ 316008 w 2080837"/>
                <a:gd name="connsiteY48" fmla="*/ 3180821 h 3680693"/>
                <a:gd name="connsiteX49" fmla="*/ 65024 w 2080837"/>
                <a:gd name="connsiteY49" fmla="*/ 3566901 h 3680693"/>
                <a:gd name="connsiteX50" fmla="*/ 0 w 2080837"/>
                <a:gd name="connsiteY50" fmla="*/ 3680693 h 3680693"/>
                <a:gd name="connsiteX0" fmla="*/ 666496 w 2080837"/>
                <a:gd name="connsiteY0" fmla="*/ 510773 h 3680693"/>
                <a:gd name="connsiteX1" fmla="*/ 743712 w 2080837"/>
                <a:gd name="connsiteY1" fmla="*/ 648949 h 3680693"/>
                <a:gd name="connsiteX2" fmla="*/ 798926 w 2080837"/>
                <a:gd name="connsiteY2" fmla="*/ 756296 h 3680693"/>
                <a:gd name="connsiteX3" fmla="*/ 841248 w 2080837"/>
                <a:gd name="connsiteY3" fmla="*/ 856213 h 3680693"/>
                <a:gd name="connsiteX4" fmla="*/ 853440 w 2080837"/>
                <a:gd name="connsiteY4" fmla="*/ 970005 h 3680693"/>
                <a:gd name="connsiteX5" fmla="*/ 826390 w 2080837"/>
                <a:gd name="connsiteY5" fmla="*/ 1040490 h 3680693"/>
                <a:gd name="connsiteX6" fmla="*/ 776636 w 2080837"/>
                <a:gd name="connsiteY6" fmla="*/ 1082115 h 3680693"/>
                <a:gd name="connsiteX7" fmla="*/ 715264 w 2080837"/>
                <a:gd name="connsiteY7" fmla="*/ 1104117 h 3680693"/>
                <a:gd name="connsiteX8" fmla="*/ 646176 w 2080837"/>
                <a:gd name="connsiteY8" fmla="*/ 1100053 h 3680693"/>
                <a:gd name="connsiteX9" fmla="*/ 593344 w 2080837"/>
                <a:gd name="connsiteY9" fmla="*/ 1075669 h 3680693"/>
                <a:gd name="connsiteX10" fmla="*/ 540512 w 2080837"/>
                <a:gd name="connsiteY10" fmla="*/ 1010645 h 3680693"/>
                <a:gd name="connsiteX11" fmla="*/ 524256 w 2080837"/>
                <a:gd name="connsiteY11" fmla="*/ 949685 h 3680693"/>
                <a:gd name="connsiteX12" fmla="*/ 528320 w 2080837"/>
                <a:gd name="connsiteY12" fmla="*/ 864341 h 3680693"/>
                <a:gd name="connsiteX13" fmla="*/ 556768 w 2080837"/>
                <a:gd name="connsiteY13" fmla="*/ 783061 h 3680693"/>
                <a:gd name="connsiteX14" fmla="*/ 593344 w 2080837"/>
                <a:gd name="connsiteY14" fmla="*/ 730229 h 3680693"/>
                <a:gd name="connsiteX15" fmla="*/ 650240 w 2080837"/>
                <a:gd name="connsiteY15" fmla="*/ 665205 h 3680693"/>
                <a:gd name="connsiteX16" fmla="*/ 703072 w 2080837"/>
                <a:gd name="connsiteY16" fmla="*/ 600181 h 3680693"/>
                <a:gd name="connsiteX17" fmla="*/ 784352 w 2080837"/>
                <a:gd name="connsiteY17" fmla="*/ 522965 h 3680693"/>
                <a:gd name="connsiteX18" fmla="*/ 885952 w 2080837"/>
                <a:gd name="connsiteY18" fmla="*/ 437621 h 3680693"/>
                <a:gd name="connsiteX19" fmla="*/ 999744 w 2080837"/>
                <a:gd name="connsiteY19" fmla="*/ 352277 h 3680693"/>
                <a:gd name="connsiteX20" fmla="*/ 1129792 w 2080837"/>
                <a:gd name="connsiteY20" fmla="*/ 268330 h 3680693"/>
                <a:gd name="connsiteX21" fmla="*/ 1300480 w 2080837"/>
                <a:gd name="connsiteY21" fmla="*/ 157205 h 3680693"/>
                <a:gd name="connsiteX22" fmla="*/ 1440339 w 2080837"/>
                <a:gd name="connsiteY22" fmla="*/ 85736 h 3680693"/>
                <a:gd name="connsiteX23" fmla="*/ 1551750 w 2080837"/>
                <a:gd name="connsiteY23" fmla="*/ 37952 h 3680693"/>
                <a:gd name="connsiteX24" fmla="*/ 1643539 w 2080837"/>
                <a:gd name="connsiteY24" fmla="*/ 11187 h 3680693"/>
                <a:gd name="connsiteX25" fmla="*/ 1717390 w 2080837"/>
                <a:gd name="connsiteY25" fmla="*/ 1375 h 3680693"/>
                <a:gd name="connsiteX26" fmla="*/ 1786192 w 2080837"/>
                <a:gd name="connsiteY26" fmla="*/ 1090 h 3680693"/>
                <a:gd name="connsiteX27" fmla="*/ 1845056 w 2080837"/>
                <a:gd name="connsiteY27" fmla="*/ 10901 h 3680693"/>
                <a:gd name="connsiteX28" fmla="*/ 1920304 w 2080837"/>
                <a:gd name="connsiteY28" fmla="*/ 41031 h 3680693"/>
                <a:gd name="connsiteX29" fmla="*/ 1983232 w 2080837"/>
                <a:gd name="connsiteY29" fmla="*/ 96245 h 3680693"/>
                <a:gd name="connsiteX30" fmla="*/ 2020507 w 2080837"/>
                <a:gd name="connsiteY30" fmla="*/ 144314 h 3680693"/>
                <a:gd name="connsiteX31" fmla="*/ 2053018 w 2080837"/>
                <a:gd name="connsiteY31" fmla="*/ 214101 h 3680693"/>
                <a:gd name="connsiteX32" fmla="*/ 2071656 w 2080837"/>
                <a:gd name="connsiteY32" fmla="*/ 276744 h 3680693"/>
                <a:gd name="connsiteX33" fmla="*/ 2080768 w 2080837"/>
                <a:gd name="connsiteY33" fmla="*/ 352277 h 3680693"/>
                <a:gd name="connsiteX34" fmla="*/ 2075021 w 2080837"/>
                <a:gd name="connsiteY34" fmla="*/ 430191 h 3680693"/>
                <a:gd name="connsiteX35" fmla="*/ 2060448 w 2080837"/>
                <a:gd name="connsiteY35" fmla="*/ 502645 h 3680693"/>
                <a:gd name="connsiteX36" fmla="*/ 2027936 w 2080837"/>
                <a:gd name="connsiteY36" fmla="*/ 612373 h 3680693"/>
                <a:gd name="connsiteX37" fmla="*/ 1975104 w 2080837"/>
                <a:gd name="connsiteY37" fmla="*/ 754613 h 3680693"/>
                <a:gd name="connsiteX38" fmla="*/ 1918208 w 2080837"/>
                <a:gd name="connsiteY38" fmla="*/ 887740 h 3680693"/>
                <a:gd name="connsiteX39" fmla="*/ 1845056 w 2080837"/>
                <a:gd name="connsiteY39" fmla="*/ 1035029 h 3680693"/>
                <a:gd name="connsiteX40" fmla="*/ 1763776 w 2080837"/>
                <a:gd name="connsiteY40" fmla="*/ 1177269 h 3680693"/>
                <a:gd name="connsiteX41" fmla="*/ 1661477 w 2080837"/>
                <a:gd name="connsiteY41" fmla="*/ 1353703 h 3680693"/>
                <a:gd name="connsiteX42" fmla="*/ 1552448 w 2080837"/>
                <a:gd name="connsiteY42" fmla="*/ 1518645 h 3680693"/>
                <a:gd name="connsiteX43" fmla="*/ 1372235 w 2080837"/>
                <a:gd name="connsiteY43" fmla="*/ 1782805 h 3680693"/>
                <a:gd name="connsiteX44" fmla="*/ 1242885 w 2080837"/>
                <a:gd name="connsiteY44" fmla="*/ 1961621 h 3680693"/>
                <a:gd name="connsiteX45" fmla="*/ 1060704 w 2080837"/>
                <a:gd name="connsiteY45" fmla="*/ 2201397 h 3680693"/>
                <a:gd name="connsiteX46" fmla="*/ 898144 w 2080837"/>
                <a:gd name="connsiteY46" fmla="*/ 2412725 h 3680693"/>
                <a:gd name="connsiteX47" fmla="*/ 548640 w 2080837"/>
                <a:gd name="connsiteY47" fmla="*/ 2867893 h 3680693"/>
                <a:gd name="connsiteX48" fmla="*/ 316008 w 2080837"/>
                <a:gd name="connsiteY48" fmla="*/ 3180821 h 3680693"/>
                <a:gd name="connsiteX49" fmla="*/ 65024 w 2080837"/>
                <a:gd name="connsiteY49" fmla="*/ 3566901 h 3680693"/>
                <a:gd name="connsiteX50" fmla="*/ 0 w 2080837"/>
                <a:gd name="connsiteY50" fmla="*/ 3680693 h 3680693"/>
                <a:gd name="connsiteX0" fmla="*/ 666496 w 2080837"/>
                <a:gd name="connsiteY0" fmla="*/ 510773 h 3680693"/>
                <a:gd name="connsiteX1" fmla="*/ 743712 w 2080837"/>
                <a:gd name="connsiteY1" fmla="*/ 648949 h 3680693"/>
                <a:gd name="connsiteX2" fmla="*/ 798926 w 2080837"/>
                <a:gd name="connsiteY2" fmla="*/ 756296 h 3680693"/>
                <a:gd name="connsiteX3" fmla="*/ 841248 w 2080837"/>
                <a:gd name="connsiteY3" fmla="*/ 856213 h 3680693"/>
                <a:gd name="connsiteX4" fmla="*/ 853440 w 2080837"/>
                <a:gd name="connsiteY4" fmla="*/ 970005 h 3680693"/>
                <a:gd name="connsiteX5" fmla="*/ 826390 w 2080837"/>
                <a:gd name="connsiteY5" fmla="*/ 1040490 h 3680693"/>
                <a:gd name="connsiteX6" fmla="*/ 776636 w 2080837"/>
                <a:gd name="connsiteY6" fmla="*/ 1082115 h 3680693"/>
                <a:gd name="connsiteX7" fmla="*/ 715264 w 2080837"/>
                <a:gd name="connsiteY7" fmla="*/ 1104117 h 3680693"/>
                <a:gd name="connsiteX8" fmla="*/ 646176 w 2080837"/>
                <a:gd name="connsiteY8" fmla="*/ 1100053 h 3680693"/>
                <a:gd name="connsiteX9" fmla="*/ 593344 w 2080837"/>
                <a:gd name="connsiteY9" fmla="*/ 1075669 h 3680693"/>
                <a:gd name="connsiteX10" fmla="*/ 540512 w 2080837"/>
                <a:gd name="connsiteY10" fmla="*/ 1010645 h 3680693"/>
                <a:gd name="connsiteX11" fmla="*/ 524256 w 2080837"/>
                <a:gd name="connsiteY11" fmla="*/ 949685 h 3680693"/>
                <a:gd name="connsiteX12" fmla="*/ 528320 w 2080837"/>
                <a:gd name="connsiteY12" fmla="*/ 864341 h 3680693"/>
                <a:gd name="connsiteX13" fmla="*/ 556768 w 2080837"/>
                <a:gd name="connsiteY13" fmla="*/ 783061 h 3680693"/>
                <a:gd name="connsiteX14" fmla="*/ 593344 w 2080837"/>
                <a:gd name="connsiteY14" fmla="*/ 730229 h 3680693"/>
                <a:gd name="connsiteX15" fmla="*/ 650240 w 2080837"/>
                <a:gd name="connsiteY15" fmla="*/ 665205 h 3680693"/>
                <a:gd name="connsiteX16" fmla="*/ 703072 w 2080837"/>
                <a:gd name="connsiteY16" fmla="*/ 600181 h 3680693"/>
                <a:gd name="connsiteX17" fmla="*/ 784352 w 2080837"/>
                <a:gd name="connsiteY17" fmla="*/ 522965 h 3680693"/>
                <a:gd name="connsiteX18" fmla="*/ 885952 w 2080837"/>
                <a:gd name="connsiteY18" fmla="*/ 437621 h 3680693"/>
                <a:gd name="connsiteX19" fmla="*/ 999744 w 2080837"/>
                <a:gd name="connsiteY19" fmla="*/ 352277 h 3680693"/>
                <a:gd name="connsiteX20" fmla="*/ 1129792 w 2080837"/>
                <a:gd name="connsiteY20" fmla="*/ 268330 h 3680693"/>
                <a:gd name="connsiteX21" fmla="*/ 1300480 w 2080837"/>
                <a:gd name="connsiteY21" fmla="*/ 157205 h 3680693"/>
                <a:gd name="connsiteX22" fmla="*/ 1440339 w 2080837"/>
                <a:gd name="connsiteY22" fmla="*/ 85736 h 3680693"/>
                <a:gd name="connsiteX23" fmla="*/ 1551750 w 2080837"/>
                <a:gd name="connsiteY23" fmla="*/ 37952 h 3680693"/>
                <a:gd name="connsiteX24" fmla="*/ 1643539 w 2080837"/>
                <a:gd name="connsiteY24" fmla="*/ 11187 h 3680693"/>
                <a:gd name="connsiteX25" fmla="*/ 1717390 w 2080837"/>
                <a:gd name="connsiteY25" fmla="*/ 1375 h 3680693"/>
                <a:gd name="connsiteX26" fmla="*/ 1786192 w 2080837"/>
                <a:gd name="connsiteY26" fmla="*/ 1090 h 3680693"/>
                <a:gd name="connsiteX27" fmla="*/ 1845056 w 2080837"/>
                <a:gd name="connsiteY27" fmla="*/ 10901 h 3680693"/>
                <a:gd name="connsiteX28" fmla="*/ 1920304 w 2080837"/>
                <a:gd name="connsiteY28" fmla="*/ 41031 h 3680693"/>
                <a:gd name="connsiteX29" fmla="*/ 1983232 w 2080837"/>
                <a:gd name="connsiteY29" fmla="*/ 96245 h 3680693"/>
                <a:gd name="connsiteX30" fmla="*/ 2020507 w 2080837"/>
                <a:gd name="connsiteY30" fmla="*/ 144314 h 3680693"/>
                <a:gd name="connsiteX31" fmla="*/ 2053018 w 2080837"/>
                <a:gd name="connsiteY31" fmla="*/ 214101 h 3680693"/>
                <a:gd name="connsiteX32" fmla="*/ 2071656 w 2080837"/>
                <a:gd name="connsiteY32" fmla="*/ 276744 h 3680693"/>
                <a:gd name="connsiteX33" fmla="*/ 2080768 w 2080837"/>
                <a:gd name="connsiteY33" fmla="*/ 352277 h 3680693"/>
                <a:gd name="connsiteX34" fmla="*/ 2075021 w 2080837"/>
                <a:gd name="connsiteY34" fmla="*/ 430191 h 3680693"/>
                <a:gd name="connsiteX35" fmla="*/ 2060448 w 2080837"/>
                <a:gd name="connsiteY35" fmla="*/ 502645 h 3680693"/>
                <a:gd name="connsiteX36" fmla="*/ 2027936 w 2080837"/>
                <a:gd name="connsiteY36" fmla="*/ 612373 h 3680693"/>
                <a:gd name="connsiteX37" fmla="*/ 1975104 w 2080837"/>
                <a:gd name="connsiteY37" fmla="*/ 754613 h 3680693"/>
                <a:gd name="connsiteX38" fmla="*/ 1918208 w 2080837"/>
                <a:gd name="connsiteY38" fmla="*/ 887740 h 3680693"/>
                <a:gd name="connsiteX39" fmla="*/ 1845056 w 2080837"/>
                <a:gd name="connsiteY39" fmla="*/ 1035029 h 3680693"/>
                <a:gd name="connsiteX40" fmla="*/ 1763776 w 2080837"/>
                <a:gd name="connsiteY40" fmla="*/ 1177269 h 3680693"/>
                <a:gd name="connsiteX41" fmla="*/ 1661477 w 2080837"/>
                <a:gd name="connsiteY41" fmla="*/ 1353703 h 3680693"/>
                <a:gd name="connsiteX42" fmla="*/ 1552448 w 2080837"/>
                <a:gd name="connsiteY42" fmla="*/ 1518645 h 3680693"/>
                <a:gd name="connsiteX43" fmla="*/ 1372235 w 2080837"/>
                <a:gd name="connsiteY43" fmla="*/ 1782805 h 3680693"/>
                <a:gd name="connsiteX44" fmla="*/ 1242885 w 2080837"/>
                <a:gd name="connsiteY44" fmla="*/ 1961621 h 3680693"/>
                <a:gd name="connsiteX45" fmla="*/ 1060704 w 2080837"/>
                <a:gd name="connsiteY45" fmla="*/ 2201397 h 3680693"/>
                <a:gd name="connsiteX46" fmla="*/ 898144 w 2080837"/>
                <a:gd name="connsiteY46" fmla="*/ 2412725 h 3680693"/>
                <a:gd name="connsiteX47" fmla="*/ 548640 w 2080837"/>
                <a:gd name="connsiteY47" fmla="*/ 2867893 h 3680693"/>
                <a:gd name="connsiteX48" fmla="*/ 316008 w 2080837"/>
                <a:gd name="connsiteY48" fmla="*/ 3180821 h 3680693"/>
                <a:gd name="connsiteX49" fmla="*/ 65024 w 2080837"/>
                <a:gd name="connsiteY49" fmla="*/ 3566901 h 3680693"/>
                <a:gd name="connsiteX50" fmla="*/ 0 w 2080837"/>
                <a:gd name="connsiteY50" fmla="*/ 3680693 h 3680693"/>
                <a:gd name="connsiteX0" fmla="*/ 666496 w 2080837"/>
                <a:gd name="connsiteY0" fmla="*/ 510773 h 3680693"/>
                <a:gd name="connsiteX1" fmla="*/ 743712 w 2080837"/>
                <a:gd name="connsiteY1" fmla="*/ 648949 h 3680693"/>
                <a:gd name="connsiteX2" fmla="*/ 798926 w 2080837"/>
                <a:gd name="connsiteY2" fmla="*/ 756296 h 3680693"/>
                <a:gd name="connsiteX3" fmla="*/ 841248 w 2080837"/>
                <a:gd name="connsiteY3" fmla="*/ 856213 h 3680693"/>
                <a:gd name="connsiteX4" fmla="*/ 853440 w 2080837"/>
                <a:gd name="connsiteY4" fmla="*/ 970005 h 3680693"/>
                <a:gd name="connsiteX5" fmla="*/ 826390 w 2080837"/>
                <a:gd name="connsiteY5" fmla="*/ 1040490 h 3680693"/>
                <a:gd name="connsiteX6" fmla="*/ 776636 w 2080837"/>
                <a:gd name="connsiteY6" fmla="*/ 1082115 h 3680693"/>
                <a:gd name="connsiteX7" fmla="*/ 715264 w 2080837"/>
                <a:gd name="connsiteY7" fmla="*/ 1104117 h 3680693"/>
                <a:gd name="connsiteX8" fmla="*/ 646176 w 2080837"/>
                <a:gd name="connsiteY8" fmla="*/ 1100053 h 3680693"/>
                <a:gd name="connsiteX9" fmla="*/ 593344 w 2080837"/>
                <a:gd name="connsiteY9" fmla="*/ 1075669 h 3680693"/>
                <a:gd name="connsiteX10" fmla="*/ 540512 w 2080837"/>
                <a:gd name="connsiteY10" fmla="*/ 1010645 h 3680693"/>
                <a:gd name="connsiteX11" fmla="*/ 524256 w 2080837"/>
                <a:gd name="connsiteY11" fmla="*/ 949685 h 3680693"/>
                <a:gd name="connsiteX12" fmla="*/ 528320 w 2080837"/>
                <a:gd name="connsiteY12" fmla="*/ 864341 h 3680693"/>
                <a:gd name="connsiteX13" fmla="*/ 556768 w 2080837"/>
                <a:gd name="connsiteY13" fmla="*/ 783061 h 3680693"/>
                <a:gd name="connsiteX14" fmla="*/ 593344 w 2080837"/>
                <a:gd name="connsiteY14" fmla="*/ 730229 h 3680693"/>
                <a:gd name="connsiteX15" fmla="*/ 650240 w 2080837"/>
                <a:gd name="connsiteY15" fmla="*/ 665205 h 3680693"/>
                <a:gd name="connsiteX16" fmla="*/ 703072 w 2080837"/>
                <a:gd name="connsiteY16" fmla="*/ 600181 h 3680693"/>
                <a:gd name="connsiteX17" fmla="*/ 784352 w 2080837"/>
                <a:gd name="connsiteY17" fmla="*/ 522965 h 3680693"/>
                <a:gd name="connsiteX18" fmla="*/ 885952 w 2080837"/>
                <a:gd name="connsiteY18" fmla="*/ 437621 h 3680693"/>
                <a:gd name="connsiteX19" fmla="*/ 999744 w 2080837"/>
                <a:gd name="connsiteY19" fmla="*/ 352277 h 3680693"/>
                <a:gd name="connsiteX20" fmla="*/ 1127411 w 2080837"/>
                <a:gd name="connsiteY20" fmla="*/ 263567 h 3680693"/>
                <a:gd name="connsiteX21" fmla="*/ 1300480 w 2080837"/>
                <a:gd name="connsiteY21" fmla="*/ 157205 h 3680693"/>
                <a:gd name="connsiteX22" fmla="*/ 1440339 w 2080837"/>
                <a:gd name="connsiteY22" fmla="*/ 85736 h 3680693"/>
                <a:gd name="connsiteX23" fmla="*/ 1551750 w 2080837"/>
                <a:gd name="connsiteY23" fmla="*/ 37952 h 3680693"/>
                <a:gd name="connsiteX24" fmla="*/ 1643539 w 2080837"/>
                <a:gd name="connsiteY24" fmla="*/ 11187 h 3680693"/>
                <a:gd name="connsiteX25" fmla="*/ 1717390 w 2080837"/>
                <a:gd name="connsiteY25" fmla="*/ 1375 h 3680693"/>
                <a:gd name="connsiteX26" fmla="*/ 1786192 w 2080837"/>
                <a:gd name="connsiteY26" fmla="*/ 1090 h 3680693"/>
                <a:gd name="connsiteX27" fmla="*/ 1845056 w 2080837"/>
                <a:gd name="connsiteY27" fmla="*/ 10901 h 3680693"/>
                <a:gd name="connsiteX28" fmla="*/ 1920304 w 2080837"/>
                <a:gd name="connsiteY28" fmla="*/ 41031 h 3680693"/>
                <a:gd name="connsiteX29" fmla="*/ 1983232 w 2080837"/>
                <a:gd name="connsiteY29" fmla="*/ 96245 h 3680693"/>
                <a:gd name="connsiteX30" fmla="*/ 2020507 w 2080837"/>
                <a:gd name="connsiteY30" fmla="*/ 144314 h 3680693"/>
                <a:gd name="connsiteX31" fmla="*/ 2053018 w 2080837"/>
                <a:gd name="connsiteY31" fmla="*/ 214101 h 3680693"/>
                <a:gd name="connsiteX32" fmla="*/ 2071656 w 2080837"/>
                <a:gd name="connsiteY32" fmla="*/ 276744 h 3680693"/>
                <a:gd name="connsiteX33" fmla="*/ 2080768 w 2080837"/>
                <a:gd name="connsiteY33" fmla="*/ 352277 h 3680693"/>
                <a:gd name="connsiteX34" fmla="*/ 2075021 w 2080837"/>
                <a:gd name="connsiteY34" fmla="*/ 430191 h 3680693"/>
                <a:gd name="connsiteX35" fmla="*/ 2060448 w 2080837"/>
                <a:gd name="connsiteY35" fmla="*/ 502645 h 3680693"/>
                <a:gd name="connsiteX36" fmla="*/ 2027936 w 2080837"/>
                <a:gd name="connsiteY36" fmla="*/ 612373 h 3680693"/>
                <a:gd name="connsiteX37" fmla="*/ 1975104 w 2080837"/>
                <a:gd name="connsiteY37" fmla="*/ 754613 h 3680693"/>
                <a:gd name="connsiteX38" fmla="*/ 1918208 w 2080837"/>
                <a:gd name="connsiteY38" fmla="*/ 887740 h 3680693"/>
                <a:gd name="connsiteX39" fmla="*/ 1845056 w 2080837"/>
                <a:gd name="connsiteY39" fmla="*/ 1035029 h 3680693"/>
                <a:gd name="connsiteX40" fmla="*/ 1763776 w 2080837"/>
                <a:gd name="connsiteY40" fmla="*/ 1177269 h 3680693"/>
                <a:gd name="connsiteX41" fmla="*/ 1661477 w 2080837"/>
                <a:gd name="connsiteY41" fmla="*/ 1353703 h 3680693"/>
                <a:gd name="connsiteX42" fmla="*/ 1552448 w 2080837"/>
                <a:gd name="connsiteY42" fmla="*/ 1518645 h 3680693"/>
                <a:gd name="connsiteX43" fmla="*/ 1372235 w 2080837"/>
                <a:gd name="connsiteY43" fmla="*/ 1782805 h 3680693"/>
                <a:gd name="connsiteX44" fmla="*/ 1242885 w 2080837"/>
                <a:gd name="connsiteY44" fmla="*/ 1961621 h 3680693"/>
                <a:gd name="connsiteX45" fmla="*/ 1060704 w 2080837"/>
                <a:gd name="connsiteY45" fmla="*/ 2201397 h 3680693"/>
                <a:gd name="connsiteX46" fmla="*/ 898144 w 2080837"/>
                <a:gd name="connsiteY46" fmla="*/ 2412725 h 3680693"/>
                <a:gd name="connsiteX47" fmla="*/ 548640 w 2080837"/>
                <a:gd name="connsiteY47" fmla="*/ 2867893 h 3680693"/>
                <a:gd name="connsiteX48" fmla="*/ 316008 w 2080837"/>
                <a:gd name="connsiteY48" fmla="*/ 3180821 h 3680693"/>
                <a:gd name="connsiteX49" fmla="*/ 65024 w 2080837"/>
                <a:gd name="connsiteY49" fmla="*/ 3566901 h 3680693"/>
                <a:gd name="connsiteX50" fmla="*/ 0 w 2080837"/>
                <a:gd name="connsiteY50" fmla="*/ 3680693 h 3680693"/>
                <a:gd name="connsiteX0" fmla="*/ 666496 w 2080837"/>
                <a:gd name="connsiteY0" fmla="*/ 510773 h 3680693"/>
                <a:gd name="connsiteX1" fmla="*/ 743712 w 2080837"/>
                <a:gd name="connsiteY1" fmla="*/ 648949 h 3680693"/>
                <a:gd name="connsiteX2" fmla="*/ 798926 w 2080837"/>
                <a:gd name="connsiteY2" fmla="*/ 756296 h 3680693"/>
                <a:gd name="connsiteX3" fmla="*/ 841248 w 2080837"/>
                <a:gd name="connsiteY3" fmla="*/ 856213 h 3680693"/>
                <a:gd name="connsiteX4" fmla="*/ 853440 w 2080837"/>
                <a:gd name="connsiteY4" fmla="*/ 970005 h 3680693"/>
                <a:gd name="connsiteX5" fmla="*/ 826390 w 2080837"/>
                <a:gd name="connsiteY5" fmla="*/ 1040490 h 3680693"/>
                <a:gd name="connsiteX6" fmla="*/ 776636 w 2080837"/>
                <a:gd name="connsiteY6" fmla="*/ 1082115 h 3680693"/>
                <a:gd name="connsiteX7" fmla="*/ 715264 w 2080837"/>
                <a:gd name="connsiteY7" fmla="*/ 1104117 h 3680693"/>
                <a:gd name="connsiteX8" fmla="*/ 646176 w 2080837"/>
                <a:gd name="connsiteY8" fmla="*/ 1100053 h 3680693"/>
                <a:gd name="connsiteX9" fmla="*/ 593344 w 2080837"/>
                <a:gd name="connsiteY9" fmla="*/ 1075669 h 3680693"/>
                <a:gd name="connsiteX10" fmla="*/ 540512 w 2080837"/>
                <a:gd name="connsiteY10" fmla="*/ 1010645 h 3680693"/>
                <a:gd name="connsiteX11" fmla="*/ 524256 w 2080837"/>
                <a:gd name="connsiteY11" fmla="*/ 949685 h 3680693"/>
                <a:gd name="connsiteX12" fmla="*/ 528320 w 2080837"/>
                <a:gd name="connsiteY12" fmla="*/ 864341 h 3680693"/>
                <a:gd name="connsiteX13" fmla="*/ 556768 w 2080837"/>
                <a:gd name="connsiteY13" fmla="*/ 783061 h 3680693"/>
                <a:gd name="connsiteX14" fmla="*/ 593344 w 2080837"/>
                <a:gd name="connsiteY14" fmla="*/ 730229 h 3680693"/>
                <a:gd name="connsiteX15" fmla="*/ 650240 w 2080837"/>
                <a:gd name="connsiteY15" fmla="*/ 665205 h 3680693"/>
                <a:gd name="connsiteX16" fmla="*/ 703072 w 2080837"/>
                <a:gd name="connsiteY16" fmla="*/ 600181 h 3680693"/>
                <a:gd name="connsiteX17" fmla="*/ 784352 w 2080837"/>
                <a:gd name="connsiteY17" fmla="*/ 522965 h 3680693"/>
                <a:gd name="connsiteX18" fmla="*/ 885952 w 2080837"/>
                <a:gd name="connsiteY18" fmla="*/ 437621 h 3680693"/>
                <a:gd name="connsiteX19" fmla="*/ 999744 w 2080837"/>
                <a:gd name="connsiteY19" fmla="*/ 352277 h 3680693"/>
                <a:gd name="connsiteX20" fmla="*/ 1127411 w 2080837"/>
                <a:gd name="connsiteY20" fmla="*/ 263567 h 3680693"/>
                <a:gd name="connsiteX21" fmla="*/ 1300480 w 2080837"/>
                <a:gd name="connsiteY21" fmla="*/ 157205 h 3680693"/>
                <a:gd name="connsiteX22" fmla="*/ 1440339 w 2080837"/>
                <a:gd name="connsiteY22" fmla="*/ 85736 h 3680693"/>
                <a:gd name="connsiteX23" fmla="*/ 1551750 w 2080837"/>
                <a:gd name="connsiteY23" fmla="*/ 37952 h 3680693"/>
                <a:gd name="connsiteX24" fmla="*/ 1643539 w 2080837"/>
                <a:gd name="connsiteY24" fmla="*/ 11187 h 3680693"/>
                <a:gd name="connsiteX25" fmla="*/ 1717390 w 2080837"/>
                <a:gd name="connsiteY25" fmla="*/ 1375 h 3680693"/>
                <a:gd name="connsiteX26" fmla="*/ 1786192 w 2080837"/>
                <a:gd name="connsiteY26" fmla="*/ 1090 h 3680693"/>
                <a:gd name="connsiteX27" fmla="*/ 1845056 w 2080837"/>
                <a:gd name="connsiteY27" fmla="*/ 10901 h 3680693"/>
                <a:gd name="connsiteX28" fmla="*/ 1920304 w 2080837"/>
                <a:gd name="connsiteY28" fmla="*/ 41031 h 3680693"/>
                <a:gd name="connsiteX29" fmla="*/ 1983232 w 2080837"/>
                <a:gd name="connsiteY29" fmla="*/ 96245 h 3680693"/>
                <a:gd name="connsiteX30" fmla="*/ 2020507 w 2080837"/>
                <a:gd name="connsiteY30" fmla="*/ 144314 h 3680693"/>
                <a:gd name="connsiteX31" fmla="*/ 2057780 w 2080837"/>
                <a:gd name="connsiteY31" fmla="*/ 214101 h 3680693"/>
                <a:gd name="connsiteX32" fmla="*/ 2071656 w 2080837"/>
                <a:gd name="connsiteY32" fmla="*/ 276744 h 3680693"/>
                <a:gd name="connsiteX33" fmla="*/ 2080768 w 2080837"/>
                <a:gd name="connsiteY33" fmla="*/ 352277 h 3680693"/>
                <a:gd name="connsiteX34" fmla="*/ 2075021 w 2080837"/>
                <a:gd name="connsiteY34" fmla="*/ 430191 h 3680693"/>
                <a:gd name="connsiteX35" fmla="*/ 2060448 w 2080837"/>
                <a:gd name="connsiteY35" fmla="*/ 502645 h 3680693"/>
                <a:gd name="connsiteX36" fmla="*/ 2027936 w 2080837"/>
                <a:gd name="connsiteY36" fmla="*/ 612373 h 3680693"/>
                <a:gd name="connsiteX37" fmla="*/ 1975104 w 2080837"/>
                <a:gd name="connsiteY37" fmla="*/ 754613 h 3680693"/>
                <a:gd name="connsiteX38" fmla="*/ 1918208 w 2080837"/>
                <a:gd name="connsiteY38" fmla="*/ 887740 h 3680693"/>
                <a:gd name="connsiteX39" fmla="*/ 1845056 w 2080837"/>
                <a:gd name="connsiteY39" fmla="*/ 1035029 h 3680693"/>
                <a:gd name="connsiteX40" fmla="*/ 1763776 w 2080837"/>
                <a:gd name="connsiteY40" fmla="*/ 1177269 h 3680693"/>
                <a:gd name="connsiteX41" fmla="*/ 1661477 w 2080837"/>
                <a:gd name="connsiteY41" fmla="*/ 1353703 h 3680693"/>
                <a:gd name="connsiteX42" fmla="*/ 1552448 w 2080837"/>
                <a:gd name="connsiteY42" fmla="*/ 1518645 h 3680693"/>
                <a:gd name="connsiteX43" fmla="*/ 1372235 w 2080837"/>
                <a:gd name="connsiteY43" fmla="*/ 1782805 h 3680693"/>
                <a:gd name="connsiteX44" fmla="*/ 1242885 w 2080837"/>
                <a:gd name="connsiteY44" fmla="*/ 1961621 h 3680693"/>
                <a:gd name="connsiteX45" fmla="*/ 1060704 w 2080837"/>
                <a:gd name="connsiteY45" fmla="*/ 2201397 h 3680693"/>
                <a:gd name="connsiteX46" fmla="*/ 898144 w 2080837"/>
                <a:gd name="connsiteY46" fmla="*/ 2412725 h 3680693"/>
                <a:gd name="connsiteX47" fmla="*/ 548640 w 2080837"/>
                <a:gd name="connsiteY47" fmla="*/ 2867893 h 3680693"/>
                <a:gd name="connsiteX48" fmla="*/ 316008 w 2080837"/>
                <a:gd name="connsiteY48" fmla="*/ 3180821 h 3680693"/>
                <a:gd name="connsiteX49" fmla="*/ 65024 w 2080837"/>
                <a:gd name="connsiteY49" fmla="*/ 3566901 h 3680693"/>
                <a:gd name="connsiteX50" fmla="*/ 0 w 2080837"/>
                <a:gd name="connsiteY50" fmla="*/ 3680693 h 3680693"/>
                <a:gd name="connsiteX0" fmla="*/ 666496 w 2080837"/>
                <a:gd name="connsiteY0" fmla="*/ 510773 h 3680693"/>
                <a:gd name="connsiteX1" fmla="*/ 743712 w 2080837"/>
                <a:gd name="connsiteY1" fmla="*/ 648949 h 3680693"/>
                <a:gd name="connsiteX2" fmla="*/ 798926 w 2080837"/>
                <a:gd name="connsiteY2" fmla="*/ 756296 h 3680693"/>
                <a:gd name="connsiteX3" fmla="*/ 841248 w 2080837"/>
                <a:gd name="connsiteY3" fmla="*/ 856213 h 3680693"/>
                <a:gd name="connsiteX4" fmla="*/ 853440 w 2080837"/>
                <a:gd name="connsiteY4" fmla="*/ 970005 h 3680693"/>
                <a:gd name="connsiteX5" fmla="*/ 826390 w 2080837"/>
                <a:gd name="connsiteY5" fmla="*/ 1040490 h 3680693"/>
                <a:gd name="connsiteX6" fmla="*/ 776636 w 2080837"/>
                <a:gd name="connsiteY6" fmla="*/ 1082115 h 3680693"/>
                <a:gd name="connsiteX7" fmla="*/ 715264 w 2080837"/>
                <a:gd name="connsiteY7" fmla="*/ 1104117 h 3680693"/>
                <a:gd name="connsiteX8" fmla="*/ 646176 w 2080837"/>
                <a:gd name="connsiteY8" fmla="*/ 1100053 h 3680693"/>
                <a:gd name="connsiteX9" fmla="*/ 593344 w 2080837"/>
                <a:gd name="connsiteY9" fmla="*/ 1075669 h 3680693"/>
                <a:gd name="connsiteX10" fmla="*/ 540512 w 2080837"/>
                <a:gd name="connsiteY10" fmla="*/ 1010645 h 3680693"/>
                <a:gd name="connsiteX11" fmla="*/ 524256 w 2080837"/>
                <a:gd name="connsiteY11" fmla="*/ 949685 h 3680693"/>
                <a:gd name="connsiteX12" fmla="*/ 528320 w 2080837"/>
                <a:gd name="connsiteY12" fmla="*/ 864341 h 3680693"/>
                <a:gd name="connsiteX13" fmla="*/ 556768 w 2080837"/>
                <a:gd name="connsiteY13" fmla="*/ 783061 h 3680693"/>
                <a:gd name="connsiteX14" fmla="*/ 593344 w 2080837"/>
                <a:gd name="connsiteY14" fmla="*/ 730229 h 3680693"/>
                <a:gd name="connsiteX15" fmla="*/ 650240 w 2080837"/>
                <a:gd name="connsiteY15" fmla="*/ 665205 h 3680693"/>
                <a:gd name="connsiteX16" fmla="*/ 703072 w 2080837"/>
                <a:gd name="connsiteY16" fmla="*/ 600181 h 3680693"/>
                <a:gd name="connsiteX17" fmla="*/ 784352 w 2080837"/>
                <a:gd name="connsiteY17" fmla="*/ 522965 h 3680693"/>
                <a:gd name="connsiteX18" fmla="*/ 885952 w 2080837"/>
                <a:gd name="connsiteY18" fmla="*/ 437621 h 3680693"/>
                <a:gd name="connsiteX19" fmla="*/ 999744 w 2080837"/>
                <a:gd name="connsiteY19" fmla="*/ 352277 h 3680693"/>
                <a:gd name="connsiteX20" fmla="*/ 1127411 w 2080837"/>
                <a:gd name="connsiteY20" fmla="*/ 263567 h 3680693"/>
                <a:gd name="connsiteX21" fmla="*/ 1300480 w 2080837"/>
                <a:gd name="connsiteY21" fmla="*/ 157205 h 3680693"/>
                <a:gd name="connsiteX22" fmla="*/ 1440339 w 2080837"/>
                <a:gd name="connsiteY22" fmla="*/ 85736 h 3680693"/>
                <a:gd name="connsiteX23" fmla="*/ 1551750 w 2080837"/>
                <a:gd name="connsiteY23" fmla="*/ 37952 h 3680693"/>
                <a:gd name="connsiteX24" fmla="*/ 1643539 w 2080837"/>
                <a:gd name="connsiteY24" fmla="*/ 11187 h 3680693"/>
                <a:gd name="connsiteX25" fmla="*/ 1717390 w 2080837"/>
                <a:gd name="connsiteY25" fmla="*/ 1375 h 3680693"/>
                <a:gd name="connsiteX26" fmla="*/ 1786192 w 2080837"/>
                <a:gd name="connsiteY26" fmla="*/ 1090 h 3680693"/>
                <a:gd name="connsiteX27" fmla="*/ 1845056 w 2080837"/>
                <a:gd name="connsiteY27" fmla="*/ 10901 h 3680693"/>
                <a:gd name="connsiteX28" fmla="*/ 1920304 w 2080837"/>
                <a:gd name="connsiteY28" fmla="*/ 41031 h 3680693"/>
                <a:gd name="connsiteX29" fmla="*/ 1983232 w 2080837"/>
                <a:gd name="connsiteY29" fmla="*/ 96245 h 3680693"/>
                <a:gd name="connsiteX30" fmla="*/ 2020507 w 2080837"/>
                <a:gd name="connsiteY30" fmla="*/ 144314 h 3680693"/>
                <a:gd name="connsiteX31" fmla="*/ 2057780 w 2080837"/>
                <a:gd name="connsiteY31" fmla="*/ 214101 h 3680693"/>
                <a:gd name="connsiteX32" fmla="*/ 2071656 w 2080837"/>
                <a:gd name="connsiteY32" fmla="*/ 276744 h 3680693"/>
                <a:gd name="connsiteX33" fmla="*/ 2080768 w 2080837"/>
                <a:gd name="connsiteY33" fmla="*/ 352277 h 3680693"/>
                <a:gd name="connsiteX34" fmla="*/ 2075021 w 2080837"/>
                <a:gd name="connsiteY34" fmla="*/ 430191 h 3680693"/>
                <a:gd name="connsiteX35" fmla="*/ 2060448 w 2080837"/>
                <a:gd name="connsiteY35" fmla="*/ 502645 h 3680693"/>
                <a:gd name="connsiteX36" fmla="*/ 2027936 w 2080837"/>
                <a:gd name="connsiteY36" fmla="*/ 612373 h 3680693"/>
                <a:gd name="connsiteX37" fmla="*/ 1975104 w 2080837"/>
                <a:gd name="connsiteY37" fmla="*/ 754613 h 3680693"/>
                <a:gd name="connsiteX38" fmla="*/ 1918208 w 2080837"/>
                <a:gd name="connsiteY38" fmla="*/ 887740 h 3680693"/>
                <a:gd name="connsiteX39" fmla="*/ 1845056 w 2080837"/>
                <a:gd name="connsiteY39" fmla="*/ 1035029 h 3680693"/>
                <a:gd name="connsiteX40" fmla="*/ 1763776 w 2080837"/>
                <a:gd name="connsiteY40" fmla="*/ 1177269 h 3680693"/>
                <a:gd name="connsiteX41" fmla="*/ 1661477 w 2080837"/>
                <a:gd name="connsiteY41" fmla="*/ 1353703 h 3680693"/>
                <a:gd name="connsiteX42" fmla="*/ 1552448 w 2080837"/>
                <a:gd name="connsiteY42" fmla="*/ 1518645 h 3680693"/>
                <a:gd name="connsiteX43" fmla="*/ 1372235 w 2080837"/>
                <a:gd name="connsiteY43" fmla="*/ 1782805 h 3680693"/>
                <a:gd name="connsiteX44" fmla="*/ 1242885 w 2080837"/>
                <a:gd name="connsiteY44" fmla="*/ 1961621 h 3680693"/>
                <a:gd name="connsiteX45" fmla="*/ 1060704 w 2080837"/>
                <a:gd name="connsiteY45" fmla="*/ 2201397 h 3680693"/>
                <a:gd name="connsiteX46" fmla="*/ 898144 w 2080837"/>
                <a:gd name="connsiteY46" fmla="*/ 2412725 h 3680693"/>
                <a:gd name="connsiteX47" fmla="*/ 548640 w 2080837"/>
                <a:gd name="connsiteY47" fmla="*/ 2867893 h 3680693"/>
                <a:gd name="connsiteX48" fmla="*/ 316008 w 2080837"/>
                <a:gd name="connsiteY48" fmla="*/ 3180821 h 3680693"/>
                <a:gd name="connsiteX49" fmla="*/ 65024 w 2080837"/>
                <a:gd name="connsiteY49" fmla="*/ 3566901 h 3680693"/>
                <a:gd name="connsiteX50" fmla="*/ 0 w 2080837"/>
                <a:gd name="connsiteY50" fmla="*/ 3680693 h 3680693"/>
                <a:gd name="connsiteX0" fmla="*/ 601472 w 2015813"/>
                <a:gd name="connsiteY0" fmla="*/ 510773 h 3566901"/>
                <a:gd name="connsiteX1" fmla="*/ 678688 w 2015813"/>
                <a:gd name="connsiteY1" fmla="*/ 648949 h 3566901"/>
                <a:gd name="connsiteX2" fmla="*/ 733902 w 2015813"/>
                <a:gd name="connsiteY2" fmla="*/ 756296 h 3566901"/>
                <a:gd name="connsiteX3" fmla="*/ 776224 w 2015813"/>
                <a:gd name="connsiteY3" fmla="*/ 856213 h 3566901"/>
                <a:gd name="connsiteX4" fmla="*/ 788416 w 2015813"/>
                <a:gd name="connsiteY4" fmla="*/ 970005 h 3566901"/>
                <a:gd name="connsiteX5" fmla="*/ 761366 w 2015813"/>
                <a:gd name="connsiteY5" fmla="*/ 1040490 h 3566901"/>
                <a:gd name="connsiteX6" fmla="*/ 711612 w 2015813"/>
                <a:gd name="connsiteY6" fmla="*/ 1082115 h 3566901"/>
                <a:gd name="connsiteX7" fmla="*/ 650240 w 2015813"/>
                <a:gd name="connsiteY7" fmla="*/ 1104117 h 3566901"/>
                <a:gd name="connsiteX8" fmla="*/ 581152 w 2015813"/>
                <a:gd name="connsiteY8" fmla="*/ 1100053 h 3566901"/>
                <a:gd name="connsiteX9" fmla="*/ 528320 w 2015813"/>
                <a:gd name="connsiteY9" fmla="*/ 1075669 h 3566901"/>
                <a:gd name="connsiteX10" fmla="*/ 475488 w 2015813"/>
                <a:gd name="connsiteY10" fmla="*/ 1010645 h 3566901"/>
                <a:gd name="connsiteX11" fmla="*/ 459232 w 2015813"/>
                <a:gd name="connsiteY11" fmla="*/ 949685 h 3566901"/>
                <a:gd name="connsiteX12" fmla="*/ 463296 w 2015813"/>
                <a:gd name="connsiteY12" fmla="*/ 864341 h 3566901"/>
                <a:gd name="connsiteX13" fmla="*/ 491744 w 2015813"/>
                <a:gd name="connsiteY13" fmla="*/ 783061 h 3566901"/>
                <a:gd name="connsiteX14" fmla="*/ 528320 w 2015813"/>
                <a:gd name="connsiteY14" fmla="*/ 730229 h 3566901"/>
                <a:gd name="connsiteX15" fmla="*/ 585216 w 2015813"/>
                <a:gd name="connsiteY15" fmla="*/ 665205 h 3566901"/>
                <a:gd name="connsiteX16" fmla="*/ 638048 w 2015813"/>
                <a:gd name="connsiteY16" fmla="*/ 600181 h 3566901"/>
                <a:gd name="connsiteX17" fmla="*/ 719328 w 2015813"/>
                <a:gd name="connsiteY17" fmla="*/ 522965 h 3566901"/>
                <a:gd name="connsiteX18" fmla="*/ 820928 w 2015813"/>
                <a:gd name="connsiteY18" fmla="*/ 437621 h 3566901"/>
                <a:gd name="connsiteX19" fmla="*/ 934720 w 2015813"/>
                <a:gd name="connsiteY19" fmla="*/ 352277 h 3566901"/>
                <a:gd name="connsiteX20" fmla="*/ 1062387 w 2015813"/>
                <a:gd name="connsiteY20" fmla="*/ 263567 h 3566901"/>
                <a:gd name="connsiteX21" fmla="*/ 1235456 w 2015813"/>
                <a:gd name="connsiteY21" fmla="*/ 157205 h 3566901"/>
                <a:gd name="connsiteX22" fmla="*/ 1375315 w 2015813"/>
                <a:gd name="connsiteY22" fmla="*/ 85736 h 3566901"/>
                <a:gd name="connsiteX23" fmla="*/ 1486726 w 2015813"/>
                <a:gd name="connsiteY23" fmla="*/ 37952 h 3566901"/>
                <a:gd name="connsiteX24" fmla="*/ 1578515 w 2015813"/>
                <a:gd name="connsiteY24" fmla="*/ 11187 h 3566901"/>
                <a:gd name="connsiteX25" fmla="*/ 1652366 w 2015813"/>
                <a:gd name="connsiteY25" fmla="*/ 1375 h 3566901"/>
                <a:gd name="connsiteX26" fmla="*/ 1721168 w 2015813"/>
                <a:gd name="connsiteY26" fmla="*/ 1090 h 3566901"/>
                <a:gd name="connsiteX27" fmla="*/ 1780032 w 2015813"/>
                <a:gd name="connsiteY27" fmla="*/ 10901 h 3566901"/>
                <a:gd name="connsiteX28" fmla="*/ 1855280 w 2015813"/>
                <a:gd name="connsiteY28" fmla="*/ 41031 h 3566901"/>
                <a:gd name="connsiteX29" fmla="*/ 1918208 w 2015813"/>
                <a:gd name="connsiteY29" fmla="*/ 96245 h 3566901"/>
                <a:gd name="connsiteX30" fmla="*/ 1955483 w 2015813"/>
                <a:gd name="connsiteY30" fmla="*/ 144314 h 3566901"/>
                <a:gd name="connsiteX31" fmla="*/ 1992756 w 2015813"/>
                <a:gd name="connsiteY31" fmla="*/ 214101 h 3566901"/>
                <a:gd name="connsiteX32" fmla="*/ 2006632 w 2015813"/>
                <a:gd name="connsiteY32" fmla="*/ 276744 h 3566901"/>
                <a:gd name="connsiteX33" fmla="*/ 2015744 w 2015813"/>
                <a:gd name="connsiteY33" fmla="*/ 352277 h 3566901"/>
                <a:gd name="connsiteX34" fmla="*/ 2009997 w 2015813"/>
                <a:gd name="connsiteY34" fmla="*/ 430191 h 3566901"/>
                <a:gd name="connsiteX35" fmla="*/ 1995424 w 2015813"/>
                <a:gd name="connsiteY35" fmla="*/ 502645 h 3566901"/>
                <a:gd name="connsiteX36" fmla="*/ 1962912 w 2015813"/>
                <a:gd name="connsiteY36" fmla="*/ 612373 h 3566901"/>
                <a:gd name="connsiteX37" fmla="*/ 1910080 w 2015813"/>
                <a:gd name="connsiteY37" fmla="*/ 754613 h 3566901"/>
                <a:gd name="connsiteX38" fmla="*/ 1853184 w 2015813"/>
                <a:gd name="connsiteY38" fmla="*/ 887740 h 3566901"/>
                <a:gd name="connsiteX39" fmla="*/ 1780032 w 2015813"/>
                <a:gd name="connsiteY39" fmla="*/ 1035029 h 3566901"/>
                <a:gd name="connsiteX40" fmla="*/ 1698752 w 2015813"/>
                <a:gd name="connsiteY40" fmla="*/ 1177269 h 3566901"/>
                <a:gd name="connsiteX41" fmla="*/ 1596453 w 2015813"/>
                <a:gd name="connsiteY41" fmla="*/ 1353703 h 3566901"/>
                <a:gd name="connsiteX42" fmla="*/ 1487424 w 2015813"/>
                <a:gd name="connsiteY42" fmla="*/ 1518645 h 3566901"/>
                <a:gd name="connsiteX43" fmla="*/ 1307211 w 2015813"/>
                <a:gd name="connsiteY43" fmla="*/ 1782805 h 3566901"/>
                <a:gd name="connsiteX44" fmla="*/ 1177861 w 2015813"/>
                <a:gd name="connsiteY44" fmla="*/ 1961621 h 3566901"/>
                <a:gd name="connsiteX45" fmla="*/ 995680 w 2015813"/>
                <a:gd name="connsiteY45" fmla="*/ 2201397 h 3566901"/>
                <a:gd name="connsiteX46" fmla="*/ 833120 w 2015813"/>
                <a:gd name="connsiteY46" fmla="*/ 2412725 h 3566901"/>
                <a:gd name="connsiteX47" fmla="*/ 483616 w 2015813"/>
                <a:gd name="connsiteY47" fmla="*/ 2867893 h 3566901"/>
                <a:gd name="connsiteX48" fmla="*/ 250984 w 2015813"/>
                <a:gd name="connsiteY48" fmla="*/ 3180821 h 3566901"/>
                <a:gd name="connsiteX49" fmla="*/ 0 w 2015813"/>
                <a:gd name="connsiteY49" fmla="*/ 3566901 h 3566901"/>
                <a:gd name="connsiteX0" fmla="*/ 651500 w 2065841"/>
                <a:gd name="connsiteY0" fmla="*/ 510773 h 3650283"/>
                <a:gd name="connsiteX1" fmla="*/ 728716 w 2065841"/>
                <a:gd name="connsiteY1" fmla="*/ 648949 h 3650283"/>
                <a:gd name="connsiteX2" fmla="*/ 783930 w 2065841"/>
                <a:gd name="connsiteY2" fmla="*/ 756296 h 3650283"/>
                <a:gd name="connsiteX3" fmla="*/ 826252 w 2065841"/>
                <a:gd name="connsiteY3" fmla="*/ 856213 h 3650283"/>
                <a:gd name="connsiteX4" fmla="*/ 838444 w 2065841"/>
                <a:gd name="connsiteY4" fmla="*/ 970005 h 3650283"/>
                <a:gd name="connsiteX5" fmla="*/ 811394 w 2065841"/>
                <a:gd name="connsiteY5" fmla="*/ 1040490 h 3650283"/>
                <a:gd name="connsiteX6" fmla="*/ 761640 w 2065841"/>
                <a:gd name="connsiteY6" fmla="*/ 1082115 h 3650283"/>
                <a:gd name="connsiteX7" fmla="*/ 700268 w 2065841"/>
                <a:gd name="connsiteY7" fmla="*/ 1104117 h 3650283"/>
                <a:gd name="connsiteX8" fmla="*/ 631180 w 2065841"/>
                <a:gd name="connsiteY8" fmla="*/ 1100053 h 3650283"/>
                <a:gd name="connsiteX9" fmla="*/ 578348 w 2065841"/>
                <a:gd name="connsiteY9" fmla="*/ 1075669 h 3650283"/>
                <a:gd name="connsiteX10" fmla="*/ 525516 w 2065841"/>
                <a:gd name="connsiteY10" fmla="*/ 1010645 h 3650283"/>
                <a:gd name="connsiteX11" fmla="*/ 509260 w 2065841"/>
                <a:gd name="connsiteY11" fmla="*/ 949685 h 3650283"/>
                <a:gd name="connsiteX12" fmla="*/ 513324 w 2065841"/>
                <a:gd name="connsiteY12" fmla="*/ 864341 h 3650283"/>
                <a:gd name="connsiteX13" fmla="*/ 541772 w 2065841"/>
                <a:gd name="connsiteY13" fmla="*/ 783061 h 3650283"/>
                <a:gd name="connsiteX14" fmla="*/ 578348 w 2065841"/>
                <a:gd name="connsiteY14" fmla="*/ 730229 h 3650283"/>
                <a:gd name="connsiteX15" fmla="*/ 635244 w 2065841"/>
                <a:gd name="connsiteY15" fmla="*/ 665205 h 3650283"/>
                <a:gd name="connsiteX16" fmla="*/ 688076 w 2065841"/>
                <a:gd name="connsiteY16" fmla="*/ 600181 h 3650283"/>
                <a:gd name="connsiteX17" fmla="*/ 769356 w 2065841"/>
                <a:gd name="connsiteY17" fmla="*/ 522965 h 3650283"/>
                <a:gd name="connsiteX18" fmla="*/ 870956 w 2065841"/>
                <a:gd name="connsiteY18" fmla="*/ 437621 h 3650283"/>
                <a:gd name="connsiteX19" fmla="*/ 984748 w 2065841"/>
                <a:gd name="connsiteY19" fmla="*/ 352277 h 3650283"/>
                <a:gd name="connsiteX20" fmla="*/ 1112415 w 2065841"/>
                <a:gd name="connsiteY20" fmla="*/ 263567 h 3650283"/>
                <a:gd name="connsiteX21" fmla="*/ 1285484 w 2065841"/>
                <a:gd name="connsiteY21" fmla="*/ 157205 h 3650283"/>
                <a:gd name="connsiteX22" fmla="*/ 1425343 w 2065841"/>
                <a:gd name="connsiteY22" fmla="*/ 85736 h 3650283"/>
                <a:gd name="connsiteX23" fmla="*/ 1536754 w 2065841"/>
                <a:gd name="connsiteY23" fmla="*/ 37952 h 3650283"/>
                <a:gd name="connsiteX24" fmla="*/ 1628543 w 2065841"/>
                <a:gd name="connsiteY24" fmla="*/ 11187 h 3650283"/>
                <a:gd name="connsiteX25" fmla="*/ 1702394 w 2065841"/>
                <a:gd name="connsiteY25" fmla="*/ 1375 h 3650283"/>
                <a:gd name="connsiteX26" fmla="*/ 1771196 w 2065841"/>
                <a:gd name="connsiteY26" fmla="*/ 1090 h 3650283"/>
                <a:gd name="connsiteX27" fmla="*/ 1830060 w 2065841"/>
                <a:gd name="connsiteY27" fmla="*/ 10901 h 3650283"/>
                <a:gd name="connsiteX28" fmla="*/ 1905308 w 2065841"/>
                <a:gd name="connsiteY28" fmla="*/ 41031 h 3650283"/>
                <a:gd name="connsiteX29" fmla="*/ 1968236 w 2065841"/>
                <a:gd name="connsiteY29" fmla="*/ 96245 h 3650283"/>
                <a:gd name="connsiteX30" fmla="*/ 2005511 w 2065841"/>
                <a:gd name="connsiteY30" fmla="*/ 144314 h 3650283"/>
                <a:gd name="connsiteX31" fmla="*/ 2042784 w 2065841"/>
                <a:gd name="connsiteY31" fmla="*/ 214101 h 3650283"/>
                <a:gd name="connsiteX32" fmla="*/ 2056660 w 2065841"/>
                <a:gd name="connsiteY32" fmla="*/ 276744 h 3650283"/>
                <a:gd name="connsiteX33" fmla="*/ 2065772 w 2065841"/>
                <a:gd name="connsiteY33" fmla="*/ 352277 h 3650283"/>
                <a:gd name="connsiteX34" fmla="*/ 2060025 w 2065841"/>
                <a:gd name="connsiteY34" fmla="*/ 430191 h 3650283"/>
                <a:gd name="connsiteX35" fmla="*/ 2045452 w 2065841"/>
                <a:gd name="connsiteY35" fmla="*/ 502645 h 3650283"/>
                <a:gd name="connsiteX36" fmla="*/ 2012940 w 2065841"/>
                <a:gd name="connsiteY36" fmla="*/ 612373 h 3650283"/>
                <a:gd name="connsiteX37" fmla="*/ 1960108 w 2065841"/>
                <a:gd name="connsiteY37" fmla="*/ 754613 h 3650283"/>
                <a:gd name="connsiteX38" fmla="*/ 1903212 w 2065841"/>
                <a:gd name="connsiteY38" fmla="*/ 887740 h 3650283"/>
                <a:gd name="connsiteX39" fmla="*/ 1830060 w 2065841"/>
                <a:gd name="connsiteY39" fmla="*/ 1035029 h 3650283"/>
                <a:gd name="connsiteX40" fmla="*/ 1748780 w 2065841"/>
                <a:gd name="connsiteY40" fmla="*/ 1177269 h 3650283"/>
                <a:gd name="connsiteX41" fmla="*/ 1646481 w 2065841"/>
                <a:gd name="connsiteY41" fmla="*/ 1353703 h 3650283"/>
                <a:gd name="connsiteX42" fmla="*/ 1537452 w 2065841"/>
                <a:gd name="connsiteY42" fmla="*/ 1518645 h 3650283"/>
                <a:gd name="connsiteX43" fmla="*/ 1357239 w 2065841"/>
                <a:gd name="connsiteY43" fmla="*/ 1782805 h 3650283"/>
                <a:gd name="connsiteX44" fmla="*/ 1227889 w 2065841"/>
                <a:gd name="connsiteY44" fmla="*/ 1961621 h 3650283"/>
                <a:gd name="connsiteX45" fmla="*/ 1045708 w 2065841"/>
                <a:gd name="connsiteY45" fmla="*/ 2201397 h 3650283"/>
                <a:gd name="connsiteX46" fmla="*/ 883148 w 2065841"/>
                <a:gd name="connsiteY46" fmla="*/ 2412725 h 3650283"/>
                <a:gd name="connsiteX47" fmla="*/ 533644 w 2065841"/>
                <a:gd name="connsiteY47" fmla="*/ 2867893 h 3650283"/>
                <a:gd name="connsiteX48" fmla="*/ 301012 w 2065841"/>
                <a:gd name="connsiteY48" fmla="*/ 3180821 h 3650283"/>
                <a:gd name="connsiteX49" fmla="*/ 0 w 2065841"/>
                <a:gd name="connsiteY49" fmla="*/ 3650283 h 3650283"/>
                <a:gd name="connsiteX0" fmla="*/ 651500 w 2065841"/>
                <a:gd name="connsiteY0" fmla="*/ 510773 h 3650283"/>
                <a:gd name="connsiteX1" fmla="*/ 728716 w 2065841"/>
                <a:gd name="connsiteY1" fmla="*/ 648949 h 3650283"/>
                <a:gd name="connsiteX2" fmla="*/ 783930 w 2065841"/>
                <a:gd name="connsiteY2" fmla="*/ 756296 h 3650283"/>
                <a:gd name="connsiteX3" fmla="*/ 826252 w 2065841"/>
                <a:gd name="connsiteY3" fmla="*/ 856213 h 3650283"/>
                <a:gd name="connsiteX4" fmla="*/ 838444 w 2065841"/>
                <a:gd name="connsiteY4" fmla="*/ 970005 h 3650283"/>
                <a:gd name="connsiteX5" fmla="*/ 811394 w 2065841"/>
                <a:gd name="connsiteY5" fmla="*/ 1040490 h 3650283"/>
                <a:gd name="connsiteX6" fmla="*/ 761640 w 2065841"/>
                <a:gd name="connsiteY6" fmla="*/ 1082115 h 3650283"/>
                <a:gd name="connsiteX7" fmla="*/ 700268 w 2065841"/>
                <a:gd name="connsiteY7" fmla="*/ 1104117 h 3650283"/>
                <a:gd name="connsiteX8" fmla="*/ 631180 w 2065841"/>
                <a:gd name="connsiteY8" fmla="*/ 1100053 h 3650283"/>
                <a:gd name="connsiteX9" fmla="*/ 578348 w 2065841"/>
                <a:gd name="connsiteY9" fmla="*/ 1075669 h 3650283"/>
                <a:gd name="connsiteX10" fmla="*/ 525516 w 2065841"/>
                <a:gd name="connsiteY10" fmla="*/ 1010645 h 3650283"/>
                <a:gd name="connsiteX11" fmla="*/ 509260 w 2065841"/>
                <a:gd name="connsiteY11" fmla="*/ 949685 h 3650283"/>
                <a:gd name="connsiteX12" fmla="*/ 513324 w 2065841"/>
                <a:gd name="connsiteY12" fmla="*/ 864341 h 3650283"/>
                <a:gd name="connsiteX13" fmla="*/ 541772 w 2065841"/>
                <a:gd name="connsiteY13" fmla="*/ 783061 h 3650283"/>
                <a:gd name="connsiteX14" fmla="*/ 578348 w 2065841"/>
                <a:gd name="connsiteY14" fmla="*/ 730229 h 3650283"/>
                <a:gd name="connsiteX15" fmla="*/ 635244 w 2065841"/>
                <a:gd name="connsiteY15" fmla="*/ 665205 h 3650283"/>
                <a:gd name="connsiteX16" fmla="*/ 688076 w 2065841"/>
                <a:gd name="connsiteY16" fmla="*/ 600181 h 3650283"/>
                <a:gd name="connsiteX17" fmla="*/ 769356 w 2065841"/>
                <a:gd name="connsiteY17" fmla="*/ 522965 h 3650283"/>
                <a:gd name="connsiteX18" fmla="*/ 870956 w 2065841"/>
                <a:gd name="connsiteY18" fmla="*/ 437621 h 3650283"/>
                <a:gd name="connsiteX19" fmla="*/ 984748 w 2065841"/>
                <a:gd name="connsiteY19" fmla="*/ 352277 h 3650283"/>
                <a:gd name="connsiteX20" fmla="*/ 1112415 w 2065841"/>
                <a:gd name="connsiteY20" fmla="*/ 263567 h 3650283"/>
                <a:gd name="connsiteX21" fmla="*/ 1285484 w 2065841"/>
                <a:gd name="connsiteY21" fmla="*/ 157205 h 3650283"/>
                <a:gd name="connsiteX22" fmla="*/ 1425343 w 2065841"/>
                <a:gd name="connsiteY22" fmla="*/ 85736 h 3650283"/>
                <a:gd name="connsiteX23" fmla="*/ 1536754 w 2065841"/>
                <a:gd name="connsiteY23" fmla="*/ 37952 h 3650283"/>
                <a:gd name="connsiteX24" fmla="*/ 1628543 w 2065841"/>
                <a:gd name="connsiteY24" fmla="*/ 11187 h 3650283"/>
                <a:gd name="connsiteX25" fmla="*/ 1702394 w 2065841"/>
                <a:gd name="connsiteY25" fmla="*/ 1375 h 3650283"/>
                <a:gd name="connsiteX26" fmla="*/ 1771196 w 2065841"/>
                <a:gd name="connsiteY26" fmla="*/ 1090 h 3650283"/>
                <a:gd name="connsiteX27" fmla="*/ 1830060 w 2065841"/>
                <a:gd name="connsiteY27" fmla="*/ 10901 h 3650283"/>
                <a:gd name="connsiteX28" fmla="*/ 1905308 w 2065841"/>
                <a:gd name="connsiteY28" fmla="*/ 41031 h 3650283"/>
                <a:gd name="connsiteX29" fmla="*/ 1968236 w 2065841"/>
                <a:gd name="connsiteY29" fmla="*/ 96245 h 3650283"/>
                <a:gd name="connsiteX30" fmla="*/ 2005511 w 2065841"/>
                <a:gd name="connsiteY30" fmla="*/ 144314 h 3650283"/>
                <a:gd name="connsiteX31" fmla="*/ 2042784 w 2065841"/>
                <a:gd name="connsiteY31" fmla="*/ 214101 h 3650283"/>
                <a:gd name="connsiteX32" fmla="*/ 2056660 w 2065841"/>
                <a:gd name="connsiteY32" fmla="*/ 276744 h 3650283"/>
                <a:gd name="connsiteX33" fmla="*/ 2065772 w 2065841"/>
                <a:gd name="connsiteY33" fmla="*/ 352277 h 3650283"/>
                <a:gd name="connsiteX34" fmla="*/ 2060025 w 2065841"/>
                <a:gd name="connsiteY34" fmla="*/ 430191 h 3650283"/>
                <a:gd name="connsiteX35" fmla="*/ 2045452 w 2065841"/>
                <a:gd name="connsiteY35" fmla="*/ 502645 h 3650283"/>
                <a:gd name="connsiteX36" fmla="*/ 2012940 w 2065841"/>
                <a:gd name="connsiteY36" fmla="*/ 612373 h 3650283"/>
                <a:gd name="connsiteX37" fmla="*/ 1960108 w 2065841"/>
                <a:gd name="connsiteY37" fmla="*/ 754613 h 3650283"/>
                <a:gd name="connsiteX38" fmla="*/ 1903212 w 2065841"/>
                <a:gd name="connsiteY38" fmla="*/ 887740 h 3650283"/>
                <a:gd name="connsiteX39" fmla="*/ 1830060 w 2065841"/>
                <a:gd name="connsiteY39" fmla="*/ 1035029 h 3650283"/>
                <a:gd name="connsiteX40" fmla="*/ 1748780 w 2065841"/>
                <a:gd name="connsiteY40" fmla="*/ 1177269 h 3650283"/>
                <a:gd name="connsiteX41" fmla="*/ 1646481 w 2065841"/>
                <a:gd name="connsiteY41" fmla="*/ 1353703 h 3650283"/>
                <a:gd name="connsiteX42" fmla="*/ 1537452 w 2065841"/>
                <a:gd name="connsiteY42" fmla="*/ 1518645 h 3650283"/>
                <a:gd name="connsiteX43" fmla="*/ 1357239 w 2065841"/>
                <a:gd name="connsiteY43" fmla="*/ 1782805 h 3650283"/>
                <a:gd name="connsiteX44" fmla="*/ 1227889 w 2065841"/>
                <a:gd name="connsiteY44" fmla="*/ 1961621 h 3650283"/>
                <a:gd name="connsiteX45" fmla="*/ 1045708 w 2065841"/>
                <a:gd name="connsiteY45" fmla="*/ 2201397 h 3650283"/>
                <a:gd name="connsiteX46" fmla="*/ 883148 w 2065841"/>
                <a:gd name="connsiteY46" fmla="*/ 2412725 h 3650283"/>
                <a:gd name="connsiteX47" fmla="*/ 533644 w 2065841"/>
                <a:gd name="connsiteY47" fmla="*/ 2867893 h 3650283"/>
                <a:gd name="connsiteX48" fmla="*/ 301012 w 2065841"/>
                <a:gd name="connsiteY48" fmla="*/ 3180821 h 3650283"/>
                <a:gd name="connsiteX49" fmla="*/ 0 w 2065841"/>
                <a:gd name="connsiteY49" fmla="*/ 3650283 h 3650283"/>
                <a:gd name="connsiteX0" fmla="*/ 651500 w 2065841"/>
                <a:gd name="connsiteY0" fmla="*/ 510773 h 3650283"/>
                <a:gd name="connsiteX1" fmla="*/ 728716 w 2065841"/>
                <a:gd name="connsiteY1" fmla="*/ 648949 h 3650283"/>
                <a:gd name="connsiteX2" fmla="*/ 783930 w 2065841"/>
                <a:gd name="connsiteY2" fmla="*/ 756296 h 3650283"/>
                <a:gd name="connsiteX3" fmla="*/ 826252 w 2065841"/>
                <a:gd name="connsiteY3" fmla="*/ 856213 h 3650283"/>
                <a:gd name="connsiteX4" fmla="*/ 838444 w 2065841"/>
                <a:gd name="connsiteY4" fmla="*/ 970005 h 3650283"/>
                <a:gd name="connsiteX5" fmla="*/ 811394 w 2065841"/>
                <a:gd name="connsiteY5" fmla="*/ 1040490 h 3650283"/>
                <a:gd name="connsiteX6" fmla="*/ 761640 w 2065841"/>
                <a:gd name="connsiteY6" fmla="*/ 1082115 h 3650283"/>
                <a:gd name="connsiteX7" fmla="*/ 700268 w 2065841"/>
                <a:gd name="connsiteY7" fmla="*/ 1104117 h 3650283"/>
                <a:gd name="connsiteX8" fmla="*/ 631180 w 2065841"/>
                <a:gd name="connsiteY8" fmla="*/ 1100053 h 3650283"/>
                <a:gd name="connsiteX9" fmla="*/ 578348 w 2065841"/>
                <a:gd name="connsiteY9" fmla="*/ 1075669 h 3650283"/>
                <a:gd name="connsiteX10" fmla="*/ 525516 w 2065841"/>
                <a:gd name="connsiteY10" fmla="*/ 1010645 h 3650283"/>
                <a:gd name="connsiteX11" fmla="*/ 509260 w 2065841"/>
                <a:gd name="connsiteY11" fmla="*/ 949685 h 3650283"/>
                <a:gd name="connsiteX12" fmla="*/ 513324 w 2065841"/>
                <a:gd name="connsiteY12" fmla="*/ 864341 h 3650283"/>
                <a:gd name="connsiteX13" fmla="*/ 541772 w 2065841"/>
                <a:gd name="connsiteY13" fmla="*/ 783061 h 3650283"/>
                <a:gd name="connsiteX14" fmla="*/ 578348 w 2065841"/>
                <a:gd name="connsiteY14" fmla="*/ 730229 h 3650283"/>
                <a:gd name="connsiteX15" fmla="*/ 635244 w 2065841"/>
                <a:gd name="connsiteY15" fmla="*/ 665205 h 3650283"/>
                <a:gd name="connsiteX16" fmla="*/ 688076 w 2065841"/>
                <a:gd name="connsiteY16" fmla="*/ 600181 h 3650283"/>
                <a:gd name="connsiteX17" fmla="*/ 769356 w 2065841"/>
                <a:gd name="connsiteY17" fmla="*/ 522965 h 3650283"/>
                <a:gd name="connsiteX18" fmla="*/ 870956 w 2065841"/>
                <a:gd name="connsiteY18" fmla="*/ 437621 h 3650283"/>
                <a:gd name="connsiteX19" fmla="*/ 984748 w 2065841"/>
                <a:gd name="connsiteY19" fmla="*/ 352277 h 3650283"/>
                <a:gd name="connsiteX20" fmla="*/ 1112415 w 2065841"/>
                <a:gd name="connsiteY20" fmla="*/ 263567 h 3650283"/>
                <a:gd name="connsiteX21" fmla="*/ 1285484 w 2065841"/>
                <a:gd name="connsiteY21" fmla="*/ 157205 h 3650283"/>
                <a:gd name="connsiteX22" fmla="*/ 1425343 w 2065841"/>
                <a:gd name="connsiteY22" fmla="*/ 85736 h 3650283"/>
                <a:gd name="connsiteX23" fmla="*/ 1536754 w 2065841"/>
                <a:gd name="connsiteY23" fmla="*/ 37952 h 3650283"/>
                <a:gd name="connsiteX24" fmla="*/ 1628543 w 2065841"/>
                <a:gd name="connsiteY24" fmla="*/ 11187 h 3650283"/>
                <a:gd name="connsiteX25" fmla="*/ 1702394 w 2065841"/>
                <a:gd name="connsiteY25" fmla="*/ 1375 h 3650283"/>
                <a:gd name="connsiteX26" fmla="*/ 1771196 w 2065841"/>
                <a:gd name="connsiteY26" fmla="*/ 1090 h 3650283"/>
                <a:gd name="connsiteX27" fmla="*/ 1830060 w 2065841"/>
                <a:gd name="connsiteY27" fmla="*/ 10901 h 3650283"/>
                <a:gd name="connsiteX28" fmla="*/ 1905308 w 2065841"/>
                <a:gd name="connsiteY28" fmla="*/ 41031 h 3650283"/>
                <a:gd name="connsiteX29" fmla="*/ 1968236 w 2065841"/>
                <a:gd name="connsiteY29" fmla="*/ 96245 h 3650283"/>
                <a:gd name="connsiteX30" fmla="*/ 2005511 w 2065841"/>
                <a:gd name="connsiteY30" fmla="*/ 144314 h 3650283"/>
                <a:gd name="connsiteX31" fmla="*/ 2042784 w 2065841"/>
                <a:gd name="connsiteY31" fmla="*/ 214101 h 3650283"/>
                <a:gd name="connsiteX32" fmla="*/ 2056660 w 2065841"/>
                <a:gd name="connsiteY32" fmla="*/ 276744 h 3650283"/>
                <a:gd name="connsiteX33" fmla="*/ 2065772 w 2065841"/>
                <a:gd name="connsiteY33" fmla="*/ 352277 h 3650283"/>
                <a:gd name="connsiteX34" fmla="*/ 2060025 w 2065841"/>
                <a:gd name="connsiteY34" fmla="*/ 430191 h 3650283"/>
                <a:gd name="connsiteX35" fmla="*/ 2045452 w 2065841"/>
                <a:gd name="connsiteY35" fmla="*/ 502645 h 3650283"/>
                <a:gd name="connsiteX36" fmla="*/ 2012940 w 2065841"/>
                <a:gd name="connsiteY36" fmla="*/ 612373 h 3650283"/>
                <a:gd name="connsiteX37" fmla="*/ 1960108 w 2065841"/>
                <a:gd name="connsiteY37" fmla="*/ 754613 h 3650283"/>
                <a:gd name="connsiteX38" fmla="*/ 1903212 w 2065841"/>
                <a:gd name="connsiteY38" fmla="*/ 887740 h 3650283"/>
                <a:gd name="connsiteX39" fmla="*/ 1830060 w 2065841"/>
                <a:gd name="connsiteY39" fmla="*/ 1035029 h 3650283"/>
                <a:gd name="connsiteX40" fmla="*/ 1748780 w 2065841"/>
                <a:gd name="connsiteY40" fmla="*/ 1177269 h 3650283"/>
                <a:gd name="connsiteX41" fmla="*/ 1646481 w 2065841"/>
                <a:gd name="connsiteY41" fmla="*/ 1353703 h 3650283"/>
                <a:gd name="connsiteX42" fmla="*/ 1537452 w 2065841"/>
                <a:gd name="connsiteY42" fmla="*/ 1518645 h 3650283"/>
                <a:gd name="connsiteX43" fmla="*/ 1357239 w 2065841"/>
                <a:gd name="connsiteY43" fmla="*/ 1782805 h 3650283"/>
                <a:gd name="connsiteX44" fmla="*/ 1227889 w 2065841"/>
                <a:gd name="connsiteY44" fmla="*/ 1961621 h 3650283"/>
                <a:gd name="connsiteX45" fmla="*/ 1045708 w 2065841"/>
                <a:gd name="connsiteY45" fmla="*/ 2201397 h 3650283"/>
                <a:gd name="connsiteX46" fmla="*/ 883148 w 2065841"/>
                <a:gd name="connsiteY46" fmla="*/ 2412725 h 3650283"/>
                <a:gd name="connsiteX47" fmla="*/ 533644 w 2065841"/>
                <a:gd name="connsiteY47" fmla="*/ 2867893 h 3650283"/>
                <a:gd name="connsiteX48" fmla="*/ 301012 w 2065841"/>
                <a:gd name="connsiteY48" fmla="*/ 3180821 h 3650283"/>
                <a:gd name="connsiteX49" fmla="*/ 0 w 2065841"/>
                <a:gd name="connsiteY49" fmla="*/ 3650283 h 3650283"/>
                <a:gd name="connsiteX0" fmla="*/ 640384 w 2054725"/>
                <a:gd name="connsiteY0" fmla="*/ 510773 h 3666960"/>
                <a:gd name="connsiteX1" fmla="*/ 717600 w 2054725"/>
                <a:gd name="connsiteY1" fmla="*/ 648949 h 3666960"/>
                <a:gd name="connsiteX2" fmla="*/ 772814 w 2054725"/>
                <a:gd name="connsiteY2" fmla="*/ 756296 h 3666960"/>
                <a:gd name="connsiteX3" fmla="*/ 815136 w 2054725"/>
                <a:gd name="connsiteY3" fmla="*/ 856213 h 3666960"/>
                <a:gd name="connsiteX4" fmla="*/ 827328 w 2054725"/>
                <a:gd name="connsiteY4" fmla="*/ 970005 h 3666960"/>
                <a:gd name="connsiteX5" fmla="*/ 800278 w 2054725"/>
                <a:gd name="connsiteY5" fmla="*/ 1040490 h 3666960"/>
                <a:gd name="connsiteX6" fmla="*/ 750524 w 2054725"/>
                <a:gd name="connsiteY6" fmla="*/ 1082115 h 3666960"/>
                <a:gd name="connsiteX7" fmla="*/ 689152 w 2054725"/>
                <a:gd name="connsiteY7" fmla="*/ 1104117 h 3666960"/>
                <a:gd name="connsiteX8" fmla="*/ 620064 w 2054725"/>
                <a:gd name="connsiteY8" fmla="*/ 1100053 h 3666960"/>
                <a:gd name="connsiteX9" fmla="*/ 567232 w 2054725"/>
                <a:gd name="connsiteY9" fmla="*/ 1075669 h 3666960"/>
                <a:gd name="connsiteX10" fmla="*/ 514400 w 2054725"/>
                <a:gd name="connsiteY10" fmla="*/ 1010645 h 3666960"/>
                <a:gd name="connsiteX11" fmla="*/ 498144 w 2054725"/>
                <a:gd name="connsiteY11" fmla="*/ 949685 h 3666960"/>
                <a:gd name="connsiteX12" fmla="*/ 502208 w 2054725"/>
                <a:gd name="connsiteY12" fmla="*/ 864341 h 3666960"/>
                <a:gd name="connsiteX13" fmla="*/ 530656 w 2054725"/>
                <a:gd name="connsiteY13" fmla="*/ 783061 h 3666960"/>
                <a:gd name="connsiteX14" fmla="*/ 567232 w 2054725"/>
                <a:gd name="connsiteY14" fmla="*/ 730229 h 3666960"/>
                <a:gd name="connsiteX15" fmla="*/ 624128 w 2054725"/>
                <a:gd name="connsiteY15" fmla="*/ 665205 h 3666960"/>
                <a:gd name="connsiteX16" fmla="*/ 676960 w 2054725"/>
                <a:gd name="connsiteY16" fmla="*/ 600181 h 3666960"/>
                <a:gd name="connsiteX17" fmla="*/ 758240 w 2054725"/>
                <a:gd name="connsiteY17" fmla="*/ 522965 h 3666960"/>
                <a:gd name="connsiteX18" fmla="*/ 859840 w 2054725"/>
                <a:gd name="connsiteY18" fmla="*/ 437621 h 3666960"/>
                <a:gd name="connsiteX19" fmla="*/ 973632 w 2054725"/>
                <a:gd name="connsiteY19" fmla="*/ 352277 h 3666960"/>
                <a:gd name="connsiteX20" fmla="*/ 1101299 w 2054725"/>
                <a:gd name="connsiteY20" fmla="*/ 263567 h 3666960"/>
                <a:gd name="connsiteX21" fmla="*/ 1274368 w 2054725"/>
                <a:gd name="connsiteY21" fmla="*/ 157205 h 3666960"/>
                <a:gd name="connsiteX22" fmla="*/ 1414227 w 2054725"/>
                <a:gd name="connsiteY22" fmla="*/ 85736 h 3666960"/>
                <a:gd name="connsiteX23" fmla="*/ 1525638 w 2054725"/>
                <a:gd name="connsiteY23" fmla="*/ 37952 h 3666960"/>
                <a:gd name="connsiteX24" fmla="*/ 1617427 w 2054725"/>
                <a:gd name="connsiteY24" fmla="*/ 11187 h 3666960"/>
                <a:gd name="connsiteX25" fmla="*/ 1691278 w 2054725"/>
                <a:gd name="connsiteY25" fmla="*/ 1375 h 3666960"/>
                <a:gd name="connsiteX26" fmla="*/ 1760080 w 2054725"/>
                <a:gd name="connsiteY26" fmla="*/ 1090 h 3666960"/>
                <a:gd name="connsiteX27" fmla="*/ 1818944 w 2054725"/>
                <a:gd name="connsiteY27" fmla="*/ 10901 h 3666960"/>
                <a:gd name="connsiteX28" fmla="*/ 1894192 w 2054725"/>
                <a:gd name="connsiteY28" fmla="*/ 41031 h 3666960"/>
                <a:gd name="connsiteX29" fmla="*/ 1957120 w 2054725"/>
                <a:gd name="connsiteY29" fmla="*/ 96245 h 3666960"/>
                <a:gd name="connsiteX30" fmla="*/ 1994395 w 2054725"/>
                <a:gd name="connsiteY30" fmla="*/ 144314 h 3666960"/>
                <a:gd name="connsiteX31" fmla="*/ 2031668 w 2054725"/>
                <a:gd name="connsiteY31" fmla="*/ 214101 h 3666960"/>
                <a:gd name="connsiteX32" fmla="*/ 2045544 w 2054725"/>
                <a:gd name="connsiteY32" fmla="*/ 276744 h 3666960"/>
                <a:gd name="connsiteX33" fmla="*/ 2054656 w 2054725"/>
                <a:gd name="connsiteY33" fmla="*/ 352277 h 3666960"/>
                <a:gd name="connsiteX34" fmla="*/ 2048909 w 2054725"/>
                <a:gd name="connsiteY34" fmla="*/ 430191 h 3666960"/>
                <a:gd name="connsiteX35" fmla="*/ 2034336 w 2054725"/>
                <a:gd name="connsiteY35" fmla="*/ 502645 h 3666960"/>
                <a:gd name="connsiteX36" fmla="*/ 2001824 w 2054725"/>
                <a:gd name="connsiteY36" fmla="*/ 612373 h 3666960"/>
                <a:gd name="connsiteX37" fmla="*/ 1948992 w 2054725"/>
                <a:gd name="connsiteY37" fmla="*/ 754613 h 3666960"/>
                <a:gd name="connsiteX38" fmla="*/ 1892096 w 2054725"/>
                <a:gd name="connsiteY38" fmla="*/ 887740 h 3666960"/>
                <a:gd name="connsiteX39" fmla="*/ 1818944 w 2054725"/>
                <a:gd name="connsiteY39" fmla="*/ 1035029 h 3666960"/>
                <a:gd name="connsiteX40" fmla="*/ 1737664 w 2054725"/>
                <a:gd name="connsiteY40" fmla="*/ 1177269 h 3666960"/>
                <a:gd name="connsiteX41" fmla="*/ 1635365 w 2054725"/>
                <a:gd name="connsiteY41" fmla="*/ 1353703 h 3666960"/>
                <a:gd name="connsiteX42" fmla="*/ 1526336 w 2054725"/>
                <a:gd name="connsiteY42" fmla="*/ 1518645 h 3666960"/>
                <a:gd name="connsiteX43" fmla="*/ 1346123 w 2054725"/>
                <a:gd name="connsiteY43" fmla="*/ 1782805 h 3666960"/>
                <a:gd name="connsiteX44" fmla="*/ 1216773 w 2054725"/>
                <a:gd name="connsiteY44" fmla="*/ 1961621 h 3666960"/>
                <a:gd name="connsiteX45" fmla="*/ 1034592 w 2054725"/>
                <a:gd name="connsiteY45" fmla="*/ 2201397 h 3666960"/>
                <a:gd name="connsiteX46" fmla="*/ 872032 w 2054725"/>
                <a:gd name="connsiteY46" fmla="*/ 2412725 h 3666960"/>
                <a:gd name="connsiteX47" fmla="*/ 522528 w 2054725"/>
                <a:gd name="connsiteY47" fmla="*/ 2867893 h 3666960"/>
                <a:gd name="connsiteX48" fmla="*/ 289896 w 2054725"/>
                <a:gd name="connsiteY48" fmla="*/ 3180821 h 3666960"/>
                <a:gd name="connsiteX49" fmla="*/ 0 w 2054725"/>
                <a:gd name="connsiteY49" fmla="*/ 3666960 h 3666960"/>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79477 w 2088079"/>
                <a:gd name="connsiteY43" fmla="*/ 1782805 h 3661402"/>
                <a:gd name="connsiteX44" fmla="*/ 1250127 w 2088079"/>
                <a:gd name="connsiteY44" fmla="*/ 1961621 h 3661402"/>
                <a:gd name="connsiteX45" fmla="*/ 1067946 w 2088079"/>
                <a:gd name="connsiteY45" fmla="*/ 2201397 h 3661402"/>
                <a:gd name="connsiteX46" fmla="*/ 905386 w 2088079"/>
                <a:gd name="connsiteY46" fmla="*/ 2412725 h 3661402"/>
                <a:gd name="connsiteX47" fmla="*/ 555882 w 2088079"/>
                <a:gd name="connsiteY47" fmla="*/ 2867893 h 3661402"/>
                <a:gd name="connsiteX48" fmla="*/ 323250 w 2088079"/>
                <a:gd name="connsiteY48" fmla="*/ 3180821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79477 w 2088079"/>
                <a:gd name="connsiteY43" fmla="*/ 1782805 h 3661402"/>
                <a:gd name="connsiteX44" fmla="*/ 1250127 w 2088079"/>
                <a:gd name="connsiteY44" fmla="*/ 1961621 h 3661402"/>
                <a:gd name="connsiteX45" fmla="*/ 1067946 w 2088079"/>
                <a:gd name="connsiteY45" fmla="*/ 2201397 h 3661402"/>
                <a:gd name="connsiteX46" fmla="*/ 905386 w 2088079"/>
                <a:gd name="connsiteY46" fmla="*/ 2412725 h 3661402"/>
                <a:gd name="connsiteX47" fmla="*/ 555882 w 2088079"/>
                <a:gd name="connsiteY47" fmla="*/ 2867893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79477 w 2088079"/>
                <a:gd name="connsiteY43" fmla="*/ 1782805 h 3661402"/>
                <a:gd name="connsiteX44" fmla="*/ 1250127 w 2088079"/>
                <a:gd name="connsiteY44" fmla="*/ 1961621 h 3661402"/>
                <a:gd name="connsiteX45" fmla="*/ 1067946 w 2088079"/>
                <a:gd name="connsiteY45" fmla="*/ 2201397 h 3661402"/>
                <a:gd name="connsiteX46" fmla="*/ 905386 w 2088079"/>
                <a:gd name="connsiteY46" fmla="*/ 2412725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79477 w 2088079"/>
                <a:gd name="connsiteY43" fmla="*/ 1782805 h 3661402"/>
                <a:gd name="connsiteX44" fmla="*/ 1250127 w 2088079"/>
                <a:gd name="connsiteY44" fmla="*/ 1961621 h 3661402"/>
                <a:gd name="connsiteX45" fmla="*/ 1067946 w 2088079"/>
                <a:gd name="connsiteY45" fmla="*/ 2201397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79477 w 2088079"/>
                <a:gd name="connsiteY43" fmla="*/ 1782805 h 3661402"/>
                <a:gd name="connsiteX44" fmla="*/ 1250127 w 2088079"/>
                <a:gd name="connsiteY44" fmla="*/ 1961621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79477 w 2088079"/>
                <a:gd name="connsiteY43" fmla="*/ 1782805 h 3661402"/>
                <a:gd name="connsiteX44" fmla="*/ 1266803 w 2088079"/>
                <a:gd name="connsiteY44" fmla="*/ 1933826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62800 w 2088079"/>
                <a:gd name="connsiteY43" fmla="*/ 1755012 h 3661402"/>
                <a:gd name="connsiteX44" fmla="*/ 1266803 w 2088079"/>
                <a:gd name="connsiteY44" fmla="*/ 1933826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62800 w 2088079"/>
                <a:gd name="connsiteY43" fmla="*/ 1755012 h 3661402"/>
                <a:gd name="connsiteX44" fmla="*/ 1239010 w 2088079"/>
                <a:gd name="connsiteY44" fmla="*/ 1933826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48574 w 2088079"/>
                <a:gd name="connsiteY42" fmla="*/ 1507529 h 3661402"/>
                <a:gd name="connsiteX43" fmla="*/ 1362800 w 2088079"/>
                <a:gd name="connsiteY43" fmla="*/ 1755012 h 3661402"/>
                <a:gd name="connsiteX44" fmla="*/ 1239010 w 2088079"/>
                <a:gd name="connsiteY44" fmla="*/ 1933826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52043 w 2088079"/>
                <a:gd name="connsiteY41" fmla="*/ 1348142 h 3661402"/>
                <a:gd name="connsiteX42" fmla="*/ 1548574 w 2088079"/>
                <a:gd name="connsiteY42" fmla="*/ 1507529 h 3661402"/>
                <a:gd name="connsiteX43" fmla="*/ 1362800 w 2088079"/>
                <a:gd name="connsiteY43" fmla="*/ 1755012 h 3661402"/>
                <a:gd name="connsiteX44" fmla="*/ 1239010 w 2088079"/>
                <a:gd name="connsiteY44" fmla="*/ 1933826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65456 w 2088079"/>
                <a:gd name="connsiteY40" fmla="*/ 1171710 h 3661402"/>
                <a:gd name="connsiteX41" fmla="*/ 1652043 w 2088079"/>
                <a:gd name="connsiteY41" fmla="*/ 1348142 h 3661402"/>
                <a:gd name="connsiteX42" fmla="*/ 1548574 w 2088079"/>
                <a:gd name="connsiteY42" fmla="*/ 1507529 h 3661402"/>
                <a:gd name="connsiteX43" fmla="*/ 1362800 w 2088079"/>
                <a:gd name="connsiteY43" fmla="*/ 1755012 h 3661402"/>
                <a:gd name="connsiteX44" fmla="*/ 1239010 w 2088079"/>
                <a:gd name="connsiteY44" fmla="*/ 1933826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00586 w 2088079"/>
                <a:gd name="connsiteY8" fmla="*/ 1075669 h 3661402"/>
                <a:gd name="connsiteX9" fmla="*/ 547754 w 2088079"/>
                <a:gd name="connsiteY9" fmla="*/ 1010645 h 3661402"/>
                <a:gd name="connsiteX10" fmla="*/ 531498 w 2088079"/>
                <a:gd name="connsiteY10" fmla="*/ 949685 h 3661402"/>
                <a:gd name="connsiteX11" fmla="*/ 535562 w 2088079"/>
                <a:gd name="connsiteY11" fmla="*/ 864341 h 3661402"/>
                <a:gd name="connsiteX12" fmla="*/ 564010 w 2088079"/>
                <a:gd name="connsiteY12" fmla="*/ 783061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28382 w 2088079"/>
                <a:gd name="connsiteY8" fmla="*/ 1075669 h 3661402"/>
                <a:gd name="connsiteX9" fmla="*/ 547754 w 2088079"/>
                <a:gd name="connsiteY9" fmla="*/ 1010645 h 3661402"/>
                <a:gd name="connsiteX10" fmla="*/ 531498 w 2088079"/>
                <a:gd name="connsiteY10" fmla="*/ 949685 h 3661402"/>
                <a:gd name="connsiteX11" fmla="*/ 535562 w 2088079"/>
                <a:gd name="connsiteY11" fmla="*/ 864341 h 3661402"/>
                <a:gd name="connsiteX12" fmla="*/ 564010 w 2088079"/>
                <a:gd name="connsiteY12" fmla="*/ 783061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28382 w 2088079"/>
                <a:gd name="connsiteY8" fmla="*/ 1075669 h 3661402"/>
                <a:gd name="connsiteX9" fmla="*/ 553313 w 2088079"/>
                <a:gd name="connsiteY9" fmla="*/ 993968 h 3661402"/>
                <a:gd name="connsiteX10" fmla="*/ 531498 w 2088079"/>
                <a:gd name="connsiteY10" fmla="*/ 949685 h 3661402"/>
                <a:gd name="connsiteX11" fmla="*/ 535562 w 2088079"/>
                <a:gd name="connsiteY11" fmla="*/ 864341 h 3661402"/>
                <a:gd name="connsiteX12" fmla="*/ 564010 w 2088079"/>
                <a:gd name="connsiteY12" fmla="*/ 783061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28382 w 2088079"/>
                <a:gd name="connsiteY8" fmla="*/ 1075669 h 3661402"/>
                <a:gd name="connsiteX9" fmla="*/ 553313 w 2088079"/>
                <a:gd name="connsiteY9" fmla="*/ 993968 h 3661402"/>
                <a:gd name="connsiteX10" fmla="*/ 542617 w 2088079"/>
                <a:gd name="connsiteY10" fmla="*/ 938566 h 3661402"/>
                <a:gd name="connsiteX11" fmla="*/ 535562 w 2088079"/>
                <a:gd name="connsiteY11" fmla="*/ 864341 h 3661402"/>
                <a:gd name="connsiteX12" fmla="*/ 564010 w 2088079"/>
                <a:gd name="connsiteY12" fmla="*/ 783061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28382 w 2088079"/>
                <a:gd name="connsiteY8" fmla="*/ 1075669 h 3661402"/>
                <a:gd name="connsiteX9" fmla="*/ 553313 w 2088079"/>
                <a:gd name="connsiteY9" fmla="*/ 993968 h 3661402"/>
                <a:gd name="connsiteX10" fmla="*/ 542617 w 2088079"/>
                <a:gd name="connsiteY10" fmla="*/ 938566 h 3661402"/>
                <a:gd name="connsiteX11" fmla="*/ 546681 w 2088079"/>
                <a:gd name="connsiteY11" fmla="*/ 864340 h 3661402"/>
                <a:gd name="connsiteX12" fmla="*/ 564010 w 2088079"/>
                <a:gd name="connsiteY12" fmla="*/ 783061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28382 w 2088079"/>
                <a:gd name="connsiteY8" fmla="*/ 1075669 h 3661402"/>
                <a:gd name="connsiteX9" fmla="*/ 553313 w 2088079"/>
                <a:gd name="connsiteY9" fmla="*/ 993968 h 3661402"/>
                <a:gd name="connsiteX10" fmla="*/ 542617 w 2088079"/>
                <a:gd name="connsiteY10" fmla="*/ 938566 h 3661402"/>
                <a:gd name="connsiteX11" fmla="*/ 546681 w 2088079"/>
                <a:gd name="connsiteY11" fmla="*/ 864340 h 3661402"/>
                <a:gd name="connsiteX12" fmla="*/ 575130 w 2088079"/>
                <a:gd name="connsiteY12" fmla="*/ 783062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28382 w 2088079"/>
                <a:gd name="connsiteY8" fmla="*/ 1075669 h 3661402"/>
                <a:gd name="connsiteX9" fmla="*/ 558871 w 2088079"/>
                <a:gd name="connsiteY9" fmla="*/ 993968 h 3661402"/>
                <a:gd name="connsiteX10" fmla="*/ 542617 w 2088079"/>
                <a:gd name="connsiteY10" fmla="*/ 938566 h 3661402"/>
                <a:gd name="connsiteX11" fmla="*/ 546681 w 2088079"/>
                <a:gd name="connsiteY11" fmla="*/ 864340 h 3661402"/>
                <a:gd name="connsiteX12" fmla="*/ 575130 w 2088079"/>
                <a:gd name="connsiteY12" fmla="*/ 783062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22506 w 2088079"/>
                <a:gd name="connsiteY6" fmla="*/ 1104117 h 3661402"/>
                <a:gd name="connsiteX7" fmla="*/ 628382 w 2088079"/>
                <a:gd name="connsiteY7" fmla="*/ 1075669 h 3661402"/>
                <a:gd name="connsiteX8" fmla="*/ 558871 w 2088079"/>
                <a:gd name="connsiteY8" fmla="*/ 993968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22506 w 2088079"/>
                <a:gd name="connsiteY6" fmla="*/ 1104117 h 3661402"/>
                <a:gd name="connsiteX7" fmla="*/ 628382 w 2088079"/>
                <a:gd name="connsiteY7" fmla="*/ 1075669 h 3661402"/>
                <a:gd name="connsiteX8" fmla="*/ 558871 w 2088079"/>
                <a:gd name="connsiteY8" fmla="*/ 993968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22506 w 2088079"/>
                <a:gd name="connsiteY6" fmla="*/ 1087441 h 3661402"/>
                <a:gd name="connsiteX7" fmla="*/ 628382 w 2088079"/>
                <a:gd name="connsiteY7" fmla="*/ 1075669 h 3661402"/>
                <a:gd name="connsiteX8" fmla="*/ 558871 w 2088079"/>
                <a:gd name="connsiteY8" fmla="*/ 993968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22506 w 2088079"/>
                <a:gd name="connsiteY6" fmla="*/ 1087441 h 3661402"/>
                <a:gd name="connsiteX7" fmla="*/ 650616 w 2088079"/>
                <a:gd name="connsiteY7" fmla="*/ 1064553 h 3661402"/>
                <a:gd name="connsiteX8" fmla="*/ 558871 w 2088079"/>
                <a:gd name="connsiteY8" fmla="*/ 993968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22506 w 2088079"/>
                <a:gd name="connsiteY6" fmla="*/ 1087441 h 3661402"/>
                <a:gd name="connsiteX7" fmla="*/ 633940 w 2088079"/>
                <a:gd name="connsiteY7" fmla="*/ 1075671 h 3661402"/>
                <a:gd name="connsiteX8" fmla="*/ 558871 w 2088079"/>
                <a:gd name="connsiteY8" fmla="*/ 993968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39183 w 2088079"/>
                <a:gd name="connsiteY6" fmla="*/ 1087441 h 3661402"/>
                <a:gd name="connsiteX7" fmla="*/ 633940 w 2088079"/>
                <a:gd name="connsiteY7" fmla="*/ 1075671 h 3661402"/>
                <a:gd name="connsiteX8" fmla="*/ 558871 w 2088079"/>
                <a:gd name="connsiteY8" fmla="*/ 993968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39183 w 2088079"/>
                <a:gd name="connsiteY6" fmla="*/ 1087441 h 3661402"/>
                <a:gd name="connsiteX7" fmla="*/ 633940 w 2088079"/>
                <a:gd name="connsiteY7" fmla="*/ 1075671 h 3661402"/>
                <a:gd name="connsiteX8" fmla="*/ 569987 w 2088079"/>
                <a:gd name="connsiteY8" fmla="*/ 1005087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39183 w 2088079"/>
                <a:gd name="connsiteY6" fmla="*/ 1087441 h 3661402"/>
                <a:gd name="connsiteX7" fmla="*/ 633940 w 2088079"/>
                <a:gd name="connsiteY7" fmla="*/ 1075671 h 3661402"/>
                <a:gd name="connsiteX8" fmla="*/ 569987 w 2088079"/>
                <a:gd name="connsiteY8" fmla="*/ 1005087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7 w 2088079"/>
                <a:gd name="connsiteY34" fmla="*/ 634607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39183 w 2088079"/>
                <a:gd name="connsiteY6" fmla="*/ 1087441 h 3661402"/>
                <a:gd name="connsiteX7" fmla="*/ 633940 w 2088079"/>
                <a:gd name="connsiteY7" fmla="*/ 1075671 h 3661402"/>
                <a:gd name="connsiteX8" fmla="*/ 569987 w 2088079"/>
                <a:gd name="connsiteY8" fmla="*/ 1005087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7 w 2088079"/>
                <a:gd name="connsiteY34" fmla="*/ 634607 h 3661402"/>
                <a:gd name="connsiteX35" fmla="*/ 1993462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39183 w 2088079"/>
                <a:gd name="connsiteY6" fmla="*/ 1087441 h 3661402"/>
                <a:gd name="connsiteX7" fmla="*/ 633940 w 2088079"/>
                <a:gd name="connsiteY7" fmla="*/ 1075671 h 3661402"/>
                <a:gd name="connsiteX8" fmla="*/ 569987 w 2088079"/>
                <a:gd name="connsiteY8" fmla="*/ 1005087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7 w 2088079"/>
                <a:gd name="connsiteY34" fmla="*/ 634607 h 3661402"/>
                <a:gd name="connsiteX35" fmla="*/ 1993462 w 2088079"/>
                <a:gd name="connsiteY35" fmla="*/ 754613 h 3661402"/>
                <a:gd name="connsiteX36" fmla="*/ 1931008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088079" h="3661402">
                  <a:moveTo>
                    <a:pt x="673738" y="510773"/>
                  </a:moveTo>
                  <a:lnTo>
                    <a:pt x="750954" y="648949"/>
                  </a:lnTo>
                  <a:lnTo>
                    <a:pt x="806168" y="756296"/>
                  </a:lnTo>
                  <a:cubicBezTo>
                    <a:pt x="822424" y="794904"/>
                    <a:pt x="839404" y="820595"/>
                    <a:pt x="848490" y="856213"/>
                  </a:cubicBezTo>
                  <a:cubicBezTo>
                    <a:pt x="857576" y="891831"/>
                    <a:pt x="864085" y="940219"/>
                    <a:pt x="860682" y="970005"/>
                  </a:cubicBezTo>
                  <a:cubicBezTo>
                    <a:pt x="857279" y="999792"/>
                    <a:pt x="848323" y="1015359"/>
                    <a:pt x="828073" y="1034932"/>
                  </a:cubicBezTo>
                  <a:cubicBezTo>
                    <a:pt x="807823" y="1054505"/>
                    <a:pt x="771539" y="1080651"/>
                    <a:pt x="739183" y="1087441"/>
                  </a:cubicBezTo>
                  <a:cubicBezTo>
                    <a:pt x="706828" y="1094231"/>
                    <a:pt x="663065" y="1091250"/>
                    <a:pt x="633940" y="1075671"/>
                  </a:cubicBezTo>
                  <a:cubicBezTo>
                    <a:pt x="604815" y="1060092"/>
                    <a:pt x="585207" y="1027938"/>
                    <a:pt x="569987" y="1005087"/>
                  </a:cubicBezTo>
                  <a:cubicBezTo>
                    <a:pt x="554767" y="982236"/>
                    <a:pt x="546501" y="962024"/>
                    <a:pt x="542617" y="938566"/>
                  </a:cubicBezTo>
                  <a:cubicBezTo>
                    <a:pt x="538733" y="915108"/>
                    <a:pt x="541262" y="890257"/>
                    <a:pt x="546681" y="864340"/>
                  </a:cubicBezTo>
                  <a:cubicBezTo>
                    <a:pt x="552100" y="838423"/>
                    <a:pt x="564293" y="805414"/>
                    <a:pt x="575130" y="783062"/>
                  </a:cubicBezTo>
                  <a:lnTo>
                    <a:pt x="600586" y="730229"/>
                  </a:lnTo>
                  <a:lnTo>
                    <a:pt x="657482" y="665205"/>
                  </a:lnTo>
                  <a:lnTo>
                    <a:pt x="710314" y="600181"/>
                  </a:lnTo>
                  <a:lnTo>
                    <a:pt x="791594" y="522965"/>
                  </a:lnTo>
                  <a:lnTo>
                    <a:pt x="893194" y="437621"/>
                  </a:lnTo>
                  <a:lnTo>
                    <a:pt x="1006986" y="352277"/>
                  </a:lnTo>
                  <a:lnTo>
                    <a:pt x="1134653" y="263567"/>
                  </a:lnTo>
                  <a:lnTo>
                    <a:pt x="1307722" y="157205"/>
                  </a:lnTo>
                  <a:lnTo>
                    <a:pt x="1447581" y="85736"/>
                  </a:lnTo>
                  <a:lnTo>
                    <a:pt x="1558992" y="37952"/>
                  </a:lnTo>
                  <a:cubicBezTo>
                    <a:pt x="1592462" y="25924"/>
                    <a:pt x="1623174" y="17283"/>
                    <a:pt x="1650781" y="11187"/>
                  </a:cubicBezTo>
                  <a:cubicBezTo>
                    <a:pt x="1678388" y="5091"/>
                    <a:pt x="1700857" y="3058"/>
                    <a:pt x="1724632" y="1375"/>
                  </a:cubicBezTo>
                  <a:cubicBezTo>
                    <a:pt x="1748407" y="-308"/>
                    <a:pt x="1772156" y="-498"/>
                    <a:pt x="1793434" y="1090"/>
                  </a:cubicBezTo>
                  <a:cubicBezTo>
                    <a:pt x="1814712" y="2678"/>
                    <a:pt x="1829946" y="3450"/>
                    <a:pt x="1852298" y="10901"/>
                  </a:cubicBezTo>
                  <a:cubicBezTo>
                    <a:pt x="1877381" y="20944"/>
                    <a:pt x="1909607" y="26225"/>
                    <a:pt x="1927546" y="41031"/>
                  </a:cubicBezTo>
                  <a:cubicBezTo>
                    <a:pt x="1945485" y="55837"/>
                    <a:pt x="1973774" y="79031"/>
                    <a:pt x="1990474" y="96245"/>
                  </a:cubicBezTo>
                  <a:cubicBezTo>
                    <a:pt x="2007174" y="113459"/>
                    <a:pt x="2016912" y="124671"/>
                    <a:pt x="2027749" y="144314"/>
                  </a:cubicBezTo>
                  <a:lnTo>
                    <a:pt x="2065022" y="214101"/>
                  </a:lnTo>
                  <a:lnTo>
                    <a:pt x="2078898" y="276744"/>
                  </a:lnTo>
                  <a:cubicBezTo>
                    <a:pt x="2084317" y="299773"/>
                    <a:pt x="2087449" y="326703"/>
                    <a:pt x="2088010" y="352277"/>
                  </a:cubicBezTo>
                  <a:cubicBezTo>
                    <a:pt x="2088571" y="377851"/>
                    <a:pt x="2085650" y="405130"/>
                    <a:pt x="2082263" y="430191"/>
                  </a:cubicBezTo>
                  <a:lnTo>
                    <a:pt x="2067690" y="502645"/>
                  </a:lnTo>
                  <a:lnTo>
                    <a:pt x="2035177" y="634607"/>
                  </a:lnTo>
                  <a:lnTo>
                    <a:pt x="1993462" y="754613"/>
                  </a:lnTo>
                  <a:lnTo>
                    <a:pt x="1931008" y="887740"/>
                  </a:lnTo>
                  <a:lnTo>
                    <a:pt x="1852298" y="1035029"/>
                  </a:lnTo>
                  <a:lnTo>
                    <a:pt x="1765456" y="1171710"/>
                  </a:lnTo>
                  <a:lnTo>
                    <a:pt x="1652043" y="1348142"/>
                  </a:lnTo>
                  <a:lnTo>
                    <a:pt x="1548574" y="1507529"/>
                  </a:lnTo>
                  <a:lnTo>
                    <a:pt x="1362800" y="1755012"/>
                  </a:lnTo>
                  <a:lnTo>
                    <a:pt x="1239010" y="1933826"/>
                  </a:lnTo>
                  <a:cubicBezTo>
                    <a:pt x="1178283" y="2013751"/>
                    <a:pt x="1117993" y="2098419"/>
                    <a:pt x="1062389" y="2173603"/>
                  </a:cubicBezTo>
                  <a:cubicBezTo>
                    <a:pt x="1006785" y="2248787"/>
                    <a:pt x="991657" y="2274776"/>
                    <a:pt x="905386" y="2384932"/>
                  </a:cubicBezTo>
                  <a:cubicBezTo>
                    <a:pt x="819115" y="2495088"/>
                    <a:pt x="645492" y="2703747"/>
                    <a:pt x="544764" y="2834542"/>
                  </a:cubicBezTo>
                  <a:cubicBezTo>
                    <a:pt x="444036" y="2965337"/>
                    <a:pt x="378560" y="3065394"/>
                    <a:pt x="301016" y="3169703"/>
                  </a:cubicBezTo>
                  <a:cubicBezTo>
                    <a:pt x="200679" y="3326190"/>
                    <a:pt x="72541" y="3499357"/>
                    <a:pt x="0" y="3661402"/>
                  </a:cubicBezTo>
                </a:path>
              </a:pathLst>
            </a:custGeom>
            <a:noFill/>
            <a:ln w="88900" cap="rnd"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65" name="Picture 64"/>
          <p:cNvPicPr>
            <a:picLocks noChangeAspect="1"/>
          </p:cNvPicPr>
          <p:nvPr/>
        </p:nvPicPr>
        <p:blipFill>
          <a:blip r:embed="rId11"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177835" y="547455"/>
            <a:ext cx="472535" cy="1340404"/>
          </a:xfrm>
          <a:prstGeom prst="rect">
            <a:avLst/>
          </a:prstGeom>
        </p:spPr>
      </p:pic>
      <p:sp>
        <p:nvSpPr>
          <p:cNvPr id="66" name="Freeform 65"/>
          <p:cNvSpPr/>
          <p:nvPr/>
        </p:nvSpPr>
        <p:spPr>
          <a:xfrm>
            <a:off x="10342136" y="1641253"/>
            <a:ext cx="449064" cy="246606"/>
          </a:xfrm>
          <a:custGeom>
            <a:avLst/>
            <a:gdLst>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13410 w 3520440"/>
              <a:gd name="connsiteY7" fmla="*/ 422910 h 1543050"/>
              <a:gd name="connsiteX8" fmla="*/ 754380 w 3520440"/>
              <a:gd name="connsiteY8" fmla="*/ 468630 h 1543050"/>
              <a:gd name="connsiteX9" fmla="*/ 982980 w 3520440"/>
              <a:gd name="connsiteY9" fmla="*/ 502920 h 1543050"/>
              <a:gd name="connsiteX10" fmla="*/ 1104900 w 3520440"/>
              <a:gd name="connsiteY10" fmla="*/ 50673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72440 h 1543050"/>
              <a:gd name="connsiteX16" fmla="*/ 1703070 w 3520440"/>
              <a:gd name="connsiteY16" fmla="*/ 461010 h 1543050"/>
              <a:gd name="connsiteX17" fmla="*/ 1828800 w 3520440"/>
              <a:gd name="connsiteY17" fmla="*/ 426720 h 1543050"/>
              <a:gd name="connsiteX18" fmla="*/ 1924050 w 3520440"/>
              <a:gd name="connsiteY18" fmla="*/ 38862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091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13410 w 3520440"/>
              <a:gd name="connsiteY7" fmla="*/ 422910 h 1543050"/>
              <a:gd name="connsiteX8" fmla="*/ 754380 w 3520440"/>
              <a:gd name="connsiteY8" fmla="*/ 468630 h 1543050"/>
              <a:gd name="connsiteX9" fmla="*/ 982980 w 3520440"/>
              <a:gd name="connsiteY9" fmla="*/ 502920 h 1543050"/>
              <a:gd name="connsiteX10" fmla="*/ 1104900 w 3520440"/>
              <a:gd name="connsiteY10" fmla="*/ 50673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72440 h 1543050"/>
              <a:gd name="connsiteX16" fmla="*/ 1703070 w 3520440"/>
              <a:gd name="connsiteY16" fmla="*/ 461010 h 1543050"/>
              <a:gd name="connsiteX17" fmla="*/ 1828800 w 3520440"/>
              <a:gd name="connsiteY17" fmla="*/ 426720 h 1543050"/>
              <a:gd name="connsiteX18" fmla="*/ 1924050 w 3520440"/>
              <a:gd name="connsiteY18" fmla="*/ 38862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091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13410 w 3520440"/>
              <a:gd name="connsiteY7" fmla="*/ 422910 h 1543050"/>
              <a:gd name="connsiteX8" fmla="*/ 754380 w 3520440"/>
              <a:gd name="connsiteY8" fmla="*/ 468630 h 1543050"/>
              <a:gd name="connsiteX9" fmla="*/ 982980 w 3520440"/>
              <a:gd name="connsiteY9" fmla="*/ 50292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72440 h 1543050"/>
              <a:gd name="connsiteX16" fmla="*/ 1703070 w 3520440"/>
              <a:gd name="connsiteY16" fmla="*/ 461010 h 1543050"/>
              <a:gd name="connsiteX17" fmla="*/ 1828800 w 3520440"/>
              <a:gd name="connsiteY17" fmla="*/ 426720 h 1543050"/>
              <a:gd name="connsiteX18" fmla="*/ 1924050 w 3520440"/>
              <a:gd name="connsiteY18" fmla="*/ 38862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091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13410 w 3520440"/>
              <a:gd name="connsiteY7" fmla="*/ 422910 h 1543050"/>
              <a:gd name="connsiteX8" fmla="*/ 754380 w 3520440"/>
              <a:gd name="connsiteY8" fmla="*/ 468630 h 1543050"/>
              <a:gd name="connsiteX9" fmla="*/ 982980 w 3520440"/>
              <a:gd name="connsiteY9" fmla="*/ 50292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7244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091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13410 w 3520440"/>
              <a:gd name="connsiteY7" fmla="*/ 422910 h 1543050"/>
              <a:gd name="connsiteX8" fmla="*/ 754380 w 3520440"/>
              <a:gd name="connsiteY8" fmla="*/ 468630 h 1543050"/>
              <a:gd name="connsiteX9" fmla="*/ 982980 w 3520440"/>
              <a:gd name="connsiteY9" fmla="*/ 50292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7244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091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13410 w 3520440"/>
              <a:gd name="connsiteY7" fmla="*/ 422910 h 1543050"/>
              <a:gd name="connsiteX8" fmla="*/ 754380 w 3520440"/>
              <a:gd name="connsiteY8" fmla="*/ 468630 h 1543050"/>
              <a:gd name="connsiteX9" fmla="*/ 982980 w 3520440"/>
              <a:gd name="connsiteY9" fmla="*/ 50292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7244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091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13410 w 3520440"/>
              <a:gd name="connsiteY7" fmla="*/ 422910 h 1543050"/>
              <a:gd name="connsiteX8" fmla="*/ 754380 w 3520440"/>
              <a:gd name="connsiteY8" fmla="*/ 468630 h 1543050"/>
              <a:gd name="connsiteX9" fmla="*/ 979170 w 3520440"/>
              <a:gd name="connsiteY9" fmla="*/ 51435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7244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091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13410 w 3520440"/>
              <a:gd name="connsiteY7" fmla="*/ 422910 h 1543050"/>
              <a:gd name="connsiteX8" fmla="*/ 754380 w 3520440"/>
              <a:gd name="connsiteY8" fmla="*/ 468630 h 1543050"/>
              <a:gd name="connsiteX9" fmla="*/ 975360 w 3520440"/>
              <a:gd name="connsiteY9" fmla="*/ 50673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7244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091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13410 w 3520440"/>
              <a:gd name="connsiteY7" fmla="*/ 422910 h 1543050"/>
              <a:gd name="connsiteX8" fmla="*/ 754380 w 3520440"/>
              <a:gd name="connsiteY8" fmla="*/ 468630 h 1543050"/>
              <a:gd name="connsiteX9" fmla="*/ 975360 w 3520440"/>
              <a:gd name="connsiteY9" fmla="*/ 50673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091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09600 w 3520440"/>
              <a:gd name="connsiteY7" fmla="*/ 430530 h 1543050"/>
              <a:gd name="connsiteX8" fmla="*/ 754380 w 3520440"/>
              <a:gd name="connsiteY8" fmla="*/ 468630 h 1543050"/>
              <a:gd name="connsiteX9" fmla="*/ 975360 w 3520440"/>
              <a:gd name="connsiteY9" fmla="*/ 50673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091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50520 w 3520440"/>
              <a:gd name="connsiteY5" fmla="*/ 316230 h 1543050"/>
              <a:gd name="connsiteX6" fmla="*/ 472440 w 3520440"/>
              <a:gd name="connsiteY6" fmla="*/ 377190 h 1543050"/>
              <a:gd name="connsiteX7" fmla="*/ 609600 w 3520440"/>
              <a:gd name="connsiteY7" fmla="*/ 430530 h 1543050"/>
              <a:gd name="connsiteX8" fmla="*/ 754380 w 3520440"/>
              <a:gd name="connsiteY8" fmla="*/ 468630 h 1543050"/>
              <a:gd name="connsiteX9" fmla="*/ 975360 w 3520440"/>
              <a:gd name="connsiteY9" fmla="*/ 50673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46710 w 3520440"/>
              <a:gd name="connsiteY5" fmla="*/ 331470 h 1543050"/>
              <a:gd name="connsiteX6" fmla="*/ 472440 w 3520440"/>
              <a:gd name="connsiteY6" fmla="*/ 377190 h 1543050"/>
              <a:gd name="connsiteX7" fmla="*/ 609600 w 3520440"/>
              <a:gd name="connsiteY7" fmla="*/ 430530 h 1543050"/>
              <a:gd name="connsiteX8" fmla="*/ 754380 w 3520440"/>
              <a:gd name="connsiteY8" fmla="*/ 468630 h 1543050"/>
              <a:gd name="connsiteX9" fmla="*/ 975360 w 3520440"/>
              <a:gd name="connsiteY9" fmla="*/ 50673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46710 w 3520440"/>
              <a:gd name="connsiteY5" fmla="*/ 331470 h 1543050"/>
              <a:gd name="connsiteX6" fmla="*/ 483870 w 3520440"/>
              <a:gd name="connsiteY6" fmla="*/ 392430 h 1543050"/>
              <a:gd name="connsiteX7" fmla="*/ 609600 w 3520440"/>
              <a:gd name="connsiteY7" fmla="*/ 430530 h 1543050"/>
              <a:gd name="connsiteX8" fmla="*/ 754380 w 3520440"/>
              <a:gd name="connsiteY8" fmla="*/ 468630 h 1543050"/>
              <a:gd name="connsiteX9" fmla="*/ 975360 w 3520440"/>
              <a:gd name="connsiteY9" fmla="*/ 50673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46710 w 3520440"/>
              <a:gd name="connsiteY5" fmla="*/ 331470 h 1543050"/>
              <a:gd name="connsiteX6" fmla="*/ 483870 w 3520440"/>
              <a:gd name="connsiteY6" fmla="*/ 392430 h 1543050"/>
              <a:gd name="connsiteX7" fmla="*/ 617220 w 3520440"/>
              <a:gd name="connsiteY7" fmla="*/ 434340 h 1543050"/>
              <a:gd name="connsiteX8" fmla="*/ 754380 w 3520440"/>
              <a:gd name="connsiteY8" fmla="*/ 468630 h 1543050"/>
              <a:gd name="connsiteX9" fmla="*/ 975360 w 3520440"/>
              <a:gd name="connsiteY9" fmla="*/ 50673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46710 w 3520440"/>
              <a:gd name="connsiteY5" fmla="*/ 331470 h 1543050"/>
              <a:gd name="connsiteX6" fmla="*/ 483870 w 3520440"/>
              <a:gd name="connsiteY6" fmla="*/ 392430 h 1543050"/>
              <a:gd name="connsiteX7" fmla="*/ 617220 w 3520440"/>
              <a:gd name="connsiteY7" fmla="*/ 434340 h 1543050"/>
              <a:gd name="connsiteX8" fmla="*/ 792480 w 3520440"/>
              <a:gd name="connsiteY8" fmla="*/ 483870 h 1543050"/>
              <a:gd name="connsiteX9" fmla="*/ 975360 w 3520440"/>
              <a:gd name="connsiteY9" fmla="*/ 50673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3840 w 3520440"/>
              <a:gd name="connsiteY4" fmla="*/ 262890 h 1543050"/>
              <a:gd name="connsiteX5" fmla="*/ 346710 w 3520440"/>
              <a:gd name="connsiteY5" fmla="*/ 331470 h 1543050"/>
              <a:gd name="connsiteX6" fmla="*/ 483870 w 3520440"/>
              <a:gd name="connsiteY6" fmla="*/ 392430 h 1543050"/>
              <a:gd name="connsiteX7" fmla="*/ 617220 w 3520440"/>
              <a:gd name="connsiteY7" fmla="*/ 434340 h 1543050"/>
              <a:gd name="connsiteX8" fmla="*/ 792480 w 3520440"/>
              <a:gd name="connsiteY8" fmla="*/ 483870 h 1543050"/>
              <a:gd name="connsiteX9" fmla="*/ 963930 w 3520440"/>
              <a:gd name="connsiteY9" fmla="*/ 51054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190500 h 1543050"/>
              <a:gd name="connsiteX4" fmla="*/ 240030 w 3520440"/>
              <a:gd name="connsiteY4" fmla="*/ 270510 h 1543050"/>
              <a:gd name="connsiteX5" fmla="*/ 346710 w 3520440"/>
              <a:gd name="connsiteY5" fmla="*/ 331470 h 1543050"/>
              <a:gd name="connsiteX6" fmla="*/ 483870 w 3520440"/>
              <a:gd name="connsiteY6" fmla="*/ 392430 h 1543050"/>
              <a:gd name="connsiteX7" fmla="*/ 617220 w 3520440"/>
              <a:gd name="connsiteY7" fmla="*/ 434340 h 1543050"/>
              <a:gd name="connsiteX8" fmla="*/ 792480 w 3520440"/>
              <a:gd name="connsiteY8" fmla="*/ 483870 h 1543050"/>
              <a:gd name="connsiteX9" fmla="*/ 963930 w 3520440"/>
              <a:gd name="connsiteY9" fmla="*/ 51054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209550 h 1543050"/>
              <a:gd name="connsiteX4" fmla="*/ 240030 w 3520440"/>
              <a:gd name="connsiteY4" fmla="*/ 270510 h 1543050"/>
              <a:gd name="connsiteX5" fmla="*/ 346710 w 3520440"/>
              <a:gd name="connsiteY5" fmla="*/ 331470 h 1543050"/>
              <a:gd name="connsiteX6" fmla="*/ 483870 w 3520440"/>
              <a:gd name="connsiteY6" fmla="*/ 392430 h 1543050"/>
              <a:gd name="connsiteX7" fmla="*/ 617220 w 3520440"/>
              <a:gd name="connsiteY7" fmla="*/ 434340 h 1543050"/>
              <a:gd name="connsiteX8" fmla="*/ 792480 w 3520440"/>
              <a:gd name="connsiteY8" fmla="*/ 483870 h 1543050"/>
              <a:gd name="connsiteX9" fmla="*/ 963930 w 3520440"/>
              <a:gd name="connsiteY9" fmla="*/ 51054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209550 h 1543050"/>
              <a:gd name="connsiteX4" fmla="*/ 240030 w 3520440"/>
              <a:gd name="connsiteY4" fmla="*/ 270510 h 1543050"/>
              <a:gd name="connsiteX5" fmla="*/ 346710 w 3520440"/>
              <a:gd name="connsiteY5" fmla="*/ 331470 h 1543050"/>
              <a:gd name="connsiteX6" fmla="*/ 483870 w 3520440"/>
              <a:gd name="connsiteY6" fmla="*/ 392430 h 1543050"/>
              <a:gd name="connsiteX7" fmla="*/ 617220 w 3520440"/>
              <a:gd name="connsiteY7" fmla="*/ 434340 h 1543050"/>
              <a:gd name="connsiteX8" fmla="*/ 792480 w 3520440"/>
              <a:gd name="connsiteY8" fmla="*/ 483870 h 1543050"/>
              <a:gd name="connsiteX9" fmla="*/ 963930 w 3520440"/>
              <a:gd name="connsiteY9" fmla="*/ 51054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44780 h 1543050"/>
              <a:gd name="connsiteX3" fmla="*/ 140970 w 3520440"/>
              <a:gd name="connsiteY3" fmla="*/ 209550 h 1543050"/>
              <a:gd name="connsiteX4" fmla="*/ 240030 w 3520440"/>
              <a:gd name="connsiteY4" fmla="*/ 270510 h 1543050"/>
              <a:gd name="connsiteX5" fmla="*/ 346710 w 3520440"/>
              <a:gd name="connsiteY5" fmla="*/ 331470 h 1543050"/>
              <a:gd name="connsiteX6" fmla="*/ 483870 w 3520440"/>
              <a:gd name="connsiteY6" fmla="*/ 392430 h 1543050"/>
              <a:gd name="connsiteX7" fmla="*/ 617220 w 3520440"/>
              <a:gd name="connsiteY7" fmla="*/ 434340 h 1543050"/>
              <a:gd name="connsiteX8" fmla="*/ 792480 w 3520440"/>
              <a:gd name="connsiteY8" fmla="*/ 483870 h 1543050"/>
              <a:gd name="connsiteX9" fmla="*/ 963930 w 3520440"/>
              <a:gd name="connsiteY9" fmla="*/ 51054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440"/>
              <a:gd name="connsiteY0" fmla="*/ 0 h 1543050"/>
              <a:gd name="connsiteX1" fmla="*/ 11430 w 3520440"/>
              <a:gd name="connsiteY1" fmla="*/ 68580 h 1543050"/>
              <a:gd name="connsiteX2" fmla="*/ 76200 w 3520440"/>
              <a:gd name="connsiteY2" fmla="*/ 152400 h 1543050"/>
              <a:gd name="connsiteX3" fmla="*/ 140970 w 3520440"/>
              <a:gd name="connsiteY3" fmla="*/ 209550 h 1543050"/>
              <a:gd name="connsiteX4" fmla="*/ 240030 w 3520440"/>
              <a:gd name="connsiteY4" fmla="*/ 270510 h 1543050"/>
              <a:gd name="connsiteX5" fmla="*/ 346710 w 3520440"/>
              <a:gd name="connsiteY5" fmla="*/ 331470 h 1543050"/>
              <a:gd name="connsiteX6" fmla="*/ 483870 w 3520440"/>
              <a:gd name="connsiteY6" fmla="*/ 392430 h 1543050"/>
              <a:gd name="connsiteX7" fmla="*/ 617220 w 3520440"/>
              <a:gd name="connsiteY7" fmla="*/ 434340 h 1543050"/>
              <a:gd name="connsiteX8" fmla="*/ 792480 w 3520440"/>
              <a:gd name="connsiteY8" fmla="*/ 483870 h 1543050"/>
              <a:gd name="connsiteX9" fmla="*/ 963930 w 3520440"/>
              <a:gd name="connsiteY9" fmla="*/ 510540 h 1543050"/>
              <a:gd name="connsiteX10" fmla="*/ 1104900 w 3520440"/>
              <a:gd name="connsiteY10" fmla="*/ 518160 h 1543050"/>
              <a:gd name="connsiteX11" fmla="*/ 1219200 w 3520440"/>
              <a:gd name="connsiteY11" fmla="*/ 514350 h 1543050"/>
              <a:gd name="connsiteX12" fmla="*/ 1306830 w 3520440"/>
              <a:gd name="connsiteY12" fmla="*/ 510540 h 1543050"/>
              <a:gd name="connsiteX13" fmla="*/ 1390650 w 3520440"/>
              <a:gd name="connsiteY13" fmla="*/ 510540 h 1543050"/>
              <a:gd name="connsiteX14" fmla="*/ 1489710 w 3520440"/>
              <a:gd name="connsiteY14" fmla="*/ 495300 h 1543050"/>
              <a:gd name="connsiteX15" fmla="*/ 1581150 w 3520440"/>
              <a:gd name="connsiteY15" fmla="*/ 480060 h 1543050"/>
              <a:gd name="connsiteX16" fmla="*/ 1703070 w 3520440"/>
              <a:gd name="connsiteY16" fmla="*/ 461010 h 1543050"/>
              <a:gd name="connsiteX17" fmla="*/ 1828800 w 3520440"/>
              <a:gd name="connsiteY17" fmla="*/ 426720 h 1543050"/>
              <a:gd name="connsiteX18" fmla="*/ 1927860 w 3520440"/>
              <a:gd name="connsiteY18" fmla="*/ 400050 h 1543050"/>
              <a:gd name="connsiteX19" fmla="*/ 2023110 w 3520440"/>
              <a:gd name="connsiteY19" fmla="*/ 369570 h 1543050"/>
              <a:gd name="connsiteX20" fmla="*/ 2110740 w 3520440"/>
              <a:gd name="connsiteY20" fmla="*/ 346710 h 1543050"/>
              <a:gd name="connsiteX21" fmla="*/ 2232660 w 3520440"/>
              <a:gd name="connsiteY21" fmla="*/ 320040 h 1543050"/>
              <a:gd name="connsiteX22" fmla="*/ 2346960 w 3520440"/>
              <a:gd name="connsiteY22" fmla="*/ 320040 h 1543050"/>
              <a:gd name="connsiteX23" fmla="*/ 2472690 w 3520440"/>
              <a:gd name="connsiteY23" fmla="*/ 335280 h 1543050"/>
              <a:gd name="connsiteX24" fmla="*/ 2590800 w 3520440"/>
              <a:gd name="connsiteY24" fmla="*/ 358140 h 1543050"/>
              <a:gd name="connsiteX25" fmla="*/ 2708910 w 3520440"/>
              <a:gd name="connsiteY25" fmla="*/ 400050 h 1543050"/>
              <a:gd name="connsiteX26" fmla="*/ 2819400 w 3520440"/>
              <a:gd name="connsiteY26" fmla="*/ 449580 h 1543050"/>
              <a:gd name="connsiteX27" fmla="*/ 2937510 w 3520440"/>
              <a:gd name="connsiteY27" fmla="*/ 499110 h 1543050"/>
              <a:gd name="connsiteX28" fmla="*/ 3048000 w 3520440"/>
              <a:gd name="connsiteY28" fmla="*/ 556260 h 1543050"/>
              <a:gd name="connsiteX29" fmla="*/ 3131820 w 3520440"/>
              <a:gd name="connsiteY29" fmla="*/ 613410 h 1543050"/>
              <a:gd name="connsiteX30" fmla="*/ 3211830 w 3520440"/>
              <a:gd name="connsiteY30" fmla="*/ 674370 h 1543050"/>
              <a:gd name="connsiteX31" fmla="*/ 3272790 w 3520440"/>
              <a:gd name="connsiteY31" fmla="*/ 727710 h 1543050"/>
              <a:gd name="connsiteX32" fmla="*/ 3333750 w 3520440"/>
              <a:gd name="connsiteY32" fmla="*/ 796290 h 1543050"/>
              <a:gd name="connsiteX33" fmla="*/ 3390900 w 3520440"/>
              <a:gd name="connsiteY33" fmla="*/ 887730 h 1543050"/>
              <a:gd name="connsiteX34" fmla="*/ 3421380 w 3520440"/>
              <a:gd name="connsiteY34" fmla="*/ 960120 h 1543050"/>
              <a:gd name="connsiteX35" fmla="*/ 3455670 w 3520440"/>
              <a:gd name="connsiteY35" fmla="*/ 1108710 h 1543050"/>
              <a:gd name="connsiteX36" fmla="*/ 3474720 w 3520440"/>
              <a:gd name="connsiteY36" fmla="*/ 1215390 h 1543050"/>
              <a:gd name="connsiteX37" fmla="*/ 3497580 w 3520440"/>
              <a:gd name="connsiteY37" fmla="*/ 1310640 h 1543050"/>
              <a:gd name="connsiteX38" fmla="*/ 3516630 w 3520440"/>
              <a:gd name="connsiteY38" fmla="*/ 1402080 h 1543050"/>
              <a:gd name="connsiteX39" fmla="*/ 3520440 w 3520440"/>
              <a:gd name="connsiteY39" fmla="*/ 1470660 h 1543050"/>
              <a:gd name="connsiteX40" fmla="*/ 3512820 w 3520440"/>
              <a:gd name="connsiteY40" fmla="*/ 1520190 h 1543050"/>
              <a:gd name="connsiteX41" fmla="*/ 3451860 w 3520440"/>
              <a:gd name="connsiteY41" fmla="*/ 1543050 h 1543050"/>
              <a:gd name="connsiteX42" fmla="*/ 3379470 w 3520440"/>
              <a:gd name="connsiteY42" fmla="*/ 1531620 h 1543050"/>
              <a:gd name="connsiteX43" fmla="*/ 3284220 w 3520440"/>
              <a:gd name="connsiteY43" fmla="*/ 1451610 h 1543050"/>
              <a:gd name="connsiteX44" fmla="*/ 3253740 w 3520440"/>
              <a:gd name="connsiteY44" fmla="*/ 1409700 h 1543050"/>
              <a:gd name="connsiteX45" fmla="*/ 3223260 w 3520440"/>
              <a:gd name="connsiteY45" fmla="*/ 1352550 h 1543050"/>
              <a:gd name="connsiteX46" fmla="*/ 3177540 w 3520440"/>
              <a:gd name="connsiteY46" fmla="*/ 1283970 h 1543050"/>
              <a:gd name="connsiteX47" fmla="*/ 3139440 w 3520440"/>
              <a:gd name="connsiteY47" fmla="*/ 1238250 h 1543050"/>
              <a:gd name="connsiteX0" fmla="*/ 0 w 3520776"/>
              <a:gd name="connsiteY0" fmla="*/ 0 h 1543050"/>
              <a:gd name="connsiteX1" fmla="*/ 11430 w 3520776"/>
              <a:gd name="connsiteY1" fmla="*/ 68580 h 1543050"/>
              <a:gd name="connsiteX2" fmla="*/ 76200 w 3520776"/>
              <a:gd name="connsiteY2" fmla="*/ 152400 h 1543050"/>
              <a:gd name="connsiteX3" fmla="*/ 140970 w 3520776"/>
              <a:gd name="connsiteY3" fmla="*/ 209550 h 1543050"/>
              <a:gd name="connsiteX4" fmla="*/ 240030 w 3520776"/>
              <a:gd name="connsiteY4" fmla="*/ 270510 h 1543050"/>
              <a:gd name="connsiteX5" fmla="*/ 346710 w 3520776"/>
              <a:gd name="connsiteY5" fmla="*/ 331470 h 1543050"/>
              <a:gd name="connsiteX6" fmla="*/ 483870 w 3520776"/>
              <a:gd name="connsiteY6" fmla="*/ 392430 h 1543050"/>
              <a:gd name="connsiteX7" fmla="*/ 617220 w 3520776"/>
              <a:gd name="connsiteY7" fmla="*/ 434340 h 1543050"/>
              <a:gd name="connsiteX8" fmla="*/ 792480 w 3520776"/>
              <a:gd name="connsiteY8" fmla="*/ 483870 h 1543050"/>
              <a:gd name="connsiteX9" fmla="*/ 963930 w 3520776"/>
              <a:gd name="connsiteY9" fmla="*/ 510540 h 1543050"/>
              <a:gd name="connsiteX10" fmla="*/ 1104900 w 3520776"/>
              <a:gd name="connsiteY10" fmla="*/ 518160 h 1543050"/>
              <a:gd name="connsiteX11" fmla="*/ 1219200 w 3520776"/>
              <a:gd name="connsiteY11" fmla="*/ 514350 h 1543050"/>
              <a:gd name="connsiteX12" fmla="*/ 1306830 w 3520776"/>
              <a:gd name="connsiteY12" fmla="*/ 510540 h 1543050"/>
              <a:gd name="connsiteX13" fmla="*/ 1390650 w 3520776"/>
              <a:gd name="connsiteY13" fmla="*/ 510540 h 1543050"/>
              <a:gd name="connsiteX14" fmla="*/ 1489710 w 3520776"/>
              <a:gd name="connsiteY14" fmla="*/ 495300 h 1543050"/>
              <a:gd name="connsiteX15" fmla="*/ 1581150 w 3520776"/>
              <a:gd name="connsiteY15" fmla="*/ 480060 h 1543050"/>
              <a:gd name="connsiteX16" fmla="*/ 1703070 w 3520776"/>
              <a:gd name="connsiteY16" fmla="*/ 461010 h 1543050"/>
              <a:gd name="connsiteX17" fmla="*/ 1828800 w 3520776"/>
              <a:gd name="connsiteY17" fmla="*/ 426720 h 1543050"/>
              <a:gd name="connsiteX18" fmla="*/ 1927860 w 3520776"/>
              <a:gd name="connsiteY18" fmla="*/ 400050 h 1543050"/>
              <a:gd name="connsiteX19" fmla="*/ 2023110 w 3520776"/>
              <a:gd name="connsiteY19" fmla="*/ 369570 h 1543050"/>
              <a:gd name="connsiteX20" fmla="*/ 2110740 w 3520776"/>
              <a:gd name="connsiteY20" fmla="*/ 346710 h 1543050"/>
              <a:gd name="connsiteX21" fmla="*/ 2232660 w 3520776"/>
              <a:gd name="connsiteY21" fmla="*/ 320040 h 1543050"/>
              <a:gd name="connsiteX22" fmla="*/ 2346960 w 3520776"/>
              <a:gd name="connsiteY22" fmla="*/ 320040 h 1543050"/>
              <a:gd name="connsiteX23" fmla="*/ 2472690 w 3520776"/>
              <a:gd name="connsiteY23" fmla="*/ 335280 h 1543050"/>
              <a:gd name="connsiteX24" fmla="*/ 2590800 w 3520776"/>
              <a:gd name="connsiteY24" fmla="*/ 358140 h 1543050"/>
              <a:gd name="connsiteX25" fmla="*/ 2708910 w 3520776"/>
              <a:gd name="connsiteY25" fmla="*/ 400050 h 1543050"/>
              <a:gd name="connsiteX26" fmla="*/ 2819400 w 3520776"/>
              <a:gd name="connsiteY26" fmla="*/ 449580 h 1543050"/>
              <a:gd name="connsiteX27" fmla="*/ 2937510 w 3520776"/>
              <a:gd name="connsiteY27" fmla="*/ 499110 h 1543050"/>
              <a:gd name="connsiteX28" fmla="*/ 3048000 w 3520776"/>
              <a:gd name="connsiteY28" fmla="*/ 556260 h 1543050"/>
              <a:gd name="connsiteX29" fmla="*/ 3131820 w 3520776"/>
              <a:gd name="connsiteY29" fmla="*/ 613410 h 1543050"/>
              <a:gd name="connsiteX30" fmla="*/ 3211830 w 3520776"/>
              <a:gd name="connsiteY30" fmla="*/ 674370 h 1543050"/>
              <a:gd name="connsiteX31" fmla="*/ 3272790 w 3520776"/>
              <a:gd name="connsiteY31" fmla="*/ 727710 h 1543050"/>
              <a:gd name="connsiteX32" fmla="*/ 3333750 w 3520776"/>
              <a:gd name="connsiteY32" fmla="*/ 796290 h 1543050"/>
              <a:gd name="connsiteX33" fmla="*/ 3390900 w 3520776"/>
              <a:gd name="connsiteY33" fmla="*/ 887730 h 1543050"/>
              <a:gd name="connsiteX34" fmla="*/ 3421380 w 3520776"/>
              <a:gd name="connsiteY34" fmla="*/ 960120 h 1543050"/>
              <a:gd name="connsiteX35" fmla="*/ 3455670 w 3520776"/>
              <a:gd name="connsiteY35" fmla="*/ 1108710 h 1543050"/>
              <a:gd name="connsiteX36" fmla="*/ 3474720 w 3520776"/>
              <a:gd name="connsiteY36" fmla="*/ 1215390 h 1543050"/>
              <a:gd name="connsiteX37" fmla="*/ 3497580 w 3520776"/>
              <a:gd name="connsiteY37" fmla="*/ 1310640 h 1543050"/>
              <a:gd name="connsiteX38" fmla="*/ 3516630 w 3520776"/>
              <a:gd name="connsiteY38" fmla="*/ 1402080 h 1543050"/>
              <a:gd name="connsiteX39" fmla="*/ 3520440 w 3520776"/>
              <a:gd name="connsiteY39" fmla="*/ 1470660 h 1543050"/>
              <a:gd name="connsiteX40" fmla="*/ 3512820 w 3520776"/>
              <a:gd name="connsiteY40" fmla="*/ 1520190 h 1543050"/>
              <a:gd name="connsiteX41" fmla="*/ 3451860 w 3520776"/>
              <a:gd name="connsiteY41" fmla="*/ 1543050 h 1543050"/>
              <a:gd name="connsiteX42" fmla="*/ 3379470 w 3520776"/>
              <a:gd name="connsiteY42" fmla="*/ 1531620 h 1543050"/>
              <a:gd name="connsiteX43" fmla="*/ 3284220 w 3520776"/>
              <a:gd name="connsiteY43" fmla="*/ 1451610 h 1543050"/>
              <a:gd name="connsiteX44" fmla="*/ 3253740 w 3520776"/>
              <a:gd name="connsiteY44" fmla="*/ 1409700 h 1543050"/>
              <a:gd name="connsiteX45" fmla="*/ 3223260 w 3520776"/>
              <a:gd name="connsiteY45" fmla="*/ 1352550 h 1543050"/>
              <a:gd name="connsiteX46" fmla="*/ 3177540 w 3520776"/>
              <a:gd name="connsiteY46" fmla="*/ 1283970 h 1543050"/>
              <a:gd name="connsiteX47" fmla="*/ 3139440 w 3520776"/>
              <a:gd name="connsiteY47" fmla="*/ 1238250 h 1543050"/>
              <a:gd name="connsiteX0" fmla="*/ 0 w 3520776"/>
              <a:gd name="connsiteY0" fmla="*/ 0 h 1543050"/>
              <a:gd name="connsiteX1" fmla="*/ 11430 w 3520776"/>
              <a:gd name="connsiteY1" fmla="*/ 68580 h 1543050"/>
              <a:gd name="connsiteX2" fmla="*/ 76200 w 3520776"/>
              <a:gd name="connsiteY2" fmla="*/ 152400 h 1543050"/>
              <a:gd name="connsiteX3" fmla="*/ 140970 w 3520776"/>
              <a:gd name="connsiteY3" fmla="*/ 209550 h 1543050"/>
              <a:gd name="connsiteX4" fmla="*/ 240030 w 3520776"/>
              <a:gd name="connsiteY4" fmla="*/ 270510 h 1543050"/>
              <a:gd name="connsiteX5" fmla="*/ 346710 w 3520776"/>
              <a:gd name="connsiteY5" fmla="*/ 331470 h 1543050"/>
              <a:gd name="connsiteX6" fmla="*/ 483870 w 3520776"/>
              <a:gd name="connsiteY6" fmla="*/ 392430 h 1543050"/>
              <a:gd name="connsiteX7" fmla="*/ 617220 w 3520776"/>
              <a:gd name="connsiteY7" fmla="*/ 434340 h 1543050"/>
              <a:gd name="connsiteX8" fmla="*/ 792480 w 3520776"/>
              <a:gd name="connsiteY8" fmla="*/ 483870 h 1543050"/>
              <a:gd name="connsiteX9" fmla="*/ 963930 w 3520776"/>
              <a:gd name="connsiteY9" fmla="*/ 510540 h 1543050"/>
              <a:gd name="connsiteX10" fmla="*/ 1104900 w 3520776"/>
              <a:gd name="connsiteY10" fmla="*/ 518160 h 1543050"/>
              <a:gd name="connsiteX11" fmla="*/ 1219200 w 3520776"/>
              <a:gd name="connsiteY11" fmla="*/ 514350 h 1543050"/>
              <a:gd name="connsiteX12" fmla="*/ 1306830 w 3520776"/>
              <a:gd name="connsiteY12" fmla="*/ 510540 h 1543050"/>
              <a:gd name="connsiteX13" fmla="*/ 1390650 w 3520776"/>
              <a:gd name="connsiteY13" fmla="*/ 510540 h 1543050"/>
              <a:gd name="connsiteX14" fmla="*/ 1489710 w 3520776"/>
              <a:gd name="connsiteY14" fmla="*/ 495300 h 1543050"/>
              <a:gd name="connsiteX15" fmla="*/ 1581150 w 3520776"/>
              <a:gd name="connsiteY15" fmla="*/ 480060 h 1543050"/>
              <a:gd name="connsiteX16" fmla="*/ 1703070 w 3520776"/>
              <a:gd name="connsiteY16" fmla="*/ 461010 h 1543050"/>
              <a:gd name="connsiteX17" fmla="*/ 1828800 w 3520776"/>
              <a:gd name="connsiteY17" fmla="*/ 426720 h 1543050"/>
              <a:gd name="connsiteX18" fmla="*/ 1927860 w 3520776"/>
              <a:gd name="connsiteY18" fmla="*/ 400050 h 1543050"/>
              <a:gd name="connsiteX19" fmla="*/ 2023110 w 3520776"/>
              <a:gd name="connsiteY19" fmla="*/ 369570 h 1543050"/>
              <a:gd name="connsiteX20" fmla="*/ 2110740 w 3520776"/>
              <a:gd name="connsiteY20" fmla="*/ 346710 h 1543050"/>
              <a:gd name="connsiteX21" fmla="*/ 2232660 w 3520776"/>
              <a:gd name="connsiteY21" fmla="*/ 320040 h 1543050"/>
              <a:gd name="connsiteX22" fmla="*/ 2346960 w 3520776"/>
              <a:gd name="connsiteY22" fmla="*/ 320040 h 1543050"/>
              <a:gd name="connsiteX23" fmla="*/ 2472690 w 3520776"/>
              <a:gd name="connsiteY23" fmla="*/ 335280 h 1543050"/>
              <a:gd name="connsiteX24" fmla="*/ 2590800 w 3520776"/>
              <a:gd name="connsiteY24" fmla="*/ 358140 h 1543050"/>
              <a:gd name="connsiteX25" fmla="*/ 2708910 w 3520776"/>
              <a:gd name="connsiteY25" fmla="*/ 400050 h 1543050"/>
              <a:gd name="connsiteX26" fmla="*/ 2819400 w 3520776"/>
              <a:gd name="connsiteY26" fmla="*/ 449580 h 1543050"/>
              <a:gd name="connsiteX27" fmla="*/ 2937510 w 3520776"/>
              <a:gd name="connsiteY27" fmla="*/ 499110 h 1543050"/>
              <a:gd name="connsiteX28" fmla="*/ 3048000 w 3520776"/>
              <a:gd name="connsiteY28" fmla="*/ 556260 h 1543050"/>
              <a:gd name="connsiteX29" fmla="*/ 3131820 w 3520776"/>
              <a:gd name="connsiteY29" fmla="*/ 613410 h 1543050"/>
              <a:gd name="connsiteX30" fmla="*/ 3211830 w 3520776"/>
              <a:gd name="connsiteY30" fmla="*/ 674370 h 1543050"/>
              <a:gd name="connsiteX31" fmla="*/ 3272790 w 3520776"/>
              <a:gd name="connsiteY31" fmla="*/ 727710 h 1543050"/>
              <a:gd name="connsiteX32" fmla="*/ 3333750 w 3520776"/>
              <a:gd name="connsiteY32" fmla="*/ 796290 h 1543050"/>
              <a:gd name="connsiteX33" fmla="*/ 3390900 w 3520776"/>
              <a:gd name="connsiteY33" fmla="*/ 887730 h 1543050"/>
              <a:gd name="connsiteX34" fmla="*/ 3421380 w 3520776"/>
              <a:gd name="connsiteY34" fmla="*/ 960120 h 1543050"/>
              <a:gd name="connsiteX35" fmla="*/ 3455670 w 3520776"/>
              <a:gd name="connsiteY35" fmla="*/ 1108710 h 1543050"/>
              <a:gd name="connsiteX36" fmla="*/ 3474720 w 3520776"/>
              <a:gd name="connsiteY36" fmla="*/ 1215390 h 1543050"/>
              <a:gd name="connsiteX37" fmla="*/ 3497580 w 3520776"/>
              <a:gd name="connsiteY37" fmla="*/ 1310640 h 1543050"/>
              <a:gd name="connsiteX38" fmla="*/ 3516630 w 3520776"/>
              <a:gd name="connsiteY38" fmla="*/ 1402080 h 1543050"/>
              <a:gd name="connsiteX39" fmla="*/ 3520440 w 3520776"/>
              <a:gd name="connsiteY39" fmla="*/ 1470660 h 1543050"/>
              <a:gd name="connsiteX40" fmla="*/ 3512820 w 3520776"/>
              <a:gd name="connsiteY40" fmla="*/ 1520190 h 1543050"/>
              <a:gd name="connsiteX41" fmla="*/ 3451860 w 3520776"/>
              <a:gd name="connsiteY41" fmla="*/ 1543050 h 1543050"/>
              <a:gd name="connsiteX42" fmla="*/ 3379470 w 3520776"/>
              <a:gd name="connsiteY42" fmla="*/ 1531620 h 1543050"/>
              <a:gd name="connsiteX43" fmla="*/ 3284220 w 3520776"/>
              <a:gd name="connsiteY43" fmla="*/ 1451610 h 1543050"/>
              <a:gd name="connsiteX44" fmla="*/ 3253740 w 3520776"/>
              <a:gd name="connsiteY44" fmla="*/ 1409700 h 1543050"/>
              <a:gd name="connsiteX45" fmla="*/ 3223260 w 3520776"/>
              <a:gd name="connsiteY45" fmla="*/ 1352550 h 1543050"/>
              <a:gd name="connsiteX46" fmla="*/ 3177540 w 3520776"/>
              <a:gd name="connsiteY46" fmla="*/ 1283970 h 1543050"/>
              <a:gd name="connsiteX47" fmla="*/ 3139440 w 3520776"/>
              <a:gd name="connsiteY47" fmla="*/ 1238250 h 1543050"/>
              <a:gd name="connsiteX0" fmla="*/ 0 w 3520776"/>
              <a:gd name="connsiteY0" fmla="*/ 0 h 1543666"/>
              <a:gd name="connsiteX1" fmla="*/ 11430 w 3520776"/>
              <a:gd name="connsiteY1" fmla="*/ 68580 h 1543666"/>
              <a:gd name="connsiteX2" fmla="*/ 76200 w 3520776"/>
              <a:gd name="connsiteY2" fmla="*/ 152400 h 1543666"/>
              <a:gd name="connsiteX3" fmla="*/ 140970 w 3520776"/>
              <a:gd name="connsiteY3" fmla="*/ 209550 h 1543666"/>
              <a:gd name="connsiteX4" fmla="*/ 240030 w 3520776"/>
              <a:gd name="connsiteY4" fmla="*/ 270510 h 1543666"/>
              <a:gd name="connsiteX5" fmla="*/ 346710 w 3520776"/>
              <a:gd name="connsiteY5" fmla="*/ 331470 h 1543666"/>
              <a:gd name="connsiteX6" fmla="*/ 483870 w 3520776"/>
              <a:gd name="connsiteY6" fmla="*/ 392430 h 1543666"/>
              <a:gd name="connsiteX7" fmla="*/ 617220 w 3520776"/>
              <a:gd name="connsiteY7" fmla="*/ 434340 h 1543666"/>
              <a:gd name="connsiteX8" fmla="*/ 792480 w 3520776"/>
              <a:gd name="connsiteY8" fmla="*/ 483870 h 1543666"/>
              <a:gd name="connsiteX9" fmla="*/ 963930 w 3520776"/>
              <a:gd name="connsiteY9" fmla="*/ 510540 h 1543666"/>
              <a:gd name="connsiteX10" fmla="*/ 1104900 w 3520776"/>
              <a:gd name="connsiteY10" fmla="*/ 518160 h 1543666"/>
              <a:gd name="connsiteX11" fmla="*/ 1219200 w 3520776"/>
              <a:gd name="connsiteY11" fmla="*/ 514350 h 1543666"/>
              <a:gd name="connsiteX12" fmla="*/ 1306830 w 3520776"/>
              <a:gd name="connsiteY12" fmla="*/ 510540 h 1543666"/>
              <a:gd name="connsiteX13" fmla="*/ 1390650 w 3520776"/>
              <a:gd name="connsiteY13" fmla="*/ 510540 h 1543666"/>
              <a:gd name="connsiteX14" fmla="*/ 1489710 w 3520776"/>
              <a:gd name="connsiteY14" fmla="*/ 495300 h 1543666"/>
              <a:gd name="connsiteX15" fmla="*/ 1581150 w 3520776"/>
              <a:gd name="connsiteY15" fmla="*/ 480060 h 1543666"/>
              <a:gd name="connsiteX16" fmla="*/ 1703070 w 3520776"/>
              <a:gd name="connsiteY16" fmla="*/ 461010 h 1543666"/>
              <a:gd name="connsiteX17" fmla="*/ 1828800 w 3520776"/>
              <a:gd name="connsiteY17" fmla="*/ 426720 h 1543666"/>
              <a:gd name="connsiteX18" fmla="*/ 1927860 w 3520776"/>
              <a:gd name="connsiteY18" fmla="*/ 400050 h 1543666"/>
              <a:gd name="connsiteX19" fmla="*/ 2023110 w 3520776"/>
              <a:gd name="connsiteY19" fmla="*/ 369570 h 1543666"/>
              <a:gd name="connsiteX20" fmla="*/ 2110740 w 3520776"/>
              <a:gd name="connsiteY20" fmla="*/ 346710 h 1543666"/>
              <a:gd name="connsiteX21" fmla="*/ 2232660 w 3520776"/>
              <a:gd name="connsiteY21" fmla="*/ 320040 h 1543666"/>
              <a:gd name="connsiteX22" fmla="*/ 2346960 w 3520776"/>
              <a:gd name="connsiteY22" fmla="*/ 320040 h 1543666"/>
              <a:gd name="connsiteX23" fmla="*/ 2472690 w 3520776"/>
              <a:gd name="connsiteY23" fmla="*/ 335280 h 1543666"/>
              <a:gd name="connsiteX24" fmla="*/ 2590800 w 3520776"/>
              <a:gd name="connsiteY24" fmla="*/ 358140 h 1543666"/>
              <a:gd name="connsiteX25" fmla="*/ 2708910 w 3520776"/>
              <a:gd name="connsiteY25" fmla="*/ 400050 h 1543666"/>
              <a:gd name="connsiteX26" fmla="*/ 2819400 w 3520776"/>
              <a:gd name="connsiteY26" fmla="*/ 449580 h 1543666"/>
              <a:gd name="connsiteX27" fmla="*/ 2937510 w 3520776"/>
              <a:gd name="connsiteY27" fmla="*/ 499110 h 1543666"/>
              <a:gd name="connsiteX28" fmla="*/ 3048000 w 3520776"/>
              <a:gd name="connsiteY28" fmla="*/ 556260 h 1543666"/>
              <a:gd name="connsiteX29" fmla="*/ 3131820 w 3520776"/>
              <a:gd name="connsiteY29" fmla="*/ 613410 h 1543666"/>
              <a:gd name="connsiteX30" fmla="*/ 3211830 w 3520776"/>
              <a:gd name="connsiteY30" fmla="*/ 674370 h 1543666"/>
              <a:gd name="connsiteX31" fmla="*/ 3272790 w 3520776"/>
              <a:gd name="connsiteY31" fmla="*/ 727710 h 1543666"/>
              <a:gd name="connsiteX32" fmla="*/ 3333750 w 3520776"/>
              <a:gd name="connsiteY32" fmla="*/ 796290 h 1543666"/>
              <a:gd name="connsiteX33" fmla="*/ 3390900 w 3520776"/>
              <a:gd name="connsiteY33" fmla="*/ 887730 h 1543666"/>
              <a:gd name="connsiteX34" fmla="*/ 3421380 w 3520776"/>
              <a:gd name="connsiteY34" fmla="*/ 960120 h 1543666"/>
              <a:gd name="connsiteX35" fmla="*/ 3455670 w 3520776"/>
              <a:gd name="connsiteY35" fmla="*/ 1108710 h 1543666"/>
              <a:gd name="connsiteX36" fmla="*/ 3474720 w 3520776"/>
              <a:gd name="connsiteY36" fmla="*/ 1215390 h 1543666"/>
              <a:gd name="connsiteX37" fmla="*/ 3497580 w 3520776"/>
              <a:gd name="connsiteY37" fmla="*/ 1310640 h 1543666"/>
              <a:gd name="connsiteX38" fmla="*/ 3516630 w 3520776"/>
              <a:gd name="connsiteY38" fmla="*/ 1402080 h 1543666"/>
              <a:gd name="connsiteX39" fmla="*/ 3520440 w 3520776"/>
              <a:gd name="connsiteY39" fmla="*/ 1470660 h 1543666"/>
              <a:gd name="connsiteX40" fmla="*/ 3512820 w 3520776"/>
              <a:gd name="connsiteY40" fmla="*/ 1520190 h 1543666"/>
              <a:gd name="connsiteX41" fmla="*/ 3451860 w 3520776"/>
              <a:gd name="connsiteY41" fmla="*/ 1543050 h 1543666"/>
              <a:gd name="connsiteX42" fmla="*/ 3379470 w 3520776"/>
              <a:gd name="connsiteY42" fmla="*/ 1531620 h 1543666"/>
              <a:gd name="connsiteX43" fmla="*/ 3284220 w 3520776"/>
              <a:gd name="connsiteY43" fmla="*/ 1451610 h 1543666"/>
              <a:gd name="connsiteX44" fmla="*/ 3253740 w 3520776"/>
              <a:gd name="connsiteY44" fmla="*/ 1409700 h 1543666"/>
              <a:gd name="connsiteX45" fmla="*/ 3223260 w 3520776"/>
              <a:gd name="connsiteY45" fmla="*/ 1352550 h 1543666"/>
              <a:gd name="connsiteX46" fmla="*/ 3177540 w 3520776"/>
              <a:gd name="connsiteY46" fmla="*/ 1283970 h 1543666"/>
              <a:gd name="connsiteX47" fmla="*/ 3139440 w 3520776"/>
              <a:gd name="connsiteY47" fmla="*/ 1238250 h 1543666"/>
              <a:gd name="connsiteX0" fmla="*/ 0 w 3520776"/>
              <a:gd name="connsiteY0" fmla="*/ 0 h 1543666"/>
              <a:gd name="connsiteX1" fmla="*/ 11430 w 3520776"/>
              <a:gd name="connsiteY1" fmla="*/ 68580 h 1543666"/>
              <a:gd name="connsiteX2" fmla="*/ 76200 w 3520776"/>
              <a:gd name="connsiteY2" fmla="*/ 152400 h 1543666"/>
              <a:gd name="connsiteX3" fmla="*/ 140970 w 3520776"/>
              <a:gd name="connsiteY3" fmla="*/ 209550 h 1543666"/>
              <a:gd name="connsiteX4" fmla="*/ 240030 w 3520776"/>
              <a:gd name="connsiteY4" fmla="*/ 270510 h 1543666"/>
              <a:gd name="connsiteX5" fmla="*/ 346710 w 3520776"/>
              <a:gd name="connsiteY5" fmla="*/ 331470 h 1543666"/>
              <a:gd name="connsiteX6" fmla="*/ 483870 w 3520776"/>
              <a:gd name="connsiteY6" fmla="*/ 392430 h 1543666"/>
              <a:gd name="connsiteX7" fmla="*/ 617220 w 3520776"/>
              <a:gd name="connsiteY7" fmla="*/ 434340 h 1543666"/>
              <a:gd name="connsiteX8" fmla="*/ 792480 w 3520776"/>
              <a:gd name="connsiteY8" fmla="*/ 483870 h 1543666"/>
              <a:gd name="connsiteX9" fmla="*/ 963930 w 3520776"/>
              <a:gd name="connsiteY9" fmla="*/ 510540 h 1543666"/>
              <a:gd name="connsiteX10" fmla="*/ 1104900 w 3520776"/>
              <a:gd name="connsiteY10" fmla="*/ 518160 h 1543666"/>
              <a:gd name="connsiteX11" fmla="*/ 1219200 w 3520776"/>
              <a:gd name="connsiteY11" fmla="*/ 514350 h 1543666"/>
              <a:gd name="connsiteX12" fmla="*/ 1306830 w 3520776"/>
              <a:gd name="connsiteY12" fmla="*/ 510540 h 1543666"/>
              <a:gd name="connsiteX13" fmla="*/ 1390650 w 3520776"/>
              <a:gd name="connsiteY13" fmla="*/ 510540 h 1543666"/>
              <a:gd name="connsiteX14" fmla="*/ 1489710 w 3520776"/>
              <a:gd name="connsiteY14" fmla="*/ 495300 h 1543666"/>
              <a:gd name="connsiteX15" fmla="*/ 1581150 w 3520776"/>
              <a:gd name="connsiteY15" fmla="*/ 480060 h 1543666"/>
              <a:gd name="connsiteX16" fmla="*/ 1703070 w 3520776"/>
              <a:gd name="connsiteY16" fmla="*/ 461010 h 1543666"/>
              <a:gd name="connsiteX17" fmla="*/ 1828800 w 3520776"/>
              <a:gd name="connsiteY17" fmla="*/ 426720 h 1543666"/>
              <a:gd name="connsiteX18" fmla="*/ 1927860 w 3520776"/>
              <a:gd name="connsiteY18" fmla="*/ 400050 h 1543666"/>
              <a:gd name="connsiteX19" fmla="*/ 2023110 w 3520776"/>
              <a:gd name="connsiteY19" fmla="*/ 369570 h 1543666"/>
              <a:gd name="connsiteX20" fmla="*/ 2110740 w 3520776"/>
              <a:gd name="connsiteY20" fmla="*/ 346710 h 1543666"/>
              <a:gd name="connsiteX21" fmla="*/ 2232660 w 3520776"/>
              <a:gd name="connsiteY21" fmla="*/ 320040 h 1543666"/>
              <a:gd name="connsiteX22" fmla="*/ 2346960 w 3520776"/>
              <a:gd name="connsiteY22" fmla="*/ 320040 h 1543666"/>
              <a:gd name="connsiteX23" fmla="*/ 2472690 w 3520776"/>
              <a:gd name="connsiteY23" fmla="*/ 335280 h 1543666"/>
              <a:gd name="connsiteX24" fmla="*/ 2590800 w 3520776"/>
              <a:gd name="connsiteY24" fmla="*/ 358140 h 1543666"/>
              <a:gd name="connsiteX25" fmla="*/ 2708910 w 3520776"/>
              <a:gd name="connsiteY25" fmla="*/ 400050 h 1543666"/>
              <a:gd name="connsiteX26" fmla="*/ 2819400 w 3520776"/>
              <a:gd name="connsiteY26" fmla="*/ 449580 h 1543666"/>
              <a:gd name="connsiteX27" fmla="*/ 2937510 w 3520776"/>
              <a:gd name="connsiteY27" fmla="*/ 499110 h 1543666"/>
              <a:gd name="connsiteX28" fmla="*/ 3048000 w 3520776"/>
              <a:gd name="connsiteY28" fmla="*/ 556260 h 1543666"/>
              <a:gd name="connsiteX29" fmla="*/ 3131820 w 3520776"/>
              <a:gd name="connsiteY29" fmla="*/ 613410 h 1543666"/>
              <a:gd name="connsiteX30" fmla="*/ 3211830 w 3520776"/>
              <a:gd name="connsiteY30" fmla="*/ 674370 h 1543666"/>
              <a:gd name="connsiteX31" fmla="*/ 3272790 w 3520776"/>
              <a:gd name="connsiteY31" fmla="*/ 727710 h 1543666"/>
              <a:gd name="connsiteX32" fmla="*/ 3333750 w 3520776"/>
              <a:gd name="connsiteY32" fmla="*/ 796290 h 1543666"/>
              <a:gd name="connsiteX33" fmla="*/ 3390900 w 3520776"/>
              <a:gd name="connsiteY33" fmla="*/ 887730 h 1543666"/>
              <a:gd name="connsiteX34" fmla="*/ 3421380 w 3520776"/>
              <a:gd name="connsiteY34" fmla="*/ 960120 h 1543666"/>
              <a:gd name="connsiteX35" fmla="*/ 3455670 w 3520776"/>
              <a:gd name="connsiteY35" fmla="*/ 1108710 h 1543666"/>
              <a:gd name="connsiteX36" fmla="*/ 3474720 w 3520776"/>
              <a:gd name="connsiteY36" fmla="*/ 1215390 h 1543666"/>
              <a:gd name="connsiteX37" fmla="*/ 3497580 w 3520776"/>
              <a:gd name="connsiteY37" fmla="*/ 1310640 h 1543666"/>
              <a:gd name="connsiteX38" fmla="*/ 3516630 w 3520776"/>
              <a:gd name="connsiteY38" fmla="*/ 1402080 h 1543666"/>
              <a:gd name="connsiteX39" fmla="*/ 3520440 w 3520776"/>
              <a:gd name="connsiteY39" fmla="*/ 1470660 h 1543666"/>
              <a:gd name="connsiteX40" fmla="*/ 3512820 w 3520776"/>
              <a:gd name="connsiteY40" fmla="*/ 1520190 h 1543666"/>
              <a:gd name="connsiteX41" fmla="*/ 3451860 w 3520776"/>
              <a:gd name="connsiteY41" fmla="*/ 1543050 h 1543666"/>
              <a:gd name="connsiteX42" fmla="*/ 3379470 w 3520776"/>
              <a:gd name="connsiteY42" fmla="*/ 1531620 h 1543666"/>
              <a:gd name="connsiteX43" fmla="*/ 3307080 w 3520776"/>
              <a:gd name="connsiteY43" fmla="*/ 1466850 h 1543666"/>
              <a:gd name="connsiteX44" fmla="*/ 3253740 w 3520776"/>
              <a:gd name="connsiteY44" fmla="*/ 1409700 h 1543666"/>
              <a:gd name="connsiteX45" fmla="*/ 3223260 w 3520776"/>
              <a:gd name="connsiteY45" fmla="*/ 1352550 h 1543666"/>
              <a:gd name="connsiteX46" fmla="*/ 3177540 w 3520776"/>
              <a:gd name="connsiteY46" fmla="*/ 1283970 h 1543666"/>
              <a:gd name="connsiteX47" fmla="*/ 3139440 w 3520776"/>
              <a:gd name="connsiteY47" fmla="*/ 1238250 h 1543666"/>
              <a:gd name="connsiteX0" fmla="*/ 0 w 3520776"/>
              <a:gd name="connsiteY0" fmla="*/ 0 h 1543666"/>
              <a:gd name="connsiteX1" fmla="*/ 11430 w 3520776"/>
              <a:gd name="connsiteY1" fmla="*/ 68580 h 1543666"/>
              <a:gd name="connsiteX2" fmla="*/ 76200 w 3520776"/>
              <a:gd name="connsiteY2" fmla="*/ 152400 h 1543666"/>
              <a:gd name="connsiteX3" fmla="*/ 140970 w 3520776"/>
              <a:gd name="connsiteY3" fmla="*/ 209550 h 1543666"/>
              <a:gd name="connsiteX4" fmla="*/ 240030 w 3520776"/>
              <a:gd name="connsiteY4" fmla="*/ 270510 h 1543666"/>
              <a:gd name="connsiteX5" fmla="*/ 346710 w 3520776"/>
              <a:gd name="connsiteY5" fmla="*/ 331470 h 1543666"/>
              <a:gd name="connsiteX6" fmla="*/ 483870 w 3520776"/>
              <a:gd name="connsiteY6" fmla="*/ 392430 h 1543666"/>
              <a:gd name="connsiteX7" fmla="*/ 617220 w 3520776"/>
              <a:gd name="connsiteY7" fmla="*/ 434340 h 1543666"/>
              <a:gd name="connsiteX8" fmla="*/ 792480 w 3520776"/>
              <a:gd name="connsiteY8" fmla="*/ 483870 h 1543666"/>
              <a:gd name="connsiteX9" fmla="*/ 963930 w 3520776"/>
              <a:gd name="connsiteY9" fmla="*/ 510540 h 1543666"/>
              <a:gd name="connsiteX10" fmla="*/ 1104900 w 3520776"/>
              <a:gd name="connsiteY10" fmla="*/ 518160 h 1543666"/>
              <a:gd name="connsiteX11" fmla="*/ 1219200 w 3520776"/>
              <a:gd name="connsiteY11" fmla="*/ 514350 h 1543666"/>
              <a:gd name="connsiteX12" fmla="*/ 1306830 w 3520776"/>
              <a:gd name="connsiteY12" fmla="*/ 510540 h 1543666"/>
              <a:gd name="connsiteX13" fmla="*/ 1390650 w 3520776"/>
              <a:gd name="connsiteY13" fmla="*/ 510540 h 1543666"/>
              <a:gd name="connsiteX14" fmla="*/ 1489710 w 3520776"/>
              <a:gd name="connsiteY14" fmla="*/ 495300 h 1543666"/>
              <a:gd name="connsiteX15" fmla="*/ 1581150 w 3520776"/>
              <a:gd name="connsiteY15" fmla="*/ 480060 h 1543666"/>
              <a:gd name="connsiteX16" fmla="*/ 1703070 w 3520776"/>
              <a:gd name="connsiteY16" fmla="*/ 461010 h 1543666"/>
              <a:gd name="connsiteX17" fmla="*/ 1828800 w 3520776"/>
              <a:gd name="connsiteY17" fmla="*/ 426720 h 1543666"/>
              <a:gd name="connsiteX18" fmla="*/ 1927860 w 3520776"/>
              <a:gd name="connsiteY18" fmla="*/ 400050 h 1543666"/>
              <a:gd name="connsiteX19" fmla="*/ 2023110 w 3520776"/>
              <a:gd name="connsiteY19" fmla="*/ 369570 h 1543666"/>
              <a:gd name="connsiteX20" fmla="*/ 2110740 w 3520776"/>
              <a:gd name="connsiteY20" fmla="*/ 346710 h 1543666"/>
              <a:gd name="connsiteX21" fmla="*/ 2232660 w 3520776"/>
              <a:gd name="connsiteY21" fmla="*/ 320040 h 1543666"/>
              <a:gd name="connsiteX22" fmla="*/ 2346960 w 3520776"/>
              <a:gd name="connsiteY22" fmla="*/ 320040 h 1543666"/>
              <a:gd name="connsiteX23" fmla="*/ 2472690 w 3520776"/>
              <a:gd name="connsiteY23" fmla="*/ 335280 h 1543666"/>
              <a:gd name="connsiteX24" fmla="*/ 2590800 w 3520776"/>
              <a:gd name="connsiteY24" fmla="*/ 358140 h 1543666"/>
              <a:gd name="connsiteX25" fmla="*/ 2708910 w 3520776"/>
              <a:gd name="connsiteY25" fmla="*/ 400050 h 1543666"/>
              <a:gd name="connsiteX26" fmla="*/ 2819400 w 3520776"/>
              <a:gd name="connsiteY26" fmla="*/ 449580 h 1543666"/>
              <a:gd name="connsiteX27" fmla="*/ 2937510 w 3520776"/>
              <a:gd name="connsiteY27" fmla="*/ 499110 h 1543666"/>
              <a:gd name="connsiteX28" fmla="*/ 3048000 w 3520776"/>
              <a:gd name="connsiteY28" fmla="*/ 556260 h 1543666"/>
              <a:gd name="connsiteX29" fmla="*/ 3131820 w 3520776"/>
              <a:gd name="connsiteY29" fmla="*/ 613410 h 1543666"/>
              <a:gd name="connsiteX30" fmla="*/ 3211830 w 3520776"/>
              <a:gd name="connsiteY30" fmla="*/ 674370 h 1543666"/>
              <a:gd name="connsiteX31" fmla="*/ 3272790 w 3520776"/>
              <a:gd name="connsiteY31" fmla="*/ 727710 h 1543666"/>
              <a:gd name="connsiteX32" fmla="*/ 3333750 w 3520776"/>
              <a:gd name="connsiteY32" fmla="*/ 796290 h 1543666"/>
              <a:gd name="connsiteX33" fmla="*/ 3390900 w 3520776"/>
              <a:gd name="connsiteY33" fmla="*/ 887730 h 1543666"/>
              <a:gd name="connsiteX34" fmla="*/ 3421380 w 3520776"/>
              <a:gd name="connsiteY34" fmla="*/ 960120 h 1543666"/>
              <a:gd name="connsiteX35" fmla="*/ 3455670 w 3520776"/>
              <a:gd name="connsiteY35" fmla="*/ 1108710 h 1543666"/>
              <a:gd name="connsiteX36" fmla="*/ 3474720 w 3520776"/>
              <a:gd name="connsiteY36" fmla="*/ 1215390 h 1543666"/>
              <a:gd name="connsiteX37" fmla="*/ 3497580 w 3520776"/>
              <a:gd name="connsiteY37" fmla="*/ 1310640 h 1543666"/>
              <a:gd name="connsiteX38" fmla="*/ 3516630 w 3520776"/>
              <a:gd name="connsiteY38" fmla="*/ 1402080 h 1543666"/>
              <a:gd name="connsiteX39" fmla="*/ 3520440 w 3520776"/>
              <a:gd name="connsiteY39" fmla="*/ 1470660 h 1543666"/>
              <a:gd name="connsiteX40" fmla="*/ 3512820 w 3520776"/>
              <a:gd name="connsiteY40" fmla="*/ 1520190 h 1543666"/>
              <a:gd name="connsiteX41" fmla="*/ 3451860 w 3520776"/>
              <a:gd name="connsiteY41" fmla="*/ 1543050 h 1543666"/>
              <a:gd name="connsiteX42" fmla="*/ 3379470 w 3520776"/>
              <a:gd name="connsiteY42" fmla="*/ 1531620 h 1543666"/>
              <a:gd name="connsiteX43" fmla="*/ 3307080 w 3520776"/>
              <a:gd name="connsiteY43" fmla="*/ 1466850 h 1543666"/>
              <a:gd name="connsiteX44" fmla="*/ 3253740 w 3520776"/>
              <a:gd name="connsiteY44" fmla="*/ 1409700 h 1543666"/>
              <a:gd name="connsiteX45" fmla="*/ 3223260 w 3520776"/>
              <a:gd name="connsiteY45" fmla="*/ 1352550 h 1543666"/>
              <a:gd name="connsiteX46" fmla="*/ 3173730 w 3520776"/>
              <a:gd name="connsiteY46" fmla="*/ 1299210 h 1543666"/>
              <a:gd name="connsiteX47" fmla="*/ 3139440 w 3520776"/>
              <a:gd name="connsiteY47" fmla="*/ 1238250 h 1543666"/>
              <a:gd name="connsiteX0" fmla="*/ 0 w 3520776"/>
              <a:gd name="connsiteY0" fmla="*/ 0 h 1543666"/>
              <a:gd name="connsiteX1" fmla="*/ 11430 w 3520776"/>
              <a:gd name="connsiteY1" fmla="*/ 68580 h 1543666"/>
              <a:gd name="connsiteX2" fmla="*/ 76200 w 3520776"/>
              <a:gd name="connsiteY2" fmla="*/ 152400 h 1543666"/>
              <a:gd name="connsiteX3" fmla="*/ 140970 w 3520776"/>
              <a:gd name="connsiteY3" fmla="*/ 209550 h 1543666"/>
              <a:gd name="connsiteX4" fmla="*/ 240030 w 3520776"/>
              <a:gd name="connsiteY4" fmla="*/ 270510 h 1543666"/>
              <a:gd name="connsiteX5" fmla="*/ 346710 w 3520776"/>
              <a:gd name="connsiteY5" fmla="*/ 331470 h 1543666"/>
              <a:gd name="connsiteX6" fmla="*/ 483870 w 3520776"/>
              <a:gd name="connsiteY6" fmla="*/ 392430 h 1543666"/>
              <a:gd name="connsiteX7" fmla="*/ 617220 w 3520776"/>
              <a:gd name="connsiteY7" fmla="*/ 434340 h 1543666"/>
              <a:gd name="connsiteX8" fmla="*/ 792480 w 3520776"/>
              <a:gd name="connsiteY8" fmla="*/ 483870 h 1543666"/>
              <a:gd name="connsiteX9" fmla="*/ 963930 w 3520776"/>
              <a:gd name="connsiteY9" fmla="*/ 510540 h 1543666"/>
              <a:gd name="connsiteX10" fmla="*/ 1104900 w 3520776"/>
              <a:gd name="connsiteY10" fmla="*/ 518160 h 1543666"/>
              <a:gd name="connsiteX11" fmla="*/ 1219200 w 3520776"/>
              <a:gd name="connsiteY11" fmla="*/ 514350 h 1543666"/>
              <a:gd name="connsiteX12" fmla="*/ 1306830 w 3520776"/>
              <a:gd name="connsiteY12" fmla="*/ 510540 h 1543666"/>
              <a:gd name="connsiteX13" fmla="*/ 1390650 w 3520776"/>
              <a:gd name="connsiteY13" fmla="*/ 510540 h 1543666"/>
              <a:gd name="connsiteX14" fmla="*/ 1489710 w 3520776"/>
              <a:gd name="connsiteY14" fmla="*/ 495300 h 1543666"/>
              <a:gd name="connsiteX15" fmla="*/ 1581150 w 3520776"/>
              <a:gd name="connsiteY15" fmla="*/ 480060 h 1543666"/>
              <a:gd name="connsiteX16" fmla="*/ 1703070 w 3520776"/>
              <a:gd name="connsiteY16" fmla="*/ 461010 h 1543666"/>
              <a:gd name="connsiteX17" fmla="*/ 1828800 w 3520776"/>
              <a:gd name="connsiteY17" fmla="*/ 426720 h 1543666"/>
              <a:gd name="connsiteX18" fmla="*/ 1927860 w 3520776"/>
              <a:gd name="connsiteY18" fmla="*/ 400050 h 1543666"/>
              <a:gd name="connsiteX19" fmla="*/ 2023110 w 3520776"/>
              <a:gd name="connsiteY19" fmla="*/ 369570 h 1543666"/>
              <a:gd name="connsiteX20" fmla="*/ 2110740 w 3520776"/>
              <a:gd name="connsiteY20" fmla="*/ 346710 h 1543666"/>
              <a:gd name="connsiteX21" fmla="*/ 2232660 w 3520776"/>
              <a:gd name="connsiteY21" fmla="*/ 320040 h 1543666"/>
              <a:gd name="connsiteX22" fmla="*/ 2346960 w 3520776"/>
              <a:gd name="connsiteY22" fmla="*/ 320040 h 1543666"/>
              <a:gd name="connsiteX23" fmla="*/ 2472690 w 3520776"/>
              <a:gd name="connsiteY23" fmla="*/ 335280 h 1543666"/>
              <a:gd name="connsiteX24" fmla="*/ 2590800 w 3520776"/>
              <a:gd name="connsiteY24" fmla="*/ 358140 h 1543666"/>
              <a:gd name="connsiteX25" fmla="*/ 2708910 w 3520776"/>
              <a:gd name="connsiteY25" fmla="*/ 400050 h 1543666"/>
              <a:gd name="connsiteX26" fmla="*/ 2819400 w 3520776"/>
              <a:gd name="connsiteY26" fmla="*/ 449580 h 1543666"/>
              <a:gd name="connsiteX27" fmla="*/ 2937510 w 3520776"/>
              <a:gd name="connsiteY27" fmla="*/ 499110 h 1543666"/>
              <a:gd name="connsiteX28" fmla="*/ 3048000 w 3520776"/>
              <a:gd name="connsiteY28" fmla="*/ 556260 h 1543666"/>
              <a:gd name="connsiteX29" fmla="*/ 3131820 w 3520776"/>
              <a:gd name="connsiteY29" fmla="*/ 613410 h 1543666"/>
              <a:gd name="connsiteX30" fmla="*/ 3211830 w 3520776"/>
              <a:gd name="connsiteY30" fmla="*/ 674370 h 1543666"/>
              <a:gd name="connsiteX31" fmla="*/ 3272790 w 3520776"/>
              <a:gd name="connsiteY31" fmla="*/ 727710 h 1543666"/>
              <a:gd name="connsiteX32" fmla="*/ 3333750 w 3520776"/>
              <a:gd name="connsiteY32" fmla="*/ 796290 h 1543666"/>
              <a:gd name="connsiteX33" fmla="*/ 3390900 w 3520776"/>
              <a:gd name="connsiteY33" fmla="*/ 887730 h 1543666"/>
              <a:gd name="connsiteX34" fmla="*/ 3421380 w 3520776"/>
              <a:gd name="connsiteY34" fmla="*/ 960120 h 1543666"/>
              <a:gd name="connsiteX35" fmla="*/ 3455670 w 3520776"/>
              <a:gd name="connsiteY35" fmla="*/ 1108710 h 1543666"/>
              <a:gd name="connsiteX36" fmla="*/ 3474720 w 3520776"/>
              <a:gd name="connsiteY36" fmla="*/ 1215390 h 1543666"/>
              <a:gd name="connsiteX37" fmla="*/ 3497580 w 3520776"/>
              <a:gd name="connsiteY37" fmla="*/ 1310640 h 1543666"/>
              <a:gd name="connsiteX38" fmla="*/ 3516630 w 3520776"/>
              <a:gd name="connsiteY38" fmla="*/ 1402080 h 1543666"/>
              <a:gd name="connsiteX39" fmla="*/ 3520440 w 3520776"/>
              <a:gd name="connsiteY39" fmla="*/ 1470660 h 1543666"/>
              <a:gd name="connsiteX40" fmla="*/ 3512820 w 3520776"/>
              <a:gd name="connsiteY40" fmla="*/ 1520190 h 1543666"/>
              <a:gd name="connsiteX41" fmla="*/ 3451860 w 3520776"/>
              <a:gd name="connsiteY41" fmla="*/ 1543050 h 1543666"/>
              <a:gd name="connsiteX42" fmla="*/ 3379470 w 3520776"/>
              <a:gd name="connsiteY42" fmla="*/ 1531620 h 1543666"/>
              <a:gd name="connsiteX43" fmla="*/ 3307080 w 3520776"/>
              <a:gd name="connsiteY43" fmla="*/ 1466850 h 1543666"/>
              <a:gd name="connsiteX44" fmla="*/ 3253740 w 3520776"/>
              <a:gd name="connsiteY44" fmla="*/ 1409700 h 1543666"/>
              <a:gd name="connsiteX45" fmla="*/ 3215640 w 3520776"/>
              <a:gd name="connsiteY45" fmla="*/ 1360170 h 1543666"/>
              <a:gd name="connsiteX46" fmla="*/ 3173730 w 3520776"/>
              <a:gd name="connsiteY46" fmla="*/ 1299210 h 1543666"/>
              <a:gd name="connsiteX47" fmla="*/ 3139440 w 3520776"/>
              <a:gd name="connsiteY47" fmla="*/ 1238250 h 1543666"/>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14350 h 1543853"/>
              <a:gd name="connsiteX12" fmla="*/ 1306830 w 3520440"/>
              <a:gd name="connsiteY12" fmla="*/ 51054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2690 w 3520440"/>
              <a:gd name="connsiteY23" fmla="*/ 335280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14350 h 1543853"/>
              <a:gd name="connsiteX12" fmla="*/ 1306830 w 3520440"/>
              <a:gd name="connsiteY12" fmla="*/ 51054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2690 w 3520440"/>
              <a:gd name="connsiteY23" fmla="*/ 335280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14350 h 1543853"/>
              <a:gd name="connsiteX12" fmla="*/ 1306830 w 3520440"/>
              <a:gd name="connsiteY12" fmla="*/ 51054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2690 w 3520440"/>
              <a:gd name="connsiteY23" fmla="*/ 335280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14350 h 1543853"/>
              <a:gd name="connsiteX12" fmla="*/ 1299210 w 3520440"/>
              <a:gd name="connsiteY12" fmla="*/ 51816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2690 w 3520440"/>
              <a:gd name="connsiteY23" fmla="*/ 335280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21494 h 1543853"/>
              <a:gd name="connsiteX12" fmla="*/ 1299210 w 3520440"/>
              <a:gd name="connsiteY12" fmla="*/ 51816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2690 w 3520440"/>
              <a:gd name="connsiteY23" fmla="*/ 335280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21494 h 1543853"/>
              <a:gd name="connsiteX12" fmla="*/ 1308735 w 3520440"/>
              <a:gd name="connsiteY12" fmla="*/ 51816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2690 w 3520440"/>
              <a:gd name="connsiteY23" fmla="*/ 335280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21494 h 1543853"/>
              <a:gd name="connsiteX12" fmla="*/ 1308735 w 3520440"/>
              <a:gd name="connsiteY12" fmla="*/ 51816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2690 w 3520440"/>
              <a:gd name="connsiteY23" fmla="*/ 335280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21494 h 1543853"/>
              <a:gd name="connsiteX12" fmla="*/ 1308735 w 3520440"/>
              <a:gd name="connsiteY12" fmla="*/ 51816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2690 w 3520440"/>
              <a:gd name="connsiteY23" fmla="*/ 335280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21494 h 1543853"/>
              <a:gd name="connsiteX12" fmla="*/ 1308735 w 3520440"/>
              <a:gd name="connsiteY12" fmla="*/ 51816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2690 w 3520440"/>
              <a:gd name="connsiteY23" fmla="*/ 335280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21494 h 1543853"/>
              <a:gd name="connsiteX12" fmla="*/ 1308735 w 3520440"/>
              <a:gd name="connsiteY12" fmla="*/ 51816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2690 w 3520440"/>
              <a:gd name="connsiteY23" fmla="*/ 335280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21494 h 1543853"/>
              <a:gd name="connsiteX12" fmla="*/ 1308735 w 3520440"/>
              <a:gd name="connsiteY12" fmla="*/ 51816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6960 w 3520440"/>
              <a:gd name="connsiteY22" fmla="*/ 320040 h 1543853"/>
              <a:gd name="connsiteX23" fmla="*/ 2475071 w 3520440"/>
              <a:gd name="connsiteY23" fmla="*/ 328136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20440"/>
              <a:gd name="connsiteY0" fmla="*/ 0 h 1543853"/>
              <a:gd name="connsiteX1" fmla="*/ 11430 w 3520440"/>
              <a:gd name="connsiteY1" fmla="*/ 68580 h 1543853"/>
              <a:gd name="connsiteX2" fmla="*/ 76200 w 3520440"/>
              <a:gd name="connsiteY2" fmla="*/ 152400 h 1543853"/>
              <a:gd name="connsiteX3" fmla="*/ 140970 w 3520440"/>
              <a:gd name="connsiteY3" fmla="*/ 209550 h 1543853"/>
              <a:gd name="connsiteX4" fmla="*/ 240030 w 3520440"/>
              <a:gd name="connsiteY4" fmla="*/ 270510 h 1543853"/>
              <a:gd name="connsiteX5" fmla="*/ 346710 w 3520440"/>
              <a:gd name="connsiteY5" fmla="*/ 331470 h 1543853"/>
              <a:gd name="connsiteX6" fmla="*/ 483870 w 3520440"/>
              <a:gd name="connsiteY6" fmla="*/ 392430 h 1543853"/>
              <a:gd name="connsiteX7" fmla="*/ 617220 w 3520440"/>
              <a:gd name="connsiteY7" fmla="*/ 434340 h 1543853"/>
              <a:gd name="connsiteX8" fmla="*/ 792480 w 3520440"/>
              <a:gd name="connsiteY8" fmla="*/ 483870 h 1543853"/>
              <a:gd name="connsiteX9" fmla="*/ 963930 w 3520440"/>
              <a:gd name="connsiteY9" fmla="*/ 510540 h 1543853"/>
              <a:gd name="connsiteX10" fmla="*/ 1104900 w 3520440"/>
              <a:gd name="connsiteY10" fmla="*/ 518160 h 1543853"/>
              <a:gd name="connsiteX11" fmla="*/ 1219200 w 3520440"/>
              <a:gd name="connsiteY11" fmla="*/ 521494 h 1543853"/>
              <a:gd name="connsiteX12" fmla="*/ 1308735 w 3520440"/>
              <a:gd name="connsiteY12" fmla="*/ 518160 h 1543853"/>
              <a:gd name="connsiteX13" fmla="*/ 1390650 w 3520440"/>
              <a:gd name="connsiteY13" fmla="*/ 510540 h 1543853"/>
              <a:gd name="connsiteX14" fmla="*/ 1489710 w 3520440"/>
              <a:gd name="connsiteY14" fmla="*/ 495300 h 1543853"/>
              <a:gd name="connsiteX15" fmla="*/ 1581150 w 3520440"/>
              <a:gd name="connsiteY15" fmla="*/ 480060 h 1543853"/>
              <a:gd name="connsiteX16" fmla="*/ 1703070 w 3520440"/>
              <a:gd name="connsiteY16" fmla="*/ 461010 h 1543853"/>
              <a:gd name="connsiteX17" fmla="*/ 1828800 w 3520440"/>
              <a:gd name="connsiteY17" fmla="*/ 426720 h 1543853"/>
              <a:gd name="connsiteX18" fmla="*/ 1927860 w 3520440"/>
              <a:gd name="connsiteY18" fmla="*/ 400050 h 1543853"/>
              <a:gd name="connsiteX19" fmla="*/ 2023110 w 3520440"/>
              <a:gd name="connsiteY19" fmla="*/ 369570 h 1543853"/>
              <a:gd name="connsiteX20" fmla="*/ 2110740 w 3520440"/>
              <a:gd name="connsiteY20" fmla="*/ 346710 h 1543853"/>
              <a:gd name="connsiteX21" fmla="*/ 2232660 w 3520440"/>
              <a:gd name="connsiteY21" fmla="*/ 320040 h 1543853"/>
              <a:gd name="connsiteX22" fmla="*/ 2349341 w 3520440"/>
              <a:gd name="connsiteY22" fmla="*/ 315278 h 1543853"/>
              <a:gd name="connsiteX23" fmla="*/ 2475071 w 3520440"/>
              <a:gd name="connsiteY23" fmla="*/ 328136 h 1543853"/>
              <a:gd name="connsiteX24" fmla="*/ 2590800 w 3520440"/>
              <a:gd name="connsiteY24" fmla="*/ 358140 h 1543853"/>
              <a:gd name="connsiteX25" fmla="*/ 2708910 w 3520440"/>
              <a:gd name="connsiteY25" fmla="*/ 400050 h 1543853"/>
              <a:gd name="connsiteX26" fmla="*/ 2819400 w 3520440"/>
              <a:gd name="connsiteY26" fmla="*/ 449580 h 1543853"/>
              <a:gd name="connsiteX27" fmla="*/ 2937510 w 3520440"/>
              <a:gd name="connsiteY27" fmla="*/ 499110 h 1543853"/>
              <a:gd name="connsiteX28" fmla="*/ 3048000 w 3520440"/>
              <a:gd name="connsiteY28" fmla="*/ 556260 h 1543853"/>
              <a:gd name="connsiteX29" fmla="*/ 3131820 w 3520440"/>
              <a:gd name="connsiteY29" fmla="*/ 613410 h 1543853"/>
              <a:gd name="connsiteX30" fmla="*/ 3211830 w 3520440"/>
              <a:gd name="connsiteY30" fmla="*/ 674370 h 1543853"/>
              <a:gd name="connsiteX31" fmla="*/ 3272790 w 3520440"/>
              <a:gd name="connsiteY31" fmla="*/ 727710 h 1543853"/>
              <a:gd name="connsiteX32" fmla="*/ 3333750 w 3520440"/>
              <a:gd name="connsiteY32" fmla="*/ 796290 h 1543853"/>
              <a:gd name="connsiteX33" fmla="*/ 3390900 w 3520440"/>
              <a:gd name="connsiteY33" fmla="*/ 887730 h 1543853"/>
              <a:gd name="connsiteX34" fmla="*/ 3421380 w 3520440"/>
              <a:gd name="connsiteY34" fmla="*/ 960120 h 1543853"/>
              <a:gd name="connsiteX35" fmla="*/ 3455670 w 3520440"/>
              <a:gd name="connsiteY35" fmla="*/ 1108710 h 1543853"/>
              <a:gd name="connsiteX36" fmla="*/ 3474720 w 3520440"/>
              <a:gd name="connsiteY36" fmla="*/ 1215390 h 1543853"/>
              <a:gd name="connsiteX37" fmla="*/ 3497580 w 3520440"/>
              <a:gd name="connsiteY37" fmla="*/ 1310640 h 1543853"/>
              <a:gd name="connsiteX38" fmla="*/ 3516630 w 3520440"/>
              <a:gd name="connsiteY38" fmla="*/ 1402080 h 1543853"/>
              <a:gd name="connsiteX39" fmla="*/ 3520440 w 3520440"/>
              <a:gd name="connsiteY39" fmla="*/ 1470660 h 1543853"/>
              <a:gd name="connsiteX40" fmla="*/ 3493770 w 3520440"/>
              <a:gd name="connsiteY40" fmla="*/ 1520190 h 1543853"/>
              <a:gd name="connsiteX41" fmla="*/ 3451860 w 3520440"/>
              <a:gd name="connsiteY41" fmla="*/ 1543050 h 1543853"/>
              <a:gd name="connsiteX42" fmla="*/ 3379470 w 3520440"/>
              <a:gd name="connsiteY42" fmla="*/ 1531620 h 1543853"/>
              <a:gd name="connsiteX43" fmla="*/ 3307080 w 3520440"/>
              <a:gd name="connsiteY43" fmla="*/ 1466850 h 1543853"/>
              <a:gd name="connsiteX44" fmla="*/ 3253740 w 3520440"/>
              <a:gd name="connsiteY44" fmla="*/ 1409700 h 1543853"/>
              <a:gd name="connsiteX45" fmla="*/ 3215640 w 3520440"/>
              <a:gd name="connsiteY45" fmla="*/ 1360170 h 1543853"/>
              <a:gd name="connsiteX46" fmla="*/ 3173730 w 3520440"/>
              <a:gd name="connsiteY46" fmla="*/ 1299210 h 1543853"/>
              <a:gd name="connsiteX47" fmla="*/ 3139440 w 3520440"/>
              <a:gd name="connsiteY47" fmla="*/ 1238250 h 154385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1680 w 3509010"/>
              <a:gd name="connsiteY18" fmla="*/ 300990 h 1475273"/>
              <a:gd name="connsiteX19" fmla="*/ 2099310 w 3509010"/>
              <a:gd name="connsiteY19" fmla="*/ 27813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30530 h 1475273"/>
              <a:gd name="connsiteX27" fmla="*/ 3036570 w 3509010"/>
              <a:gd name="connsiteY27" fmla="*/ 487680 h 1475273"/>
              <a:gd name="connsiteX28" fmla="*/ 3120390 w 3509010"/>
              <a:gd name="connsiteY28" fmla="*/ 54483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19150 h 1475273"/>
              <a:gd name="connsiteX33" fmla="*/ 3409950 w 3509010"/>
              <a:gd name="connsiteY33" fmla="*/ 89154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1680 w 3509010"/>
              <a:gd name="connsiteY18" fmla="*/ 300990 h 1475273"/>
              <a:gd name="connsiteX19" fmla="*/ 2099310 w 3509010"/>
              <a:gd name="connsiteY19" fmla="*/ 27813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36570 w 3509010"/>
              <a:gd name="connsiteY27" fmla="*/ 487680 h 1475273"/>
              <a:gd name="connsiteX28" fmla="*/ 3120390 w 3509010"/>
              <a:gd name="connsiteY28" fmla="*/ 54483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19150 h 1475273"/>
              <a:gd name="connsiteX33" fmla="*/ 3409950 w 3509010"/>
              <a:gd name="connsiteY33" fmla="*/ 89154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1680 w 3509010"/>
              <a:gd name="connsiteY18" fmla="*/ 300990 h 1475273"/>
              <a:gd name="connsiteX19" fmla="*/ 2099310 w 3509010"/>
              <a:gd name="connsiteY19" fmla="*/ 27813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39745 w 3509010"/>
              <a:gd name="connsiteY27" fmla="*/ 500380 h 1475273"/>
              <a:gd name="connsiteX28" fmla="*/ 3120390 w 3509010"/>
              <a:gd name="connsiteY28" fmla="*/ 54483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19150 h 1475273"/>
              <a:gd name="connsiteX33" fmla="*/ 3409950 w 3509010"/>
              <a:gd name="connsiteY33" fmla="*/ 89154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1680 w 3509010"/>
              <a:gd name="connsiteY18" fmla="*/ 300990 h 1475273"/>
              <a:gd name="connsiteX19" fmla="*/ 2099310 w 3509010"/>
              <a:gd name="connsiteY19" fmla="*/ 27813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39745 w 3509010"/>
              <a:gd name="connsiteY27" fmla="*/ 50038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19150 h 1475273"/>
              <a:gd name="connsiteX33" fmla="*/ 3409950 w 3509010"/>
              <a:gd name="connsiteY33" fmla="*/ 89154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1680 w 3509010"/>
              <a:gd name="connsiteY18" fmla="*/ 300990 h 1475273"/>
              <a:gd name="connsiteX19" fmla="*/ 2099310 w 3509010"/>
              <a:gd name="connsiteY19" fmla="*/ 27813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30220 w 3509010"/>
              <a:gd name="connsiteY27" fmla="*/ 51308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19150 h 1475273"/>
              <a:gd name="connsiteX33" fmla="*/ 3409950 w 3509010"/>
              <a:gd name="connsiteY33" fmla="*/ 89154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1680 w 3509010"/>
              <a:gd name="connsiteY18" fmla="*/ 300990 h 1475273"/>
              <a:gd name="connsiteX19" fmla="*/ 2099310 w 3509010"/>
              <a:gd name="connsiteY19" fmla="*/ 27813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19150 h 1475273"/>
              <a:gd name="connsiteX33" fmla="*/ 3409950 w 3509010"/>
              <a:gd name="connsiteY33" fmla="*/ 89154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1680 w 3509010"/>
              <a:gd name="connsiteY18" fmla="*/ 300990 h 1475273"/>
              <a:gd name="connsiteX19" fmla="*/ 2099310 w 3509010"/>
              <a:gd name="connsiteY19" fmla="*/ 27813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9950 w 3509010"/>
              <a:gd name="connsiteY33" fmla="*/ 89154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1680 w 3509010"/>
              <a:gd name="connsiteY18" fmla="*/ 300990 h 1475273"/>
              <a:gd name="connsiteX19" fmla="*/ 2099310 w 3509010"/>
              <a:gd name="connsiteY19" fmla="*/ 27813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08505 w 3509010"/>
              <a:gd name="connsiteY18" fmla="*/ 294640 h 1475273"/>
              <a:gd name="connsiteX19" fmla="*/ 2099310 w 3509010"/>
              <a:gd name="connsiteY19" fmla="*/ 27813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0850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0850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05330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05330 w 3509010"/>
              <a:gd name="connsiteY18" fmla="*/ 304165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05330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62890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74797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1930 h 1475273"/>
              <a:gd name="connsiteX4" fmla="*/ 335280 w 3509010"/>
              <a:gd name="connsiteY4" fmla="*/ 274797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1457 w 3509010"/>
              <a:gd name="connsiteY3" fmla="*/ 209073 h 1475273"/>
              <a:gd name="connsiteX4" fmla="*/ 335280 w 3509010"/>
              <a:gd name="connsiteY4" fmla="*/ 274797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9073 h 1475273"/>
              <a:gd name="connsiteX4" fmla="*/ 335280 w 3509010"/>
              <a:gd name="connsiteY4" fmla="*/ 274797 h 1475273"/>
              <a:gd name="connsiteX5" fmla="*/ 472440 w 3509010"/>
              <a:gd name="connsiteY5" fmla="*/ 323850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9073 h 1475273"/>
              <a:gd name="connsiteX4" fmla="*/ 335280 w 3509010"/>
              <a:gd name="connsiteY4" fmla="*/ 274797 h 1475273"/>
              <a:gd name="connsiteX5" fmla="*/ 472440 w 3509010"/>
              <a:gd name="connsiteY5" fmla="*/ 330994 h 1475273"/>
              <a:gd name="connsiteX6" fmla="*/ 605790 w 3509010"/>
              <a:gd name="connsiteY6" fmla="*/ 365760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9073 h 1475273"/>
              <a:gd name="connsiteX4" fmla="*/ 335280 w 3509010"/>
              <a:gd name="connsiteY4" fmla="*/ 274797 h 1475273"/>
              <a:gd name="connsiteX5" fmla="*/ 472440 w 3509010"/>
              <a:gd name="connsiteY5" fmla="*/ 330994 h 1475273"/>
              <a:gd name="connsiteX6" fmla="*/ 598646 w 3509010"/>
              <a:gd name="connsiteY6" fmla="*/ 372904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9073 h 1475273"/>
              <a:gd name="connsiteX4" fmla="*/ 335280 w 3509010"/>
              <a:gd name="connsiteY4" fmla="*/ 274797 h 1475273"/>
              <a:gd name="connsiteX5" fmla="*/ 472440 w 3509010"/>
              <a:gd name="connsiteY5" fmla="*/ 330994 h 1475273"/>
              <a:gd name="connsiteX6" fmla="*/ 598646 w 3509010"/>
              <a:gd name="connsiteY6" fmla="*/ 372904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9073 h 1475273"/>
              <a:gd name="connsiteX4" fmla="*/ 335280 w 3509010"/>
              <a:gd name="connsiteY4" fmla="*/ 274797 h 1475273"/>
              <a:gd name="connsiteX5" fmla="*/ 470059 w 3509010"/>
              <a:gd name="connsiteY5" fmla="*/ 330994 h 1475273"/>
              <a:gd name="connsiteX6" fmla="*/ 598646 w 3509010"/>
              <a:gd name="connsiteY6" fmla="*/ 372904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09010"/>
              <a:gd name="connsiteY0" fmla="*/ 0 h 1475273"/>
              <a:gd name="connsiteX1" fmla="*/ 64770 w 3509010"/>
              <a:gd name="connsiteY1" fmla="*/ 83820 h 1475273"/>
              <a:gd name="connsiteX2" fmla="*/ 129540 w 3509010"/>
              <a:gd name="connsiteY2" fmla="*/ 140970 h 1475273"/>
              <a:gd name="connsiteX3" fmla="*/ 228600 w 3509010"/>
              <a:gd name="connsiteY3" fmla="*/ 209073 h 1475273"/>
              <a:gd name="connsiteX4" fmla="*/ 335280 w 3509010"/>
              <a:gd name="connsiteY4" fmla="*/ 274797 h 1475273"/>
              <a:gd name="connsiteX5" fmla="*/ 470059 w 3509010"/>
              <a:gd name="connsiteY5" fmla="*/ 335756 h 1475273"/>
              <a:gd name="connsiteX6" fmla="*/ 598646 w 3509010"/>
              <a:gd name="connsiteY6" fmla="*/ 372904 h 1475273"/>
              <a:gd name="connsiteX7" fmla="*/ 781050 w 3509010"/>
              <a:gd name="connsiteY7" fmla="*/ 415290 h 1475273"/>
              <a:gd name="connsiteX8" fmla="*/ 952500 w 3509010"/>
              <a:gd name="connsiteY8" fmla="*/ 441960 h 1475273"/>
              <a:gd name="connsiteX9" fmla="*/ 1093470 w 3509010"/>
              <a:gd name="connsiteY9" fmla="*/ 449580 h 1475273"/>
              <a:gd name="connsiteX10" fmla="*/ 1207770 w 3509010"/>
              <a:gd name="connsiteY10" fmla="*/ 452914 h 1475273"/>
              <a:gd name="connsiteX11" fmla="*/ 1297305 w 3509010"/>
              <a:gd name="connsiteY11" fmla="*/ 449580 h 1475273"/>
              <a:gd name="connsiteX12" fmla="*/ 1379220 w 3509010"/>
              <a:gd name="connsiteY12" fmla="*/ 441960 h 1475273"/>
              <a:gd name="connsiteX13" fmla="*/ 1478280 w 3509010"/>
              <a:gd name="connsiteY13" fmla="*/ 426720 h 1475273"/>
              <a:gd name="connsiteX14" fmla="*/ 1569720 w 3509010"/>
              <a:gd name="connsiteY14" fmla="*/ 411480 h 1475273"/>
              <a:gd name="connsiteX15" fmla="*/ 1691640 w 3509010"/>
              <a:gd name="connsiteY15" fmla="*/ 392430 h 1475273"/>
              <a:gd name="connsiteX16" fmla="*/ 1817370 w 3509010"/>
              <a:gd name="connsiteY16" fmla="*/ 358140 h 1475273"/>
              <a:gd name="connsiteX17" fmla="*/ 1916430 w 3509010"/>
              <a:gd name="connsiteY17" fmla="*/ 331470 h 1475273"/>
              <a:gd name="connsiteX18" fmla="*/ 2014855 w 3509010"/>
              <a:gd name="connsiteY18" fmla="*/ 294640 h 1475273"/>
              <a:gd name="connsiteX19" fmla="*/ 2108835 w 3509010"/>
              <a:gd name="connsiteY19" fmla="*/ 271780 h 1475273"/>
              <a:gd name="connsiteX20" fmla="*/ 2221230 w 3509010"/>
              <a:gd name="connsiteY20" fmla="*/ 251460 h 1475273"/>
              <a:gd name="connsiteX21" fmla="*/ 2337911 w 3509010"/>
              <a:gd name="connsiteY21" fmla="*/ 246698 h 1475273"/>
              <a:gd name="connsiteX22" fmla="*/ 2463641 w 3509010"/>
              <a:gd name="connsiteY22" fmla="*/ 259556 h 1475273"/>
              <a:gd name="connsiteX23" fmla="*/ 2579370 w 3509010"/>
              <a:gd name="connsiteY23" fmla="*/ 289560 h 1475273"/>
              <a:gd name="connsiteX24" fmla="*/ 2697480 w 3509010"/>
              <a:gd name="connsiteY24" fmla="*/ 331470 h 1475273"/>
              <a:gd name="connsiteX25" fmla="*/ 2807970 w 3509010"/>
              <a:gd name="connsiteY25" fmla="*/ 381000 h 1475273"/>
              <a:gd name="connsiteX26" fmla="*/ 2926080 w 3509010"/>
              <a:gd name="connsiteY26" fmla="*/ 443230 h 1475273"/>
              <a:gd name="connsiteX27" fmla="*/ 3042920 w 3509010"/>
              <a:gd name="connsiteY27" fmla="*/ 506730 h 1475273"/>
              <a:gd name="connsiteX28" fmla="*/ 3114040 w 3509010"/>
              <a:gd name="connsiteY28" fmla="*/ 551180 h 1475273"/>
              <a:gd name="connsiteX29" fmla="*/ 3200400 w 3509010"/>
              <a:gd name="connsiteY29" fmla="*/ 605790 h 1475273"/>
              <a:gd name="connsiteX30" fmla="*/ 3261360 w 3509010"/>
              <a:gd name="connsiteY30" fmla="*/ 659130 h 1475273"/>
              <a:gd name="connsiteX31" fmla="*/ 3322320 w 3509010"/>
              <a:gd name="connsiteY31" fmla="*/ 727710 h 1475273"/>
              <a:gd name="connsiteX32" fmla="*/ 3379470 w 3509010"/>
              <a:gd name="connsiteY32" fmla="*/ 825500 h 1475273"/>
              <a:gd name="connsiteX33" fmla="*/ 3406775 w 3509010"/>
              <a:gd name="connsiteY33" fmla="*/ 897890 h 1475273"/>
              <a:gd name="connsiteX34" fmla="*/ 3444240 w 3509010"/>
              <a:gd name="connsiteY34" fmla="*/ 1040130 h 1475273"/>
              <a:gd name="connsiteX35" fmla="*/ 3463290 w 3509010"/>
              <a:gd name="connsiteY35" fmla="*/ 1146810 h 1475273"/>
              <a:gd name="connsiteX36" fmla="*/ 3486150 w 3509010"/>
              <a:gd name="connsiteY36" fmla="*/ 1242060 h 1475273"/>
              <a:gd name="connsiteX37" fmla="*/ 3505200 w 3509010"/>
              <a:gd name="connsiteY37" fmla="*/ 1333500 h 1475273"/>
              <a:gd name="connsiteX38" fmla="*/ 3509010 w 3509010"/>
              <a:gd name="connsiteY38" fmla="*/ 1402080 h 1475273"/>
              <a:gd name="connsiteX39" fmla="*/ 3482340 w 3509010"/>
              <a:gd name="connsiteY39" fmla="*/ 1451610 h 1475273"/>
              <a:gd name="connsiteX40" fmla="*/ 3440430 w 3509010"/>
              <a:gd name="connsiteY40" fmla="*/ 1474470 h 1475273"/>
              <a:gd name="connsiteX41" fmla="*/ 3368040 w 3509010"/>
              <a:gd name="connsiteY41" fmla="*/ 1463040 h 1475273"/>
              <a:gd name="connsiteX42" fmla="*/ 3295650 w 3509010"/>
              <a:gd name="connsiteY42" fmla="*/ 1398270 h 1475273"/>
              <a:gd name="connsiteX43" fmla="*/ 3242310 w 3509010"/>
              <a:gd name="connsiteY43" fmla="*/ 1341120 h 1475273"/>
              <a:gd name="connsiteX44" fmla="*/ 3204210 w 3509010"/>
              <a:gd name="connsiteY44" fmla="*/ 1291590 h 1475273"/>
              <a:gd name="connsiteX45" fmla="*/ 3162300 w 3509010"/>
              <a:gd name="connsiteY45" fmla="*/ 1230630 h 1475273"/>
              <a:gd name="connsiteX46" fmla="*/ 3128010 w 3509010"/>
              <a:gd name="connsiteY46" fmla="*/ 1169670 h 1475273"/>
              <a:gd name="connsiteX0" fmla="*/ 0 w 3516297"/>
              <a:gd name="connsiteY0" fmla="*/ 0 h 1475273"/>
              <a:gd name="connsiteX1" fmla="*/ 64770 w 3516297"/>
              <a:gd name="connsiteY1" fmla="*/ 83820 h 1475273"/>
              <a:gd name="connsiteX2" fmla="*/ 129540 w 3516297"/>
              <a:gd name="connsiteY2" fmla="*/ 140970 h 1475273"/>
              <a:gd name="connsiteX3" fmla="*/ 228600 w 3516297"/>
              <a:gd name="connsiteY3" fmla="*/ 209073 h 1475273"/>
              <a:gd name="connsiteX4" fmla="*/ 335280 w 3516297"/>
              <a:gd name="connsiteY4" fmla="*/ 274797 h 1475273"/>
              <a:gd name="connsiteX5" fmla="*/ 470059 w 3516297"/>
              <a:gd name="connsiteY5" fmla="*/ 335756 h 1475273"/>
              <a:gd name="connsiteX6" fmla="*/ 598646 w 3516297"/>
              <a:gd name="connsiteY6" fmla="*/ 372904 h 1475273"/>
              <a:gd name="connsiteX7" fmla="*/ 781050 w 3516297"/>
              <a:gd name="connsiteY7" fmla="*/ 415290 h 1475273"/>
              <a:gd name="connsiteX8" fmla="*/ 952500 w 3516297"/>
              <a:gd name="connsiteY8" fmla="*/ 441960 h 1475273"/>
              <a:gd name="connsiteX9" fmla="*/ 1093470 w 3516297"/>
              <a:gd name="connsiteY9" fmla="*/ 449580 h 1475273"/>
              <a:gd name="connsiteX10" fmla="*/ 1207770 w 3516297"/>
              <a:gd name="connsiteY10" fmla="*/ 452914 h 1475273"/>
              <a:gd name="connsiteX11" fmla="*/ 1297305 w 3516297"/>
              <a:gd name="connsiteY11" fmla="*/ 449580 h 1475273"/>
              <a:gd name="connsiteX12" fmla="*/ 1379220 w 3516297"/>
              <a:gd name="connsiteY12" fmla="*/ 441960 h 1475273"/>
              <a:gd name="connsiteX13" fmla="*/ 1478280 w 3516297"/>
              <a:gd name="connsiteY13" fmla="*/ 426720 h 1475273"/>
              <a:gd name="connsiteX14" fmla="*/ 1569720 w 3516297"/>
              <a:gd name="connsiteY14" fmla="*/ 411480 h 1475273"/>
              <a:gd name="connsiteX15" fmla="*/ 1691640 w 3516297"/>
              <a:gd name="connsiteY15" fmla="*/ 392430 h 1475273"/>
              <a:gd name="connsiteX16" fmla="*/ 1817370 w 3516297"/>
              <a:gd name="connsiteY16" fmla="*/ 358140 h 1475273"/>
              <a:gd name="connsiteX17" fmla="*/ 1916430 w 3516297"/>
              <a:gd name="connsiteY17" fmla="*/ 331470 h 1475273"/>
              <a:gd name="connsiteX18" fmla="*/ 2014855 w 3516297"/>
              <a:gd name="connsiteY18" fmla="*/ 294640 h 1475273"/>
              <a:gd name="connsiteX19" fmla="*/ 2108835 w 3516297"/>
              <a:gd name="connsiteY19" fmla="*/ 271780 h 1475273"/>
              <a:gd name="connsiteX20" fmla="*/ 2221230 w 3516297"/>
              <a:gd name="connsiteY20" fmla="*/ 251460 h 1475273"/>
              <a:gd name="connsiteX21" fmla="*/ 2337911 w 3516297"/>
              <a:gd name="connsiteY21" fmla="*/ 246698 h 1475273"/>
              <a:gd name="connsiteX22" fmla="*/ 2463641 w 3516297"/>
              <a:gd name="connsiteY22" fmla="*/ 259556 h 1475273"/>
              <a:gd name="connsiteX23" fmla="*/ 2579370 w 3516297"/>
              <a:gd name="connsiteY23" fmla="*/ 289560 h 1475273"/>
              <a:gd name="connsiteX24" fmla="*/ 2697480 w 3516297"/>
              <a:gd name="connsiteY24" fmla="*/ 331470 h 1475273"/>
              <a:gd name="connsiteX25" fmla="*/ 2807970 w 3516297"/>
              <a:gd name="connsiteY25" fmla="*/ 381000 h 1475273"/>
              <a:gd name="connsiteX26" fmla="*/ 2926080 w 3516297"/>
              <a:gd name="connsiteY26" fmla="*/ 443230 h 1475273"/>
              <a:gd name="connsiteX27" fmla="*/ 3042920 w 3516297"/>
              <a:gd name="connsiteY27" fmla="*/ 506730 h 1475273"/>
              <a:gd name="connsiteX28" fmla="*/ 3114040 w 3516297"/>
              <a:gd name="connsiteY28" fmla="*/ 551180 h 1475273"/>
              <a:gd name="connsiteX29" fmla="*/ 3200400 w 3516297"/>
              <a:gd name="connsiteY29" fmla="*/ 605790 h 1475273"/>
              <a:gd name="connsiteX30" fmla="*/ 3261360 w 3516297"/>
              <a:gd name="connsiteY30" fmla="*/ 659130 h 1475273"/>
              <a:gd name="connsiteX31" fmla="*/ 3322320 w 3516297"/>
              <a:gd name="connsiteY31" fmla="*/ 727710 h 1475273"/>
              <a:gd name="connsiteX32" fmla="*/ 3379470 w 3516297"/>
              <a:gd name="connsiteY32" fmla="*/ 825500 h 1475273"/>
              <a:gd name="connsiteX33" fmla="*/ 3406775 w 3516297"/>
              <a:gd name="connsiteY33" fmla="*/ 897890 h 1475273"/>
              <a:gd name="connsiteX34" fmla="*/ 3444240 w 3516297"/>
              <a:gd name="connsiteY34" fmla="*/ 1040130 h 1475273"/>
              <a:gd name="connsiteX35" fmla="*/ 3463290 w 3516297"/>
              <a:gd name="connsiteY35" fmla="*/ 1146810 h 1475273"/>
              <a:gd name="connsiteX36" fmla="*/ 3486150 w 3516297"/>
              <a:gd name="connsiteY36" fmla="*/ 1242060 h 1475273"/>
              <a:gd name="connsiteX37" fmla="*/ 3516297 w 3516297"/>
              <a:gd name="connsiteY37" fmla="*/ 1350337 h 1475273"/>
              <a:gd name="connsiteX38" fmla="*/ 3509010 w 3516297"/>
              <a:gd name="connsiteY38" fmla="*/ 1402080 h 1475273"/>
              <a:gd name="connsiteX39" fmla="*/ 3482340 w 3516297"/>
              <a:gd name="connsiteY39" fmla="*/ 1451610 h 1475273"/>
              <a:gd name="connsiteX40" fmla="*/ 3440430 w 3516297"/>
              <a:gd name="connsiteY40" fmla="*/ 1474470 h 1475273"/>
              <a:gd name="connsiteX41" fmla="*/ 3368040 w 3516297"/>
              <a:gd name="connsiteY41" fmla="*/ 1463040 h 1475273"/>
              <a:gd name="connsiteX42" fmla="*/ 3295650 w 3516297"/>
              <a:gd name="connsiteY42" fmla="*/ 1398270 h 1475273"/>
              <a:gd name="connsiteX43" fmla="*/ 3242310 w 3516297"/>
              <a:gd name="connsiteY43" fmla="*/ 1341120 h 1475273"/>
              <a:gd name="connsiteX44" fmla="*/ 3204210 w 3516297"/>
              <a:gd name="connsiteY44" fmla="*/ 1291590 h 1475273"/>
              <a:gd name="connsiteX45" fmla="*/ 3162300 w 3516297"/>
              <a:gd name="connsiteY45" fmla="*/ 1230630 h 1475273"/>
              <a:gd name="connsiteX46" fmla="*/ 3128010 w 3516297"/>
              <a:gd name="connsiteY46" fmla="*/ 1169670 h 1475273"/>
              <a:gd name="connsiteX0" fmla="*/ 0 w 3536745"/>
              <a:gd name="connsiteY0" fmla="*/ 0 h 1475273"/>
              <a:gd name="connsiteX1" fmla="*/ 64770 w 3536745"/>
              <a:gd name="connsiteY1" fmla="*/ 83820 h 1475273"/>
              <a:gd name="connsiteX2" fmla="*/ 129540 w 3536745"/>
              <a:gd name="connsiteY2" fmla="*/ 140970 h 1475273"/>
              <a:gd name="connsiteX3" fmla="*/ 228600 w 3536745"/>
              <a:gd name="connsiteY3" fmla="*/ 209073 h 1475273"/>
              <a:gd name="connsiteX4" fmla="*/ 335280 w 3536745"/>
              <a:gd name="connsiteY4" fmla="*/ 274797 h 1475273"/>
              <a:gd name="connsiteX5" fmla="*/ 470059 w 3536745"/>
              <a:gd name="connsiteY5" fmla="*/ 335756 h 1475273"/>
              <a:gd name="connsiteX6" fmla="*/ 598646 w 3536745"/>
              <a:gd name="connsiteY6" fmla="*/ 372904 h 1475273"/>
              <a:gd name="connsiteX7" fmla="*/ 781050 w 3536745"/>
              <a:gd name="connsiteY7" fmla="*/ 415290 h 1475273"/>
              <a:gd name="connsiteX8" fmla="*/ 952500 w 3536745"/>
              <a:gd name="connsiteY8" fmla="*/ 441960 h 1475273"/>
              <a:gd name="connsiteX9" fmla="*/ 1093470 w 3536745"/>
              <a:gd name="connsiteY9" fmla="*/ 449580 h 1475273"/>
              <a:gd name="connsiteX10" fmla="*/ 1207770 w 3536745"/>
              <a:gd name="connsiteY10" fmla="*/ 452914 h 1475273"/>
              <a:gd name="connsiteX11" fmla="*/ 1297305 w 3536745"/>
              <a:gd name="connsiteY11" fmla="*/ 449580 h 1475273"/>
              <a:gd name="connsiteX12" fmla="*/ 1379220 w 3536745"/>
              <a:gd name="connsiteY12" fmla="*/ 441960 h 1475273"/>
              <a:gd name="connsiteX13" fmla="*/ 1478280 w 3536745"/>
              <a:gd name="connsiteY13" fmla="*/ 426720 h 1475273"/>
              <a:gd name="connsiteX14" fmla="*/ 1569720 w 3536745"/>
              <a:gd name="connsiteY14" fmla="*/ 411480 h 1475273"/>
              <a:gd name="connsiteX15" fmla="*/ 1691640 w 3536745"/>
              <a:gd name="connsiteY15" fmla="*/ 392430 h 1475273"/>
              <a:gd name="connsiteX16" fmla="*/ 1817370 w 3536745"/>
              <a:gd name="connsiteY16" fmla="*/ 358140 h 1475273"/>
              <a:gd name="connsiteX17" fmla="*/ 1916430 w 3536745"/>
              <a:gd name="connsiteY17" fmla="*/ 331470 h 1475273"/>
              <a:gd name="connsiteX18" fmla="*/ 2014855 w 3536745"/>
              <a:gd name="connsiteY18" fmla="*/ 294640 h 1475273"/>
              <a:gd name="connsiteX19" fmla="*/ 2108835 w 3536745"/>
              <a:gd name="connsiteY19" fmla="*/ 271780 h 1475273"/>
              <a:gd name="connsiteX20" fmla="*/ 2221230 w 3536745"/>
              <a:gd name="connsiteY20" fmla="*/ 251460 h 1475273"/>
              <a:gd name="connsiteX21" fmla="*/ 2337911 w 3536745"/>
              <a:gd name="connsiteY21" fmla="*/ 246698 h 1475273"/>
              <a:gd name="connsiteX22" fmla="*/ 2463641 w 3536745"/>
              <a:gd name="connsiteY22" fmla="*/ 259556 h 1475273"/>
              <a:gd name="connsiteX23" fmla="*/ 2579370 w 3536745"/>
              <a:gd name="connsiteY23" fmla="*/ 289560 h 1475273"/>
              <a:gd name="connsiteX24" fmla="*/ 2697480 w 3536745"/>
              <a:gd name="connsiteY24" fmla="*/ 331470 h 1475273"/>
              <a:gd name="connsiteX25" fmla="*/ 2807970 w 3536745"/>
              <a:gd name="connsiteY25" fmla="*/ 381000 h 1475273"/>
              <a:gd name="connsiteX26" fmla="*/ 2926080 w 3536745"/>
              <a:gd name="connsiteY26" fmla="*/ 443230 h 1475273"/>
              <a:gd name="connsiteX27" fmla="*/ 3042920 w 3536745"/>
              <a:gd name="connsiteY27" fmla="*/ 506730 h 1475273"/>
              <a:gd name="connsiteX28" fmla="*/ 3114040 w 3536745"/>
              <a:gd name="connsiteY28" fmla="*/ 551180 h 1475273"/>
              <a:gd name="connsiteX29" fmla="*/ 3200400 w 3536745"/>
              <a:gd name="connsiteY29" fmla="*/ 605790 h 1475273"/>
              <a:gd name="connsiteX30" fmla="*/ 3261360 w 3536745"/>
              <a:gd name="connsiteY30" fmla="*/ 659130 h 1475273"/>
              <a:gd name="connsiteX31" fmla="*/ 3322320 w 3536745"/>
              <a:gd name="connsiteY31" fmla="*/ 727710 h 1475273"/>
              <a:gd name="connsiteX32" fmla="*/ 3379470 w 3536745"/>
              <a:gd name="connsiteY32" fmla="*/ 825500 h 1475273"/>
              <a:gd name="connsiteX33" fmla="*/ 3406775 w 3536745"/>
              <a:gd name="connsiteY33" fmla="*/ 897890 h 1475273"/>
              <a:gd name="connsiteX34" fmla="*/ 3444240 w 3536745"/>
              <a:gd name="connsiteY34" fmla="*/ 1040130 h 1475273"/>
              <a:gd name="connsiteX35" fmla="*/ 3463290 w 3536745"/>
              <a:gd name="connsiteY35" fmla="*/ 1146810 h 1475273"/>
              <a:gd name="connsiteX36" fmla="*/ 3486150 w 3536745"/>
              <a:gd name="connsiteY36" fmla="*/ 1242060 h 1475273"/>
              <a:gd name="connsiteX37" fmla="*/ 3516297 w 3536745"/>
              <a:gd name="connsiteY37" fmla="*/ 1350337 h 1475273"/>
              <a:gd name="connsiteX38" fmla="*/ 3536745 w 3536745"/>
              <a:gd name="connsiteY38" fmla="*/ 1418917 h 1475273"/>
              <a:gd name="connsiteX39" fmla="*/ 3482340 w 3536745"/>
              <a:gd name="connsiteY39" fmla="*/ 1451610 h 1475273"/>
              <a:gd name="connsiteX40" fmla="*/ 3440430 w 3536745"/>
              <a:gd name="connsiteY40" fmla="*/ 1474470 h 1475273"/>
              <a:gd name="connsiteX41" fmla="*/ 3368040 w 3536745"/>
              <a:gd name="connsiteY41" fmla="*/ 1463040 h 1475273"/>
              <a:gd name="connsiteX42" fmla="*/ 3295650 w 3536745"/>
              <a:gd name="connsiteY42" fmla="*/ 1398270 h 1475273"/>
              <a:gd name="connsiteX43" fmla="*/ 3242310 w 3536745"/>
              <a:gd name="connsiteY43" fmla="*/ 1341120 h 1475273"/>
              <a:gd name="connsiteX44" fmla="*/ 3204210 w 3536745"/>
              <a:gd name="connsiteY44" fmla="*/ 1291590 h 1475273"/>
              <a:gd name="connsiteX45" fmla="*/ 3162300 w 3536745"/>
              <a:gd name="connsiteY45" fmla="*/ 1230630 h 1475273"/>
              <a:gd name="connsiteX46" fmla="*/ 3128010 w 3536745"/>
              <a:gd name="connsiteY46" fmla="*/ 1169670 h 1475273"/>
              <a:gd name="connsiteX0" fmla="*/ 0 w 3536745"/>
              <a:gd name="connsiteY0" fmla="*/ 0 h 1488082"/>
              <a:gd name="connsiteX1" fmla="*/ 64770 w 3536745"/>
              <a:gd name="connsiteY1" fmla="*/ 83820 h 1488082"/>
              <a:gd name="connsiteX2" fmla="*/ 129540 w 3536745"/>
              <a:gd name="connsiteY2" fmla="*/ 140970 h 1488082"/>
              <a:gd name="connsiteX3" fmla="*/ 228600 w 3536745"/>
              <a:gd name="connsiteY3" fmla="*/ 209073 h 1488082"/>
              <a:gd name="connsiteX4" fmla="*/ 335280 w 3536745"/>
              <a:gd name="connsiteY4" fmla="*/ 274797 h 1488082"/>
              <a:gd name="connsiteX5" fmla="*/ 470059 w 3536745"/>
              <a:gd name="connsiteY5" fmla="*/ 335756 h 1488082"/>
              <a:gd name="connsiteX6" fmla="*/ 598646 w 3536745"/>
              <a:gd name="connsiteY6" fmla="*/ 372904 h 1488082"/>
              <a:gd name="connsiteX7" fmla="*/ 781050 w 3536745"/>
              <a:gd name="connsiteY7" fmla="*/ 415290 h 1488082"/>
              <a:gd name="connsiteX8" fmla="*/ 952500 w 3536745"/>
              <a:gd name="connsiteY8" fmla="*/ 441960 h 1488082"/>
              <a:gd name="connsiteX9" fmla="*/ 1093470 w 3536745"/>
              <a:gd name="connsiteY9" fmla="*/ 449580 h 1488082"/>
              <a:gd name="connsiteX10" fmla="*/ 1207770 w 3536745"/>
              <a:gd name="connsiteY10" fmla="*/ 452914 h 1488082"/>
              <a:gd name="connsiteX11" fmla="*/ 1297305 w 3536745"/>
              <a:gd name="connsiteY11" fmla="*/ 449580 h 1488082"/>
              <a:gd name="connsiteX12" fmla="*/ 1379220 w 3536745"/>
              <a:gd name="connsiteY12" fmla="*/ 441960 h 1488082"/>
              <a:gd name="connsiteX13" fmla="*/ 1478280 w 3536745"/>
              <a:gd name="connsiteY13" fmla="*/ 426720 h 1488082"/>
              <a:gd name="connsiteX14" fmla="*/ 1569720 w 3536745"/>
              <a:gd name="connsiteY14" fmla="*/ 411480 h 1488082"/>
              <a:gd name="connsiteX15" fmla="*/ 1691640 w 3536745"/>
              <a:gd name="connsiteY15" fmla="*/ 392430 h 1488082"/>
              <a:gd name="connsiteX16" fmla="*/ 1817370 w 3536745"/>
              <a:gd name="connsiteY16" fmla="*/ 358140 h 1488082"/>
              <a:gd name="connsiteX17" fmla="*/ 1916430 w 3536745"/>
              <a:gd name="connsiteY17" fmla="*/ 331470 h 1488082"/>
              <a:gd name="connsiteX18" fmla="*/ 2014855 w 3536745"/>
              <a:gd name="connsiteY18" fmla="*/ 294640 h 1488082"/>
              <a:gd name="connsiteX19" fmla="*/ 2108835 w 3536745"/>
              <a:gd name="connsiteY19" fmla="*/ 271780 h 1488082"/>
              <a:gd name="connsiteX20" fmla="*/ 2221230 w 3536745"/>
              <a:gd name="connsiteY20" fmla="*/ 251460 h 1488082"/>
              <a:gd name="connsiteX21" fmla="*/ 2337911 w 3536745"/>
              <a:gd name="connsiteY21" fmla="*/ 246698 h 1488082"/>
              <a:gd name="connsiteX22" fmla="*/ 2463641 w 3536745"/>
              <a:gd name="connsiteY22" fmla="*/ 259556 h 1488082"/>
              <a:gd name="connsiteX23" fmla="*/ 2579370 w 3536745"/>
              <a:gd name="connsiteY23" fmla="*/ 289560 h 1488082"/>
              <a:gd name="connsiteX24" fmla="*/ 2697480 w 3536745"/>
              <a:gd name="connsiteY24" fmla="*/ 331470 h 1488082"/>
              <a:gd name="connsiteX25" fmla="*/ 2807970 w 3536745"/>
              <a:gd name="connsiteY25" fmla="*/ 381000 h 1488082"/>
              <a:gd name="connsiteX26" fmla="*/ 2926080 w 3536745"/>
              <a:gd name="connsiteY26" fmla="*/ 443230 h 1488082"/>
              <a:gd name="connsiteX27" fmla="*/ 3042920 w 3536745"/>
              <a:gd name="connsiteY27" fmla="*/ 506730 h 1488082"/>
              <a:gd name="connsiteX28" fmla="*/ 3114040 w 3536745"/>
              <a:gd name="connsiteY28" fmla="*/ 551180 h 1488082"/>
              <a:gd name="connsiteX29" fmla="*/ 3200400 w 3536745"/>
              <a:gd name="connsiteY29" fmla="*/ 605790 h 1488082"/>
              <a:gd name="connsiteX30" fmla="*/ 3261360 w 3536745"/>
              <a:gd name="connsiteY30" fmla="*/ 659130 h 1488082"/>
              <a:gd name="connsiteX31" fmla="*/ 3322320 w 3536745"/>
              <a:gd name="connsiteY31" fmla="*/ 727710 h 1488082"/>
              <a:gd name="connsiteX32" fmla="*/ 3379470 w 3536745"/>
              <a:gd name="connsiteY32" fmla="*/ 825500 h 1488082"/>
              <a:gd name="connsiteX33" fmla="*/ 3406775 w 3536745"/>
              <a:gd name="connsiteY33" fmla="*/ 897890 h 1488082"/>
              <a:gd name="connsiteX34" fmla="*/ 3444240 w 3536745"/>
              <a:gd name="connsiteY34" fmla="*/ 1040130 h 1488082"/>
              <a:gd name="connsiteX35" fmla="*/ 3463290 w 3536745"/>
              <a:gd name="connsiteY35" fmla="*/ 1146810 h 1488082"/>
              <a:gd name="connsiteX36" fmla="*/ 3486150 w 3536745"/>
              <a:gd name="connsiteY36" fmla="*/ 1242060 h 1488082"/>
              <a:gd name="connsiteX37" fmla="*/ 3516297 w 3536745"/>
              <a:gd name="connsiteY37" fmla="*/ 1350337 h 1488082"/>
              <a:gd name="connsiteX38" fmla="*/ 3536745 w 3536745"/>
              <a:gd name="connsiteY38" fmla="*/ 1418917 h 1488082"/>
              <a:gd name="connsiteX39" fmla="*/ 3482340 w 3536745"/>
              <a:gd name="connsiteY39" fmla="*/ 1485282 h 1488082"/>
              <a:gd name="connsiteX40" fmla="*/ 3440430 w 3536745"/>
              <a:gd name="connsiteY40" fmla="*/ 1474470 h 1488082"/>
              <a:gd name="connsiteX41" fmla="*/ 3368040 w 3536745"/>
              <a:gd name="connsiteY41" fmla="*/ 1463040 h 1488082"/>
              <a:gd name="connsiteX42" fmla="*/ 3295650 w 3536745"/>
              <a:gd name="connsiteY42" fmla="*/ 1398270 h 1488082"/>
              <a:gd name="connsiteX43" fmla="*/ 3242310 w 3536745"/>
              <a:gd name="connsiteY43" fmla="*/ 1341120 h 1488082"/>
              <a:gd name="connsiteX44" fmla="*/ 3204210 w 3536745"/>
              <a:gd name="connsiteY44" fmla="*/ 1291590 h 1488082"/>
              <a:gd name="connsiteX45" fmla="*/ 3162300 w 3536745"/>
              <a:gd name="connsiteY45" fmla="*/ 1230630 h 1488082"/>
              <a:gd name="connsiteX46" fmla="*/ 3128010 w 3536745"/>
              <a:gd name="connsiteY46" fmla="*/ 1169670 h 1488082"/>
              <a:gd name="connsiteX0" fmla="*/ 0 w 3536745"/>
              <a:gd name="connsiteY0" fmla="*/ 0 h 1494292"/>
              <a:gd name="connsiteX1" fmla="*/ 64770 w 3536745"/>
              <a:gd name="connsiteY1" fmla="*/ 83820 h 1494292"/>
              <a:gd name="connsiteX2" fmla="*/ 129540 w 3536745"/>
              <a:gd name="connsiteY2" fmla="*/ 140970 h 1494292"/>
              <a:gd name="connsiteX3" fmla="*/ 228600 w 3536745"/>
              <a:gd name="connsiteY3" fmla="*/ 209073 h 1494292"/>
              <a:gd name="connsiteX4" fmla="*/ 335280 w 3536745"/>
              <a:gd name="connsiteY4" fmla="*/ 274797 h 1494292"/>
              <a:gd name="connsiteX5" fmla="*/ 470059 w 3536745"/>
              <a:gd name="connsiteY5" fmla="*/ 335756 h 1494292"/>
              <a:gd name="connsiteX6" fmla="*/ 598646 w 3536745"/>
              <a:gd name="connsiteY6" fmla="*/ 372904 h 1494292"/>
              <a:gd name="connsiteX7" fmla="*/ 781050 w 3536745"/>
              <a:gd name="connsiteY7" fmla="*/ 415290 h 1494292"/>
              <a:gd name="connsiteX8" fmla="*/ 952500 w 3536745"/>
              <a:gd name="connsiteY8" fmla="*/ 441960 h 1494292"/>
              <a:gd name="connsiteX9" fmla="*/ 1093470 w 3536745"/>
              <a:gd name="connsiteY9" fmla="*/ 449580 h 1494292"/>
              <a:gd name="connsiteX10" fmla="*/ 1207770 w 3536745"/>
              <a:gd name="connsiteY10" fmla="*/ 452914 h 1494292"/>
              <a:gd name="connsiteX11" fmla="*/ 1297305 w 3536745"/>
              <a:gd name="connsiteY11" fmla="*/ 449580 h 1494292"/>
              <a:gd name="connsiteX12" fmla="*/ 1379220 w 3536745"/>
              <a:gd name="connsiteY12" fmla="*/ 441960 h 1494292"/>
              <a:gd name="connsiteX13" fmla="*/ 1478280 w 3536745"/>
              <a:gd name="connsiteY13" fmla="*/ 426720 h 1494292"/>
              <a:gd name="connsiteX14" fmla="*/ 1569720 w 3536745"/>
              <a:gd name="connsiteY14" fmla="*/ 411480 h 1494292"/>
              <a:gd name="connsiteX15" fmla="*/ 1691640 w 3536745"/>
              <a:gd name="connsiteY15" fmla="*/ 392430 h 1494292"/>
              <a:gd name="connsiteX16" fmla="*/ 1817370 w 3536745"/>
              <a:gd name="connsiteY16" fmla="*/ 358140 h 1494292"/>
              <a:gd name="connsiteX17" fmla="*/ 1916430 w 3536745"/>
              <a:gd name="connsiteY17" fmla="*/ 331470 h 1494292"/>
              <a:gd name="connsiteX18" fmla="*/ 2014855 w 3536745"/>
              <a:gd name="connsiteY18" fmla="*/ 294640 h 1494292"/>
              <a:gd name="connsiteX19" fmla="*/ 2108835 w 3536745"/>
              <a:gd name="connsiteY19" fmla="*/ 271780 h 1494292"/>
              <a:gd name="connsiteX20" fmla="*/ 2221230 w 3536745"/>
              <a:gd name="connsiteY20" fmla="*/ 251460 h 1494292"/>
              <a:gd name="connsiteX21" fmla="*/ 2337911 w 3536745"/>
              <a:gd name="connsiteY21" fmla="*/ 246698 h 1494292"/>
              <a:gd name="connsiteX22" fmla="*/ 2463641 w 3536745"/>
              <a:gd name="connsiteY22" fmla="*/ 259556 h 1494292"/>
              <a:gd name="connsiteX23" fmla="*/ 2579370 w 3536745"/>
              <a:gd name="connsiteY23" fmla="*/ 289560 h 1494292"/>
              <a:gd name="connsiteX24" fmla="*/ 2697480 w 3536745"/>
              <a:gd name="connsiteY24" fmla="*/ 331470 h 1494292"/>
              <a:gd name="connsiteX25" fmla="*/ 2807970 w 3536745"/>
              <a:gd name="connsiteY25" fmla="*/ 381000 h 1494292"/>
              <a:gd name="connsiteX26" fmla="*/ 2926080 w 3536745"/>
              <a:gd name="connsiteY26" fmla="*/ 443230 h 1494292"/>
              <a:gd name="connsiteX27" fmla="*/ 3042920 w 3536745"/>
              <a:gd name="connsiteY27" fmla="*/ 506730 h 1494292"/>
              <a:gd name="connsiteX28" fmla="*/ 3114040 w 3536745"/>
              <a:gd name="connsiteY28" fmla="*/ 551180 h 1494292"/>
              <a:gd name="connsiteX29" fmla="*/ 3200400 w 3536745"/>
              <a:gd name="connsiteY29" fmla="*/ 605790 h 1494292"/>
              <a:gd name="connsiteX30" fmla="*/ 3261360 w 3536745"/>
              <a:gd name="connsiteY30" fmla="*/ 659130 h 1494292"/>
              <a:gd name="connsiteX31" fmla="*/ 3322320 w 3536745"/>
              <a:gd name="connsiteY31" fmla="*/ 727710 h 1494292"/>
              <a:gd name="connsiteX32" fmla="*/ 3379470 w 3536745"/>
              <a:gd name="connsiteY32" fmla="*/ 825500 h 1494292"/>
              <a:gd name="connsiteX33" fmla="*/ 3406775 w 3536745"/>
              <a:gd name="connsiteY33" fmla="*/ 897890 h 1494292"/>
              <a:gd name="connsiteX34" fmla="*/ 3444240 w 3536745"/>
              <a:gd name="connsiteY34" fmla="*/ 1040130 h 1494292"/>
              <a:gd name="connsiteX35" fmla="*/ 3463290 w 3536745"/>
              <a:gd name="connsiteY35" fmla="*/ 1146810 h 1494292"/>
              <a:gd name="connsiteX36" fmla="*/ 3486150 w 3536745"/>
              <a:gd name="connsiteY36" fmla="*/ 1242060 h 1494292"/>
              <a:gd name="connsiteX37" fmla="*/ 3516297 w 3536745"/>
              <a:gd name="connsiteY37" fmla="*/ 1350337 h 1494292"/>
              <a:gd name="connsiteX38" fmla="*/ 3536745 w 3536745"/>
              <a:gd name="connsiteY38" fmla="*/ 1418917 h 1494292"/>
              <a:gd name="connsiteX39" fmla="*/ 3482340 w 3536745"/>
              <a:gd name="connsiteY39" fmla="*/ 1485282 h 1494292"/>
              <a:gd name="connsiteX40" fmla="*/ 3418242 w 3536745"/>
              <a:gd name="connsiteY40" fmla="*/ 1491304 h 1494292"/>
              <a:gd name="connsiteX41" fmla="*/ 3368040 w 3536745"/>
              <a:gd name="connsiteY41" fmla="*/ 1463040 h 1494292"/>
              <a:gd name="connsiteX42" fmla="*/ 3295650 w 3536745"/>
              <a:gd name="connsiteY42" fmla="*/ 1398270 h 1494292"/>
              <a:gd name="connsiteX43" fmla="*/ 3242310 w 3536745"/>
              <a:gd name="connsiteY43" fmla="*/ 1341120 h 1494292"/>
              <a:gd name="connsiteX44" fmla="*/ 3204210 w 3536745"/>
              <a:gd name="connsiteY44" fmla="*/ 1291590 h 1494292"/>
              <a:gd name="connsiteX45" fmla="*/ 3162300 w 3536745"/>
              <a:gd name="connsiteY45" fmla="*/ 1230630 h 1494292"/>
              <a:gd name="connsiteX46" fmla="*/ 3128010 w 3536745"/>
              <a:gd name="connsiteY46" fmla="*/ 1169670 h 1494292"/>
              <a:gd name="connsiteX0" fmla="*/ 0 w 3516297"/>
              <a:gd name="connsiteY0" fmla="*/ 0 h 1494290"/>
              <a:gd name="connsiteX1" fmla="*/ 64770 w 3516297"/>
              <a:gd name="connsiteY1" fmla="*/ 83820 h 1494290"/>
              <a:gd name="connsiteX2" fmla="*/ 129540 w 3516297"/>
              <a:gd name="connsiteY2" fmla="*/ 140970 h 1494290"/>
              <a:gd name="connsiteX3" fmla="*/ 228600 w 3516297"/>
              <a:gd name="connsiteY3" fmla="*/ 209073 h 1494290"/>
              <a:gd name="connsiteX4" fmla="*/ 335280 w 3516297"/>
              <a:gd name="connsiteY4" fmla="*/ 274797 h 1494290"/>
              <a:gd name="connsiteX5" fmla="*/ 470059 w 3516297"/>
              <a:gd name="connsiteY5" fmla="*/ 335756 h 1494290"/>
              <a:gd name="connsiteX6" fmla="*/ 598646 w 3516297"/>
              <a:gd name="connsiteY6" fmla="*/ 372904 h 1494290"/>
              <a:gd name="connsiteX7" fmla="*/ 781050 w 3516297"/>
              <a:gd name="connsiteY7" fmla="*/ 415290 h 1494290"/>
              <a:gd name="connsiteX8" fmla="*/ 952500 w 3516297"/>
              <a:gd name="connsiteY8" fmla="*/ 441960 h 1494290"/>
              <a:gd name="connsiteX9" fmla="*/ 1093470 w 3516297"/>
              <a:gd name="connsiteY9" fmla="*/ 449580 h 1494290"/>
              <a:gd name="connsiteX10" fmla="*/ 1207770 w 3516297"/>
              <a:gd name="connsiteY10" fmla="*/ 452914 h 1494290"/>
              <a:gd name="connsiteX11" fmla="*/ 1297305 w 3516297"/>
              <a:gd name="connsiteY11" fmla="*/ 449580 h 1494290"/>
              <a:gd name="connsiteX12" fmla="*/ 1379220 w 3516297"/>
              <a:gd name="connsiteY12" fmla="*/ 441960 h 1494290"/>
              <a:gd name="connsiteX13" fmla="*/ 1478280 w 3516297"/>
              <a:gd name="connsiteY13" fmla="*/ 426720 h 1494290"/>
              <a:gd name="connsiteX14" fmla="*/ 1569720 w 3516297"/>
              <a:gd name="connsiteY14" fmla="*/ 411480 h 1494290"/>
              <a:gd name="connsiteX15" fmla="*/ 1691640 w 3516297"/>
              <a:gd name="connsiteY15" fmla="*/ 392430 h 1494290"/>
              <a:gd name="connsiteX16" fmla="*/ 1817370 w 3516297"/>
              <a:gd name="connsiteY16" fmla="*/ 358140 h 1494290"/>
              <a:gd name="connsiteX17" fmla="*/ 1916430 w 3516297"/>
              <a:gd name="connsiteY17" fmla="*/ 331470 h 1494290"/>
              <a:gd name="connsiteX18" fmla="*/ 2014855 w 3516297"/>
              <a:gd name="connsiteY18" fmla="*/ 294640 h 1494290"/>
              <a:gd name="connsiteX19" fmla="*/ 2108835 w 3516297"/>
              <a:gd name="connsiteY19" fmla="*/ 271780 h 1494290"/>
              <a:gd name="connsiteX20" fmla="*/ 2221230 w 3516297"/>
              <a:gd name="connsiteY20" fmla="*/ 251460 h 1494290"/>
              <a:gd name="connsiteX21" fmla="*/ 2337911 w 3516297"/>
              <a:gd name="connsiteY21" fmla="*/ 246698 h 1494290"/>
              <a:gd name="connsiteX22" fmla="*/ 2463641 w 3516297"/>
              <a:gd name="connsiteY22" fmla="*/ 259556 h 1494290"/>
              <a:gd name="connsiteX23" fmla="*/ 2579370 w 3516297"/>
              <a:gd name="connsiteY23" fmla="*/ 289560 h 1494290"/>
              <a:gd name="connsiteX24" fmla="*/ 2697480 w 3516297"/>
              <a:gd name="connsiteY24" fmla="*/ 331470 h 1494290"/>
              <a:gd name="connsiteX25" fmla="*/ 2807970 w 3516297"/>
              <a:gd name="connsiteY25" fmla="*/ 381000 h 1494290"/>
              <a:gd name="connsiteX26" fmla="*/ 2926080 w 3516297"/>
              <a:gd name="connsiteY26" fmla="*/ 443230 h 1494290"/>
              <a:gd name="connsiteX27" fmla="*/ 3042920 w 3516297"/>
              <a:gd name="connsiteY27" fmla="*/ 506730 h 1494290"/>
              <a:gd name="connsiteX28" fmla="*/ 3114040 w 3516297"/>
              <a:gd name="connsiteY28" fmla="*/ 551180 h 1494290"/>
              <a:gd name="connsiteX29" fmla="*/ 3200400 w 3516297"/>
              <a:gd name="connsiteY29" fmla="*/ 605790 h 1494290"/>
              <a:gd name="connsiteX30" fmla="*/ 3261360 w 3516297"/>
              <a:gd name="connsiteY30" fmla="*/ 659130 h 1494290"/>
              <a:gd name="connsiteX31" fmla="*/ 3322320 w 3516297"/>
              <a:gd name="connsiteY31" fmla="*/ 727710 h 1494290"/>
              <a:gd name="connsiteX32" fmla="*/ 3379470 w 3516297"/>
              <a:gd name="connsiteY32" fmla="*/ 825500 h 1494290"/>
              <a:gd name="connsiteX33" fmla="*/ 3406775 w 3516297"/>
              <a:gd name="connsiteY33" fmla="*/ 897890 h 1494290"/>
              <a:gd name="connsiteX34" fmla="*/ 3444240 w 3516297"/>
              <a:gd name="connsiteY34" fmla="*/ 1040130 h 1494290"/>
              <a:gd name="connsiteX35" fmla="*/ 3463290 w 3516297"/>
              <a:gd name="connsiteY35" fmla="*/ 1146810 h 1494290"/>
              <a:gd name="connsiteX36" fmla="*/ 3486150 w 3516297"/>
              <a:gd name="connsiteY36" fmla="*/ 1242060 h 1494290"/>
              <a:gd name="connsiteX37" fmla="*/ 3516297 w 3516297"/>
              <a:gd name="connsiteY37" fmla="*/ 1350337 h 1494290"/>
              <a:gd name="connsiteX38" fmla="*/ 3509008 w 3516297"/>
              <a:gd name="connsiteY38" fmla="*/ 1418918 h 1494290"/>
              <a:gd name="connsiteX39" fmla="*/ 3482340 w 3516297"/>
              <a:gd name="connsiteY39" fmla="*/ 1485282 h 1494290"/>
              <a:gd name="connsiteX40" fmla="*/ 3418242 w 3516297"/>
              <a:gd name="connsiteY40" fmla="*/ 1491304 h 1494290"/>
              <a:gd name="connsiteX41" fmla="*/ 3368040 w 3516297"/>
              <a:gd name="connsiteY41" fmla="*/ 1463040 h 1494290"/>
              <a:gd name="connsiteX42" fmla="*/ 3295650 w 3516297"/>
              <a:gd name="connsiteY42" fmla="*/ 1398270 h 1494290"/>
              <a:gd name="connsiteX43" fmla="*/ 3242310 w 3516297"/>
              <a:gd name="connsiteY43" fmla="*/ 1341120 h 1494290"/>
              <a:gd name="connsiteX44" fmla="*/ 3204210 w 3516297"/>
              <a:gd name="connsiteY44" fmla="*/ 1291590 h 1494290"/>
              <a:gd name="connsiteX45" fmla="*/ 3162300 w 3516297"/>
              <a:gd name="connsiteY45" fmla="*/ 1230630 h 1494290"/>
              <a:gd name="connsiteX46" fmla="*/ 3128010 w 3516297"/>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0 w 3531196"/>
              <a:gd name="connsiteY27" fmla="*/ 506730 h 1494290"/>
              <a:gd name="connsiteX28" fmla="*/ 3114040 w 3531196"/>
              <a:gd name="connsiteY28" fmla="*/ 551180 h 1494290"/>
              <a:gd name="connsiteX29" fmla="*/ 3200400 w 3531196"/>
              <a:gd name="connsiteY29" fmla="*/ 605790 h 1494290"/>
              <a:gd name="connsiteX30" fmla="*/ 3261360 w 3531196"/>
              <a:gd name="connsiteY30" fmla="*/ 659130 h 1494290"/>
              <a:gd name="connsiteX31" fmla="*/ 3322320 w 3531196"/>
              <a:gd name="connsiteY31" fmla="*/ 727710 h 1494290"/>
              <a:gd name="connsiteX32" fmla="*/ 3379470 w 3531196"/>
              <a:gd name="connsiteY32" fmla="*/ 825500 h 1494290"/>
              <a:gd name="connsiteX33" fmla="*/ 3406775 w 3531196"/>
              <a:gd name="connsiteY33" fmla="*/ 897890 h 1494290"/>
              <a:gd name="connsiteX34" fmla="*/ 3444240 w 3531196"/>
              <a:gd name="connsiteY34" fmla="*/ 1040130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0 w 3531196"/>
              <a:gd name="connsiteY27" fmla="*/ 506730 h 1494290"/>
              <a:gd name="connsiteX28" fmla="*/ 3114040 w 3531196"/>
              <a:gd name="connsiteY28" fmla="*/ 551180 h 1494290"/>
              <a:gd name="connsiteX29" fmla="*/ 3200400 w 3531196"/>
              <a:gd name="connsiteY29" fmla="*/ 605790 h 1494290"/>
              <a:gd name="connsiteX30" fmla="*/ 3261360 w 3531196"/>
              <a:gd name="connsiteY30" fmla="*/ 659130 h 1494290"/>
              <a:gd name="connsiteX31" fmla="*/ 3322320 w 3531196"/>
              <a:gd name="connsiteY31" fmla="*/ 727710 h 1494290"/>
              <a:gd name="connsiteX32" fmla="*/ 3379470 w 3531196"/>
              <a:gd name="connsiteY32" fmla="*/ 825500 h 1494290"/>
              <a:gd name="connsiteX33" fmla="*/ 3406775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0 w 3531196"/>
              <a:gd name="connsiteY27" fmla="*/ 506730 h 1494290"/>
              <a:gd name="connsiteX28" fmla="*/ 3114040 w 3531196"/>
              <a:gd name="connsiteY28" fmla="*/ 551180 h 1494290"/>
              <a:gd name="connsiteX29" fmla="*/ 3200400 w 3531196"/>
              <a:gd name="connsiteY29" fmla="*/ 605790 h 1494290"/>
              <a:gd name="connsiteX30" fmla="*/ 3261360 w 3531196"/>
              <a:gd name="connsiteY30" fmla="*/ 659130 h 1494290"/>
              <a:gd name="connsiteX31" fmla="*/ 3322320 w 3531196"/>
              <a:gd name="connsiteY31" fmla="*/ 727710 h 1494290"/>
              <a:gd name="connsiteX32" fmla="*/ 3379470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0 w 3531196"/>
              <a:gd name="connsiteY27" fmla="*/ 506730 h 1494290"/>
              <a:gd name="connsiteX28" fmla="*/ 3114040 w 3531196"/>
              <a:gd name="connsiteY28" fmla="*/ 551180 h 1494290"/>
              <a:gd name="connsiteX29" fmla="*/ 3200400 w 3531196"/>
              <a:gd name="connsiteY29" fmla="*/ 605790 h 1494290"/>
              <a:gd name="connsiteX30" fmla="*/ 3261360 w 3531196"/>
              <a:gd name="connsiteY30" fmla="*/ 659130 h 1494290"/>
              <a:gd name="connsiteX31" fmla="*/ 3322320 w 3531196"/>
              <a:gd name="connsiteY31" fmla="*/ 727710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0 w 3531196"/>
              <a:gd name="connsiteY27" fmla="*/ 506730 h 1494290"/>
              <a:gd name="connsiteX28" fmla="*/ 3114040 w 3531196"/>
              <a:gd name="connsiteY28" fmla="*/ 551180 h 1494290"/>
              <a:gd name="connsiteX29" fmla="*/ 3200400 w 3531196"/>
              <a:gd name="connsiteY29" fmla="*/ 605790 h 1494290"/>
              <a:gd name="connsiteX30" fmla="*/ 3261360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0 w 3531196"/>
              <a:gd name="connsiteY27" fmla="*/ 506730 h 1494290"/>
              <a:gd name="connsiteX28" fmla="*/ 3114040 w 3531196"/>
              <a:gd name="connsiteY28" fmla="*/ 551180 h 1494290"/>
              <a:gd name="connsiteX29" fmla="*/ 3200400 w 3531196"/>
              <a:gd name="connsiteY29" fmla="*/ 605790 h 1494290"/>
              <a:gd name="connsiteX30" fmla="*/ 3261360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0 w 3531196"/>
              <a:gd name="connsiteY27" fmla="*/ 506730 h 1494290"/>
              <a:gd name="connsiteX28" fmla="*/ 3114040 w 3531196"/>
              <a:gd name="connsiteY28" fmla="*/ 551180 h 1494290"/>
              <a:gd name="connsiteX29" fmla="*/ 3189304 w 3531196"/>
              <a:gd name="connsiteY29" fmla="*/ 622627 h 1494290"/>
              <a:gd name="connsiteX30" fmla="*/ 3261360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0 w 3531196"/>
              <a:gd name="connsiteY27" fmla="*/ 506730 h 1494290"/>
              <a:gd name="connsiteX28" fmla="*/ 3114040 w 3531196"/>
              <a:gd name="connsiteY28" fmla="*/ 551180 h 1494290"/>
              <a:gd name="connsiteX29" fmla="*/ 3205943 w 3531196"/>
              <a:gd name="connsiteY29" fmla="*/ 611405 h 1494290"/>
              <a:gd name="connsiteX30" fmla="*/ 3261360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0 w 3531196"/>
              <a:gd name="connsiteY27" fmla="*/ 506730 h 1494290"/>
              <a:gd name="connsiteX28" fmla="*/ 3102947 w 3531196"/>
              <a:gd name="connsiteY28" fmla="*/ 551179 h 1494290"/>
              <a:gd name="connsiteX29" fmla="*/ 3205943 w 3531196"/>
              <a:gd name="connsiteY29" fmla="*/ 611405 h 1494290"/>
              <a:gd name="connsiteX30" fmla="*/ 3261360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06729 h 1494290"/>
              <a:gd name="connsiteX28" fmla="*/ 3102947 w 3531196"/>
              <a:gd name="connsiteY28" fmla="*/ 551179 h 1494290"/>
              <a:gd name="connsiteX29" fmla="*/ 3205943 w 3531196"/>
              <a:gd name="connsiteY29" fmla="*/ 611405 h 1494290"/>
              <a:gd name="connsiteX30" fmla="*/ 3261360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5943 w 3531196"/>
              <a:gd name="connsiteY29" fmla="*/ 611405 h 1494290"/>
              <a:gd name="connsiteX30" fmla="*/ 3261360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61360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26720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37944 h 1494290"/>
              <a:gd name="connsiteX14" fmla="*/ 1569720 w 3531196"/>
              <a:gd name="connsiteY14" fmla="*/ 411480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37944 h 1494290"/>
              <a:gd name="connsiteX14" fmla="*/ 1591908 w 3531196"/>
              <a:gd name="connsiteY14" fmla="*/ 411481 h 1494290"/>
              <a:gd name="connsiteX15" fmla="*/ 1691640 w 3531196"/>
              <a:gd name="connsiteY15" fmla="*/ 39243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37944 h 1494290"/>
              <a:gd name="connsiteX14" fmla="*/ 1591908 w 3531196"/>
              <a:gd name="connsiteY14" fmla="*/ 411481 h 1494290"/>
              <a:gd name="connsiteX15" fmla="*/ 1697189 w 3531196"/>
              <a:gd name="connsiteY15" fmla="*/ 39804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0 w 3531196"/>
              <a:gd name="connsiteY12" fmla="*/ 441960 h 1494290"/>
              <a:gd name="connsiteX13" fmla="*/ 1478280 w 3531196"/>
              <a:gd name="connsiteY13" fmla="*/ 437944 h 1494290"/>
              <a:gd name="connsiteX14" fmla="*/ 1591908 w 3531196"/>
              <a:gd name="connsiteY14" fmla="*/ 428317 h 1494290"/>
              <a:gd name="connsiteX15" fmla="*/ 1697189 w 3531196"/>
              <a:gd name="connsiteY15" fmla="*/ 39804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79221 w 3531196"/>
              <a:gd name="connsiteY12" fmla="*/ 441960 h 1494290"/>
              <a:gd name="connsiteX13" fmla="*/ 1478280 w 3531196"/>
              <a:gd name="connsiteY13" fmla="*/ 437944 h 1494290"/>
              <a:gd name="connsiteX14" fmla="*/ 1591908 w 3531196"/>
              <a:gd name="connsiteY14" fmla="*/ 428317 h 1494290"/>
              <a:gd name="connsiteX15" fmla="*/ 1697189 w 3531196"/>
              <a:gd name="connsiteY15" fmla="*/ 39804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90314 w 3531196"/>
              <a:gd name="connsiteY12" fmla="*/ 447571 h 1494290"/>
              <a:gd name="connsiteX13" fmla="*/ 1478280 w 3531196"/>
              <a:gd name="connsiteY13" fmla="*/ 437944 h 1494290"/>
              <a:gd name="connsiteX14" fmla="*/ 1591908 w 3531196"/>
              <a:gd name="connsiteY14" fmla="*/ 428317 h 1494290"/>
              <a:gd name="connsiteX15" fmla="*/ 1697189 w 3531196"/>
              <a:gd name="connsiteY15" fmla="*/ 39804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90314 w 3531196"/>
              <a:gd name="connsiteY12" fmla="*/ 447571 h 1494290"/>
              <a:gd name="connsiteX13" fmla="*/ 1478280 w 3531196"/>
              <a:gd name="connsiteY13" fmla="*/ 437944 h 1494290"/>
              <a:gd name="connsiteX14" fmla="*/ 1591908 w 3531196"/>
              <a:gd name="connsiteY14" fmla="*/ 411481 h 1494290"/>
              <a:gd name="connsiteX15" fmla="*/ 1697189 w 3531196"/>
              <a:gd name="connsiteY15" fmla="*/ 39804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90314 w 3531196"/>
              <a:gd name="connsiteY12" fmla="*/ 447571 h 1494290"/>
              <a:gd name="connsiteX13" fmla="*/ 1478280 w 3531196"/>
              <a:gd name="connsiteY13" fmla="*/ 437944 h 1494290"/>
              <a:gd name="connsiteX14" fmla="*/ 1591908 w 3531196"/>
              <a:gd name="connsiteY14" fmla="*/ 428317 h 1494290"/>
              <a:gd name="connsiteX15" fmla="*/ 1697189 w 3531196"/>
              <a:gd name="connsiteY15" fmla="*/ 39804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90314 w 3531196"/>
              <a:gd name="connsiteY12" fmla="*/ 447571 h 1494290"/>
              <a:gd name="connsiteX13" fmla="*/ 1478280 w 3531196"/>
              <a:gd name="connsiteY13" fmla="*/ 437944 h 1494290"/>
              <a:gd name="connsiteX14" fmla="*/ 1597454 w 3531196"/>
              <a:gd name="connsiteY14" fmla="*/ 422703 h 1494290"/>
              <a:gd name="connsiteX15" fmla="*/ 1697189 w 3531196"/>
              <a:gd name="connsiteY15" fmla="*/ 398040 h 1494290"/>
              <a:gd name="connsiteX16" fmla="*/ 1817370 w 3531196"/>
              <a:gd name="connsiteY16" fmla="*/ 35814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 name="connsiteX0" fmla="*/ 0 w 3531196"/>
              <a:gd name="connsiteY0" fmla="*/ 0 h 1494290"/>
              <a:gd name="connsiteX1" fmla="*/ 64770 w 3531196"/>
              <a:gd name="connsiteY1" fmla="*/ 83820 h 1494290"/>
              <a:gd name="connsiteX2" fmla="*/ 129540 w 3531196"/>
              <a:gd name="connsiteY2" fmla="*/ 140970 h 1494290"/>
              <a:gd name="connsiteX3" fmla="*/ 228600 w 3531196"/>
              <a:gd name="connsiteY3" fmla="*/ 209073 h 1494290"/>
              <a:gd name="connsiteX4" fmla="*/ 335280 w 3531196"/>
              <a:gd name="connsiteY4" fmla="*/ 274797 h 1494290"/>
              <a:gd name="connsiteX5" fmla="*/ 470059 w 3531196"/>
              <a:gd name="connsiteY5" fmla="*/ 335756 h 1494290"/>
              <a:gd name="connsiteX6" fmla="*/ 598646 w 3531196"/>
              <a:gd name="connsiteY6" fmla="*/ 372904 h 1494290"/>
              <a:gd name="connsiteX7" fmla="*/ 781050 w 3531196"/>
              <a:gd name="connsiteY7" fmla="*/ 415290 h 1494290"/>
              <a:gd name="connsiteX8" fmla="*/ 952500 w 3531196"/>
              <a:gd name="connsiteY8" fmla="*/ 441960 h 1494290"/>
              <a:gd name="connsiteX9" fmla="*/ 1093470 w 3531196"/>
              <a:gd name="connsiteY9" fmla="*/ 449580 h 1494290"/>
              <a:gd name="connsiteX10" fmla="*/ 1207770 w 3531196"/>
              <a:gd name="connsiteY10" fmla="*/ 452914 h 1494290"/>
              <a:gd name="connsiteX11" fmla="*/ 1297305 w 3531196"/>
              <a:gd name="connsiteY11" fmla="*/ 449580 h 1494290"/>
              <a:gd name="connsiteX12" fmla="*/ 1390314 w 3531196"/>
              <a:gd name="connsiteY12" fmla="*/ 447571 h 1494290"/>
              <a:gd name="connsiteX13" fmla="*/ 1478280 w 3531196"/>
              <a:gd name="connsiteY13" fmla="*/ 437944 h 1494290"/>
              <a:gd name="connsiteX14" fmla="*/ 1597454 w 3531196"/>
              <a:gd name="connsiteY14" fmla="*/ 422703 h 1494290"/>
              <a:gd name="connsiteX15" fmla="*/ 1697189 w 3531196"/>
              <a:gd name="connsiteY15" fmla="*/ 398040 h 1494290"/>
              <a:gd name="connsiteX16" fmla="*/ 1817370 w 3531196"/>
              <a:gd name="connsiteY16" fmla="*/ 363750 h 1494290"/>
              <a:gd name="connsiteX17" fmla="*/ 1916430 w 3531196"/>
              <a:gd name="connsiteY17" fmla="*/ 331470 h 1494290"/>
              <a:gd name="connsiteX18" fmla="*/ 2014855 w 3531196"/>
              <a:gd name="connsiteY18" fmla="*/ 294640 h 1494290"/>
              <a:gd name="connsiteX19" fmla="*/ 2108835 w 3531196"/>
              <a:gd name="connsiteY19" fmla="*/ 271780 h 1494290"/>
              <a:gd name="connsiteX20" fmla="*/ 2221230 w 3531196"/>
              <a:gd name="connsiteY20" fmla="*/ 251460 h 1494290"/>
              <a:gd name="connsiteX21" fmla="*/ 2337911 w 3531196"/>
              <a:gd name="connsiteY21" fmla="*/ 246698 h 1494290"/>
              <a:gd name="connsiteX22" fmla="*/ 2463641 w 3531196"/>
              <a:gd name="connsiteY22" fmla="*/ 259556 h 1494290"/>
              <a:gd name="connsiteX23" fmla="*/ 2579370 w 3531196"/>
              <a:gd name="connsiteY23" fmla="*/ 289560 h 1494290"/>
              <a:gd name="connsiteX24" fmla="*/ 2697480 w 3531196"/>
              <a:gd name="connsiteY24" fmla="*/ 331470 h 1494290"/>
              <a:gd name="connsiteX25" fmla="*/ 2807970 w 3531196"/>
              <a:gd name="connsiteY25" fmla="*/ 381000 h 1494290"/>
              <a:gd name="connsiteX26" fmla="*/ 2926080 w 3531196"/>
              <a:gd name="connsiteY26" fmla="*/ 443230 h 1494290"/>
              <a:gd name="connsiteX27" fmla="*/ 3042921 w 3531196"/>
              <a:gd name="connsiteY27" fmla="*/ 512341 h 1494290"/>
              <a:gd name="connsiteX28" fmla="*/ 3102947 w 3531196"/>
              <a:gd name="connsiteY28" fmla="*/ 551179 h 1494290"/>
              <a:gd name="connsiteX29" fmla="*/ 3200397 w 3531196"/>
              <a:gd name="connsiteY29" fmla="*/ 611405 h 1494290"/>
              <a:gd name="connsiteX30" fmla="*/ 3255811 w 3531196"/>
              <a:gd name="connsiteY30" fmla="*/ 659130 h 1494290"/>
              <a:gd name="connsiteX31" fmla="*/ 3327867 w 3531196"/>
              <a:gd name="connsiteY31" fmla="*/ 744547 h 1494290"/>
              <a:gd name="connsiteX32" fmla="*/ 3368376 w 3531196"/>
              <a:gd name="connsiteY32" fmla="*/ 825500 h 1494290"/>
              <a:gd name="connsiteX33" fmla="*/ 3395683 w 3531196"/>
              <a:gd name="connsiteY33" fmla="*/ 897890 h 1494290"/>
              <a:gd name="connsiteX34" fmla="*/ 3438694 w 3531196"/>
              <a:gd name="connsiteY34" fmla="*/ 1034518 h 1494290"/>
              <a:gd name="connsiteX35" fmla="*/ 3463290 w 3531196"/>
              <a:gd name="connsiteY35" fmla="*/ 1146810 h 1494290"/>
              <a:gd name="connsiteX36" fmla="*/ 3486150 w 3531196"/>
              <a:gd name="connsiteY36" fmla="*/ 1242060 h 1494290"/>
              <a:gd name="connsiteX37" fmla="*/ 3516297 w 3531196"/>
              <a:gd name="connsiteY37" fmla="*/ 1350337 h 1494290"/>
              <a:gd name="connsiteX38" fmla="*/ 3531196 w 3531196"/>
              <a:gd name="connsiteY38" fmla="*/ 1418918 h 1494290"/>
              <a:gd name="connsiteX39" fmla="*/ 3482340 w 3531196"/>
              <a:gd name="connsiteY39" fmla="*/ 1485282 h 1494290"/>
              <a:gd name="connsiteX40" fmla="*/ 3418242 w 3531196"/>
              <a:gd name="connsiteY40" fmla="*/ 1491304 h 1494290"/>
              <a:gd name="connsiteX41" fmla="*/ 3368040 w 3531196"/>
              <a:gd name="connsiteY41" fmla="*/ 1463040 h 1494290"/>
              <a:gd name="connsiteX42" fmla="*/ 3295650 w 3531196"/>
              <a:gd name="connsiteY42" fmla="*/ 1398270 h 1494290"/>
              <a:gd name="connsiteX43" fmla="*/ 3242310 w 3531196"/>
              <a:gd name="connsiteY43" fmla="*/ 1341120 h 1494290"/>
              <a:gd name="connsiteX44" fmla="*/ 3204210 w 3531196"/>
              <a:gd name="connsiteY44" fmla="*/ 1291590 h 1494290"/>
              <a:gd name="connsiteX45" fmla="*/ 3162300 w 3531196"/>
              <a:gd name="connsiteY45" fmla="*/ 1230630 h 1494290"/>
              <a:gd name="connsiteX46" fmla="*/ 3128010 w 3531196"/>
              <a:gd name="connsiteY46" fmla="*/ 1169670 h 1494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31196" h="1494290">
                <a:moveTo>
                  <a:pt x="0" y="0"/>
                </a:moveTo>
                <a:cubicBezTo>
                  <a:pt x="12700" y="25400"/>
                  <a:pt x="43180" y="68580"/>
                  <a:pt x="64770" y="83820"/>
                </a:cubicBezTo>
                <a:cubicBezTo>
                  <a:pt x="86360" y="99060"/>
                  <a:pt x="102235" y="120095"/>
                  <a:pt x="129540" y="140970"/>
                </a:cubicBezTo>
                <a:cubicBezTo>
                  <a:pt x="156845" y="161845"/>
                  <a:pt x="195580" y="182403"/>
                  <a:pt x="228600" y="209073"/>
                </a:cubicBezTo>
                <a:cubicBezTo>
                  <a:pt x="262890" y="231933"/>
                  <a:pt x="295037" y="253683"/>
                  <a:pt x="335280" y="274797"/>
                </a:cubicBezTo>
                <a:cubicBezTo>
                  <a:pt x="375523" y="295911"/>
                  <a:pt x="424339" y="315436"/>
                  <a:pt x="470059" y="335756"/>
                </a:cubicBezTo>
                <a:cubicBezTo>
                  <a:pt x="511969" y="348456"/>
                  <a:pt x="546814" y="359648"/>
                  <a:pt x="598646" y="372904"/>
                </a:cubicBezTo>
                <a:cubicBezTo>
                  <a:pt x="650478" y="386160"/>
                  <a:pt x="720249" y="401161"/>
                  <a:pt x="781050" y="415290"/>
                </a:cubicBezTo>
                <a:lnTo>
                  <a:pt x="952500" y="441960"/>
                </a:lnTo>
                <a:lnTo>
                  <a:pt x="1093470" y="449580"/>
                </a:lnTo>
                <a:lnTo>
                  <a:pt x="1207770" y="452914"/>
                </a:lnTo>
                <a:cubicBezTo>
                  <a:pt x="1241742" y="452914"/>
                  <a:pt x="1266881" y="450471"/>
                  <a:pt x="1297305" y="449580"/>
                </a:cubicBezTo>
                <a:cubicBezTo>
                  <a:pt x="1327729" y="448690"/>
                  <a:pt x="1360152" y="449510"/>
                  <a:pt x="1390314" y="447571"/>
                </a:cubicBezTo>
                <a:cubicBezTo>
                  <a:pt x="1420476" y="445632"/>
                  <a:pt x="1446530" y="443024"/>
                  <a:pt x="1478280" y="437944"/>
                </a:cubicBezTo>
                <a:lnTo>
                  <a:pt x="1597454" y="422703"/>
                </a:lnTo>
                <a:lnTo>
                  <a:pt x="1697189" y="398040"/>
                </a:lnTo>
                <a:lnTo>
                  <a:pt x="1817370" y="363750"/>
                </a:lnTo>
                <a:lnTo>
                  <a:pt x="1916430" y="331470"/>
                </a:lnTo>
                <a:lnTo>
                  <a:pt x="2014855" y="294640"/>
                </a:lnTo>
                <a:lnTo>
                  <a:pt x="2108835" y="271780"/>
                </a:lnTo>
                <a:cubicBezTo>
                  <a:pt x="2143760" y="263525"/>
                  <a:pt x="2183051" y="255640"/>
                  <a:pt x="2221230" y="251460"/>
                </a:cubicBezTo>
                <a:cubicBezTo>
                  <a:pt x="2259409" y="247280"/>
                  <a:pt x="2297509" y="245349"/>
                  <a:pt x="2337911" y="246698"/>
                </a:cubicBezTo>
                <a:cubicBezTo>
                  <a:pt x="2378313" y="248047"/>
                  <a:pt x="2423001" y="253206"/>
                  <a:pt x="2463641" y="259556"/>
                </a:cubicBezTo>
                <a:cubicBezTo>
                  <a:pt x="2502217" y="269557"/>
                  <a:pt x="2540397" y="277574"/>
                  <a:pt x="2579370" y="289560"/>
                </a:cubicBezTo>
                <a:cubicBezTo>
                  <a:pt x="2618343" y="301546"/>
                  <a:pt x="2659380" y="316230"/>
                  <a:pt x="2697480" y="331470"/>
                </a:cubicBezTo>
                <a:lnTo>
                  <a:pt x="2807970" y="381000"/>
                </a:lnTo>
                <a:lnTo>
                  <a:pt x="2926080" y="443230"/>
                </a:lnTo>
                <a:lnTo>
                  <a:pt x="3042921" y="512341"/>
                </a:lnTo>
                <a:lnTo>
                  <a:pt x="3102947" y="551179"/>
                </a:lnTo>
                <a:lnTo>
                  <a:pt x="3200397" y="611405"/>
                </a:lnTo>
                <a:lnTo>
                  <a:pt x="3255811" y="659130"/>
                </a:lnTo>
                <a:lnTo>
                  <a:pt x="3327867" y="744547"/>
                </a:lnTo>
                <a:lnTo>
                  <a:pt x="3368376" y="825500"/>
                </a:lnTo>
                <a:lnTo>
                  <a:pt x="3395683" y="897890"/>
                </a:lnTo>
                <a:lnTo>
                  <a:pt x="3438694" y="1034518"/>
                </a:lnTo>
                <a:lnTo>
                  <a:pt x="3463290" y="1146810"/>
                </a:lnTo>
                <a:lnTo>
                  <a:pt x="3486150" y="1242060"/>
                </a:lnTo>
                <a:lnTo>
                  <a:pt x="3516297" y="1350337"/>
                </a:lnTo>
                <a:lnTo>
                  <a:pt x="3531196" y="1418918"/>
                </a:lnTo>
                <a:cubicBezTo>
                  <a:pt x="3530561" y="1438603"/>
                  <a:pt x="3501166" y="1473218"/>
                  <a:pt x="3482340" y="1485282"/>
                </a:cubicBezTo>
                <a:cubicBezTo>
                  <a:pt x="3463514" y="1497346"/>
                  <a:pt x="3437292" y="1495011"/>
                  <a:pt x="3418242" y="1491304"/>
                </a:cubicBezTo>
                <a:cubicBezTo>
                  <a:pt x="3399192" y="1487597"/>
                  <a:pt x="3388472" y="1478546"/>
                  <a:pt x="3368040" y="1463040"/>
                </a:cubicBezTo>
                <a:cubicBezTo>
                  <a:pt x="3347608" y="1447534"/>
                  <a:pt x="3316605" y="1418590"/>
                  <a:pt x="3295650" y="1398270"/>
                </a:cubicBezTo>
                <a:lnTo>
                  <a:pt x="3242310" y="1341120"/>
                </a:lnTo>
                <a:lnTo>
                  <a:pt x="3204210" y="1291590"/>
                </a:lnTo>
                <a:lnTo>
                  <a:pt x="3162300" y="1230630"/>
                </a:lnTo>
                <a:lnTo>
                  <a:pt x="3128010" y="1169670"/>
                </a:lnTo>
              </a:path>
            </a:pathLst>
          </a:custGeom>
          <a:noFill/>
          <a:ln w="85725" cap="rnd"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Freeform 67"/>
          <p:cNvSpPr/>
          <p:nvPr/>
        </p:nvSpPr>
        <p:spPr>
          <a:xfrm>
            <a:off x="10318666" y="1607445"/>
            <a:ext cx="472534" cy="311570"/>
          </a:xfrm>
          <a:custGeom>
            <a:avLst/>
            <a:gdLst>
              <a:gd name="connsiteX0" fmla="*/ 2632166 w 2632166"/>
              <a:gd name="connsiteY0" fmla="*/ 1012371 h 1525088"/>
              <a:gd name="connsiteX1" fmla="*/ 2628900 w 2632166"/>
              <a:gd name="connsiteY1" fmla="*/ 1067888 h 1525088"/>
              <a:gd name="connsiteX2" fmla="*/ 2619103 w 2632166"/>
              <a:gd name="connsiteY2" fmla="*/ 1123405 h 1525088"/>
              <a:gd name="connsiteX3" fmla="*/ 2622369 w 2632166"/>
              <a:gd name="connsiteY3" fmla="*/ 1172391 h 1525088"/>
              <a:gd name="connsiteX4" fmla="*/ 2609306 w 2632166"/>
              <a:gd name="connsiteY4" fmla="*/ 1234440 h 1525088"/>
              <a:gd name="connsiteX5" fmla="*/ 2596243 w 2632166"/>
              <a:gd name="connsiteY5" fmla="*/ 1280160 h 1525088"/>
              <a:gd name="connsiteX6" fmla="*/ 2557054 w 2632166"/>
              <a:gd name="connsiteY6" fmla="*/ 1312817 h 1525088"/>
              <a:gd name="connsiteX7" fmla="*/ 2501537 w 2632166"/>
              <a:gd name="connsiteY7" fmla="*/ 1322614 h 1525088"/>
              <a:gd name="connsiteX8" fmla="*/ 2449286 w 2632166"/>
              <a:gd name="connsiteY8" fmla="*/ 1325880 h 1525088"/>
              <a:gd name="connsiteX9" fmla="*/ 2403566 w 2632166"/>
              <a:gd name="connsiteY9" fmla="*/ 1325880 h 1525088"/>
              <a:gd name="connsiteX10" fmla="*/ 2348049 w 2632166"/>
              <a:gd name="connsiteY10" fmla="*/ 1338943 h 1525088"/>
              <a:gd name="connsiteX11" fmla="*/ 2312126 w 2632166"/>
              <a:gd name="connsiteY11" fmla="*/ 1378131 h 1525088"/>
              <a:gd name="connsiteX12" fmla="*/ 2282734 w 2632166"/>
              <a:gd name="connsiteY12" fmla="*/ 1407523 h 1525088"/>
              <a:gd name="connsiteX13" fmla="*/ 2243546 w 2632166"/>
              <a:gd name="connsiteY13" fmla="*/ 1449977 h 1525088"/>
              <a:gd name="connsiteX14" fmla="*/ 2184763 w 2632166"/>
              <a:gd name="connsiteY14" fmla="*/ 1472837 h 1525088"/>
              <a:gd name="connsiteX15" fmla="*/ 2119449 w 2632166"/>
              <a:gd name="connsiteY15" fmla="*/ 1459774 h 1525088"/>
              <a:gd name="connsiteX16" fmla="*/ 2050869 w 2632166"/>
              <a:gd name="connsiteY16" fmla="*/ 1463040 h 1525088"/>
              <a:gd name="connsiteX17" fmla="*/ 2008414 w 2632166"/>
              <a:gd name="connsiteY17" fmla="*/ 1476103 h 1525088"/>
              <a:gd name="connsiteX18" fmla="*/ 1972491 w 2632166"/>
              <a:gd name="connsiteY18" fmla="*/ 1495697 h 1525088"/>
              <a:gd name="connsiteX19" fmla="*/ 1926771 w 2632166"/>
              <a:gd name="connsiteY19" fmla="*/ 1508760 h 1525088"/>
              <a:gd name="connsiteX20" fmla="*/ 1871254 w 2632166"/>
              <a:gd name="connsiteY20" fmla="*/ 1525088 h 1525088"/>
              <a:gd name="connsiteX21" fmla="*/ 1799409 w 2632166"/>
              <a:gd name="connsiteY21" fmla="*/ 1502228 h 1525088"/>
              <a:gd name="connsiteX22" fmla="*/ 1730829 w 2632166"/>
              <a:gd name="connsiteY22" fmla="*/ 1443445 h 1525088"/>
              <a:gd name="connsiteX23" fmla="*/ 1668780 w 2632166"/>
              <a:gd name="connsiteY23" fmla="*/ 1400991 h 1525088"/>
              <a:gd name="connsiteX24" fmla="*/ 1557746 w 2632166"/>
              <a:gd name="connsiteY24" fmla="*/ 1371600 h 1525088"/>
              <a:gd name="connsiteX25" fmla="*/ 1476103 w 2632166"/>
              <a:gd name="connsiteY25" fmla="*/ 1352005 h 1525088"/>
              <a:gd name="connsiteX26" fmla="*/ 1397726 w 2632166"/>
              <a:gd name="connsiteY26" fmla="*/ 1352005 h 1525088"/>
              <a:gd name="connsiteX27" fmla="*/ 1306286 w 2632166"/>
              <a:gd name="connsiteY27" fmla="*/ 1338943 h 1525088"/>
              <a:gd name="connsiteX28" fmla="*/ 1224643 w 2632166"/>
              <a:gd name="connsiteY28" fmla="*/ 1325880 h 1525088"/>
              <a:gd name="connsiteX29" fmla="*/ 1107077 w 2632166"/>
              <a:gd name="connsiteY29" fmla="*/ 1286691 h 1525088"/>
              <a:gd name="connsiteX30" fmla="*/ 966651 w 2632166"/>
              <a:gd name="connsiteY30" fmla="*/ 1254034 h 1525088"/>
              <a:gd name="connsiteX31" fmla="*/ 849086 w 2632166"/>
              <a:gd name="connsiteY31" fmla="*/ 1208314 h 1525088"/>
              <a:gd name="connsiteX32" fmla="*/ 751114 w 2632166"/>
              <a:gd name="connsiteY32" fmla="*/ 1185454 h 1525088"/>
              <a:gd name="connsiteX33" fmla="*/ 659674 w 2632166"/>
              <a:gd name="connsiteY33" fmla="*/ 1156063 h 1525088"/>
              <a:gd name="connsiteX34" fmla="*/ 545374 w 2632166"/>
              <a:gd name="connsiteY34" fmla="*/ 1123405 h 1525088"/>
              <a:gd name="connsiteX35" fmla="*/ 453934 w 2632166"/>
              <a:gd name="connsiteY35" fmla="*/ 1120140 h 1525088"/>
              <a:gd name="connsiteX36" fmla="*/ 375557 w 2632166"/>
              <a:gd name="connsiteY36" fmla="*/ 1113608 h 1525088"/>
              <a:gd name="connsiteX37" fmla="*/ 241663 w 2632166"/>
              <a:gd name="connsiteY37" fmla="*/ 1080951 h 1525088"/>
              <a:gd name="connsiteX38" fmla="*/ 173083 w 2632166"/>
              <a:gd name="connsiteY38" fmla="*/ 1045028 h 1525088"/>
              <a:gd name="connsiteX39" fmla="*/ 84909 w 2632166"/>
              <a:gd name="connsiteY39" fmla="*/ 950323 h 1525088"/>
              <a:gd name="connsiteX40" fmla="*/ 78377 w 2632166"/>
              <a:gd name="connsiteY40" fmla="*/ 901337 h 1525088"/>
              <a:gd name="connsiteX41" fmla="*/ 32657 w 2632166"/>
              <a:gd name="connsiteY41" fmla="*/ 809897 h 1525088"/>
              <a:gd name="connsiteX42" fmla="*/ 6531 w 2632166"/>
              <a:gd name="connsiteY42" fmla="*/ 724988 h 1525088"/>
              <a:gd name="connsiteX43" fmla="*/ 0 w 2632166"/>
              <a:gd name="connsiteY43" fmla="*/ 613954 h 1525088"/>
              <a:gd name="connsiteX44" fmla="*/ 42454 w 2632166"/>
              <a:gd name="connsiteY44" fmla="*/ 525780 h 1525088"/>
              <a:gd name="connsiteX45" fmla="*/ 117566 w 2632166"/>
              <a:gd name="connsiteY45" fmla="*/ 450668 h 1525088"/>
              <a:gd name="connsiteX46" fmla="*/ 218803 w 2632166"/>
              <a:gd name="connsiteY46" fmla="*/ 372291 h 1525088"/>
              <a:gd name="connsiteX47" fmla="*/ 365760 w 2632166"/>
              <a:gd name="connsiteY47" fmla="*/ 303711 h 1525088"/>
              <a:gd name="connsiteX48" fmla="*/ 522514 w 2632166"/>
              <a:gd name="connsiteY48" fmla="*/ 257991 h 1525088"/>
              <a:gd name="connsiteX49" fmla="*/ 646611 w 2632166"/>
              <a:gd name="connsiteY49" fmla="*/ 218803 h 1525088"/>
              <a:gd name="connsiteX50" fmla="*/ 790303 w 2632166"/>
              <a:gd name="connsiteY50" fmla="*/ 186145 h 1525088"/>
              <a:gd name="connsiteX51" fmla="*/ 950323 w 2632166"/>
              <a:gd name="connsiteY51" fmla="*/ 156754 h 1525088"/>
              <a:gd name="connsiteX52" fmla="*/ 1103811 w 2632166"/>
              <a:gd name="connsiteY52" fmla="*/ 127363 h 1525088"/>
              <a:gd name="connsiteX53" fmla="*/ 1394460 w 2632166"/>
              <a:gd name="connsiteY53" fmla="*/ 39188 h 1525088"/>
              <a:gd name="connsiteX54" fmla="*/ 1544683 w 2632166"/>
              <a:gd name="connsiteY54" fmla="*/ 13063 h 1525088"/>
              <a:gd name="connsiteX55" fmla="*/ 1678577 w 2632166"/>
              <a:gd name="connsiteY55" fmla="*/ 0 h 1525088"/>
              <a:gd name="connsiteX56" fmla="*/ 1766751 w 2632166"/>
              <a:gd name="connsiteY56" fmla="*/ 0 h 1525088"/>
              <a:gd name="connsiteX57" fmla="*/ 1851660 w 2632166"/>
              <a:gd name="connsiteY57" fmla="*/ 52251 h 1525088"/>
              <a:gd name="connsiteX58" fmla="*/ 1956163 w 2632166"/>
              <a:gd name="connsiteY58" fmla="*/ 133894 h 1525088"/>
              <a:gd name="connsiteX59" fmla="*/ 2060666 w 2632166"/>
              <a:gd name="connsiteY59" fmla="*/ 218803 h 1525088"/>
              <a:gd name="connsiteX60" fmla="*/ 2152106 w 2632166"/>
              <a:gd name="connsiteY60" fmla="*/ 284117 h 1525088"/>
              <a:gd name="connsiteX61" fmla="*/ 2188029 w 2632166"/>
              <a:gd name="connsiteY61" fmla="*/ 329837 h 1525088"/>
              <a:gd name="connsiteX62" fmla="*/ 2194560 w 2632166"/>
              <a:gd name="connsiteY62" fmla="*/ 378823 h 1525088"/>
              <a:gd name="connsiteX63" fmla="*/ 2168434 w 2632166"/>
              <a:gd name="connsiteY63" fmla="*/ 440871 h 1525088"/>
              <a:gd name="connsiteX64" fmla="*/ 2063931 w 2632166"/>
              <a:gd name="connsiteY64" fmla="*/ 480060 h 1525088"/>
              <a:gd name="connsiteX65" fmla="*/ 1936569 w 2632166"/>
              <a:gd name="connsiteY65" fmla="*/ 486591 h 1525088"/>
              <a:gd name="connsiteX66" fmla="*/ 1854926 w 2632166"/>
              <a:gd name="connsiteY66" fmla="*/ 480060 h 1525088"/>
              <a:gd name="connsiteX67" fmla="*/ 1707969 w 2632166"/>
              <a:gd name="connsiteY67" fmla="*/ 457200 h 1525088"/>
              <a:gd name="connsiteX68" fmla="*/ 1567543 w 2632166"/>
              <a:gd name="connsiteY68" fmla="*/ 431074 h 1525088"/>
              <a:gd name="connsiteX69" fmla="*/ 1436914 w 2632166"/>
              <a:gd name="connsiteY69" fmla="*/ 411480 h 1525088"/>
              <a:gd name="connsiteX70" fmla="*/ 1322614 w 2632166"/>
              <a:gd name="connsiteY70" fmla="*/ 414745 h 1525088"/>
              <a:gd name="connsiteX71" fmla="*/ 1214846 w 2632166"/>
              <a:gd name="connsiteY71" fmla="*/ 437605 h 1525088"/>
              <a:gd name="connsiteX72" fmla="*/ 1136469 w 2632166"/>
              <a:gd name="connsiteY72" fmla="*/ 470263 h 1525088"/>
              <a:gd name="connsiteX73" fmla="*/ 1002574 w 2632166"/>
              <a:gd name="connsiteY73" fmla="*/ 515983 h 1525088"/>
              <a:gd name="connsiteX74" fmla="*/ 920931 w 2632166"/>
              <a:gd name="connsiteY74" fmla="*/ 555171 h 1525088"/>
              <a:gd name="connsiteX75" fmla="*/ 777240 w 2632166"/>
              <a:gd name="connsiteY75" fmla="*/ 568234 h 1525088"/>
              <a:gd name="connsiteX76" fmla="*/ 633549 w 2632166"/>
              <a:gd name="connsiteY76" fmla="*/ 587828 h 1525088"/>
              <a:gd name="connsiteX77" fmla="*/ 545374 w 2632166"/>
              <a:gd name="connsiteY77" fmla="*/ 591094 h 1525088"/>
              <a:gd name="connsiteX78" fmla="*/ 408214 w 2632166"/>
              <a:gd name="connsiteY78" fmla="*/ 574765 h 1525088"/>
              <a:gd name="connsiteX79" fmla="*/ 287383 w 2632166"/>
              <a:gd name="connsiteY79" fmla="*/ 555171 h 1525088"/>
              <a:gd name="connsiteX80" fmla="*/ 169817 w 2632166"/>
              <a:gd name="connsiteY80" fmla="*/ 545374 h 1525088"/>
              <a:gd name="connsiteX0" fmla="*/ 2632166 w 2632166"/>
              <a:gd name="connsiteY0" fmla="*/ 1012371 h 1525088"/>
              <a:gd name="connsiteX1" fmla="*/ 2628900 w 2632166"/>
              <a:gd name="connsiteY1" fmla="*/ 1067888 h 1525088"/>
              <a:gd name="connsiteX2" fmla="*/ 2619103 w 2632166"/>
              <a:gd name="connsiteY2" fmla="*/ 1123405 h 1525088"/>
              <a:gd name="connsiteX3" fmla="*/ 2622369 w 2632166"/>
              <a:gd name="connsiteY3" fmla="*/ 1172391 h 1525088"/>
              <a:gd name="connsiteX4" fmla="*/ 2609306 w 2632166"/>
              <a:gd name="connsiteY4" fmla="*/ 1234440 h 1525088"/>
              <a:gd name="connsiteX5" fmla="*/ 2596243 w 2632166"/>
              <a:gd name="connsiteY5" fmla="*/ 1280160 h 1525088"/>
              <a:gd name="connsiteX6" fmla="*/ 2557054 w 2632166"/>
              <a:gd name="connsiteY6" fmla="*/ 1312817 h 1525088"/>
              <a:gd name="connsiteX7" fmla="*/ 2501537 w 2632166"/>
              <a:gd name="connsiteY7" fmla="*/ 1322614 h 1525088"/>
              <a:gd name="connsiteX8" fmla="*/ 2449286 w 2632166"/>
              <a:gd name="connsiteY8" fmla="*/ 1325880 h 1525088"/>
              <a:gd name="connsiteX9" fmla="*/ 2403566 w 2632166"/>
              <a:gd name="connsiteY9" fmla="*/ 1325880 h 1525088"/>
              <a:gd name="connsiteX10" fmla="*/ 2348049 w 2632166"/>
              <a:gd name="connsiteY10" fmla="*/ 1338943 h 1525088"/>
              <a:gd name="connsiteX11" fmla="*/ 2312126 w 2632166"/>
              <a:gd name="connsiteY11" fmla="*/ 1378131 h 1525088"/>
              <a:gd name="connsiteX12" fmla="*/ 2282734 w 2632166"/>
              <a:gd name="connsiteY12" fmla="*/ 1407523 h 1525088"/>
              <a:gd name="connsiteX13" fmla="*/ 2243546 w 2632166"/>
              <a:gd name="connsiteY13" fmla="*/ 1449977 h 1525088"/>
              <a:gd name="connsiteX14" fmla="*/ 2184763 w 2632166"/>
              <a:gd name="connsiteY14" fmla="*/ 1472837 h 1525088"/>
              <a:gd name="connsiteX15" fmla="*/ 2119449 w 2632166"/>
              <a:gd name="connsiteY15" fmla="*/ 1459774 h 1525088"/>
              <a:gd name="connsiteX16" fmla="*/ 2050869 w 2632166"/>
              <a:gd name="connsiteY16" fmla="*/ 1463040 h 1525088"/>
              <a:gd name="connsiteX17" fmla="*/ 2008414 w 2632166"/>
              <a:gd name="connsiteY17" fmla="*/ 1476103 h 1525088"/>
              <a:gd name="connsiteX18" fmla="*/ 1972491 w 2632166"/>
              <a:gd name="connsiteY18" fmla="*/ 1495697 h 1525088"/>
              <a:gd name="connsiteX19" fmla="*/ 1926771 w 2632166"/>
              <a:gd name="connsiteY19" fmla="*/ 1508760 h 1525088"/>
              <a:gd name="connsiteX20" fmla="*/ 1871254 w 2632166"/>
              <a:gd name="connsiteY20" fmla="*/ 1525088 h 1525088"/>
              <a:gd name="connsiteX21" fmla="*/ 1799409 w 2632166"/>
              <a:gd name="connsiteY21" fmla="*/ 1502228 h 1525088"/>
              <a:gd name="connsiteX22" fmla="*/ 1730829 w 2632166"/>
              <a:gd name="connsiteY22" fmla="*/ 1443445 h 1525088"/>
              <a:gd name="connsiteX23" fmla="*/ 1668780 w 2632166"/>
              <a:gd name="connsiteY23" fmla="*/ 1400991 h 1525088"/>
              <a:gd name="connsiteX24" fmla="*/ 1557746 w 2632166"/>
              <a:gd name="connsiteY24" fmla="*/ 1371600 h 1525088"/>
              <a:gd name="connsiteX25" fmla="*/ 1476103 w 2632166"/>
              <a:gd name="connsiteY25" fmla="*/ 1352005 h 1525088"/>
              <a:gd name="connsiteX26" fmla="*/ 1397726 w 2632166"/>
              <a:gd name="connsiteY26" fmla="*/ 1352005 h 1525088"/>
              <a:gd name="connsiteX27" fmla="*/ 1306286 w 2632166"/>
              <a:gd name="connsiteY27" fmla="*/ 1338943 h 1525088"/>
              <a:gd name="connsiteX28" fmla="*/ 1224643 w 2632166"/>
              <a:gd name="connsiteY28" fmla="*/ 1325880 h 1525088"/>
              <a:gd name="connsiteX29" fmla="*/ 1107077 w 2632166"/>
              <a:gd name="connsiteY29" fmla="*/ 1286691 h 1525088"/>
              <a:gd name="connsiteX30" fmla="*/ 966651 w 2632166"/>
              <a:gd name="connsiteY30" fmla="*/ 1254034 h 1525088"/>
              <a:gd name="connsiteX31" fmla="*/ 849086 w 2632166"/>
              <a:gd name="connsiteY31" fmla="*/ 1208314 h 1525088"/>
              <a:gd name="connsiteX32" fmla="*/ 751114 w 2632166"/>
              <a:gd name="connsiteY32" fmla="*/ 1185454 h 1525088"/>
              <a:gd name="connsiteX33" fmla="*/ 659674 w 2632166"/>
              <a:gd name="connsiteY33" fmla="*/ 1156063 h 1525088"/>
              <a:gd name="connsiteX34" fmla="*/ 545374 w 2632166"/>
              <a:gd name="connsiteY34" fmla="*/ 1123405 h 1525088"/>
              <a:gd name="connsiteX35" fmla="*/ 453934 w 2632166"/>
              <a:gd name="connsiteY35" fmla="*/ 1120140 h 1525088"/>
              <a:gd name="connsiteX36" fmla="*/ 375557 w 2632166"/>
              <a:gd name="connsiteY36" fmla="*/ 1113608 h 1525088"/>
              <a:gd name="connsiteX37" fmla="*/ 241663 w 2632166"/>
              <a:gd name="connsiteY37" fmla="*/ 1080951 h 1525088"/>
              <a:gd name="connsiteX38" fmla="*/ 173083 w 2632166"/>
              <a:gd name="connsiteY38" fmla="*/ 1045028 h 1525088"/>
              <a:gd name="connsiteX39" fmla="*/ 84909 w 2632166"/>
              <a:gd name="connsiteY39" fmla="*/ 950323 h 1525088"/>
              <a:gd name="connsiteX40" fmla="*/ 78377 w 2632166"/>
              <a:gd name="connsiteY40" fmla="*/ 901337 h 1525088"/>
              <a:gd name="connsiteX41" fmla="*/ 32657 w 2632166"/>
              <a:gd name="connsiteY41" fmla="*/ 809897 h 1525088"/>
              <a:gd name="connsiteX42" fmla="*/ 6531 w 2632166"/>
              <a:gd name="connsiteY42" fmla="*/ 724988 h 1525088"/>
              <a:gd name="connsiteX43" fmla="*/ 0 w 2632166"/>
              <a:gd name="connsiteY43" fmla="*/ 613954 h 1525088"/>
              <a:gd name="connsiteX44" fmla="*/ 42454 w 2632166"/>
              <a:gd name="connsiteY44" fmla="*/ 525780 h 1525088"/>
              <a:gd name="connsiteX45" fmla="*/ 117566 w 2632166"/>
              <a:gd name="connsiteY45" fmla="*/ 450668 h 1525088"/>
              <a:gd name="connsiteX46" fmla="*/ 218803 w 2632166"/>
              <a:gd name="connsiteY46" fmla="*/ 372291 h 1525088"/>
              <a:gd name="connsiteX47" fmla="*/ 365760 w 2632166"/>
              <a:gd name="connsiteY47" fmla="*/ 303711 h 1525088"/>
              <a:gd name="connsiteX48" fmla="*/ 522514 w 2632166"/>
              <a:gd name="connsiteY48" fmla="*/ 257991 h 1525088"/>
              <a:gd name="connsiteX49" fmla="*/ 646611 w 2632166"/>
              <a:gd name="connsiteY49" fmla="*/ 218803 h 1525088"/>
              <a:gd name="connsiteX50" fmla="*/ 790303 w 2632166"/>
              <a:gd name="connsiteY50" fmla="*/ 186145 h 1525088"/>
              <a:gd name="connsiteX51" fmla="*/ 950323 w 2632166"/>
              <a:gd name="connsiteY51" fmla="*/ 156754 h 1525088"/>
              <a:gd name="connsiteX52" fmla="*/ 1103811 w 2632166"/>
              <a:gd name="connsiteY52" fmla="*/ 127363 h 1525088"/>
              <a:gd name="connsiteX53" fmla="*/ 1394460 w 2632166"/>
              <a:gd name="connsiteY53" fmla="*/ 39188 h 1525088"/>
              <a:gd name="connsiteX54" fmla="*/ 1544683 w 2632166"/>
              <a:gd name="connsiteY54" fmla="*/ 13063 h 1525088"/>
              <a:gd name="connsiteX55" fmla="*/ 1678577 w 2632166"/>
              <a:gd name="connsiteY55" fmla="*/ 0 h 1525088"/>
              <a:gd name="connsiteX56" fmla="*/ 1766751 w 2632166"/>
              <a:gd name="connsiteY56" fmla="*/ 0 h 1525088"/>
              <a:gd name="connsiteX57" fmla="*/ 1851660 w 2632166"/>
              <a:gd name="connsiteY57" fmla="*/ 52251 h 1525088"/>
              <a:gd name="connsiteX58" fmla="*/ 1956163 w 2632166"/>
              <a:gd name="connsiteY58" fmla="*/ 133894 h 1525088"/>
              <a:gd name="connsiteX59" fmla="*/ 2060666 w 2632166"/>
              <a:gd name="connsiteY59" fmla="*/ 218803 h 1525088"/>
              <a:gd name="connsiteX60" fmla="*/ 2152106 w 2632166"/>
              <a:gd name="connsiteY60" fmla="*/ 284117 h 1525088"/>
              <a:gd name="connsiteX61" fmla="*/ 2188029 w 2632166"/>
              <a:gd name="connsiteY61" fmla="*/ 329837 h 1525088"/>
              <a:gd name="connsiteX62" fmla="*/ 2194560 w 2632166"/>
              <a:gd name="connsiteY62" fmla="*/ 378823 h 1525088"/>
              <a:gd name="connsiteX63" fmla="*/ 2168434 w 2632166"/>
              <a:gd name="connsiteY63" fmla="*/ 440871 h 1525088"/>
              <a:gd name="connsiteX64" fmla="*/ 2063931 w 2632166"/>
              <a:gd name="connsiteY64" fmla="*/ 480060 h 1525088"/>
              <a:gd name="connsiteX65" fmla="*/ 1936569 w 2632166"/>
              <a:gd name="connsiteY65" fmla="*/ 486591 h 1525088"/>
              <a:gd name="connsiteX66" fmla="*/ 1854926 w 2632166"/>
              <a:gd name="connsiteY66" fmla="*/ 480060 h 1525088"/>
              <a:gd name="connsiteX67" fmla="*/ 1707969 w 2632166"/>
              <a:gd name="connsiteY67" fmla="*/ 457200 h 1525088"/>
              <a:gd name="connsiteX68" fmla="*/ 1567543 w 2632166"/>
              <a:gd name="connsiteY68" fmla="*/ 431074 h 1525088"/>
              <a:gd name="connsiteX69" fmla="*/ 1436914 w 2632166"/>
              <a:gd name="connsiteY69" fmla="*/ 411480 h 1525088"/>
              <a:gd name="connsiteX70" fmla="*/ 1322614 w 2632166"/>
              <a:gd name="connsiteY70" fmla="*/ 414745 h 1525088"/>
              <a:gd name="connsiteX71" fmla="*/ 1214846 w 2632166"/>
              <a:gd name="connsiteY71" fmla="*/ 437605 h 1525088"/>
              <a:gd name="connsiteX72" fmla="*/ 1136469 w 2632166"/>
              <a:gd name="connsiteY72" fmla="*/ 470263 h 1525088"/>
              <a:gd name="connsiteX73" fmla="*/ 1002574 w 2632166"/>
              <a:gd name="connsiteY73" fmla="*/ 515983 h 1525088"/>
              <a:gd name="connsiteX74" fmla="*/ 920931 w 2632166"/>
              <a:gd name="connsiteY74" fmla="*/ 555171 h 1525088"/>
              <a:gd name="connsiteX75" fmla="*/ 777240 w 2632166"/>
              <a:gd name="connsiteY75" fmla="*/ 568234 h 1525088"/>
              <a:gd name="connsiteX76" fmla="*/ 633549 w 2632166"/>
              <a:gd name="connsiteY76" fmla="*/ 587828 h 1525088"/>
              <a:gd name="connsiteX77" fmla="*/ 545374 w 2632166"/>
              <a:gd name="connsiteY77" fmla="*/ 591094 h 1525088"/>
              <a:gd name="connsiteX78" fmla="*/ 408214 w 2632166"/>
              <a:gd name="connsiteY78" fmla="*/ 574765 h 1525088"/>
              <a:gd name="connsiteX79" fmla="*/ 287383 w 2632166"/>
              <a:gd name="connsiteY79" fmla="*/ 555171 h 1525088"/>
              <a:gd name="connsiteX80" fmla="*/ 169817 w 2632166"/>
              <a:gd name="connsiteY80" fmla="*/ 545374 h 1525088"/>
              <a:gd name="connsiteX0" fmla="*/ 2632166 w 2632166"/>
              <a:gd name="connsiteY0" fmla="*/ 1012371 h 1525088"/>
              <a:gd name="connsiteX1" fmla="*/ 2628900 w 2632166"/>
              <a:gd name="connsiteY1" fmla="*/ 1067888 h 1525088"/>
              <a:gd name="connsiteX2" fmla="*/ 2619103 w 2632166"/>
              <a:gd name="connsiteY2" fmla="*/ 1123405 h 1525088"/>
              <a:gd name="connsiteX3" fmla="*/ 2622369 w 2632166"/>
              <a:gd name="connsiteY3" fmla="*/ 1172391 h 1525088"/>
              <a:gd name="connsiteX4" fmla="*/ 2609306 w 2632166"/>
              <a:gd name="connsiteY4" fmla="*/ 1234440 h 1525088"/>
              <a:gd name="connsiteX5" fmla="*/ 2596243 w 2632166"/>
              <a:gd name="connsiteY5" fmla="*/ 1280160 h 1525088"/>
              <a:gd name="connsiteX6" fmla="*/ 2557054 w 2632166"/>
              <a:gd name="connsiteY6" fmla="*/ 1312817 h 1525088"/>
              <a:gd name="connsiteX7" fmla="*/ 2501537 w 2632166"/>
              <a:gd name="connsiteY7" fmla="*/ 1322614 h 1525088"/>
              <a:gd name="connsiteX8" fmla="*/ 2449286 w 2632166"/>
              <a:gd name="connsiteY8" fmla="*/ 1325880 h 1525088"/>
              <a:gd name="connsiteX9" fmla="*/ 2403566 w 2632166"/>
              <a:gd name="connsiteY9" fmla="*/ 1325880 h 1525088"/>
              <a:gd name="connsiteX10" fmla="*/ 2348049 w 2632166"/>
              <a:gd name="connsiteY10" fmla="*/ 1338943 h 1525088"/>
              <a:gd name="connsiteX11" fmla="*/ 2312126 w 2632166"/>
              <a:gd name="connsiteY11" fmla="*/ 1378131 h 1525088"/>
              <a:gd name="connsiteX12" fmla="*/ 2282734 w 2632166"/>
              <a:gd name="connsiteY12" fmla="*/ 1407523 h 1525088"/>
              <a:gd name="connsiteX13" fmla="*/ 2243546 w 2632166"/>
              <a:gd name="connsiteY13" fmla="*/ 1449977 h 1525088"/>
              <a:gd name="connsiteX14" fmla="*/ 2184763 w 2632166"/>
              <a:gd name="connsiteY14" fmla="*/ 1472837 h 1525088"/>
              <a:gd name="connsiteX15" fmla="*/ 2119449 w 2632166"/>
              <a:gd name="connsiteY15" fmla="*/ 1459774 h 1525088"/>
              <a:gd name="connsiteX16" fmla="*/ 2050869 w 2632166"/>
              <a:gd name="connsiteY16" fmla="*/ 1463040 h 1525088"/>
              <a:gd name="connsiteX17" fmla="*/ 2008414 w 2632166"/>
              <a:gd name="connsiteY17" fmla="*/ 1476103 h 1525088"/>
              <a:gd name="connsiteX18" fmla="*/ 1972491 w 2632166"/>
              <a:gd name="connsiteY18" fmla="*/ 1495697 h 1525088"/>
              <a:gd name="connsiteX19" fmla="*/ 1926771 w 2632166"/>
              <a:gd name="connsiteY19" fmla="*/ 1508760 h 1525088"/>
              <a:gd name="connsiteX20" fmla="*/ 1871254 w 2632166"/>
              <a:gd name="connsiteY20" fmla="*/ 1525088 h 1525088"/>
              <a:gd name="connsiteX21" fmla="*/ 1799409 w 2632166"/>
              <a:gd name="connsiteY21" fmla="*/ 1502228 h 1525088"/>
              <a:gd name="connsiteX22" fmla="*/ 1730829 w 2632166"/>
              <a:gd name="connsiteY22" fmla="*/ 1443445 h 1525088"/>
              <a:gd name="connsiteX23" fmla="*/ 1668780 w 2632166"/>
              <a:gd name="connsiteY23" fmla="*/ 1400991 h 1525088"/>
              <a:gd name="connsiteX24" fmla="*/ 1557746 w 2632166"/>
              <a:gd name="connsiteY24" fmla="*/ 1371600 h 1525088"/>
              <a:gd name="connsiteX25" fmla="*/ 1476103 w 2632166"/>
              <a:gd name="connsiteY25" fmla="*/ 1352005 h 1525088"/>
              <a:gd name="connsiteX26" fmla="*/ 1397726 w 2632166"/>
              <a:gd name="connsiteY26" fmla="*/ 1352005 h 1525088"/>
              <a:gd name="connsiteX27" fmla="*/ 1306286 w 2632166"/>
              <a:gd name="connsiteY27" fmla="*/ 1338943 h 1525088"/>
              <a:gd name="connsiteX28" fmla="*/ 1224643 w 2632166"/>
              <a:gd name="connsiteY28" fmla="*/ 1325880 h 1525088"/>
              <a:gd name="connsiteX29" fmla="*/ 1107077 w 2632166"/>
              <a:gd name="connsiteY29" fmla="*/ 1286691 h 1525088"/>
              <a:gd name="connsiteX30" fmla="*/ 966651 w 2632166"/>
              <a:gd name="connsiteY30" fmla="*/ 1254034 h 1525088"/>
              <a:gd name="connsiteX31" fmla="*/ 849086 w 2632166"/>
              <a:gd name="connsiteY31" fmla="*/ 1208314 h 1525088"/>
              <a:gd name="connsiteX32" fmla="*/ 751114 w 2632166"/>
              <a:gd name="connsiteY32" fmla="*/ 1185454 h 1525088"/>
              <a:gd name="connsiteX33" fmla="*/ 659674 w 2632166"/>
              <a:gd name="connsiteY33" fmla="*/ 1156063 h 1525088"/>
              <a:gd name="connsiteX34" fmla="*/ 545374 w 2632166"/>
              <a:gd name="connsiteY34" fmla="*/ 1123405 h 1525088"/>
              <a:gd name="connsiteX35" fmla="*/ 453934 w 2632166"/>
              <a:gd name="connsiteY35" fmla="*/ 1120140 h 1525088"/>
              <a:gd name="connsiteX36" fmla="*/ 375557 w 2632166"/>
              <a:gd name="connsiteY36" fmla="*/ 1113608 h 1525088"/>
              <a:gd name="connsiteX37" fmla="*/ 241663 w 2632166"/>
              <a:gd name="connsiteY37" fmla="*/ 1080951 h 1525088"/>
              <a:gd name="connsiteX38" fmla="*/ 173083 w 2632166"/>
              <a:gd name="connsiteY38" fmla="*/ 1045028 h 1525088"/>
              <a:gd name="connsiteX39" fmla="*/ 84909 w 2632166"/>
              <a:gd name="connsiteY39" fmla="*/ 950323 h 1525088"/>
              <a:gd name="connsiteX40" fmla="*/ 78377 w 2632166"/>
              <a:gd name="connsiteY40" fmla="*/ 901337 h 1525088"/>
              <a:gd name="connsiteX41" fmla="*/ 32657 w 2632166"/>
              <a:gd name="connsiteY41" fmla="*/ 809897 h 1525088"/>
              <a:gd name="connsiteX42" fmla="*/ 6531 w 2632166"/>
              <a:gd name="connsiteY42" fmla="*/ 724988 h 1525088"/>
              <a:gd name="connsiteX43" fmla="*/ 0 w 2632166"/>
              <a:gd name="connsiteY43" fmla="*/ 613954 h 1525088"/>
              <a:gd name="connsiteX44" fmla="*/ 42454 w 2632166"/>
              <a:gd name="connsiteY44" fmla="*/ 525780 h 1525088"/>
              <a:gd name="connsiteX45" fmla="*/ 117566 w 2632166"/>
              <a:gd name="connsiteY45" fmla="*/ 450668 h 1525088"/>
              <a:gd name="connsiteX46" fmla="*/ 218803 w 2632166"/>
              <a:gd name="connsiteY46" fmla="*/ 372291 h 1525088"/>
              <a:gd name="connsiteX47" fmla="*/ 365760 w 2632166"/>
              <a:gd name="connsiteY47" fmla="*/ 303711 h 1525088"/>
              <a:gd name="connsiteX48" fmla="*/ 522514 w 2632166"/>
              <a:gd name="connsiteY48" fmla="*/ 257991 h 1525088"/>
              <a:gd name="connsiteX49" fmla="*/ 646611 w 2632166"/>
              <a:gd name="connsiteY49" fmla="*/ 218803 h 1525088"/>
              <a:gd name="connsiteX50" fmla="*/ 790303 w 2632166"/>
              <a:gd name="connsiteY50" fmla="*/ 186145 h 1525088"/>
              <a:gd name="connsiteX51" fmla="*/ 950323 w 2632166"/>
              <a:gd name="connsiteY51" fmla="*/ 156754 h 1525088"/>
              <a:gd name="connsiteX52" fmla="*/ 1103811 w 2632166"/>
              <a:gd name="connsiteY52" fmla="*/ 127363 h 1525088"/>
              <a:gd name="connsiteX53" fmla="*/ 1394460 w 2632166"/>
              <a:gd name="connsiteY53" fmla="*/ 39188 h 1525088"/>
              <a:gd name="connsiteX54" fmla="*/ 1544683 w 2632166"/>
              <a:gd name="connsiteY54" fmla="*/ 13063 h 1525088"/>
              <a:gd name="connsiteX55" fmla="*/ 1678577 w 2632166"/>
              <a:gd name="connsiteY55" fmla="*/ 0 h 1525088"/>
              <a:gd name="connsiteX56" fmla="*/ 1766751 w 2632166"/>
              <a:gd name="connsiteY56" fmla="*/ 0 h 1525088"/>
              <a:gd name="connsiteX57" fmla="*/ 1851660 w 2632166"/>
              <a:gd name="connsiteY57" fmla="*/ 52251 h 1525088"/>
              <a:gd name="connsiteX58" fmla="*/ 1956163 w 2632166"/>
              <a:gd name="connsiteY58" fmla="*/ 133894 h 1525088"/>
              <a:gd name="connsiteX59" fmla="*/ 2060666 w 2632166"/>
              <a:gd name="connsiteY59" fmla="*/ 218803 h 1525088"/>
              <a:gd name="connsiteX60" fmla="*/ 2152106 w 2632166"/>
              <a:gd name="connsiteY60" fmla="*/ 284117 h 1525088"/>
              <a:gd name="connsiteX61" fmla="*/ 2188029 w 2632166"/>
              <a:gd name="connsiteY61" fmla="*/ 329837 h 1525088"/>
              <a:gd name="connsiteX62" fmla="*/ 2194560 w 2632166"/>
              <a:gd name="connsiteY62" fmla="*/ 378823 h 1525088"/>
              <a:gd name="connsiteX63" fmla="*/ 2168434 w 2632166"/>
              <a:gd name="connsiteY63" fmla="*/ 440871 h 1525088"/>
              <a:gd name="connsiteX64" fmla="*/ 2063931 w 2632166"/>
              <a:gd name="connsiteY64" fmla="*/ 480060 h 1525088"/>
              <a:gd name="connsiteX65" fmla="*/ 1936569 w 2632166"/>
              <a:gd name="connsiteY65" fmla="*/ 486591 h 1525088"/>
              <a:gd name="connsiteX66" fmla="*/ 1854926 w 2632166"/>
              <a:gd name="connsiteY66" fmla="*/ 480060 h 1525088"/>
              <a:gd name="connsiteX67" fmla="*/ 1707969 w 2632166"/>
              <a:gd name="connsiteY67" fmla="*/ 457200 h 1525088"/>
              <a:gd name="connsiteX68" fmla="*/ 1567543 w 2632166"/>
              <a:gd name="connsiteY68" fmla="*/ 431074 h 1525088"/>
              <a:gd name="connsiteX69" fmla="*/ 1436914 w 2632166"/>
              <a:gd name="connsiteY69" fmla="*/ 411480 h 1525088"/>
              <a:gd name="connsiteX70" fmla="*/ 1322614 w 2632166"/>
              <a:gd name="connsiteY70" fmla="*/ 414745 h 1525088"/>
              <a:gd name="connsiteX71" fmla="*/ 1214846 w 2632166"/>
              <a:gd name="connsiteY71" fmla="*/ 437605 h 1525088"/>
              <a:gd name="connsiteX72" fmla="*/ 1136469 w 2632166"/>
              <a:gd name="connsiteY72" fmla="*/ 470263 h 1525088"/>
              <a:gd name="connsiteX73" fmla="*/ 1002574 w 2632166"/>
              <a:gd name="connsiteY73" fmla="*/ 515983 h 1525088"/>
              <a:gd name="connsiteX74" fmla="*/ 920931 w 2632166"/>
              <a:gd name="connsiteY74" fmla="*/ 555171 h 1525088"/>
              <a:gd name="connsiteX75" fmla="*/ 777240 w 2632166"/>
              <a:gd name="connsiteY75" fmla="*/ 568234 h 1525088"/>
              <a:gd name="connsiteX76" fmla="*/ 633549 w 2632166"/>
              <a:gd name="connsiteY76" fmla="*/ 587828 h 1525088"/>
              <a:gd name="connsiteX77" fmla="*/ 545374 w 2632166"/>
              <a:gd name="connsiteY77" fmla="*/ 591094 h 1525088"/>
              <a:gd name="connsiteX78" fmla="*/ 408214 w 2632166"/>
              <a:gd name="connsiteY78" fmla="*/ 574765 h 1525088"/>
              <a:gd name="connsiteX79" fmla="*/ 287383 w 2632166"/>
              <a:gd name="connsiteY79" fmla="*/ 555171 h 1525088"/>
              <a:gd name="connsiteX80" fmla="*/ 169817 w 2632166"/>
              <a:gd name="connsiteY80" fmla="*/ 545374 h 1525088"/>
              <a:gd name="connsiteX0" fmla="*/ 2632166 w 2632166"/>
              <a:gd name="connsiteY0" fmla="*/ 1012371 h 1525088"/>
              <a:gd name="connsiteX1" fmla="*/ 2628900 w 2632166"/>
              <a:gd name="connsiteY1" fmla="*/ 1067888 h 1525088"/>
              <a:gd name="connsiteX2" fmla="*/ 2619103 w 2632166"/>
              <a:gd name="connsiteY2" fmla="*/ 1123405 h 1525088"/>
              <a:gd name="connsiteX3" fmla="*/ 2622369 w 2632166"/>
              <a:gd name="connsiteY3" fmla="*/ 1172391 h 1525088"/>
              <a:gd name="connsiteX4" fmla="*/ 2609306 w 2632166"/>
              <a:gd name="connsiteY4" fmla="*/ 1234440 h 1525088"/>
              <a:gd name="connsiteX5" fmla="*/ 2596243 w 2632166"/>
              <a:gd name="connsiteY5" fmla="*/ 1280160 h 1525088"/>
              <a:gd name="connsiteX6" fmla="*/ 2557054 w 2632166"/>
              <a:gd name="connsiteY6" fmla="*/ 1312817 h 1525088"/>
              <a:gd name="connsiteX7" fmla="*/ 2501537 w 2632166"/>
              <a:gd name="connsiteY7" fmla="*/ 1322614 h 1525088"/>
              <a:gd name="connsiteX8" fmla="*/ 2449286 w 2632166"/>
              <a:gd name="connsiteY8" fmla="*/ 1325880 h 1525088"/>
              <a:gd name="connsiteX9" fmla="*/ 2403566 w 2632166"/>
              <a:gd name="connsiteY9" fmla="*/ 1325880 h 1525088"/>
              <a:gd name="connsiteX10" fmla="*/ 2348049 w 2632166"/>
              <a:gd name="connsiteY10" fmla="*/ 1338943 h 1525088"/>
              <a:gd name="connsiteX11" fmla="*/ 2312126 w 2632166"/>
              <a:gd name="connsiteY11" fmla="*/ 1378131 h 1525088"/>
              <a:gd name="connsiteX12" fmla="*/ 2282734 w 2632166"/>
              <a:gd name="connsiteY12" fmla="*/ 1407523 h 1525088"/>
              <a:gd name="connsiteX13" fmla="*/ 2243546 w 2632166"/>
              <a:gd name="connsiteY13" fmla="*/ 1449977 h 1525088"/>
              <a:gd name="connsiteX14" fmla="*/ 2184763 w 2632166"/>
              <a:gd name="connsiteY14" fmla="*/ 1472837 h 1525088"/>
              <a:gd name="connsiteX15" fmla="*/ 2119449 w 2632166"/>
              <a:gd name="connsiteY15" fmla="*/ 1459774 h 1525088"/>
              <a:gd name="connsiteX16" fmla="*/ 2050869 w 2632166"/>
              <a:gd name="connsiteY16" fmla="*/ 1463040 h 1525088"/>
              <a:gd name="connsiteX17" fmla="*/ 2008414 w 2632166"/>
              <a:gd name="connsiteY17" fmla="*/ 1476103 h 1525088"/>
              <a:gd name="connsiteX18" fmla="*/ 1972491 w 2632166"/>
              <a:gd name="connsiteY18" fmla="*/ 1495697 h 1525088"/>
              <a:gd name="connsiteX19" fmla="*/ 1926771 w 2632166"/>
              <a:gd name="connsiteY19" fmla="*/ 1508760 h 1525088"/>
              <a:gd name="connsiteX20" fmla="*/ 1871254 w 2632166"/>
              <a:gd name="connsiteY20" fmla="*/ 1525088 h 1525088"/>
              <a:gd name="connsiteX21" fmla="*/ 1799409 w 2632166"/>
              <a:gd name="connsiteY21" fmla="*/ 1502228 h 1525088"/>
              <a:gd name="connsiteX22" fmla="*/ 1730829 w 2632166"/>
              <a:gd name="connsiteY22" fmla="*/ 1443445 h 1525088"/>
              <a:gd name="connsiteX23" fmla="*/ 1668780 w 2632166"/>
              <a:gd name="connsiteY23" fmla="*/ 1400991 h 1525088"/>
              <a:gd name="connsiteX24" fmla="*/ 1557746 w 2632166"/>
              <a:gd name="connsiteY24" fmla="*/ 1371600 h 1525088"/>
              <a:gd name="connsiteX25" fmla="*/ 1476103 w 2632166"/>
              <a:gd name="connsiteY25" fmla="*/ 1352005 h 1525088"/>
              <a:gd name="connsiteX26" fmla="*/ 1397726 w 2632166"/>
              <a:gd name="connsiteY26" fmla="*/ 1352005 h 1525088"/>
              <a:gd name="connsiteX27" fmla="*/ 1306286 w 2632166"/>
              <a:gd name="connsiteY27" fmla="*/ 1338943 h 1525088"/>
              <a:gd name="connsiteX28" fmla="*/ 1224643 w 2632166"/>
              <a:gd name="connsiteY28" fmla="*/ 1325880 h 1525088"/>
              <a:gd name="connsiteX29" fmla="*/ 1107077 w 2632166"/>
              <a:gd name="connsiteY29" fmla="*/ 1286691 h 1525088"/>
              <a:gd name="connsiteX30" fmla="*/ 966651 w 2632166"/>
              <a:gd name="connsiteY30" fmla="*/ 1254034 h 1525088"/>
              <a:gd name="connsiteX31" fmla="*/ 849086 w 2632166"/>
              <a:gd name="connsiteY31" fmla="*/ 1208314 h 1525088"/>
              <a:gd name="connsiteX32" fmla="*/ 751114 w 2632166"/>
              <a:gd name="connsiteY32" fmla="*/ 1185454 h 1525088"/>
              <a:gd name="connsiteX33" fmla="*/ 659674 w 2632166"/>
              <a:gd name="connsiteY33" fmla="*/ 1156063 h 1525088"/>
              <a:gd name="connsiteX34" fmla="*/ 545374 w 2632166"/>
              <a:gd name="connsiteY34" fmla="*/ 1123405 h 1525088"/>
              <a:gd name="connsiteX35" fmla="*/ 453934 w 2632166"/>
              <a:gd name="connsiteY35" fmla="*/ 1120140 h 1525088"/>
              <a:gd name="connsiteX36" fmla="*/ 375557 w 2632166"/>
              <a:gd name="connsiteY36" fmla="*/ 1113608 h 1525088"/>
              <a:gd name="connsiteX37" fmla="*/ 241663 w 2632166"/>
              <a:gd name="connsiteY37" fmla="*/ 1080951 h 1525088"/>
              <a:gd name="connsiteX38" fmla="*/ 173083 w 2632166"/>
              <a:gd name="connsiteY38" fmla="*/ 1045028 h 1525088"/>
              <a:gd name="connsiteX39" fmla="*/ 84909 w 2632166"/>
              <a:gd name="connsiteY39" fmla="*/ 950323 h 1525088"/>
              <a:gd name="connsiteX40" fmla="*/ 78377 w 2632166"/>
              <a:gd name="connsiteY40" fmla="*/ 901337 h 1525088"/>
              <a:gd name="connsiteX41" fmla="*/ 32657 w 2632166"/>
              <a:gd name="connsiteY41" fmla="*/ 809897 h 1525088"/>
              <a:gd name="connsiteX42" fmla="*/ 6531 w 2632166"/>
              <a:gd name="connsiteY42" fmla="*/ 724988 h 1525088"/>
              <a:gd name="connsiteX43" fmla="*/ 0 w 2632166"/>
              <a:gd name="connsiteY43" fmla="*/ 613954 h 1525088"/>
              <a:gd name="connsiteX44" fmla="*/ 42454 w 2632166"/>
              <a:gd name="connsiteY44" fmla="*/ 525780 h 1525088"/>
              <a:gd name="connsiteX45" fmla="*/ 117566 w 2632166"/>
              <a:gd name="connsiteY45" fmla="*/ 450668 h 1525088"/>
              <a:gd name="connsiteX46" fmla="*/ 218803 w 2632166"/>
              <a:gd name="connsiteY46" fmla="*/ 372291 h 1525088"/>
              <a:gd name="connsiteX47" fmla="*/ 365760 w 2632166"/>
              <a:gd name="connsiteY47" fmla="*/ 303711 h 1525088"/>
              <a:gd name="connsiteX48" fmla="*/ 522514 w 2632166"/>
              <a:gd name="connsiteY48" fmla="*/ 257991 h 1525088"/>
              <a:gd name="connsiteX49" fmla="*/ 646611 w 2632166"/>
              <a:gd name="connsiteY49" fmla="*/ 218803 h 1525088"/>
              <a:gd name="connsiteX50" fmla="*/ 790303 w 2632166"/>
              <a:gd name="connsiteY50" fmla="*/ 186145 h 1525088"/>
              <a:gd name="connsiteX51" fmla="*/ 950323 w 2632166"/>
              <a:gd name="connsiteY51" fmla="*/ 156754 h 1525088"/>
              <a:gd name="connsiteX52" fmla="*/ 1103811 w 2632166"/>
              <a:gd name="connsiteY52" fmla="*/ 127363 h 1525088"/>
              <a:gd name="connsiteX53" fmla="*/ 1394460 w 2632166"/>
              <a:gd name="connsiteY53" fmla="*/ 39188 h 1525088"/>
              <a:gd name="connsiteX54" fmla="*/ 1544683 w 2632166"/>
              <a:gd name="connsiteY54" fmla="*/ 13063 h 1525088"/>
              <a:gd name="connsiteX55" fmla="*/ 1678577 w 2632166"/>
              <a:gd name="connsiteY55" fmla="*/ 0 h 1525088"/>
              <a:gd name="connsiteX56" fmla="*/ 1766751 w 2632166"/>
              <a:gd name="connsiteY56" fmla="*/ 0 h 1525088"/>
              <a:gd name="connsiteX57" fmla="*/ 1851660 w 2632166"/>
              <a:gd name="connsiteY57" fmla="*/ 52251 h 1525088"/>
              <a:gd name="connsiteX58" fmla="*/ 1956163 w 2632166"/>
              <a:gd name="connsiteY58" fmla="*/ 133894 h 1525088"/>
              <a:gd name="connsiteX59" fmla="*/ 2060666 w 2632166"/>
              <a:gd name="connsiteY59" fmla="*/ 218803 h 1525088"/>
              <a:gd name="connsiteX60" fmla="*/ 2152106 w 2632166"/>
              <a:gd name="connsiteY60" fmla="*/ 284117 h 1525088"/>
              <a:gd name="connsiteX61" fmla="*/ 2188029 w 2632166"/>
              <a:gd name="connsiteY61" fmla="*/ 329837 h 1525088"/>
              <a:gd name="connsiteX62" fmla="*/ 2194560 w 2632166"/>
              <a:gd name="connsiteY62" fmla="*/ 378823 h 1525088"/>
              <a:gd name="connsiteX63" fmla="*/ 2168434 w 2632166"/>
              <a:gd name="connsiteY63" fmla="*/ 440871 h 1525088"/>
              <a:gd name="connsiteX64" fmla="*/ 2063931 w 2632166"/>
              <a:gd name="connsiteY64" fmla="*/ 480060 h 1525088"/>
              <a:gd name="connsiteX65" fmla="*/ 1936569 w 2632166"/>
              <a:gd name="connsiteY65" fmla="*/ 486591 h 1525088"/>
              <a:gd name="connsiteX66" fmla="*/ 1854926 w 2632166"/>
              <a:gd name="connsiteY66" fmla="*/ 480060 h 1525088"/>
              <a:gd name="connsiteX67" fmla="*/ 1707969 w 2632166"/>
              <a:gd name="connsiteY67" fmla="*/ 457200 h 1525088"/>
              <a:gd name="connsiteX68" fmla="*/ 1567543 w 2632166"/>
              <a:gd name="connsiteY68" fmla="*/ 431074 h 1525088"/>
              <a:gd name="connsiteX69" fmla="*/ 1436914 w 2632166"/>
              <a:gd name="connsiteY69" fmla="*/ 411480 h 1525088"/>
              <a:gd name="connsiteX70" fmla="*/ 1322614 w 2632166"/>
              <a:gd name="connsiteY70" fmla="*/ 414745 h 1525088"/>
              <a:gd name="connsiteX71" fmla="*/ 1214846 w 2632166"/>
              <a:gd name="connsiteY71" fmla="*/ 437605 h 1525088"/>
              <a:gd name="connsiteX72" fmla="*/ 1136469 w 2632166"/>
              <a:gd name="connsiteY72" fmla="*/ 470263 h 1525088"/>
              <a:gd name="connsiteX73" fmla="*/ 1002574 w 2632166"/>
              <a:gd name="connsiteY73" fmla="*/ 515983 h 1525088"/>
              <a:gd name="connsiteX74" fmla="*/ 920931 w 2632166"/>
              <a:gd name="connsiteY74" fmla="*/ 555171 h 1525088"/>
              <a:gd name="connsiteX75" fmla="*/ 777240 w 2632166"/>
              <a:gd name="connsiteY75" fmla="*/ 568234 h 1525088"/>
              <a:gd name="connsiteX76" fmla="*/ 633549 w 2632166"/>
              <a:gd name="connsiteY76" fmla="*/ 587828 h 1525088"/>
              <a:gd name="connsiteX77" fmla="*/ 545374 w 2632166"/>
              <a:gd name="connsiteY77" fmla="*/ 591094 h 1525088"/>
              <a:gd name="connsiteX78" fmla="*/ 408214 w 2632166"/>
              <a:gd name="connsiteY78" fmla="*/ 574765 h 1525088"/>
              <a:gd name="connsiteX79" fmla="*/ 287383 w 2632166"/>
              <a:gd name="connsiteY79" fmla="*/ 555171 h 1525088"/>
              <a:gd name="connsiteX80" fmla="*/ 169817 w 2632166"/>
              <a:gd name="connsiteY80" fmla="*/ 545374 h 1525088"/>
              <a:gd name="connsiteX0" fmla="*/ 2632166 w 2632166"/>
              <a:gd name="connsiteY0" fmla="*/ 1012371 h 1525088"/>
              <a:gd name="connsiteX1" fmla="*/ 2628900 w 2632166"/>
              <a:gd name="connsiteY1" fmla="*/ 1067888 h 1525088"/>
              <a:gd name="connsiteX2" fmla="*/ 2619103 w 2632166"/>
              <a:gd name="connsiteY2" fmla="*/ 1123405 h 1525088"/>
              <a:gd name="connsiteX3" fmla="*/ 2622369 w 2632166"/>
              <a:gd name="connsiteY3" fmla="*/ 1172391 h 1525088"/>
              <a:gd name="connsiteX4" fmla="*/ 2609306 w 2632166"/>
              <a:gd name="connsiteY4" fmla="*/ 1234440 h 1525088"/>
              <a:gd name="connsiteX5" fmla="*/ 2596243 w 2632166"/>
              <a:gd name="connsiteY5" fmla="*/ 1280160 h 1525088"/>
              <a:gd name="connsiteX6" fmla="*/ 2557054 w 2632166"/>
              <a:gd name="connsiteY6" fmla="*/ 1312817 h 1525088"/>
              <a:gd name="connsiteX7" fmla="*/ 2501537 w 2632166"/>
              <a:gd name="connsiteY7" fmla="*/ 1322614 h 1525088"/>
              <a:gd name="connsiteX8" fmla="*/ 2449286 w 2632166"/>
              <a:gd name="connsiteY8" fmla="*/ 1325880 h 1525088"/>
              <a:gd name="connsiteX9" fmla="*/ 2403566 w 2632166"/>
              <a:gd name="connsiteY9" fmla="*/ 1325880 h 1525088"/>
              <a:gd name="connsiteX10" fmla="*/ 2348049 w 2632166"/>
              <a:gd name="connsiteY10" fmla="*/ 1338943 h 1525088"/>
              <a:gd name="connsiteX11" fmla="*/ 2312126 w 2632166"/>
              <a:gd name="connsiteY11" fmla="*/ 1378131 h 1525088"/>
              <a:gd name="connsiteX12" fmla="*/ 2282734 w 2632166"/>
              <a:gd name="connsiteY12" fmla="*/ 1407523 h 1525088"/>
              <a:gd name="connsiteX13" fmla="*/ 2243546 w 2632166"/>
              <a:gd name="connsiteY13" fmla="*/ 1449977 h 1525088"/>
              <a:gd name="connsiteX14" fmla="*/ 2184763 w 2632166"/>
              <a:gd name="connsiteY14" fmla="*/ 1472837 h 1525088"/>
              <a:gd name="connsiteX15" fmla="*/ 2119449 w 2632166"/>
              <a:gd name="connsiteY15" fmla="*/ 1459774 h 1525088"/>
              <a:gd name="connsiteX16" fmla="*/ 2050869 w 2632166"/>
              <a:gd name="connsiteY16" fmla="*/ 1463040 h 1525088"/>
              <a:gd name="connsiteX17" fmla="*/ 2008414 w 2632166"/>
              <a:gd name="connsiteY17" fmla="*/ 1476103 h 1525088"/>
              <a:gd name="connsiteX18" fmla="*/ 1972491 w 2632166"/>
              <a:gd name="connsiteY18" fmla="*/ 1495697 h 1525088"/>
              <a:gd name="connsiteX19" fmla="*/ 1926771 w 2632166"/>
              <a:gd name="connsiteY19" fmla="*/ 1508760 h 1525088"/>
              <a:gd name="connsiteX20" fmla="*/ 1871254 w 2632166"/>
              <a:gd name="connsiteY20" fmla="*/ 1525088 h 1525088"/>
              <a:gd name="connsiteX21" fmla="*/ 1799409 w 2632166"/>
              <a:gd name="connsiteY21" fmla="*/ 1502228 h 1525088"/>
              <a:gd name="connsiteX22" fmla="*/ 1730829 w 2632166"/>
              <a:gd name="connsiteY22" fmla="*/ 1443445 h 1525088"/>
              <a:gd name="connsiteX23" fmla="*/ 1668780 w 2632166"/>
              <a:gd name="connsiteY23" fmla="*/ 1400991 h 1525088"/>
              <a:gd name="connsiteX24" fmla="*/ 1557746 w 2632166"/>
              <a:gd name="connsiteY24" fmla="*/ 1371600 h 1525088"/>
              <a:gd name="connsiteX25" fmla="*/ 1476103 w 2632166"/>
              <a:gd name="connsiteY25" fmla="*/ 1352005 h 1525088"/>
              <a:gd name="connsiteX26" fmla="*/ 1397726 w 2632166"/>
              <a:gd name="connsiteY26" fmla="*/ 1352005 h 1525088"/>
              <a:gd name="connsiteX27" fmla="*/ 1306286 w 2632166"/>
              <a:gd name="connsiteY27" fmla="*/ 1338943 h 1525088"/>
              <a:gd name="connsiteX28" fmla="*/ 1224643 w 2632166"/>
              <a:gd name="connsiteY28" fmla="*/ 1325880 h 1525088"/>
              <a:gd name="connsiteX29" fmla="*/ 1107077 w 2632166"/>
              <a:gd name="connsiteY29" fmla="*/ 1286691 h 1525088"/>
              <a:gd name="connsiteX30" fmla="*/ 966651 w 2632166"/>
              <a:gd name="connsiteY30" fmla="*/ 1254034 h 1525088"/>
              <a:gd name="connsiteX31" fmla="*/ 849086 w 2632166"/>
              <a:gd name="connsiteY31" fmla="*/ 1208314 h 1525088"/>
              <a:gd name="connsiteX32" fmla="*/ 751114 w 2632166"/>
              <a:gd name="connsiteY32" fmla="*/ 1185454 h 1525088"/>
              <a:gd name="connsiteX33" fmla="*/ 659674 w 2632166"/>
              <a:gd name="connsiteY33" fmla="*/ 1156063 h 1525088"/>
              <a:gd name="connsiteX34" fmla="*/ 545374 w 2632166"/>
              <a:gd name="connsiteY34" fmla="*/ 1123405 h 1525088"/>
              <a:gd name="connsiteX35" fmla="*/ 453934 w 2632166"/>
              <a:gd name="connsiteY35" fmla="*/ 1120140 h 1525088"/>
              <a:gd name="connsiteX36" fmla="*/ 375557 w 2632166"/>
              <a:gd name="connsiteY36" fmla="*/ 1113608 h 1525088"/>
              <a:gd name="connsiteX37" fmla="*/ 241663 w 2632166"/>
              <a:gd name="connsiteY37" fmla="*/ 1080951 h 1525088"/>
              <a:gd name="connsiteX38" fmla="*/ 173083 w 2632166"/>
              <a:gd name="connsiteY38" fmla="*/ 1045028 h 1525088"/>
              <a:gd name="connsiteX39" fmla="*/ 84909 w 2632166"/>
              <a:gd name="connsiteY39" fmla="*/ 950323 h 1525088"/>
              <a:gd name="connsiteX40" fmla="*/ 78377 w 2632166"/>
              <a:gd name="connsiteY40" fmla="*/ 901337 h 1525088"/>
              <a:gd name="connsiteX41" fmla="*/ 32657 w 2632166"/>
              <a:gd name="connsiteY41" fmla="*/ 809897 h 1525088"/>
              <a:gd name="connsiteX42" fmla="*/ 6531 w 2632166"/>
              <a:gd name="connsiteY42" fmla="*/ 724988 h 1525088"/>
              <a:gd name="connsiteX43" fmla="*/ 0 w 2632166"/>
              <a:gd name="connsiteY43" fmla="*/ 613954 h 1525088"/>
              <a:gd name="connsiteX44" fmla="*/ 42454 w 2632166"/>
              <a:gd name="connsiteY44" fmla="*/ 525780 h 1525088"/>
              <a:gd name="connsiteX45" fmla="*/ 117566 w 2632166"/>
              <a:gd name="connsiteY45" fmla="*/ 450668 h 1525088"/>
              <a:gd name="connsiteX46" fmla="*/ 218803 w 2632166"/>
              <a:gd name="connsiteY46" fmla="*/ 372291 h 1525088"/>
              <a:gd name="connsiteX47" fmla="*/ 365760 w 2632166"/>
              <a:gd name="connsiteY47" fmla="*/ 303711 h 1525088"/>
              <a:gd name="connsiteX48" fmla="*/ 522514 w 2632166"/>
              <a:gd name="connsiteY48" fmla="*/ 257991 h 1525088"/>
              <a:gd name="connsiteX49" fmla="*/ 646611 w 2632166"/>
              <a:gd name="connsiteY49" fmla="*/ 218803 h 1525088"/>
              <a:gd name="connsiteX50" fmla="*/ 790303 w 2632166"/>
              <a:gd name="connsiteY50" fmla="*/ 186145 h 1525088"/>
              <a:gd name="connsiteX51" fmla="*/ 950323 w 2632166"/>
              <a:gd name="connsiteY51" fmla="*/ 156754 h 1525088"/>
              <a:gd name="connsiteX52" fmla="*/ 1103811 w 2632166"/>
              <a:gd name="connsiteY52" fmla="*/ 127363 h 1525088"/>
              <a:gd name="connsiteX53" fmla="*/ 1394460 w 2632166"/>
              <a:gd name="connsiteY53" fmla="*/ 39188 h 1525088"/>
              <a:gd name="connsiteX54" fmla="*/ 1544683 w 2632166"/>
              <a:gd name="connsiteY54" fmla="*/ 13063 h 1525088"/>
              <a:gd name="connsiteX55" fmla="*/ 1678577 w 2632166"/>
              <a:gd name="connsiteY55" fmla="*/ 0 h 1525088"/>
              <a:gd name="connsiteX56" fmla="*/ 1766751 w 2632166"/>
              <a:gd name="connsiteY56" fmla="*/ 0 h 1525088"/>
              <a:gd name="connsiteX57" fmla="*/ 1851660 w 2632166"/>
              <a:gd name="connsiteY57" fmla="*/ 52251 h 1525088"/>
              <a:gd name="connsiteX58" fmla="*/ 1956163 w 2632166"/>
              <a:gd name="connsiteY58" fmla="*/ 133894 h 1525088"/>
              <a:gd name="connsiteX59" fmla="*/ 2060666 w 2632166"/>
              <a:gd name="connsiteY59" fmla="*/ 218803 h 1525088"/>
              <a:gd name="connsiteX60" fmla="*/ 2152106 w 2632166"/>
              <a:gd name="connsiteY60" fmla="*/ 284117 h 1525088"/>
              <a:gd name="connsiteX61" fmla="*/ 2188029 w 2632166"/>
              <a:gd name="connsiteY61" fmla="*/ 329837 h 1525088"/>
              <a:gd name="connsiteX62" fmla="*/ 2194560 w 2632166"/>
              <a:gd name="connsiteY62" fmla="*/ 378823 h 1525088"/>
              <a:gd name="connsiteX63" fmla="*/ 2168434 w 2632166"/>
              <a:gd name="connsiteY63" fmla="*/ 440871 h 1525088"/>
              <a:gd name="connsiteX64" fmla="*/ 2063931 w 2632166"/>
              <a:gd name="connsiteY64" fmla="*/ 480060 h 1525088"/>
              <a:gd name="connsiteX65" fmla="*/ 1936569 w 2632166"/>
              <a:gd name="connsiteY65" fmla="*/ 486591 h 1525088"/>
              <a:gd name="connsiteX66" fmla="*/ 1854926 w 2632166"/>
              <a:gd name="connsiteY66" fmla="*/ 480060 h 1525088"/>
              <a:gd name="connsiteX67" fmla="*/ 1707969 w 2632166"/>
              <a:gd name="connsiteY67" fmla="*/ 457200 h 1525088"/>
              <a:gd name="connsiteX68" fmla="*/ 1567543 w 2632166"/>
              <a:gd name="connsiteY68" fmla="*/ 431074 h 1525088"/>
              <a:gd name="connsiteX69" fmla="*/ 1436914 w 2632166"/>
              <a:gd name="connsiteY69" fmla="*/ 411480 h 1525088"/>
              <a:gd name="connsiteX70" fmla="*/ 1322614 w 2632166"/>
              <a:gd name="connsiteY70" fmla="*/ 414745 h 1525088"/>
              <a:gd name="connsiteX71" fmla="*/ 1214846 w 2632166"/>
              <a:gd name="connsiteY71" fmla="*/ 437605 h 1525088"/>
              <a:gd name="connsiteX72" fmla="*/ 1136469 w 2632166"/>
              <a:gd name="connsiteY72" fmla="*/ 470263 h 1525088"/>
              <a:gd name="connsiteX73" fmla="*/ 1002574 w 2632166"/>
              <a:gd name="connsiteY73" fmla="*/ 515983 h 1525088"/>
              <a:gd name="connsiteX74" fmla="*/ 920931 w 2632166"/>
              <a:gd name="connsiteY74" fmla="*/ 555171 h 1525088"/>
              <a:gd name="connsiteX75" fmla="*/ 777240 w 2632166"/>
              <a:gd name="connsiteY75" fmla="*/ 568234 h 1525088"/>
              <a:gd name="connsiteX76" fmla="*/ 633549 w 2632166"/>
              <a:gd name="connsiteY76" fmla="*/ 587828 h 1525088"/>
              <a:gd name="connsiteX77" fmla="*/ 545374 w 2632166"/>
              <a:gd name="connsiteY77" fmla="*/ 591094 h 1525088"/>
              <a:gd name="connsiteX78" fmla="*/ 408214 w 2632166"/>
              <a:gd name="connsiteY78" fmla="*/ 574765 h 1525088"/>
              <a:gd name="connsiteX79" fmla="*/ 287383 w 2632166"/>
              <a:gd name="connsiteY79" fmla="*/ 555171 h 1525088"/>
              <a:gd name="connsiteX80" fmla="*/ 169817 w 2632166"/>
              <a:gd name="connsiteY80" fmla="*/ 545374 h 1525088"/>
              <a:gd name="connsiteX0" fmla="*/ 2632166 w 2632166"/>
              <a:gd name="connsiteY0" fmla="*/ 1012371 h 1525088"/>
              <a:gd name="connsiteX1" fmla="*/ 2628900 w 2632166"/>
              <a:gd name="connsiteY1" fmla="*/ 1067888 h 1525088"/>
              <a:gd name="connsiteX2" fmla="*/ 2623865 w 2632166"/>
              <a:gd name="connsiteY2" fmla="*/ 1125787 h 1525088"/>
              <a:gd name="connsiteX3" fmla="*/ 2622369 w 2632166"/>
              <a:gd name="connsiteY3" fmla="*/ 1172391 h 1525088"/>
              <a:gd name="connsiteX4" fmla="*/ 2609306 w 2632166"/>
              <a:gd name="connsiteY4" fmla="*/ 1234440 h 1525088"/>
              <a:gd name="connsiteX5" fmla="*/ 2596243 w 2632166"/>
              <a:gd name="connsiteY5" fmla="*/ 1280160 h 1525088"/>
              <a:gd name="connsiteX6" fmla="*/ 2557054 w 2632166"/>
              <a:gd name="connsiteY6" fmla="*/ 1312817 h 1525088"/>
              <a:gd name="connsiteX7" fmla="*/ 2501537 w 2632166"/>
              <a:gd name="connsiteY7" fmla="*/ 1322614 h 1525088"/>
              <a:gd name="connsiteX8" fmla="*/ 2449286 w 2632166"/>
              <a:gd name="connsiteY8" fmla="*/ 1325880 h 1525088"/>
              <a:gd name="connsiteX9" fmla="*/ 2403566 w 2632166"/>
              <a:gd name="connsiteY9" fmla="*/ 1325880 h 1525088"/>
              <a:gd name="connsiteX10" fmla="*/ 2348049 w 2632166"/>
              <a:gd name="connsiteY10" fmla="*/ 1338943 h 1525088"/>
              <a:gd name="connsiteX11" fmla="*/ 2312126 w 2632166"/>
              <a:gd name="connsiteY11" fmla="*/ 1378131 h 1525088"/>
              <a:gd name="connsiteX12" fmla="*/ 2282734 w 2632166"/>
              <a:gd name="connsiteY12" fmla="*/ 1407523 h 1525088"/>
              <a:gd name="connsiteX13" fmla="*/ 2243546 w 2632166"/>
              <a:gd name="connsiteY13" fmla="*/ 1449977 h 1525088"/>
              <a:gd name="connsiteX14" fmla="*/ 2184763 w 2632166"/>
              <a:gd name="connsiteY14" fmla="*/ 1472837 h 1525088"/>
              <a:gd name="connsiteX15" fmla="*/ 2119449 w 2632166"/>
              <a:gd name="connsiteY15" fmla="*/ 1459774 h 1525088"/>
              <a:gd name="connsiteX16" fmla="*/ 2050869 w 2632166"/>
              <a:gd name="connsiteY16" fmla="*/ 1463040 h 1525088"/>
              <a:gd name="connsiteX17" fmla="*/ 2008414 w 2632166"/>
              <a:gd name="connsiteY17" fmla="*/ 1476103 h 1525088"/>
              <a:gd name="connsiteX18" fmla="*/ 1972491 w 2632166"/>
              <a:gd name="connsiteY18" fmla="*/ 1495697 h 1525088"/>
              <a:gd name="connsiteX19" fmla="*/ 1926771 w 2632166"/>
              <a:gd name="connsiteY19" fmla="*/ 1508760 h 1525088"/>
              <a:gd name="connsiteX20" fmla="*/ 1871254 w 2632166"/>
              <a:gd name="connsiteY20" fmla="*/ 1525088 h 1525088"/>
              <a:gd name="connsiteX21" fmla="*/ 1799409 w 2632166"/>
              <a:gd name="connsiteY21" fmla="*/ 1502228 h 1525088"/>
              <a:gd name="connsiteX22" fmla="*/ 1730829 w 2632166"/>
              <a:gd name="connsiteY22" fmla="*/ 1443445 h 1525088"/>
              <a:gd name="connsiteX23" fmla="*/ 1668780 w 2632166"/>
              <a:gd name="connsiteY23" fmla="*/ 1400991 h 1525088"/>
              <a:gd name="connsiteX24" fmla="*/ 1557746 w 2632166"/>
              <a:gd name="connsiteY24" fmla="*/ 1371600 h 1525088"/>
              <a:gd name="connsiteX25" fmla="*/ 1476103 w 2632166"/>
              <a:gd name="connsiteY25" fmla="*/ 1352005 h 1525088"/>
              <a:gd name="connsiteX26" fmla="*/ 1397726 w 2632166"/>
              <a:gd name="connsiteY26" fmla="*/ 1352005 h 1525088"/>
              <a:gd name="connsiteX27" fmla="*/ 1306286 w 2632166"/>
              <a:gd name="connsiteY27" fmla="*/ 1338943 h 1525088"/>
              <a:gd name="connsiteX28" fmla="*/ 1224643 w 2632166"/>
              <a:gd name="connsiteY28" fmla="*/ 1325880 h 1525088"/>
              <a:gd name="connsiteX29" fmla="*/ 1107077 w 2632166"/>
              <a:gd name="connsiteY29" fmla="*/ 1286691 h 1525088"/>
              <a:gd name="connsiteX30" fmla="*/ 966651 w 2632166"/>
              <a:gd name="connsiteY30" fmla="*/ 1254034 h 1525088"/>
              <a:gd name="connsiteX31" fmla="*/ 849086 w 2632166"/>
              <a:gd name="connsiteY31" fmla="*/ 1208314 h 1525088"/>
              <a:gd name="connsiteX32" fmla="*/ 751114 w 2632166"/>
              <a:gd name="connsiteY32" fmla="*/ 1185454 h 1525088"/>
              <a:gd name="connsiteX33" fmla="*/ 659674 w 2632166"/>
              <a:gd name="connsiteY33" fmla="*/ 1156063 h 1525088"/>
              <a:gd name="connsiteX34" fmla="*/ 545374 w 2632166"/>
              <a:gd name="connsiteY34" fmla="*/ 1123405 h 1525088"/>
              <a:gd name="connsiteX35" fmla="*/ 453934 w 2632166"/>
              <a:gd name="connsiteY35" fmla="*/ 1120140 h 1525088"/>
              <a:gd name="connsiteX36" fmla="*/ 375557 w 2632166"/>
              <a:gd name="connsiteY36" fmla="*/ 1113608 h 1525088"/>
              <a:gd name="connsiteX37" fmla="*/ 241663 w 2632166"/>
              <a:gd name="connsiteY37" fmla="*/ 1080951 h 1525088"/>
              <a:gd name="connsiteX38" fmla="*/ 173083 w 2632166"/>
              <a:gd name="connsiteY38" fmla="*/ 1045028 h 1525088"/>
              <a:gd name="connsiteX39" fmla="*/ 84909 w 2632166"/>
              <a:gd name="connsiteY39" fmla="*/ 950323 h 1525088"/>
              <a:gd name="connsiteX40" fmla="*/ 78377 w 2632166"/>
              <a:gd name="connsiteY40" fmla="*/ 901337 h 1525088"/>
              <a:gd name="connsiteX41" fmla="*/ 32657 w 2632166"/>
              <a:gd name="connsiteY41" fmla="*/ 809897 h 1525088"/>
              <a:gd name="connsiteX42" fmla="*/ 6531 w 2632166"/>
              <a:gd name="connsiteY42" fmla="*/ 724988 h 1525088"/>
              <a:gd name="connsiteX43" fmla="*/ 0 w 2632166"/>
              <a:gd name="connsiteY43" fmla="*/ 613954 h 1525088"/>
              <a:gd name="connsiteX44" fmla="*/ 42454 w 2632166"/>
              <a:gd name="connsiteY44" fmla="*/ 525780 h 1525088"/>
              <a:gd name="connsiteX45" fmla="*/ 117566 w 2632166"/>
              <a:gd name="connsiteY45" fmla="*/ 450668 h 1525088"/>
              <a:gd name="connsiteX46" fmla="*/ 218803 w 2632166"/>
              <a:gd name="connsiteY46" fmla="*/ 372291 h 1525088"/>
              <a:gd name="connsiteX47" fmla="*/ 365760 w 2632166"/>
              <a:gd name="connsiteY47" fmla="*/ 303711 h 1525088"/>
              <a:gd name="connsiteX48" fmla="*/ 522514 w 2632166"/>
              <a:gd name="connsiteY48" fmla="*/ 257991 h 1525088"/>
              <a:gd name="connsiteX49" fmla="*/ 646611 w 2632166"/>
              <a:gd name="connsiteY49" fmla="*/ 218803 h 1525088"/>
              <a:gd name="connsiteX50" fmla="*/ 790303 w 2632166"/>
              <a:gd name="connsiteY50" fmla="*/ 186145 h 1525088"/>
              <a:gd name="connsiteX51" fmla="*/ 950323 w 2632166"/>
              <a:gd name="connsiteY51" fmla="*/ 156754 h 1525088"/>
              <a:gd name="connsiteX52" fmla="*/ 1103811 w 2632166"/>
              <a:gd name="connsiteY52" fmla="*/ 127363 h 1525088"/>
              <a:gd name="connsiteX53" fmla="*/ 1394460 w 2632166"/>
              <a:gd name="connsiteY53" fmla="*/ 39188 h 1525088"/>
              <a:gd name="connsiteX54" fmla="*/ 1544683 w 2632166"/>
              <a:gd name="connsiteY54" fmla="*/ 13063 h 1525088"/>
              <a:gd name="connsiteX55" fmla="*/ 1678577 w 2632166"/>
              <a:gd name="connsiteY55" fmla="*/ 0 h 1525088"/>
              <a:gd name="connsiteX56" fmla="*/ 1766751 w 2632166"/>
              <a:gd name="connsiteY56" fmla="*/ 0 h 1525088"/>
              <a:gd name="connsiteX57" fmla="*/ 1851660 w 2632166"/>
              <a:gd name="connsiteY57" fmla="*/ 52251 h 1525088"/>
              <a:gd name="connsiteX58" fmla="*/ 1956163 w 2632166"/>
              <a:gd name="connsiteY58" fmla="*/ 133894 h 1525088"/>
              <a:gd name="connsiteX59" fmla="*/ 2060666 w 2632166"/>
              <a:gd name="connsiteY59" fmla="*/ 218803 h 1525088"/>
              <a:gd name="connsiteX60" fmla="*/ 2152106 w 2632166"/>
              <a:gd name="connsiteY60" fmla="*/ 284117 h 1525088"/>
              <a:gd name="connsiteX61" fmla="*/ 2188029 w 2632166"/>
              <a:gd name="connsiteY61" fmla="*/ 329837 h 1525088"/>
              <a:gd name="connsiteX62" fmla="*/ 2194560 w 2632166"/>
              <a:gd name="connsiteY62" fmla="*/ 378823 h 1525088"/>
              <a:gd name="connsiteX63" fmla="*/ 2168434 w 2632166"/>
              <a:gd name="connsiteY63" fmla="*/ 440871 h 1525088"/>
              <a:gd name="connsiteX64" fmla="*/ 2063931 w 2632166"/>
              <a:gd name="connsiteY64" fmla="*/ 480060 h 1525088"/>
              <a:gd name="connsiteX65" fmla="*/ 1936569 w 2632166"/>
              <a:gd name="connsiteY65" fmla="*/ 486591 h 1525088"/>
              <a:gd name="connsiteX66" fmla="*/ 1854926 w 2632166"/>
              <a:gd name="connsiteY66" fmla="*/ 480060 h 1525088"/>
              <a:gd name="connsiteX67" fmla="*/ 1707969 w 2632166"/>
              <a:gd name="connsiteY67" fmla="*/ 457200 h 1525088"/>
              <a:gd name="connsiteX68" fmla="*/ 1567543 w 2632166"/>
              <a:gd name="connsiteY68" fmla="*/ 431074 h 1525088"/>
              <a:gd name="connsiteX69" fmla="*/ 1436914 w 2632166"/>
              <a:gd name="connsiteY69" fmla="*/ 411480 h 1525088"/>
              <a:gd name="connsiteX70" fmla="*/ 1322614 w 2632166"/>
              <a:gd name="connsiteY70" fmla="*/ 414745 h 1525088"/>
              <a:gd name="connsiteX71" fmla="*/ 1214846 w 2632166"/>
              <a:gd name="connsiteY71" fmla="*/ 437605 h 1525088"/>
              <a:gd name="connsiteX72" fmla="*/ 1136469 w 2632166"/>
              <a:gd name="connsiteY72" fmla="*/ 470263 h 1525088"/>
              <a:gd name="connsiteX73" fmla="*/ 1002574 w 2632166"/>
              <a:gd name="connsiteY73" fmla="*/ 515983 h 1525088"/>
              <a:gd name="connsiteX74" fmla="*/ 920931 w 2632166"/>
              <a:gd name="connsiteY74" fmla="*/ 555171 h 1525088"/>
              <a:gd name="connsiteX75" fmla="*/ 777240 w 2632166"/>
              <a:gd name="connsiteY75" fmla="*/ 568234 h 1525088"/>
              <a:gd name="connsiteX76" fmla="*/ 633549 w 2632166"/>
              <a:gd name="connsiteY76" fmla="*/ 587828 h 1525088"/>
              <a:gd name="connsiteX77" fmla="*/ 545374 w 2632166"/>
              <a:gd name="connsiteY77" fmla="*/ 591094 h 1525088"/>
              <a:gd name="connsiteX78" fmla="*/ 408214 w 2632166"/>
              <a:gd name="connsiteY78" fmla="*/ 574765 h 1525088"/>
              <a:gd name="connsiteX79" fmla="*/ 287383 w 2632166"/>
              <a:gd name="connsiteY79" fmla="*/ 555171 h 1525088"/>
              <a:gd name="connsiteX80" fmla="*/ 169817 w 2632166"/>
              <a:gd name="connsiteY80" fmla="*/ 545374 h 1525088"/>
              <a:gd name="connsiteX0" fmla="*/ 2632166 w 2632166"/>
              <a:gd name="connsiteY0" fmla="*/ 1012371 h 1525088"/>
              <a:gd name="connsiteX1" fmla="*/ 2628900 w 2632166"/>
              <a:gd name="connsiteY1" fmla="*/ 1067888 h 1525088"/>
              <a:gd name="connsiteX2" fmla="*/ 2623865 w 2632166"/>
              <a:gd name="connsiteY2" fmla="*/ 1125787 h 1525088"/>
              <a:gd name="connsiteX3" fmla="*/ 2622369 w 2632166"/>
              <a:gd name="connsiteY3" fmla="*/ 1172391 h 1525088"/>
              <a:gd name="connsiteX4" fmla="*/ 2618831 w 2632166"/>
              <a:gd name="connsiteY4" fmla="*/ 1227296 h 1525088"/>
              <a:gd name="connsiteX5" fmla="*/ 2596243 w 2632166"/>
              <a:gd name="connsiteY5" fmla="*/ 1280160 h 1525088"/>
              <a:gd name="connsiteX6" fmla="*/ 2557054 w 2632166"/>
              <a:gd name="connsiteY6" fmla="*/ 1312817 h 1525088"/>
              <a:gd name="connsiteX7" fmla="*/ 2501537 w 2632166"/>
              <a:gd name="connsiteY7" fmla="*/ 1322614 h 1525088"/>
              <a:gd name="connsiteX8" fmla="*/ 2449286 w 2632166"/>
              <a:gd name="connsiteY8" fmla="*/ 1325880 h 1525088"/>
              <a:gd name="connsiteX9" fmla="*/ 2403566 w 2632166"/>
              <a:gd name="connsiteY9" fmla="*/ 1325880 h 1525088"/>
              <a:gd name="connsiteX10" fmla="*/ 2348049 w 2632166"/>
              <a:gd name="connsiteY10" fmla="*/ 1338943 h 1525088"/>
              <a:gd name="connsiteX11" fmla="*/ 2312126 w 2632166"/>
              <a:gd name="connsiteY11" fmla="*/ 1378131 h 1525088"/>
              <a:gd name="connsiteX12" fmla="*/ 2282734 w 2632166"/>
              <a:gd name="connsiteY12" fmla="*/ 1407523 h 1525088"/>
              <a:gd name="connsiteX13" fmla="*/ 2243546 w 2632166"/>
              <a:gd name="connsiteY13" fmla="*/ 1449977 h 1525088"/>
              <a:gd name="connsiteX14" fmla="*/ 2184763 w 2632166"/>
              <a:gd name="connsiteY14" fmla="*/ 1472837 h 1525088"/>
              <a:gd name="connsiteX15" fmla="*/ 2119449 w 2632166"/>
              <a:gd name="connsiteY15" fmla="*/ 1459774 h 1525088"/>
              <a:gd name="connsiteX16" fmla="*/ 2050869 w 2632166"/>
              <a:gd name="connsiteY16" fmla="*/ 1463040 h 1525088"/>
              <a:gd name="connsiteX17" fmla="*/ 2008414 w 2632166"/>
              <a:gd name="connsiteY17" fmla="*/ 1476103 h 1525088"/>
              <a:gd name="connsiteX18" fmla="*/ 1972491 w 2632166"/>
              <a:gd name="connsiteY18" fmla="*/ 1495697 h 1525088"/>
              <a:gd name="connsiteX19" fmla="*/ 1926771 w 2632166"/>
              <a:gd name="connsiteY19" fmla="*/ 1508760 h 1525088"/>
              <a:gd name="connsiteX20" fmla="*/ 1871254 w 2632166"/>
              <a:gd name="connsiteY20" fmla="*/ 1525088 h 1525088"/>
              <a:gd name="connsiteX21" fmla="*/ 1799409 w 2632166"/>
              <a:gd name="connsiteY21" fmla="*/ 1502228 h 1525088"/>
              <a:gd name="connsiteX22" fmla="*/ 1730829 w 2632166"/>
              <a:gd name="connsiteY22" fmla="*/ 1443445 h 1525088"/>
              <a:gd name="connsiteX23" fmla="*/ 1668780 w 2632166"/>
              <a:gd name="connsiteY23" fmla="*/ 1400991 h 1525088"/>
              <a:gd name="connsiteX24" fmla="*/ 1557746 w 2632166"/>
              <a:gd name="connsiteY24" fmla="*/ 1371600 h 1525088"/>
              <a:gd name="connsiteX25" fmla="*/ 1476103 w 2632166"/>
              <a:gd name="connsiteY25" fmla="*/ 1352005 h 1525088"/>
              <a:gd name="connsiteX26" fmla="*/ 1397726 w 2632166"/>
              <a:gd name="connsiteY26" fmla="*/ 1352005 h 1525088"/>
              <a:gd name="connsiteX27" fmla="*/ 1306286 w 2632166"/>
              <a:gd name="connsiteY27" fmla="*/ 1338943 h 1525088"/>
              <a:gd name="connsiteX28" fmla="*/ 1224643 w 2632166"/>
              <a:gd name="connsiteY28" fmla="*/ 1325880 h 1525088"/>
              <a:gd name="connsiteX29" fmla="*/ 1107077 w 2632166"/>
              <a:gd name="connsiteY29" fmla="*/ 1286691 h 1525088"/>
              <a:gd name="connsiteX30" fmla="*/ 966651 w 2632166"/>
              <a:gd name="connsiteY30" fmla="*/ 1254034 h 1525088"/>
              <a:gd name="connsiteX31" fmla="*/ 849086 w 2632166"/>
              <a:gd name="connsiteY31" fmla="*/ 1208314 h 1525088"/>
              <a:gd name="connsiteX32" fmla="*/ 751114 w 2632166"/>
              <a:gd name="connsiteY32" fmla="*/ 1185454 h 1525088"/>
              <a:gd name="connsiteX33" fmla="*/ 659674 w 2632166"/>
              <a:gd name="connsiteY33" fmla="*/ 1156063 h 1525088"/>
              <a:gd name="connsiteX34" fmla="*/ 545374 w 2632166"/>
              <a:gd name="connsiteY34" fmla="*/ 1123405 h 1525088"/>
              <a:gd name="connsiteX35" fmla="*/ 453934 w 2632166"/>
              <a:gd name="connsiteY35" fmla="*/ 1120140 h 1525088"/>
              <a:gd name="connsiteX36" fmla="*/ 375557 w 2632166"/>
              <a:gd name="connsiteY36" fmla="*/ 1113608 h 1525088"/>
              <a:gd name="connsiteX37" fmla="*/ 241663 w 2632166"/>
              <a:gd name="connsiteY37" fmla="*/ 1080951 h 1525088"/>
              <a:gd name="connsiteX38" fmla="*/ 173083 w 2632166"/>
              <a:gd name="connsiteY38" fmla="*/ 1045028 h 1525088"/>
              <a:gd name="connsiteX39" fmla="*/ 84909 w 2632166"/>
              <a:gd name="connsiteY39" fmla="*/ 950323 h 1525088"/>
              <a:gd name="connsiteX40" fmla="*/ 78377 w 2632166"/>
              <a:gd name="connsiteY40" fmla="*/ 901337 h 1525088"/>
              <a:gd name="connsiteX41" fmla="*/ 32657 w 2632166"/>
              <a:gd name="connsiteY41" fmla="*/ 809897 h 1525088"/>
              <a:gd name="connsiteX42" fmla="*/ 6531 w 2632166"/>
              <a:gd name="connsiteY42" fmla="*/ 724988 h 1525088"/>
              <a:gd name="connsiteX43" fmla="*/ 0 w 2632166"/>
              <a:gd name="connsiteY43" fmla="*/ 613954 h 1525088"/>
              <a:gd name="connsiteX44" fmla="*/ 42454 w 2632166"/>
              <a:gd name="connsiteY44" fmla="*/ 525780 h 1525088"/>
              <a:gd name="connsiteX45" fmla="*/ 117566 w 2632166"/>
              <a:gd name="connsiteY45" fmla="*/ 450668 h 1525088"/>
              <a:gd name="connsiteX46" fmla="*/ 218803 w 2632166"/>
              <a:gd name="connsiteY46" fmla="*/ 372291 h 1525088"/>
              <a:gd name="connsiteX47" fmla="*/ 365760 w 2632166"/>
              <a:gd name="connsiteY47" fmla="*/ 303711 h 1525088"/>
              <a:gd name="connsiteX48" fmla="*/ 522514 w 2632166"/>
              <a:gd name="connsiteY48" fmla="*/ 257991 h 1525088"/>
              <a:gd name="connsiteX49" fmla="*/ 646611 w 2632166"/>
              <a:gd name="connsiteY49" fmla="*/ 218803 h 1525088"/>
              <a:gd name="connsiteX50" fmla="*/ 790303 w 2632166"/>
              <a:gd name="connsiteY50" fmla="*/ 186145 h 1525088"/>
              <a:gd name="connsiteX51" fmla="*/ 950323 w 2632166"/>
              <a:gd name="connsiteY51" fmla="*/ 156754 h 1525088"/>
              <a:gd name="connsiteX52" fmla="*/ 1103811 w 2632166"/>
              <a:gd name="connsiteY52" fmla="*/ 127363 h 1525088"/>
              <a:gd name="connsiteX53" fmla="*/ 1394460 w 2632166"/>
              <a:gd name="connsiteY53" fmla="*/ 39188 h 1525088"/>
              <a:gd name="connsiteX54" fmla="*/ 1544683 w 2632166"/>
              <a:gd name="connsiteY54" fmla="*/ 13063 h 1525088"/>
              <a:gd name="connsiteX55" fmla="*/ 1678577 w 2632166"/>
              <a:gd name="connsiteY55" fmla="*/ 0 h 1525088"/>
              <a:gd name="connsiteX56" fmla="*/ 1766751 w 2632166"/>
              <a:gd name="connsiteY56" fmla="*/ 0 h 1525088"/>
              <a:gd name="connsiteX57" fmla="*/ 1851660 w 2632166"/>
              <a:gd name="connsiteY57" fmla="*/ 52251 h 1525088"/>
              <a:gd name="connsiteX58" fmla="*/ 1956163 w 2632166"/>
              <a:gd name="connsiteY58" fmla="*/ 133894 h 1525088"/>
              <a:gd name="connsiteX59" fmla="*/ 2060666 w 2632166"/>
              <a:gd name="connsiteY59" fmla="*/ 218803 h 1525088"/>
              <a:gd name="connsiteX60" fmla="*/ 2152106 w 2632166"/>
              <a:gd name="connsiteY60" fmla="*/ 284117 h 1525088"/>
              <a:gd name="connsiteX61" fmla="*/ 2188029 w 2632166"/>
              <a:gd name="connsiteY61" fmla="*/ 329837 h 1525088"/>
              <a:gd name="connsiteX62" fmla="*/ 2194560 w 2632166"/>
              <a:gd name="connsiteY62" fmla="*/ 378823 h 1525088"/>
              <a:gd name="connsiteX63" fmla="*/ 2168434 w 2632166"/>
              <a:gd name="connsiteY63" fmla="*/ 440871 h 1525088"/>
              <a:gd name="connsiteX64" fmla="*/ 2063931 w 2632166"/>
              <a:gd name="connsiteY64" fmla="*/ 480060 h 1525088"/>
              <a:gd name="connsiteX65" fmla="*/ 1936569 w 2632166"/>
              <a:gd name="connsiteY65" fmla="*/ 486591 h 1525088"/>
              <a:gd name="connsiteX66" fmla="*/ 1854926 w 2632166"/>
              <a:gd name="connsiteY66" fmla="*/ 480060 h 1525088"/>
              <a:gd name="connsiteX67" fmla="*/ 1707969 w 2632166"/>
              <a:gd name="connsiteY67" fmla="*/ 457200 h 1525088"/>
              <a:gd name="connsiteX68" fmla="*/ 1567543 w 2632166"/>
              <a:gd name="connsiteY68" fmla="*/ 431074 h 1525088"/>
              <a:gd name="connsiteX69" fmla="*/ 1436914 w 2632166"/>
              <a:gd name="connsiteY69" fmla="*/ 411480 h 1525088"/>
              <a:gd name="connsiteX70" fmla="*/ 1322614 w 2632166"/>
              <a:gd name="connsiteY70" fmla="*/ 414745 h 1525088"/>
              <a:gd name="connsiteX71" fmla="*/ 1214846 w 2632166"/>
              <a:gd name="connsiteY71" fmla="*/ 437605 h 1525088"/>
              <a:gd name="connsiteX72" fmla="*/ 1136469 w 2632166"/>
              <a:gd name="connsiteY72" fmla="*/ 470263 h 1525088"/>
              <a:gd name="connsiteX73" fmla="*/ 1002574 w 2632166"/>
              <a:gd name="connsiteY73" fmla="*/ 515983 h 1525088"/>
              <a:gd name="connsiteX74" fmla="*/ 920931 w 2632166"/>
              <a:gd name="connsiteY74" fmla="*/ 555171 h 1525088"/>
              <a:gd name="connsiteX75" fmla="*/ 777240 w 2632166"/>
              <a:gd name="connsiteY75" fmla="*/ 568234 h 1525088"/>
              <a:gd name="connsiteX76" fmla="*/ 633549 w 2632166"/>
              <a:gd name="connsiteY76" fmla="*/ 587828 h 1525088"/>
              <a:gd name="connsiteX77" fmla="*/ 545374 w 2632166"/>
              <a:gd name="connsiteY77" fmla="*/ 591094 h 1525088"/>
              <a:gd name="connsiteX78" fmla="*/ 408214 w 2632166"/>
              <a:gd name="connsiteY78" fmla="*/ 574765 h 1525088"/>
              <a:gd name="connsiteX79" fmla="*/ 287383 w 2632166"/>
              <a:gd name="connsiteY79" fmla="*/ 555171 h 1525088"/>
              <a:gd name="connsiteX80" fmla="*/ 169817 w 2632166"/>
              <a:gd name="connsiteY80" fmla="*/ 545374 h 1525088"/>
              <a:gd name="connsiteX0" fmla="*/ 2632166 w 2632166"/>
              <a:gd name="connsiteY0" fmla="*/ 1012371 h 1525088"/>
              <a:gd name="connsiteX1" fmla="*/ 2628900 w 2632166"/>
              <a:gd name="connsiteY1" fmla="*/ 1067888 h 1525088"/>
              <a:gd name="connsiteX2" fmla="*/ 2623865 w 2632166"/>
              <a:gd name="connsiteY2" fmla="*/ 1125787 h 1525088"/>
              <a:gd name="connsiteX3" fmla="*/ 2622369 w 2632166"/>
              <a:gd name="connsiteY3" fmla="*/ 1172391 h 1525088"/>
              <a:gd name="connsiteX4" fmla="*/ 2618831 w 2632166"/>
              <a:gd name="connsiteY4" fmla="*/ 1227296 h 1525088"/>
              <a:gd name="connsiteX5" fmla="*/ 2596243 w 2632166"/>
              <a:gd name="connsiteY5" fmla="*/ 1280160 h 1525088"/>
              <a:gd name="connsiteX6" fmla="*/ 2557054 w 2632166"/>
              <a:gd name="connsiteY6" fmla="*/ 1312817 h 1525088"/>
              <a:gd name="connsiteX7" fmla="*/ 2501537 w 2632166"/>
              <a:gd name="connsiteY7" fmla="*/ 1322614 h 1525088"/>
              <a:gd name="connsiteX8" fmla="*/ 2449286 w 2632166"/>
              <a:gd name="connsiteY8" fmla="*/ 1325880 h 1525088"/>
              <a:gd name="connsiteX9" fmla="*/ 2403566 w 2632166"/>
              <a:gd name="connsiteY9" fmla="*/ 1325880 h 1525088"/>
              <a:gd name="connsiteX10" fmla="*/ 2348049 w 2632166"/>
              <a:gd name="connsiteY10" fmla="*/ 1338943 h 1525088"/>
              <a:gd name="connsiteX11" fmla="*/ 2312126 w 2632166"/>
              <a:gd name="connsiteY11" fmla="*/ 1378131 h 1525088"/>
              <a:gd name="connsiteX12" fmla="*/ 2282734 w 2632166"/>
              <a:gd name="connsiteY12" fmla="*/ 1407523 h 1525088"/>
              <a:gd name="connsiteX13" fmla="*/ 2243546 w 2632166"/>
              <a:gd name="connsiteY13" fmla="*/ 1449977 h 1525088"/>
              <a:gd name="connsiteX14" fmla="*/ 2184763 w 2632166"/>
              <a:gd name="connsiteY14" fmla="*/ 1472837 h 1525088"/>
              <a:gd name="connsiteX15" fmla="*/ 2119449 w 2632166"/>
              <a:gd name="connsiteY15" fmla="*/ 1459774 h 1525088"/>
              <a:gd name="connsiteX16" fmla="*/ 2050869 w 2632166"/>
              <a:gd name="connsiteY16" fmla="*/ 1463040 h 1525088"/>
              <a:gd name="connsiteX17" fmla="*/ 2008414 w 2632166"/>
              <a:gd name="connsiteY17" fmla="*/ 1476103 h 1525088"/>
              <a:gd name="connsiteX18" fmla="*/ 1972491 w 2632166"/>
              <a:gd name="connsiteY18" fmla="*/ 1495697 h 1525088"/>
              <a:gd name="connsiteX19" fmla="*/ 1926771 w 2632166"/>
              <a:gd name="connsiteY19" fmla="*/ 1508760 h 1525088"/>
              <a:gd name="connsiteX20" fmla="*/ 1871254 w 2632166"/>
              <a:gd name="connsiteY20" fmla="*/ 1525088 h 1525088"/>
              <a:gd name="connsiteX21" fmla="*/ 1799409 w 2632166"/>
              <a:gd name="connsiteY21" fmla="*/ 1502228 h 1525088"/>
              <a:gd name="connsiteX22" fmla="*/ 1730829 w 2632166"/>
              <a:gd name="connsiteY22" fmla="*/ 1443445 h 1525088"/>
              <a:gd name="connsiteX23" fmla="*/ 1668780 w 2632166"/>
              <a:gd name="connsiteY23" fmla="*/ 1400991 h 1525088"/>
              <a:gd name="connsiteX24" fmla="*/ 1557746 w 2632166"/>
              <a:gd name="connsiteY24" fmla="*/ 1371600 h 1525088"/>
              <a:gd name="connsiteX25" fmla="*/ 1476103 w 2632166"/>
              <a:gd name="connsiteY25" fmla="*/ 1352005 h 1525088"/>
              <a:gd name="connsiteX26" fmla="*/ 1397726 w 2632166"/>
              <a:gd name="connsiteY26" fmla="*/ 1352005 h 1525088"/>
              <a:gd name="connsiteX27" fmla="*/ 1306286 w 2632166"/>
              <a:gd name="connsiteY27" fmla="*/ 1338943 h 1525088"/>
              <a:gd name="connsiteX28" fmla="*/ 1224643 w 2632166"/>
              <a:gd name="connsiteY28" fmla="*/ 1325880 h 1525088"/>
              <a:gd name="connsiteX29" fmla="*/ 1107077 w 2632166"/>
              <a:gd name="connsiteY29" fmla="*/ 1286691 h 1525088"/>
              <a:gd name="connsiteX30" fmla="*/ 966651 w 2632166"/>
              <a:gd name="connsiteY30" fmla="*/ 1254034 h 1525088"/>
              <a:gd name="connsiteX31" fmla="*/ 849086 w 2632166"/>
              <a:gd name="connsiteY31" fmla="*/ 1208314 h 1525088"/>
              <a:gd name="connsiteX32" fmla="*/ 751114 w 2632166"/>
              <a:gd name="connsiteY32" fmla="*/ 1185454 h 1525088"/>
              <a:gd name="connsiteX33" fmla="*/ 659674 w 2632166"/>
              <a:gd name="connsiteY33" fmla="*/ 1156063 h 1525088"/>
              <a:gd name="connsiteX34" fmla="*/ 545374 w 2632166"/>
              <a:gd name="connsiteY34" fmla="*/ 1123405 h 1525088"/>
              <a:gd name="connsiteX35" fmla="*/ 453934 w 2632166"/>
              <a:gd name="connsiteY35" fmla="*/ 1120140 h 1525088"/>
              <a:gd name="connsiteX36" fmla="*/ 375557 w 2632166"/>
              <a:gd name="connsiteY36" fmla="*/ 1113608 h 1525088"/>
              <a:gd name="connsiteX37" fmla="*/ 241663 w 2632166"/>
              <a:gd name="connsiteY37" fmla="*/ 1080951 h 1525088"/>
              <a:gd name="connsiteX38" fmla="*/ 173083 w 2632166"/>
              <a:gd name="connsiteY38" fmla="*/ 1045028 h 1525088"/>
              <a:gd name="connsiteX39" fmla="*/ 84909 w 2632166"/>
              <a:gd name="connsiteY39" fmla="*/ 950323 h 1525088"/>
              <a:gd name="connsiteX40" fmla="*/ 78377 w 2632166"/>
              <a:gd name="connsiteY40" fmla="*/ 901337 h 1525088"/>
              <a:gd name="connsiteX41" fmla="*/ 32657 w 2632166"/>
              <a:gd name="connsiteY41" fmla="*/ 809897 h 1525088"/>
              <a:gd name="connsiteX42" fmla="*/ 6531 w 2632166"/>
              <a:gd name="connsiteY42" fmla="*/ 724988 h 1525088"/>
              <a:gd name="connsiteX43" fmla="*/ 0 w 2632166"/>
              <a:gd name="connsiteY43" fmla="*/ 613954 h 1525088"/>
              <a:gd name="connsiteX44" fmla="*/ 42454 w 2632166"/>
              <a:gd name="connsiteY44" fmla="*/ 525780 h 1525088"/>
              <a:gd name="connsiteX45" fmla="*/ 117566 w 2632166"/>
              <a:gd name="connsiteY45" fmla="*/ 450668 h 1525088"/>
              <a:gd name="connsiteX46" fmla="*/ 218803 w 2632166"/>
              <a:gd name="connsiteY46" fmla="*/ 372291 h 1525088"/>
              <a:gd name="connsiteX47" fmla="*/ 365760 w 2632166"/>
              <a:gd name="connsiteY47" fmla="*/ 303711 h 1525088"/>
              <a:gd name="connsiteX48" fmla="*/ 522514 w 2632166"/>
              <a:gd name="connsiteY48" fmla="*/ 257991 h 1525088"/>
              <a:gd name="connsiteX49" fmla="*/ 646611 w 2632166"/>
              <a:gd name="connsiteY49" fmla="*/ 218803 h 1525088"/>
              <a:gd name="connsiteX50" fmla="*/ 790303 w 2632166"/>
              <a:gd name="connsiteY50" fmla="*/ 186145 h 1525088"/>
              <a:gd name="connsiteX51" fmla="*/ 950323 w 2632166"/>
              <a:gd name="connsiteY51" fmla="*/ 156754 h 1525088"/>
              <a:gd name="connsiteX52" fmla="*/ 1103811 w 2632166"/>
              <a:gd name="connsiteY52" fmla="*/ 127363 h 1525088"/>
              <a:gd name="connsiteX53" fmla="*/ 1394460 w 2632166"/>
              <a:gd name="connsiteY53" fmla="*/ 39188 h 1525088"/>
              <a:gd name="connsiteX54" fmla="*/ 1544683 w 2632166"/>
              <a:gd name="connsiteY54" fmla="*/ 13063 h 1525088"/>
              <a:gd name="connsiteX55" fmla="*/ 1678577 w 2632166"/>
              <a:gd name="connsiteY55" fmla="*/ 0 h 1525088"/>
              <a:gd name="connsiteX56" fmla="*/ 1766751 w 2632166"/>
              <a:gd name="connsiteY56" fmla="*/ 0 h 1525088"/>
              <a:gd name="connsiteX57" fmla="*/ 1851660 w 2632166"/>
              <a:gd name="connsiteY57" fmla="*/ 52251 h 1525088"/>
              <a:gd name="connsiteX58" fmla="*/ 1956163 w 2632166"/>
              <a:gd name="connsiteY58" fmla="*/ 133894 h 1525088"/>
              <a:gd name="connsiteX59" fmla="*/ 2060666 w 2632166"/>
              <a:gd name="connsiteY59" fmla="*/ 218803 h 1525088"/>
              <a:gd name="connsiteX60" fmla="*/ 2152106 w 2632166"/>
              <a:gd name="connsiteY60" fmla="*/ 284117 h 1525088"/>
              <a:gd name="connsiteX61" fmla="*/ 2188029 w 2632166"/>
              <a:gd name="connsiteY61" fmla="*/ 329837 h 1525088"/>
              <a:gd name="connsiteX62" fmla="*/ 2194560 w 2632166"/>
              <a:gd name="connsiteY62" fmla="*/ 378823 h 1525088"/>
              <a:gd name="connsiteX63" fmla="*/ 2168434 w 2632166"/>
              <a:gd name="connsiteY63" fmla="*/ 440871 h 1525088"/>
              <a:gd name="connsiteX64" fmla="*/ 2063931 w 2632166"/>
              <a:gd name="connsiteY64" fmla="*/ 480060 h 1525088"/>
              <a:gd name="connsiteX65" fmla="*/ 1936569 w 2632166"/>
              <a:gd name="connsiteY65" fmla="*/ 486591 h 1525088"/>
              <a:gd name="connsiteX66" fmla="*/ 1854926 w 2632166"/>
              <a:gd name="connsiteY66" fmla="*/ 480060 h 1525088"/>
              <a:gd name="connsiteX67" fmla="*/ 1707969 w 2632166"/>
              <a:gd name="connsiteY67" fmla="*/ 457200 h 1525088"/>
              <a:gd name="connsiteX68" fmla="*/ 1567543 w 2632166"/>
              <a:gd name="connsiteY68" fmla="*/ 431074 h 1525088"/>
              <a:gd name="connsiteX69" fmla="*/ 1436914 w 2632166"/>
              <a:gd name="connsiteY69" fmla="*/ 411480 h 1525088"/>
              <a:gd name="connsiteX70" fmla="*/ 1322614 w 2632166"/>
              <a:gd name="connsiteY70" fmla="*/ 414745 h 1525088"/>
              <a:gd name="connsiteX71" fmla="*/ 1214846 w 2632166"/>
              <a:gd name="connsiteY71" fmla="*/ 437605 h 1525088"/>
              <a:gd name="connsiteX72" fmla="*/ 1136469 w 2632166"/>
              <a:gd name="connsiteY72" fmla="*/ 470263 h 1525088"/>
              <a:gd name="connsiteX73" fmla="*/ 1002574 w 2632166"/>
              <a:gd name="connsiteY73" fmla="*/ 515983 h 1525088"/>
              <a:gd name="connsiteX74" fmla="*/ 920931 w 2632166"/>
              <a:gd name="connsiteY74" fmla="*/ 555171 h 1525088"/>
              <a:gd name="connsiteX75" fmla="*/ 777240 w 2632166"/>
              <a:gd name="connsiteY75" fmla="*/ 568234 h 1525088"/>
              <a:gd name="connsiteX76" fmla="*/ 633549 w 2632166"/>
              <a:gd name="connsiteY76" fmla="*/ 587828 h 1525088"/>
              <a:gd name="connsiteX77" fmla="*/ 545374 w 2632166"/>
              <a:gd name="connsiteY77" fmla="*/ 591094 h 1525088"/>
              <a:gd name="connsiteX78" fmla="*/ 408214 w 2632166"/>
              <a:gd name="connsiteY78" fmla="*/ 574765 h 1525088"/>
              <a:gd name="connsiteX79" fmla="*/ 287383 w 2632166"/>
              <a:gd name="connsiteY79" fmla="*/ 555171 h 1525088"/>
              <a:gd name="connsiteX80" fmla="*/ 169817 w 2632166"/>
              <a:gd name="connsiteY80" fmla="*/ 545374 h 1525088"/>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57746 w 2632166"/>
              <a:gd name="connsiteY24" fmla="*/ 1371600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7077 w 2632166"/>
              <a:gd name="connsiteY29" fmla="*/ 1286691 h 1525154"/>
              <a:gd name="connsiteX30" fmla="*/ 966651 w 2632166"/>
              <a:gd name="connsiteY30" fmla="*/ 1254034 h 1525154"/>
              <a:gd name="connsiteX31" fmla="*/ 849086 w 2632166"/>
              <a:gd name="connsiteY31" fmla="*/ 1208314 h 1525154"/>
              <a:gd name="connsiteX32" fmla="*/ 751114 w 2632166"/>
              <a:gd name="connsiteY32" fmla="*/ 1185454 h 1525154"/>
              <a:gd name="connsiteX33" fmla="*/ 659674 w 2632166"/>
              <a:gd name="connsiteY33" fmla="*/ 1156063 h 1525154"/>
              <a:gd name="connsiteX34" fmla="*/ 545374 w 2632166"/>
              <a:gd name="connsiteY34" fmla="*/ 1123405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57746 w 2632166"/>
              <a:gd name="connsiteY24" fmla="*/ 1371600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7077 w 2632166"/>
              <a:gd name="connsiteY29" fmla="*/ 1286691 h 1525154"/>
              <a:gd name="connsiteX30" fmla="*/ 966651 w 2632166"/>
              <a:gd name="connsiteY30" fmla="*/ 1254034 h 1525154"/>
              <a:gd name="connsiteX31" fmla="*/ 849086 w 2632166"/>
              <a:gd name="connsiteY31" fmla="*/ 1208314 h 1525154"/>
              <a:gd name="connsiteX32" fmla="*/ 751114 w 2632166"/>
              <a:gd name="connsiteY32" fmla="*/ 1185454 h 1525154"/>
              <a:gd name="connsiteX33" fmla="*/ 659674 w 2632166"/>
              <a:gd name="connsiteY33" fmla="*/ 1156063 h 1525154"/>
              <a:gd name="connsiteX34" fmla="*/ 545374 w 2632166"/>
              <a:gd name="connsiteY34" fmla="*/ 1123405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57746 w 2632166"/>
              <a:gd name="connsiteY24" fmla="*/ 1371600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7077 w 2632166"/>
              <a:gd name="connsiteY29" fmla="*/ 1286691 h 1525154"/>
              <a:gd name="connsiteX30" fmla="*/ 966651 w 2632166"/>
              <a:gd name="connsiteY30" fmla="*/ 1254034 h 1525154"/>
              <a:gd name="connsiteX31" fmla="*/ 849086 w 2632166"/>
              <a:gd name="connsiteY31" fmla="*/ 1208314 h 1525154"/>
              <a:gd name="connsiteX32" fmla="*/ 751114 w 2632166"/>
              <a:gd name="connsiteY32" fmla="*/ 1185454 h 1525154"/>
              <a:gd name="connsiteX33" fmla="*/ 659674 w 2632166"/>
              <a:gd name="connsiteY33" fmla="*/ 1156063 h 1525154"/>
              <a:gd name="connsiteX34" fmla="*/ 545374 w 2632166"/>
              <a:gd name="connsiteY34" fmla="*/ 1123405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57746 w 2632166"/>
              <a:gd name="connsiteY24" fmla="*/ 1371600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7077 w 2632166"/>
              <a:gd name="connsiteY29" fmla="*/ 1286691 h 1525154"/>
              <a:gd name="connsiteX30" fmla="*/ 966651 w 2632166"/>
              <a:gd name="connsiteY30" fmla="*/ 1254034 h 1525154"/>
              <a:gd name="connsiteX31" fmla="*/ 849086 w 2632166"/>
              <a:gd name="connsiteY31" fmla="*/ 1208314 h 1525154"/>
              <a:gd name="connsiteX32" fmla="*/ 751114 w 2632166"/>
              <a:gd name="connsiteY32" fmla="*/ 1185454 h 1525154"/>
              <a:gd name="connsiteX33" fmla="*/ 659674 w 2632166"/>
              <a:gd name="connsiteY33" fmla="*/ 1156063 h 1525154"/>
              <a:gd name="connsiteX34" fmla="*/ 545374 w 2632166"/>
              <a:gd name="connsiteY34" fmla="*/ 1123405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7077 w 2632166"/>
              <a:gd name="connsiteY29" fmla="*/ 1286691 h 1525154"/>
              <a:gd name="connsiteX30" fmla="*/ 966651 w 2632166"/>
              <a:gd name="connsiteY30" fmla="*/ 1254034 h 1525154"/>
              <a:gd name="connsiteX31" fmla="*/ 849086 w 2632166"/>
              <a:gd name="connsiteY31" fmla="*/ 1208314 h 1525154"/>
              <a:gd name="connsiteX32" fmla="*/ 751114 w 2632166"/>
              <a:gd name="connsiteY32" fmla="*/ 1185454 h 1525154"/>
              <a:gd name="connsiteX33" fmla="*/ 659674 w 2632166"/>
              <a:gd name="connsiteY33" fmla="*/ 1156063 h 1525154"/>
              <a:gd name="connsiteX34" fmla="*/ 545374 w 2632166"/>
              <a:gd name="connsiteY34" fmla="*/ 1123405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7077 w 2632166"/>
              <a:gd name="connsiteY29" fmla="*/ 1286691 h 1525154"/>
              <a:gd name="connsiteX30" fmla="*/ 966651 w 2632166"/>
              <a:gd name="connsiteY30" fmla="*/ 1254034 h 1525154"/>
              <a:gd name="connsiteX31" fmla="*/ 849086 w 2632166"/>
              <a:gd name="connsiteY31" fmla="*/ 1208314 h 1525154"/>
              <a:gd name="connsiteX32" fmla="*/ 751114 w 2632166"/>
              <a:gd name="connsiteY32" fmla="*/ 1185454 h 1525154"/>
              <a:gd name="connsiteX33" fmla="*/ 659674 w 2632166"/>
              <a:gd name="connsiteY33" fmla="*/ 1156063 h 1525154"/>
              <a:gd name="connsiteX34" fmla="*/ 545374 w 2632166"/>
              <a:gd name="connsiteY34" fmla="*/ 1123405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7077 w 2632166"/>
              <a:gd name="connsiteY29" fmla="*/ 1286691 h 1525154"/>
              <a:gd name="connsiteX30" fmla="*/ 966651 w 2632166"/>
              <a:gd name="connsiteY30" fmla="*/ 1254034 h 1525154"/>
              <a:gd name="connsiteX31" fmla="*/ 849086 w 2632166"/>
              <a:gd name="connsiteY31" fmla="*/ 1208314 h 1525154"/>
              <a:gd name="connsiteX32" fmla="*/ 751114 w 2632166"/>
              <a:gd name="connsiteY32" fmla="*/ 1185454 h 1525154"/>
              <a:gd name="connsiteX33" fmla="*/ 659674 w 2632166"/>
              <a:gd name="connsiteY33" fmla="*/ 1156063 h 1525154"/>
              <a:gd name="connsiteX34" fmla="*/ 545374 w 2632166"/>
              <a:gd name="connsiteY34" fmla="*/ 1123405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2315 w 2632166"/>
              <a:gd name="connsiteY29" fmla="*/ 1291453 h 1525154"/>
              <a:gd name="connsiteX30" fmla="*/ 966651 w 2632166"/>
              <a:gd name="connsiteY30" fmla="*/ 1254034 h 1525154"/>
              <a:gd name="connsiteX31" fmla="*/ 849086 w 2632166"/>
              <a:gd name="connsiteY31" fmla="*/ 1208314 h 1525154"/>
              <a:gd name="connsiteX32" fmla="*/ 751114 w 2632166"/>
              <a:gd name="connsiteY32" fmla="*/ 1185454 h 1525154"/>
              <a:gd name="connsiteX33" fmla="*/ 659674 w 2632166"/>
              <a:gd name="connsiteY33" fmla="*/ 1156063 h 1525154"/>
              <a:gd name="connsiteX34" fmla="*/ 545374 w 2632166"/>
              <a:gd name="connsiteY34" fmla="*/ 1123405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2315 w 2632166"/>
              <a:gd name="connsiteY29" fmla="*/ 1291453 h 1525154"/>
              <a:gd name="connsiteX30" fmla="*/ 966651 w 2632166"/>
              <a:gd name="connsiteY30" fmla="*/ 1254034 h 1525154"/>
              <a:gd name="connsiteX31" fmla="*/ 853849 w 2632166"/>
              <a:gd name="connsiteY31" fmla="*/ 1217839 h 1525154"/>
              <a:gd name="connsiteX32" fmla="*/ 751114 w 2632166"/>
              <a:gd name="connsiteY32" fmla="*/ 1185454 h 1525154"/>
              <a:gd name="connsiteX33" fmla="*/ 659674 w 2632166"/>
              <a:gd name="connsiteY33" fmla="*/ 1156063 h 1525154"/>
              <a:gd name="connsiteX34" fmla="*/ 545374 w 2632166"/>
              <a:gd name="connsiteY34" fmla="*/ 1123405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2315 w 2632166"/>
              <a:gd name="connsiteY29" fmla="*/ 1291453 h 1525154"/>
              <a:gd name="connsiteX30" fmla="*/ 966651 w 2632166"/>
              <a:gd name="connsiteY30" fmla="*/ 1254034 h 1525154"/>
              <a:gd name="connsiteX31" fmla="*/ 853849 w 2632166"/>
              <a:gd name="connsiteY31" fmla="*/ 1217839 h 1525154"/>
              <a:gd name="connsiteX32" fmla="*/ 751114 w 2632166"/>
              <a:gd name="connsiteY32" fmla="*/ 1185454 h 1525154"/>
              <a:gd name="connsiteX33" fmla="*/ 659674 w 2632166"/>
              <a:gd name="connsiteY33" fmla="*/ 1156063 h 1525154"/>
              <a:gd name="connsiteX34" fmla="*/ 545374 w 2632166"/>
              <a:gd name="connsiteY34" fmla="*/ 1123405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2315 w 2632166"/>
              <a:gd name="connsiteY29" fmla="*/ 1291453 h 1525154"/>
              <a:gd name="connsiteX30" fmla="*/ 966651 w 2632166"/>
              <a:gd name="connsiteY30" fmla="*/ 1254034 h 1525154"/>
              <a:gd name="connsiteX31" fmla="*/ 853849 w 2632166"/>
              <a:gd name="connsiteY31" fmla="*/ 1217839 h 1525154"/>
              <a:gd name="connsiteX32" fmla="*/ 751114 w 2632166"/>
              <a:gd name="connsiteY32" fmla="*/ 1185454 h 1525154"/>
              <a:gd name="connsiteX33" fmla="*/ 659674 w 2632166"/>
              <a:gd name="connsiteY33" fmla="*/ 1156063 h 1525154"/>
              <a:gd name="connsiteX34" fmla="*/ 557280 w 2632166"/>
              <a:gd name="connsiteY34" fmla="*/ 1130549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84909 w 2632166"/>
              <a:gd name="connsiteY39" fmla="*/ 950323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2315 w 2632166"/>
              <a:gd name="connsiteY29" fmla="*/ 1291453 h 1525154"/>
              <a:gd name="connsiteX30" fmla="*/ 966651 w 2632166"/>
              <a:gd name="connsiteY30" fmla="*/ 1254034 h 1525154"/>
              <a:gd name="connsiteX31" fmla="*/ 853849 w 2632166"/>
              <a:gd name="connsiteY31" fmla="*/ 1217839 h 1525154"/>
              <a:gd name="connsiteX32" fmla="*/ 751114 w 2632166"/>
              <a:gd name="connsiteY32" fmla="*/ 1185454 h 1525154"/>
              <a:gd name="connsiteX33" fmla="*/ 659674 w 2632166"/>
              <a:gd name="connsiteY33" fmla="*/ 1156063 h 1525154"/>
              <a:gd name="connsiteX34" fmla="*/ 557280 w 2632166"/>
              <a:gd name="connsiteY34" fmla="*/ 1130549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101577 w 2632166"/>
              <a:gd name="connsiteY39" fmla="*/ 971754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2315 w 2632166"/>
              <a:gd name="connsiteY29" fmla="*/ 1291453 h 1525154"/>
              <a:gd name="connsiteX30" fmla="*/ 966651 w 2632166"/>
              <a:gd name="connsiteY30" fmla="*/ 1254034 h 1525154"/>
              <a:gd name="connsiteX31" fmla="*/ 853849 w 2632166"/>
              <a:gd name="connsiteY31" fmla="*/ 1217839 h 1525154"/>
              <a:gd name="connsiteX32" fmla="*/ 751114 w 2632166"/>
              <a:gd name="connsiteY32" fmla="*/ 1185454 h 1525154"/>
              <a:gd name="connsiteX33" fmla="*/ 659674 w 2632166"/>
              <a:gd name="connsiteY33" fmla="*/ 1156063 h 1525154"/>
              <a:gd name="connsiteX34" fmla="*/ 557280 w 2632166"/>
              <a:gd name="connsiteY34" fmla="*/ 1130549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101577 w 2632166"/>
              <a:gd name="connsiteY39" fmla="*/ 971754 h 1525154"/>
              <a:gd name="connsiteX40" fmla="*/ 78377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2315 w 2632166"/>
              <a:gd name="connsiteY29" fmla="*/ 1291453 h 1525154"/>
              <a:gd name="connsiteX30" fmla="*/ 966651 w 2632166"/>
              <a:gd name="connsiteY30" fmla="*/ 1254034 h 1525154"/>
              <a:gd name="connsiteX31" fmla="*/ 853849 w 2632166"/>
              <a:gd name="connsiteY31" fmla="*/ 1217839 h 1525154"/>
              <a:gd name="connsiteX32" fmla="*/ 751114 w 2632166"/>
              <a:gd name="connsiteY32" fmla="*/ 1185454 h 1525154"/>
              <a:gd name="connsiteX33" fmla="*/ 659674 w 2632166"/>
              <a:gd name="connsiteY33" fmla="*/ 1156063 h 1525154"/>
              <a:gd name="connsiteX34" fmla="*/ 557280 w 2632166"/>
              <a:gd name="connsiteY34" fmla="*/ 1130549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101577 w 2632166"/>
              <a:gd name="connsiteY39" fmla="*/ 971754 h 1525154"/>
              <a:gd name="connsiteX40" fmla="*/ 68852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2315 w 2632166"/>
              <a:gd name="connsiteY29" fmla="*/ 1291453 h 1525154"/>
              <a:gd name="connsiteX30" fmla="*/ 966651 w 2632166"/>
              <a:gd name="connsiteY30" fmla="*/ 1254034 h 1525154"/>
              <a:gd name="connsiteX31" fmla="*/ 853849 w 2632166"/>
              <a:gd name="connsiteY31" fmla="*/ 1217839 h 1525154"/>
              <a:gd name="connsiteX32" fmla="*/ 751114 w 2632166"/>
              <a:gd name="connsiteY32" fmla="*/ 1185454 h 1525154"/>
              <a:gd name="connsiteX33" fmla="*/ 659674 w 2632166"/>
              <a:gd name="connsiteY33" fmla="*/ 1156063 h 1525154"/>
              <a:gd name="connsiteX34" fmla="*/ 557280 w 2632166"/>
              <a:gd name="connsiteY34" fmla="*/ 1130549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101577 w 2632166"/>
              <a:gd name="connsiteY39" fmla="*/ 971754 h 1525154"/>
              <a:gd name="connsiteX40" fmla="*/ 68852 w 2632166"/>
              <a:gd name="connsiteY40" fmla="*/ 901337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2166 w 2632166"/>
              <a:gd name="connsiteY0" fmla="*/ 1012371 h 1525154"/>
              <a:gd name="connsiteX1" fmla="*/ 2628900 w 2632166"/>
              <a:gd name="connsiteY1" fmla="*/ 1067888 h 1525154"/>
              <a:gd name="connsiteX2" fmla="*/ 2623865 w 2632166"/>
              <a:gd name="connsiteY2" fmla="*/ 1125787 h 1525154"/>
              <a:gd name="connsiteX3" fmla="*/ 2622369 w 2632166"/>
              <a:gd name="connsiteY3" fmla="*/ 1172391 h 1525154"/>
              <a:gd name="connsiteX4" fmla="*/ 2618831 w 2632166"/>
              <a:gd name="connsiteY4" fmla="*/ 1227296 h 1525154"/>
              <a:gd name="connsiteX5" fmla="*/ 2596243 w 2632166"/>
              <a:gd name="connsiteY5" fmla="*/ 1280160 h 1525154"/>
              <a:gd name="connsiteX6" fmla="*/ 2557054 w 2632166"/>
              <a:gd name="connsiteY6" fmla="*/ 1312817 h 1525154"/>
              <a:gd name="connsiteX7" fmla="*/ 2501537 w 2632166"/>
              <a:gd name="connsiteY7" fmla="*/ 1322614 h 1525154"/>
              <a:gd name="connsiteX8" fmla="*/ 2449286 w 2632166"/>
              <a:gd name="connsiteY8" fmla="*/ 1325880 h 1525154"/>
              <a:gd name="connsiteX9" fmla="*/ 2403566 w 2632166"/>
              <a:gd name="connsiteY9" fmla="*/ 1325880 h 1525154"/>
              <a:gd name="connsiteX10" fmla="*/ 2348049 w 2632166"/>
              <a:gd name="connsiteY10" fmla="*/ 1338943 h 1525154"/>
              <a:gd name="connsiteX11" fmla="*/ 2312126 w 2632166"/>
              <a:gd name="connsiteY11" fmla="*/ 1378131 h 1525154"/>
              <a:gd name="connsiteX12" fmla="*/ 2282734 w 2632166"/>
              <a:gd name="connsiteY12" fmla="*/ 1407523 h 1525154"/>
              <a:gd name="connsiteX13" fmla="*/ 2243546 w 2632166"/>
              <a:gd name="connsiteY13" fmla="*/ 1449977 h 1525154"/>
              <a:gd name="connsiteX14" fmla="*/ 2184763 w 2632166"/>
              <a:gd name="connsiteY14" fmla="*/ 1472837 h 1525154"/>
              <a:gd name="connsiteX15" fmla="*/ 2119449 w 2632166"/>
              <a:gd name="connsiteY15" fmla="*/ 1459774 h 1525154"/>
              <a:gd name="connsiteX16" fmla="*/ 2050869 w 2632166"/>
              <a:gd name="connsiteY16" fmla="*/ 1463040 h 1525154"/>
              <a:gd name="connsiteX17" fmla="*/ 2008414 w 2632166"/>
              <a:gd name="connsiteY17" fmla="*/ 1476103 h 1525154"/>
              <a:gd name="connsiteX18" fmla="*/ 1972491 w 2632166"/>
              <a:gd name="connsiteY18" fmla="*/ 1495697 h 1525154"/>
              <a:gd name="connsiteX19" fmla="*/ 1926771 w 2632166"/>
              <a:gd name="connsiteY19" fmla="*/ 1508760 h 1525154"/>
              <a:gd name="connsiteX20" fmla="*/ 1871254 w 2632166"/>
              <a:gd name="connsiteY20" fmla="*/ 1525088 h 1525154"/>
              <a:gd name="connsiteX21" fmla="*/ 1799409 w 2632166"/>
              <a:gd name="connsiteY21" fmla="*/ 1502228 h 1525154"/>
              <a:gd name="connsiteX22" fmla="*/ 1730829 w 2632166"/>
              <a:gd name="connsiteY22" fmla="*/ 1443445 h 1525154"/>
              <a:gd name="connsiteX23" fmla="*/ 1668780 w 2632166"/>
              <a:gd name="connsiteY23" fmla="*/ 1400991 h 1525154"/>
              <a:gd name="connsiteX24" fmla="*/ 1583939 w 2632166"/>
              <a:gd name="connsiteY24" fmla="*/ 1362075 h 1525154"/>
              <a:gd name="connsiteX25" fmla="*/ 1476103 w 2632166"/>
              <a:gd name="connsiteY25" fmla="*/ 1352005 h 1525154"/>
              <a:gd name="connsiteX26" fmla="*/ 1397726 w 2632166"/>
              <a:gd name="connsiteY26" fmla="*/ 1352005 h 1525154"/>
              <a:gd name="connsiteX27" fmla="*/ 1306286 w 2632166"/>
              <a:gd name="connsiteY27" fmla="*/ 1338943 h 1525154"/>
              <a:gd name="connsiteX28" fmla="*/ 1224643 w 2632166"/>
              <a:gd name="connsiteY28" fmla="*/ 1325880 h 1525154"/>
              <a:gd name="connsiteX29" fmla="*/ 1102315 w 2632166"/>
              <a:gd name="connsiteY29" fmla="*/ 1291453 h 1525154"/>
              <a:gd name="connsiteX30" fmla="*/ 966651 w 2632166"/>
              <a:gd name="connsiteY30" fmla="*/ 1254034 h 1525154"/>
              <a:gd name="connsiteX31" fmla="*/ 853849 w 2632166"/>
              <a:gd name="connsiteY31" fmla="*/ 1217839 h 1525154"/>
              <a:gd name="connsiteX32" fmla="*/ 751114 w 2632166"/>
              <a:gd name="connsiteY32" fmla="*/ 1185454 h 1525154"/>
              <a:gd name="connsiteX33" fmla="*/ 659674 w 2632166"/>
              <a:gd name="connsiteY33" fmla="*/ 1156063 h 1525154"/>
              <a:gd name="connsiteX34" fmla="*/ 557280 w 2632166"/>
              <a:gd name="connsiteY34" fmla="*/ 1130549 h 1525154"/>
              <a:gd name="connsiteX35" fmla="*/ 453934 w 2632166"/>
              <a:gd name="connsiteY35" fmla="*/ 1120140 h 1525154"/>
              <a:gd name="connsiteX36" fmla="*/ 375557 w 2632166"/>
              <a:gd name="connsiteY36" fmla="*/ 1113608 h 1525154"/>
              <a:gd name="connsiteX37" fmla="*/ 241663 w 2632166"/>
              <a:gd name="connsiteY37" fmla="*/ 1080951 h 1525154"/>
              <a:gd name="connsiteX38" fmla="*/ 173083 w 2632166"/>
              <a:gd name="connsiteY38" fmla="*/ 1045028 h 1525154"/>
              <a:gd name="connsiteX39" fmla="*/ 101577 w 2632166"/>
              <a:gd name="connsiteY39" fmla="*/ 971754 h 1525154"/>
              <a:gd name="connsiteX40" fmla="*/ 61708 w 2632166"/>
              <a:gd name="connsiteY40" fmla="*/ 898956 h 1525154"/>
              <a:gd name="connsiteX41" fmla="*/ 32657 w 2632166"/>
              <a:gd name="connsiteY41" fmla="*/ 809897 h 1525154"/>
              <a:gd name="connsiteX42" fmla="*/ 6531 w 2632166"/>
              <a:gd name="connsiteY42" fmla="*/ 724988 h 1525154"/>
              <a:gd name="connsiteX43" fmla="*/ 0 w 2632166"/>
              <a:gd name="connsiteY43" fmla="*/ 613954 h 1525154"/>
              <a:gd name="connsiteX44" fmla="*/ 42454 w 2632166"/>
              <a:gd name="connsiteY44" fmla="*/ 525780 h 1525154"/>
              <a:gd name="connsiteX45" fmla="*/ 117566 w 2632166"/>
              <a:gd name="connsiteY45" fmla="*/ 450668 h 1525154"/>
              <a:gd name="connsiteX46" fmla="*/ 218803 w 2632166"/>
              <a:gd name="connsiteY46" fmla="*/ 372291 h 1525154"/>
              <a:gd name="connsiteX47" fmla="*/ 365760 w 2632166"/>
              <a:gd name="connsiteY47" fmla="*/ 303711 h 1525154"/>
              <a:gd name="connsiteX48" fmla="*/ 522514 w 2632166"/>
              <a:gd name="connsiteY48" fmla="*/ 257991 h 1525154"/>
              <a:gd name="connsiteX49" fmla="*/ 646611 w 2632166"/>
              <a:gd name="connsiteY49" fmla="*/ 218803 h 1525154"/>
              <a:gd name="connsiteX50" fmla="*/ 790303 w 2632166"/>
              <a:gd name="connsiteY50" fmla="*/ 186145 h 1525154"/>
              <a:gd name="connsiteX51" fmla="*/ 950323 w 2632166"/>
              <a:gd name="connsiteY51" fmla="*/ 156754 h 1525154"/>
              <a:gd name="connsiteX52" fmla="*/ 1103811 w 2632166"/>
              <a:gd name="connsiteY52" fmla="*/ 127363 h 1525154"/>
              <a:gd name="connsiteX53" fmla="*/ 1394460 w 2632166"/>
              <a:gd name="connsiteY53" fmla="*/ 39188 h 1525154"/>
              <a:gd name="connsiteX54" fmla="*/ 1544683 w 2632166"/>
              <a:gd name="connsiteY54" fmla="*/ 13063 h 1525154"/>
              <a:gd name="connsiteX55" fmla="*/ 1678577 w 2632166"/>
              <a:gd name="connsiteY55" fmla="*/ 0 h 1525154"/>
              <a:gd name="connsiteX56" fmla="*/ 1766751 w 2632166"/>
              <a:gd name="connsiteY56" fmla="*/ 0 h 1525154"/>
              <a:gd name="connsiteX57" fmla="*/ 1851660 w 2632166"/>
              <a:gd name="connsiteY57" fmla="*/ 52251 h 1525154"/>
              <a:gd name="connsiteX58" fmla="*/ 1956163 w 2632166"/>
              <a:gd name="connsiteY58" fmla="*/ 133894 h 1525154"/>
              <a:gd name="connsiteX59" fmla="*/ 2060666 w 2632166"/>
              <a:gd name="connsiteY59" fmla="*/ 218803 h 1525154"/>
              <a:gd name="connsiteX60" fmla="*/ 2152106 w 2632166"/>
              <a:gd name="connsiteY60" fmla="*/ 284117 h 1525154"/>
              <a:gd name="connsiteX61" fmla="*/ 2188029 w 2632166"/>
              <a:gd name="connsiteY61" fmla="*/ 329837 h 1525154"/>
              <a:gd name="connsiteX62" fmla="*/ 2194560 w 2632166"/>
              <a:gd name="connsiteY62" fmla="*/ 378823 h 1525154"/>
              <a:gd name="connsiteX63" fmla="*/ 2168434 w 2632166"/>
              <a:gd name="connsiteY63" fmla="*/ 440871 h 1525154"/>
              <a:gd name="connsiteX64" fmla="*/ 2063931 w 2632166"/>
              <a:gd name="connsiteY64" fmla="*/ 480060 h 1525154"/>
              <a:gd name="connsiteX65" fmla="*/ 1936569 w 2632166"/>
              <a:gd name="connsiteY65" fmla="*/ 486591 h 1525154"/>
              <a:gd name="connsiteX66" fmla="*/ 1854926 w 2632166"/>
              <a:gd name="connsiteY66" fmla="*/ 480060 h 1525154"/>
              <a:gd name="connsiteX67" fmla="*/ 1707969 w 2632166"/>
              <a:gd name="connsiteY67" fmla="*/ 457200 h 1525154"/>
              <a:gd name="connsiteX68" fmla="*/ 1567543 w 2632166"/>
              <a:gd name="connsiteY68" fmla="*/ 431074 h 1525154"/>
              <a:gd name="connsiteX69" fmla="*/ 1436914 w 2632166"/>
              <a:gd name="connsiteY69" fmla="*/ 411480 h 1525154"/>
              <a:gd name="connsiteX70" fmla="*/ 1322614 w 2632166"/>
              <a:gd name="connsiteY70" fmla="*/ 414745 h 1525154"/>
              <a:gd name="connsiteX71" fmla="*/ 1214846 w 2632166"/>
              <a:gd name="connsiteY71" fmla="*/ 437605 h 1525154"/>
              <a:gd name="connsiteX72" fmla="*/ 1136469 w 2632166"/>
              <a:gd name="connsiteY72" fmla="*/ 470263 h 1525154"/>
              <a:gd name="connsiteX73" fmla="*/ 1002574 w 2632166"/>
              <a:gd name="connsiteY73" fmla="*/ 515983 h 1525154"/>
              <a:gd name="connsiteX74" fmla="*/ 920931 w 2632166"/>
              <a:gd name="connsiteY74" fmla="*/ 555171 h 1525154"/>
              <a:gd name="connsiteX75" fmla="*/ 777240 w 2632166"/>
              <a:gd name="connsiteY75" fmla="*/ 568234 h 1525154"/>
              <a:gd name="connsiteX76" fmla="*/ 633549 w 2632166"/>
              <a:gd name="connsiteY76" fmla="*/ 587828 h 1525154"/>
              <a:gd name="connsiteX77" fmla="*/ 545374 w 2632166"/>
              <a:gd name="connsiteY77" fmla="*/ 591094 h 1525154"/>
              <a:gd name="connsiteX78" fmla="*/ 408214 w 2632166"/>
              <a:gd name="connsiteY78" fmla="*/ 574765 h 1525154"/>
              <a:gd name="connsiteX79" fmla="*/ 287383 w 2632166"/>
              <a:gd name="connsiteY79" fmla="*/ 555171 h 1525154"/>
              <a:gd name="connsiteX80" fmla="*/ 169817 w 2632166"/>
              <a:gd name="connsiteY80" fmla="*/ 545374 h 1525154"/>
              <a:gd name="connsiteX0" fmla="*/ 2634448 w 2634448"/>
              <a:gd name="connsiteY0" fmla="*/ 1012371 h 1525154"/>
              <a:gd name="connsiteX1" fmla="*/ 2631182 w 2634448"/>
              <a:gd name="connsiteY1" fmla="*/ 1067888 h 1525154"/>
              <a:gd name="connsiteX2" fmla="*/ 2626147 w 2634448"/>
              <a:gd name="connsiteY2" fmla="*/ 1125787 h 1525154"/>
              <a:gd name="connsiteX3" fmla="*/ 2624651 w 2634448"/>
              <a:gd name="connsiteY3" fmla="*/ 1172391 h 1525154"/>
              <a:gd name="connsiteX4" fmla="*/ 2621113 w 2634448"/>
              <a:gd name="connsiteY4" fmla="*/ 1227296 h 1525154"/>
              <a:gd name="connsiteX5" fmla="*/ 2598525 w 2634448"/>
              <a:gd name="connsiteY5" fmla="*/ 1280160 h 1525154"/>
              <a:gd name="connsiteX6" fmla="*/ 2559336 w 2634448"/>
              <a:gd name="connsiteY6" fmla="*/ 1312817 h 1525154"/>
              <a:gd name="connsiteX7" fmla="*/ 2503819 w 2634448"/>
              <a:gd name="connsiteY7" fmla="*/ 1322614 h 1525154"/>
              <a:gd name="connsiteX8" fmla="*/ 2451568 w 2634448"/>
              <a:gd name="connsiteY8" fmla="*/ 1325880 h 1525154"/>
              <a:gd name="connsiteX9" fmla="*/ 2405848 w 2634448"/>
              <a:gd name="connsiteY9" fmla="*/ 1325880 h 1525154"/>
              <a:gd name="connsiteX10" fmla="*/ 2350331 w 2634448"/>
              <a:gd name="connsiteY10" fmla="*/ 1338943 h 1525154"/>
              <a:gd name="connsiteX11" fmla="*/ 2314408 w 2634448"/>
              <a:gd name="connsiteY11" fmla="*/ 1378131 h 1525154"/>
              <a:gd name="connsiteX12" fmla="*/ 2285016 w 2634448"/>
              <a:gd name="connsiteY12" fmla="*/ 1407523 h 1525154"/>
              <a:gd name="connsiteX13" fmla="*/ 2245828 w 2634448"/>
              <a:gd name="connsiteY13" fmla="*/ 1449977 h 1525154"/>
              <a:gd name="connsiteX14" fmla="*/ 2187045 w 2634448"/>
              <a:gd name="connsiteY14" fmla="*/ 1472837 h 1525154"/>
              <a:gd name="connsiteX15" fmla="*/ 2121731 w 2634448"/>
              <a:gd name="connsiteY15" fmla="*/ 1459774 h 1525154"/>
              <a:gd name="connsiteX16" fmla="*/ 2053151 w 2634448"/>
              <a:gd name="connsiteY16" fmla="*/ 1463040 h 1525154"/>
              <a:gd name="connsiteX17" fmla="*/ 2010696 w 2634448"/>
              <a:gd name="connsiteY17" fmla="*/ 1476103 h 1525154"/>
              <a:gd name="connsiteX18" fmla="*/ 1974773 w 2634448"/>
              <a:gd name="connsiteY18" fmla="*/ 1495697 h 1525154"/>
              <a:gd name="connsiteX19" fmla="*/ 1929053 w 2634448"/>
              <a:gd name="connsiteY19" fmla="*/ 1508760 h 1525154"/>
              <a:gd name="connsiteX20" fmla="*/ 1873536 w 2634448"/>
              <a:gd name="connsiteY20" fmla="*/ 1525088 h 1525154"/>
              <a:gd name="connsiteX21" fmla="*/ 1801691 w 2634448"/>
              <a:gd name="connsiteY21" fmla="*/ 1502228 h 1525154"/>
              <a:gd name="connsiteX22" fmla="*/ 1733111 w 2634448"/>
              <a:gd name="connsiteY22" fmla="*/ 1443445 h 1525154"/>
              <a:gd name="connsiteX23" fmla="*/ 1671062 w 2634448"/>
              <a:gd name="connsiteY23" fmla="*/ 1400991 h 1525154"/>
              <a:gd name="connsiteX24" fmla="*/ 1586221 w 2634448"/>
              <a:gd name="connsiteY24" fmla="*/ 1362075 h 1525154"/>
              <a:gd name="connsiteX25" fmla="*/ 1478385 w 2634448"/>
              <a:gd name="connsiteY25" fmla="*/ 1352005 h 1525154"/>
              <a:gd name="connsiteX26" fmla="*/ 1400008 w 2634448"/>
              <a:gd name="connsiteY26" fmla="*/ 1352005 h 1525154"/>
              <a:gd name="connsiteX27" fmla="*/ 1308568 w 2634448"/>
              <a:gd name="connsiteY27" fmla="*/ 1338943 h 1525154"/>
              <a:gd name="connsiteX28" fmla="*/ 1226925 w 2634448"/>
              <a:gd name="connsiteY28" fmla="*/ 1325880 h 1525154"/>
              <a:gd name="connsiteX29" fmla="*/ 1104597 w 2634448"/>
              <a:gd name="connsiteY29" fmla="*/ 1291453 h 1525154"/>
              <a:gd name="connsiteX30" fmla="*/ 968933 w 2634448"/>
              <a:gd name="connsiteY30" fmla="*/ 1254034 h 1525154"/>
              <a:gd name="connsiteX31" fmla="*/ 856131 w 2634448"/>
              <a:gd name="connsiteY31" fmla="*/ 1217839 h 1525154"/>
              <a:gd name="connsiteX32" fmla="*/ 753396 w 2634448"/>
              <a:gd name="connsiteY32" fmla="*/ 1185454 h 1525154"/>
              <a:gd name="connsiteX33" fmla="*/ 661956 w 2634448"/>
              <a:gd name="connsiteY33" fmla="*/ 1156063 h 1525154"/>
              <a:gd name="connsiteX34" fmla="*/ 559562 w 2634448"/>
              <a:gd name="connsiteY34" fmla="*/ 1130549 h 1525154"/>
              <a:gd name="connsiteX35" fmla="*/ 456216 w 2634448"/>
              <a:gd name="connsiteY35" fmla="*/ 1120140 h 1525154"/>
              <a:gd name="connsiteX36" fmla="*/ 377839 w 2634448"/>
              <a:gd name="connsiteY36" fmla="*/ 1113608 h 1525154"/>
              <a:gd name="connsiteX37" fmla="*/ 243945 w 2634448"/>
              <a:gd name="connsiteY37" fmla="*/ 1080951 h 1525154"/>
              <a:gd name="connsiteX38" fmla="*/ 175365 w 2634448"/>
              <a:gd name="connsiteY38" fmla="*/ 1045028 h 1525154"/>
              <a:gd name="connsiteX39" fmla="*/ 103859 w 2634448"/>
              <a:gd name="connsiteY39" fmla="*/ 971754 h 1525154"/>
              <a:gd name="connsiteX40" fmla="*/ 63990 w 2634448"/>
              <a:gd name="connsiteY40" fmla="*/ 898956 h 1525154"/>
              <a:gd name="connsiteX41" fmla="*/ 34939 w 2634448"/>
              <a:gd name="connsiteY41" fmla="*/ 809897 h 1525154"/>
              <a:gd name="connsiteX42" fmla="*/ 8813 w 2634448"/>
              <a:gd name="connsiteY42" fmla="*/ 724988 h 1525154"/>
              <a:gd name="connsiteX43" fmla="*/ 2282 w 2634448"/>
              <a:gd name="connsiteY43" fmla="*/ 613954 h 1525154"/>
              <a:gd name="connsiteX44" fmla="*/ 44736 w 2634448"/>
              <a:gd name="connsiteY44" fmla="*/ 525780 h 1525154"/>
              <a:gd name="connsiteX45" fmla="*/ 119848 w 2634448"/>
              <a:gd name="connsiteY45" fmla="*/ 450668 h 1525154"/>
              <a:gd name="connsiteX46" fmla="*/ 221085 w 2634448"/>
              <a:gd name="connsiteY46" fmla="*/ 372291 h 1525154"/>
              <a:gd name="connsiteX47" fmla="*/ 368042 w 2634448"/>
              <a:gd name="connsiteY47" fmla="*/ 303711 h 1525154"/>
              <a:gd name="connsiteX48" fmla="*/ 524796 w 2634448"/>
              <a:gd name="connsiteY48" fmla="*/ 257991 h 1525154"/>
              <a:gd name="connsiteX49" fmla="*/ 648893 w 2634448"/>
              <a:gd name="connsiteY49" fmla="*/ 218803 h 1525154"/>
              <a:gd name="connsiteX50" fmla="*/ 792585 w 2634448"/>
              <a:gd name="connsiteY50" fmla="*/ 186145 h 1525154"/>
              <a:gd name="connsiteX51" fmla="*/ 952605 w 2634448"/>
              <a:gd name="connsiteY51" fmla="*/ 156754 h 1525154"/>
              <a:gd name="connsiteX52" fmla="*/ 1106093 w 2634448"/>
              <a:gd name="connsiteY52" fmla="*/ 127363 h 1525154"/>
              <a:gd name="connsiteX53" fmla="*/ 1396742 w 2634448"/>
              <a:gd name="connsiteY53" fmla="*/ 39188 h 1525154"/>
              <a:gd name="connsiteX54" fmla="*/ 1546965 w 2634448"/>
              <a:gd name="connsiteY54" fmla="*/ 13063 h 1525154"/>
              <a:gd name="connsiteX55" fmla="*/ 1680859 w 2634448"/>
              <a:gd name="connsiteY55" fmla="*/ 0 h 1525154"/>
              <a:gd name="connsiteX56" fmla="*/ 1769033 w 2634448"/>
              <a:gd name="connsiteY56" fmla="*/ 0 h 1525154"/>
              <a:gd name="connsiteX57" fmla="*/ 1853942 w 2634448"/>
              <a:gd name="connsiteY57" fmla="*/ 52251 h 1525154"/>
              <a:gd name="connsiteX58" fmla="*/ 1958445 w 2634448"/>
              <a:gd name="connsiteY58" fmla="*/ 133894 h 1525154"/>
              <a:gd name="connsiteX59" fmla="*/ 2062948 w 2634448"/>
              <a:gd name="connsiteY59" fmla="*/ 218803 h 1525154"/>
              <a:gd name="connsiteX60" fmla="*/ 2154388 w 2634448"/>
              <a:gd name="connsiteY60" fmla="*/ 284117 h 1525154"/>
              <a:gd name="connsiteX61" fmla="*/ 2190311 w 2634448"/>
              <a:gd name="connsiteY61" fmla="*/ 329837 h 1525154"/>
              <a:gd name="connsiteX62" fmla="*/ 2196842 w 2634448"/>
              <a:gd name="connsiteY62" fmla="*/ 378823 h 1525154"/>
              <a:gd name="connsiteX63" fmla="*/ 2170716 w 2634448"/>
              <a:gd name="connsiteY63" fmla="*/ 440871 h 1525154"/>
              <a:gd name="connsiteX64" fmla="*/ 2066213 w 2634448"/>
              <a:gd name="connsiteY64" fmla="*/ 480060 h 1525154"/>
              <a:gd name="connsiteX65" fmla="*/ 1938851 w 2634448"/>
              <a:gd name="connsiteY65" fmla="*/ 486591 h 1525154"/>
              <a:gd name="connsiteX66" fmla="*/ 1857208 w 2634448"/>
              <a:gd name="connsiteY66" fmla="*/ 480060 h 1525154"/>
              <a:gd name="connsiteX67" fmla="*/ 1710251 w 2634448"/>
              <a:gd name="connsiteY67" fmla="*/ 457200 h 1525154"/>
              <a:gd name="connsiteX68" fmla="*/ 1569825 w 2634448"/>
              <a:gd name="connsiteY68" fmla="*/ 431074 h 1525154"/>
              <a:gd name="connsiteX69" fmla="*/ 1439196 w 2634448"/>
              <a:gd name="connsiteY69" fmla="*/ 411480 h 1525154"/>
              <a:gd name="connsiteX70" fmla="*/ 1324896 w 2634448"/>
              <a:gd name="connsiteY70" fmla="*/ 414745 h 1525154"/>
              <a:gd name="connsiteX71" fmla="*/ 1217128 w 2634448"/>
              <a:gd name="connsiteY71" fmla="*/ 437605 h 1525154"/>
              <a:gd name="connsiteX72" fmla="*/ 1138751 w 2634448"/>
              <a:gd name="connsiteY72" fmla="*/ 470263 h 1525154"/>
              <a:gd name="connsiteX73" fmla="*/ 1004856 w 2634448"/>
              <a:gd name="connsiteY73" fmla="*/ 515983 h 1525154"/>
              <a:gd name="connsiteX74" fmla="*/ 923213 w 2634448"/>
              <a:gd name="connsiteY74" fmla="*/ 555171 h 1525154"/>
              <a:gd name="connsiteX75" fmla="*/ 779522 w 2634448"/>
              <a:gd name="connsiteY75" fmla="*/ 568234 h 1525154"/>
              <a:gd name="connsiteX76" fmla="*/ 635831 w 2634448"/>
              <a:gd name="connsiteY76" fmla="*/ 587828 h 1525154"/>
              <a:gd name="connsiteX77" fmla="*/ 547656 w 2634448"/>
              <a:gd name="connsiteY77" fmla="*/ 591094 h 1525154"/>
              <a:gd name="connsiteX78" fmla="*/ 410496 w 2634448"/>
              <a:gd name="connsiteY78" fmla="*/ 574765 h 1525154"/>
              <a:gd name="connsiteX79" fmla="*/ 289665 w 2634448"/>
              <a:gd name="connsiteY79" fmla="*/ 555171 h 1525154"/>
              <a:gd name="connsiteX80" fmla="*/ 172099 w 2634448"/>
              <a:gd name="connsiteY80" fmla="*/ 545374 h 1525154"/>
              <a:gd name="connsiteX0" fmla="*/ 2634448 w 2634448"/>
              <a:gd name="connsiteY0" fmla="*/ 1012371 h 1525154"/>
              <a:gd name="connsiteX1" fmla="*/ 2631182 w 2634448"/>
              <a:gd name="connsiteY1" fmla="*/ 1067888 h 1525154"/>
              <a:gd name="connsiteX2" fmla="*/ 2626147 w 2634448"/>
              <a:gd name="connsiteY2" fmla="*/ 1125787 h 1525154"/>
              <a:gd name="connsiteX3" fmla="*/ 2624651 w 2634448"/>
              <a:gd name="connsiteY3" fmla="*/ 1172391 h 1525154"/>
              <a:gd name="connsiteX4" fmla="*/ 2621113 w 2634448"/>
              <a:gd name="connsiteY4" fmla="*/ 1227296 h 1525154"/>
              <a:gd name="connsiteX5" fmla="*/ 2598525 w 2634448"/>
              <a:gd name="connsiteY5" fmla="*/ 1280160 h 1525154"/>
              <a:gd name="connsiteX6" fmla="*/ 2559336 w 2634448"/>
              <a:gd name="connsiteY6" fmla="*/ 1312817 h 1525154"/>
              <a:gd name="connsiteX7" fmla="*/ 2503819 w 2634448"/>
              <a:gd name="connsiteY7" fmla="*/ 1322614 h 1525154"/>
              <a:gd name="connsiteX8" fmla="*/ 2451568 w 2634448"/>
              <a:gd name="connsiteY8" fmla="*/ 1325880 h 1525154"/>
              <a:gd name="connsiteX9" fmla="*/ 2405848 w 2634448"/>
              <a:gd name="connsiteY9" fmla="*/ 1325880 h 1525154"/>
              <a:gd name="connsiteX10" fmla="*/ 2350331 w 2634448"/>
              <a:gd name="connsiteY10" fmla="*/ 1338943 h 1525154"/>
              <a:gd name="connsiteX11" fmla="*/ 2314408 w 2634448"/>
              <a:gd name="connsiteY11" fmla="*/ 1378131 h 1525154"/>
              <a:gd name="connsiteX12" fmla="*/ 2285016 w 2634448"/>
              <a:gd name="connsiteY12" fmla="*/ 1407523 h 1525154"/>
              <a:gd name="connsiteX13" fmla="*/ 2245828 w 2634448"/>
              <a:gd name="connsiteY13" fmla="*/ 1449977 h 1525154"/>
              <a:gd name="connsiteX14" fmla="*/ 2187045 w 2634448"/>
              <a:gd name="connsiteY14" fmla="*/ 1472837 h 1525154"/>
              <a:gd name="connsiteX15" fmla="*/ 2121731 w 2634448"/>
              <a:gd name="connsiteY15" fmla="*/ 1459774 h 1525154"/>
              <a:gd name="connsiteX16" fmla="*/ 2053151 w 2634448"/>
              <a:gd name="connsiteY16" fmla="*/ 1463040 h 1525154"/>
              <a:gd name="connsiteX17" fmla="*/ 2010696 w 2634448"/>
              <a:gd name="connsiteY17" fmla="*/ 1476103 h 1525154"/>
              <a:gd name="connsiteX18" fmla="*/ 1974773 w 2634448"/>
              <a:gd name="connsiteY18" fmla="*/ 1495697 h 1525154"/>
              <a:gd name="connsiteX19" fmla="*/ 1929053 w 2634448"/>
              <a:gd name="connsiteY19" fmla="*/ 1508760 h 1525154"/>
              <a:gd name="connsiteX20" fmla="*/ 1873536 w 2634448"/>
              <a:gd name="connsiteY20" fmla="*/ 1525088 h 1525154"/>
              <a:gd name="connsiteX21" fmla="*/ 1801691 w 2634448"/>
              <a:gd name="connsiteY21" fmla="*/ 1502228 h 1525154"/>
              <a:gd name="connsiteX22" fmla="*/ 1733111 w 2634448"/>
              <a:gd name="connsiteY22" fmla="*/ 1443445 h 1525154"/>
              <a:gd name="connsiteX23" fmla="*/ 1671062 w 2634448"/>
              <a:gd name="connsiteY23" fmla="*/ 1400991 h 1525154"/>
              <a:gd name="connsiteX24" fmla="*/ 1586221 w 2634448"/>
              <a:gd name="connsiteY24" fmla="*/ 1362075 h 1525154"/>
              <a:gd name="connsiteX25" fmla="*/ 1478385 w 2634448"/>
              <a:gd name="connsiteY25" fmla="*/ 1352005 h 1525154"/>
              <a:gd name="connsiteX26" fmla="*/ 1400008 w 2634448"/>
              <a:gd name="connsiteY26" fmla="*/ 1352005 h 1525154"/>
              <a:gd name="connsiteX27" fmla="*/ 1308568 w 2634448"/>
              <a:gd name="connsiteY27" fmla="*/ 1338943 h 1525154"/>
              <a:gd name="connsiteX28" fmla="*/ 1226925 w 2634448"/>
              <a:gd name="connsiteY28" fmla="*/ 1325880 h 1525154"/>
              <a:gd name="connsiteX29" fmla="*/ 1104597 w 2634448"/>
              <a:gd name="connsiteY29" fmla="*/ 1291453 h 1525154"/>
              <a:gd name="connsiteX30" fmla="*/ 968933 w 2634448"/>
              <a:gd name="connsiteY30" fmla="*/ 1254034 h 1525154"/>
              <a:gd name="connsiteX31" fmla="*/ 856131 w 2634448"/>
              <a:gd name="connsiteY31" fmla="*/ 1217839 h 1525154"/>
              <a:gd name="connsiteX32" fmla="*/ 753396 w 2634448"/>
              <a:gd name="connsiteY32" fmla="*/ 1185454 h 1525154"/>
              <a:gd name="connsiteX33" fmla="*/ 661956 w 2634448"/>
              <a:gd name="connsiteY33" fmla="*/ 1156063 h 1525154"/>
              <a:gd name="connsiteX34" fmla="*/ 559562 w 2634448"/>
              <a:gd name="connsiteY34" fmla="*/ 1130549 h 1525154"/>
              <a:gd name="connsiteX35" fmla="*/ 456216 w 2634448"/>
              <a:gd name="connsiteY35" fmla="*/ 1120140 h 1525154"/>
              <a:gd name="connsiteX36" fmla="*/ 377839 w 2634448"/>
              <a:gd name="connsiteY36" fmla="*/ 1113608 h 1525154"/>
              <a:gd name="connsiteX37" fmla="*/ 243945 w 2634448"/>
              <a:gd name="connsiteY37" fmla="*/ 1080951 h 1525154"/>
              <a:gd name="connsiteX38" fmla="*/ 175365 w 2634448"/>
              <a:gd name="connsiteY38" fmla="*/ 1045028 h 1525154"/>
              <a:gd name="connsiteX39" fmla="*/ 103859 w 2634448"/>
              <a:gd name="connsiteY39" fmla="*/ 971754 h 1525154"/>
              <a:gd name="connsiteX40" fmla="*/ 63990 w 2634448"/>
              <a:gd name="connsiteY40" fmla="*/ 898956 h 1525154"/>
              <a:gd name="connsiteX41" fmla="*/ 30176 w 2634448"/>
              <a:gd name="connsiteY41" fmla="*/ 809897 h 1525154"/>
              <a:gd name="connsiteX42" fmla="*/ 8813 w 2634448"/>
              <a:gd name="connsiteY42" fmla="*/ 724988 h 1525154"/>
              <a:gd name="connsiteX43" fmla="*/ 2282 w 2634448"/>
              <a:gd name="connsiteY43" fmla="*/ 613954 h 1525154"/>
              <a:gd name="connsiteX44" fmla="*/ 44736 w 2634448"/>
              <a:gd name="connsiteY44" fmla="*/ 525780 h 1525154"/>
              <a:gd name="connsiteX45" fmla="*/ 119848 w 2634448"/>
              <a:gd name="connsiteY45" fmla="*/ 450668 h 1525154"/>
              <a:gd name="connsiteX46" fmla="*/ 221085 w 2634448"/>
              <a:gd name="connsiteY46" fmla="*/ 372291 h 1525154"/>
              <a:gd name="connsiteX47" fmla="*/ 368042 w 2634448"/>
              <a:gd name="connsiteY47" fmla="*/ 303711 h 1525154"/>
              <a:gd name="connsiteX48" fmla="*/ 524796 w 2634448"/>
              <a:gd name="connsiteY48" fmla="*/ 257991 h 1525154"/>
              <a:gd name="connsiteX49" fmla="*/ 648893 w 2634448"/>
              <a:gd name="connsiteY49" fmla="*/ 218803 h 1525154"/>
              <a:gd name="connsiteX50" fmla="*/ 792585 w 2634448"/>
              <a:gd name="connsiteY50" fmla="*/ 186145 h 1525154"/>
              <a:gd name="connsiteX51" fmla="*/ 952605 w 2634448"/>
              <a:gd name="connsiteY51" fmla="*/ 156754 h 1525154"/>
              <a:gd name="connsiteX52" fmla="*/ 1106093 w 2634448"/>
              <a:gd name="connsiteY52" fmla="*/ 127363 h 1525154"/>
              <a:gd name="connsiteX53" fmla="*/ 1396742 w 2634448"/>
              <a:gd name="connsiteY53" fmla="*/ 39188 h 1525154"/>
              <a:gd name="connsiteX54" fmla="*/ 1546965 w 2634448"/>
              <a:gd name="connsiteY54" fmla="*/ 13063 h 1525154"/>
              <a:gd name="connsiteX55" fmla="*/ 1680859 w 2634448"/>
              <a:gd name="connsiteY55" fmla="*/ 0 h 1525154"/>
              <a:gd name="connsiteX56" fmla="*/ 1769033 w 2634448"/>
              <a:gd name="connsiteY56" fmla="*/ 0 h 1525154"/>
              <a:gd name="connsiteX57" fmla="*/ 1853942 w 2634448"/>
              <a:gd name="connsiteY57" fmla="*/ 52251 h 1525154"/>
              <a:gd name="connsiteX58" fmla="*/ 1958445 w 2634448"/>
              <a:gd name="connsiteY58" fmla="*/ 133894 h 1525154"/>
              <a:gd name="connsiteX59" fmla="*/ 2062948 w 2634448"/>
              <a:gd name="connsiteY59" fmla="*/ 218803 h 1525154"/>
              <a:gd name="connsiteX60" fmla="*/ 2154388 w 2634448"/>
              <a:gd name="connsiteY60" fmla="*/ 284117 h 1525154"/>
              <a:gd name="connsiteX61" fmla="*/ 2190311 w 2634448"/>
              <a:gd name="connsiteY61" fmla="*/ 329837 h 1525154"/>
              <a:gd name="connsiteX62" fmla="*/ 2196842 w 2634448"/>
              <a:gd name="connsiteY62" fmla="*/ 378823 h 1525154"/>
              <a:gd name="connsiteX63" fmla="*/ 2170716 w 2634448"/>
              <a:gd name="connsiteY63" fmla="*/ 440871 h 1525154"/>
              <a:gd name="connsiteX64" fmla="*/ 2066213 w 2634448"/>
              <a:gd name="connsiteY64" fmla="*/ 480060 h 1525154"/>
              <a:gd name="connsiteX65" fmla="*/ 1938851 w 2634448"/>
              <a:gd name="connsiteY65" fmla="*/ 486591 h 1525154"/>
              <a:gd name="connsiteX66" fmla="*/ 1857208 w 2634448"/>
              <a:gd name="connsiteY66" fmla="*/ 480060 h 1525154"/>
              <a:gd name="connsiteX67" fmla="*/ 1710251 w 2634448"/>
              <a:gd name="connsiteY67" fmla="*/ 457200 h 1525154"/>
              <a:gd name="connsiteX68" fmla="*/ 1569825 w 2634448"/>
              <a:gd name="connsiteY68" fmla="*/ 431074 h 1525154"/>
              <a:gd name="connsiteX69" fmla="*/ 1439196 w 2634448"/>
              <a:gd name="connsiteY69" fmla="*/ 411480 h 1525154"/>
              <a:gd name="connsiteX70" fmla="*/ 1324896 w 2634448"/>
              <a:gd name="connsiteY70" fmla="*/ 414745 h 1525154"/>
              <a:gd name="connsiteX71" fmla="*/ 1217128 w 2634448"/>
              <a:gd name="connsiteY71" fmla="*/ 437605 h 1525154"/>
              <a:gd name="connsiteX72" fmla="*/ 1138751 w 2634448"/>
              <a:gd name="connsiteY72" fmla="*/ 470263 h 1525154"/>
              <a:gd name="connsiteX73" fmla="*/ 1004856 w 2634448"/>
              <a:gd name="connsiteY73" fmla="*/ 515983 h 1525154"/>
              <a:gd name="connsiteX74" fmla="*/ 923213 w 2634448"/>
              <a:gd name="connsiteY74" fmla="*/ 555171 h 1525154"/>
              <a:gd name="connsiteX75" fmla="*/ 779522 w 2634448"/>
              <a:gd name="connsiteY75" fmla="*/ 568234 h 1525154"/>
              <a:gd name="connsiteX76" fmla="*/ 635831 w 2634448"/>
              <a:gd name="connsiteY76" fmla="*/ 587828 h 1525154"/>
              <a:gd name="connsiteX77" fmla="*/ 547656 w 2634448"/>
              <a:gd name="connsiteY77" fmla="*/ 591094 h 1525154"/>
              <a:gd name="connsiteX78" fmla="*/ 410496 w 2634448"/>
              <a:gd name="connsiteY78" fmla="*/ 574765 h 1525154"/>
              <a:gd name="connsiteX79" fmla="*/ 289665 w 2634448"/>
              <a:gd name="connsiteY79" fmla="*/ 555171 h 1525154"/>
              <a:gd name="connsiteX80" fmla="*/ 172099 w 2634448"/>
              <a:gd name="connsiteY80" fmla="*/ 545374 h 1525154"/>
              <a:gd name="connsiteX0" fmla="*/ 2634448 w 2634448"/>
              <a:gd name="connsiteY0" fmla="*/ 1012371 h 1525154"/>
              <a:gd name="connsiteX1" fmla="*/ 2631182 w 2634448"/>
              <a:gd name="connsiteY1" fmla="*/ 1067888 h 1525154"/>
              <a:gd name="connsiteX2" fmla="*/ 2626147 w 2634448"/>
              <a:gd name="connsiteY2" fmla="*/ 1125787 h 1525154"/>
              <a:gd name="connsiteX3" fmla="*/ 2624651 w 2634448"/>
              <a:gd name="connsiteY3" fmla="*/ 1172391 h 1525154"/>
              <a:gd name="connsiteX4" fmla="*/ 2621113 w 2634448"/>
              <a:gd name="connsiteY4" fmla="*/ 1227296 h 1525154"/>
              <a:gd name="connsiteX5" fmla="*/ 2598525 w 2634448"/>
              <a:gd name="connsiteY5" fmla="*/ 1280160 h 1525154"/>
              <a:gd name="connsiteX6" fmla="*/ 2559336 w 2634448"/>
              <a:gd name="connsiteY6" fmla="*/ 1312817 h 1525154"/>
              <a:gd name="connsiteX7" fmla="*/ 2503819 w 2634448"/>
              <a:gd name="connsiteY7" fmla="*/ 1322614 h 1525154"/>
              <a:gd name="connsiteX8" fmla="*/ 2451568 w 2634448"/>
              <a:gd name="connsiteY8" fmla="*/ 1325880 h 1525154"/>
              <a:gd name="connsiteX9" fmla="*/ 2405848 w 2634448"/>
              <a:gd name="connsiteY9" fmla="*/ 1325880 h 1525154"/>
              <a:gd name="connsiteX10" fmla="*/ 2350331 w 2634448"/>
              <a:gd name="connsiteY10" fmla="*/ 1338943 h 1525154"/>
              <a:gd name="connsiteX11" fmla="*/ 2314408 w 2634448"/>
              <a:gd name="connsiteY11" fmla="*/ 1378131 h 1525154"/>
              <a:gd name="connsiteX12" fmla="*/ 2285016 w 2634448"/>
              <a:gd name="connsiteY12" fmla="*/ 1407523 h 1525154"/>
              <a:gd name="connsiteX13" fmla="*/ 2245828 w 2634448"/>
              <a:gd name="connsiteY13" fmla="*/ 1449977 h 1525154"/>
              <a:gd name="connsiteX14" fmla="*/ 2187045 w 2634448"/>
              <a:gd name="connsiteY14" fmla="*/ 1472837 h 1525154"/>
              <a:gd name="connsiteX15" fmla="*/ 2121731 w 2634448"/>
              <a:gd name="connsiteY15" fmla="*/ 1459774 h 1525154"/>
              <a:gd name="connsiteX16" fmla="*/ 2053151 w 2634448"/>
              <a:gd name="connsiteY16" fmla="*/ 1463040 h 1525154"/>
              <a:gd name="connsiteX17" fmla="*/ 2010696 w 2634448"/>
              <a:gd name="connsiteY17" fmla="*/ 1476103 h 1525154"/>
              <a:gd name="connsiteX18" fmla="*/ 1974773 w 2634448"/>
              <a:gd name="connsiteY18" fmla="*/ 1495697 h 1525154"/>
              <a:gd name="connsiteX19" fmla="*/ 1929053 w 2634448"/>
              <a:gd name="connsiteY19" fmla="*/ 1508760 h 1525154"/>
              <a:gd name="connsiteX20" fmla="*/ 1873536 w 2634448"/>
              <a:gd name="connsiteY20" fmla="*/ 1525088 h 1525154"/>
              <a:gd name="connsiteX21" fmla="*/ 1801691 w 2634448"/>
              <a:gd name="connsiteY21" fmla="*/ 1502228 h 1525154"/>
              <a:gd name="connsiteX22" fmla="*/ 1733111 w 2634448"/>
              <a:gd name="connsiteY22" fmla="*/ 1443445 h 1525154"/>
              <a:gd name="connsiteX23" fmla="*/ 1671062 w 2634448"/>
              <a:gd name="connsiteY23" fmla="*/ 1400991 h 1525154"/>
              <a:gd name="connsiteX24" fmla="*/ 1586221 w 2634448"/>
              <a:gd name="connsiteY24" fmla="*/ 1362075 h 1525154"/>
              <a:gd name="connsiteX25" fmla="*/ 1478385 w 2634448"/>
              <a:gd name="connsiteY25" fmla="*/ 1352005 h 1525154"/>
              <a:gd name="connsiteX26" fmla="*/ 1400008 w 2634448"/>
              <a:gd name="connsiteY26" fmla="*/ 1352005 h 1525154"/>
              <a:gd name="connsiteX27" fmla="*/ 1308568 w 2634448"/>
              <a:gd name="connsiteY27" fmla="*/ 1338943 h 1525154"/>
              <a:gd name="connsiteX28" fmla="*/ 1226925 w 2634448"/>
              <a:gd name="connsiteY28" fmla="*/ 1325880 h 1525154"/>
              <a:gd name="connsiteX29" fmla="*/ 1104597 w 2634448"/>
              <a:gd name="connsiteY29" fmla="*/ 1291453 h 1525154"/>
              <a:gd name="connsiteX30" fmla="*/ 968933 w 2634448"/>
              <a:gd name="connsiteY30" fmla="*/ 1254034 h 1525154"/>
              <a:gd name="connsiteX31" fmla="*/ 856131 w 2634448"/>
              <a:gd name="connsiteY31" fmla="*/ 1217839 h 1525154"/>
              <a:gd name="connsiteX32" fmla="*/ 753396 w 2634448"/>
              <a:gd name="connsiteY32" fmla="*/ 1185454 h 1525154"/>
              <a:gd name="connsiteX33" fmla="*/ 661956 w 2634448"/>
              <a:gd name="connsiteY33" fmla="*/ 1156063 h 1525154"/>
              <a:gd name="connsiteX34" fmla="*/ 559562 w 2634448"/>
              <a:gd name="connsiteY34" fmla="*/ 1130549 h 1525154"/>
              <a:gd name="connsiteX35" fmla="*/ 456216 w 2634448"/>
              <a:gd name="connsiteY35" fmla="*/ 1120140 h 1525154"/>
              <a:gd name="connsiteX36" fmla="*/ 377839 w 2634448"/>
              <a:gd name="connsiteY36" fmla="*/ 1113608 h 1525154"/>
              <a:gd name="connsiteX37" fmla="*/ 243945 w 2634448"/>
              <a:gd name="connsiteY37" fmla="*/ 1080951 h 1525154"/>
              <a:gd name="connsiteX38" fmla="*/ 175365 w 2634448"/>
              <a:gd name="connsiteY38" fmla="*/ 1045028 h 1525154"/>
              <a:gd name="connsiteX39" fmla="*/ 103859 w 2634448"/>
              <a:gd name="connsiteY39" fmla="*/ 971754 h 1525154"/>
              <a:gd name="connsiteX40" fmla="*/ 63990 w 2634448"/>
              <a:gd name="connsiteY40" fmla="*/ 898956 h 1525154"/>
              <a:gd name="connsiteX41" fmla="*/ 30176 w 2634448"/>
              <a:gd name="connsiteY41" fmla="*/ 809897 h 1525154"/>
              <a:gd name="connsiteX42" fmla="*/ 8813 w 2634448"/>
              <a:gd name="connsiteY42" fmla="*/ 724988 h 1525154"/>
              <a:gd name="connsiteX43" fmla="*/ 2282 w 2634448"/>
              <a:gd name="connsiteY43" fmla="*/ 613954 h 1525154"/>
              <a:gd name="connsiteX44" fmla="*/ 44736 w 2634448"/>
              <a:gd name="connsiteY44" fmla="*/ 525780 h 1525154"/>
              <a:gd name="connsiteX45" fmla="*/ 119848 w 2634448"/>
              <a:gd name="connsiteY45" fmla="*/ 450668 h 1525154"/>
              <a:gd name="connsiteX46" fmla="*/ 221085 w 2634448"/>
              <a:gd name="connsiteY46" fmla="*/ 372291 h 1525154"/>
              <a:gd name="connsiteX47" fmla="*/ 368042 w 2634448"/>
              <a:gd name="connsiteY47" fmla="*/ 303711 h 1525154"/>
              <a:gd name="connsiteX48" fmla="*/ 524796 w 2634448"/>
              <a:gd name="connsiteY48" fmla="*/ 257991 h 1525154"/>
              <a:gd name="connsiteX49" fmla="*/ 648893 w 2634448"/>
              <a:gd name="connsiteY49" fmla="*/ 218803 h 1525154"/>
              <a:gd name="connsiteX50" fmla="*/ 792585 w 2634448"/>
              <a:gd name="connsiteY50" fmla="*/ 186145 h 1525154"/>
              <a:gd name="connsiteX51" fmla="*/ 952605 w 2634448"/>
              <a:gd name="connsiteY51" fmla="*/ 156754 h 1525154"/>
              <a:gd name="connsiteX52" fmla="*/ 1106093 w 2634448"/>
              <a:gd name="connsiteY52" fmla="*/ 127363 h 1525154"/>
              <a:gd name="connsiteX53" fmla="*/ 1396742 w 2634448"/>
              <a:gd name="connsiteY53" fmla="*/ 39188 h 1525154"/>
              <a:gd name="connsiteX54" fmla="*/ 1546965 w 2634448"/>
              <a:gd name="connsiteY54" fmla="*/ 13063 h 1525154"/>
              <a:gd name="connsiteX55" fmla="*/ 1680859 w 2634448"/>
              <a:gd name="connsiteY55" fmla="*/ 0 h 1525154"/>
              <a:gd name="connsiteX56" fmla="*/ 1769033 w 2634448"/>
              <a:gd name="connsiteY56" fmla="*/ 0 h 1525154"/>
              <a:gd name="connsiteX57" fmla="*/ 1853942 w 2634448"/>
              <a:gd name="connsiteY57" fmla="*/ 52251 h 1525154"/>
              <a:gd name="connsiteX58" fmla="*/ 1958445 w 2634448"/>
              <a:gd name="connsiteY58" fmla="*/ 133894 h 1525154"/>
              <a:gd name="connsiteX59" fmla="*/ 2062948 w 2634448"/>
              <a:gd name="connsiteY59" fmla="*/ 218803 h 1525154"/>
              <a:gd name="connsiteX60" fmla="*/ 2154388 w 2634448"/>
              <a:gd name="connsiteY60" fmla="*/ 284117 h 1525154"/>
              <a:gd name="connsiteX61" fmla="*/ 2190311 w 2634448"/>
              <a:gd name="connsiteY61" fmla="*/ 329837 h 1525154"/>
              <a:gd name="connsiteX62" fmla="*/ 2196842 w 2634448"/>
              <a:gd name="connsiteY62" fmla="*/ 378823 h 1525154"/>
              <a:gd name="connsiteX63" fmla="*/ 2170716 w 2634448"/>
              <a:gd name="connsiteY63" fmla="*/ 440871 h 1525154"/>
              <a:gd name="connsiteX64" fmla="*/ 2066213 w 2634448"/>
              <a:gd name="connsiteY64" fmla="*/ 480060 h 1525154"/>
              <a:gd name="connsiteX65" fmla="*/ 1938851 w 2634448"/>
              <a:gd name="connsiteY65" fmla="*/ 486591 h 1525154"/>
              <a:gd name="connsiteX66" fmla="*/ 1857208 w 2634448"/>
              <a:gd name="connsiteY66" fmla="*/ 480060 h 1525154"/>
              <a:gd name="connsiteX67" fmla="*/ 1710251 w 2634448"/>
              <a:gd name="connsiteY67" fmla="*/ 457200 h 1525154"/>
              <a:gd name="connsiteX68" fmla="*/ 1569825 w 2634448"/>
              <a:gd name="connsiteY68" fmla="*/ 431074 h 1525154"/>
              <a:gd name="connsiteX69" fmla="*/ 1439196 w 2634448"/>
              <a:gd name="connsiteY69" fmla="*/ 411480 h 1525154"/>
              <a:gd name="connsiteX70" fmla="*/ 1324896 w 2634448"/>
              <a:gd name="connsiteY70" fmla="*/ 414745 h 1525154"/>
              <a:gd name="connsiteX71" fmla="*/ 1217128 w 2634448"/>
              <a:gd name="connsiteY71" fmla="*/ 437605 h 1525154"/>
              <a:gd name="connsiteX72" fmla="*/ 1138751 w 2634448"/>
              <a:gd name="connsiteY72" fmla="*/ 470263 h 1525154"/>
              <a:gd name="connsiteX73" fmla="*/ 1004856 w 2634448"/>
              <a:gd name="connsiteY73" fmla="*/ 515983 h 1525154"/>
              <a:gd name="connsiteX74" fmla="*/ 923213 w 2634448"/>
              <a:gd name="connsiteY74" fmla="*/ 555171 h 1525154"/>
              <a:gd name="connsiteX75" fmla="*/ 779522 w 2634448"/>
              <a:gd name="connsiteY75" fmla="*/ 568234 h 1525154"/>
              <a:gd name="connsiteX76" fmla="*/ 635831 w 2634448"/>
              <a:gd name="connsiteY76" fmla="*/ 587828 h 1525154"/>
              <a:gd name="connsiteX77" fmla="*/ 547656 w 2634448"/>
              <a:gd name="connsiteY77" fmla="*/ 591094 h 1525154"/>
              <a:gd name="connsiteX78" fmla="*/ 410496 w 2634448"/>
              <a:gd name="connsiteY78" fmla="*/ 574765 h 1525154"/>
              <a:gd name="connsiteX79" fmla="*/ 289665 w 2634448"/>
              <a:gd name="connsiteY79" fmla="*/ 555171 h 1525154"/>
              <a:gd name="connsiteX80" fmla="*/ 172099 w 2634448"/>
              <a:gd name="connsiteY80" fmla="*/ 545374 h 1525154"/>
              <a:gd name="connsiteX0" fmla="*/ 2634448 w 2634448"/>
              <a:gd name="connsiteY0" fmla="*/ 1012371 h 1525154"/>
              <a:gd name="connsiteX1" fmla="*/ 2631182 w 2634448"/>
              <a:gd name="connsiteY1" fmla="*/ 1067888 h 1525154"/>
              <a:gd name="connsiteX2" fmla="*/ 2626147 w 2634448"/>
              <a:gd name="connsiteY2" fmla="*/ 1125787 h 1525154"/>
              <a:gd name="connsiteX3" fmla="*/ 2624651 w 2634448"/>
              <a:gd name="connsiteY3" fmla="*/ 1172391 h 1525154"/>
              <a:gd name="connsiteX4" fmla="*/ 2621113 w 2634448"/>
              <a:gd name="connsiteY4" fmla="*/ 1227296 h 1525154"/>
              <a:gd name="connsiteX5" fmla="*/ 2598525 w 2634448"/>
              <a:gd name="connsiteY5" fmla="*/ 1280160 h 1525154"/>
              <a:gd name="connsiteX6" fmla="*/ 2559336 w 2634448"/>
              <a:gd name="connsiteY6" fmla="*/ 1312817 h 1525154"/>
              <a:gd name="connsiteX7" fmla="*/ 2503819 w 2634448"/>
              <a:gd name="connsiteY7" fmla="*/ 1322614 h 1525154"/>
              <a:gd name="connsiteX8" fmla="*/ 2451568 w 2634448"/>
              <a:gd name="connsiteY8" fmla="*/ 1325880 h 1525154"/>
              <a:gd name="connsiteX9" fmla="*/ 2405848 w 2634448"/>
              <a:gd name="connsiteY9" fmla="*/ 1325880 h 1525154"/>
              <a:gd name="connsiteX10" fmla="*/ 2350331 w 2634448"/>
              <a:gd name="connsiteY10" fmla="*/ 1338943 h 1525154"/>
              <a:gd name="connsiteX11" fmla="*/ 2314408 w 2634448"/>
              <a:gd name="connsiteY11" fmla="*/ 1378131 h 1525154"/>
              <a:gd name="connsiteX12" fmla="*/ 2285016 w 2634448"/>
              <a:gd name="connsiteY12" fmla="*/ 1407523 h 1525154"/>
              <a:gd name="connsiteX13" fmla="*/ 2245828 w 2634448"/>
              <a:gd name="connsiteY13" fmla="*/ 1449977 h 1525154"/>
              <a:gd name="connsiteX14" fmla="*/ 2187045 w 2634448"/>
              <a:gd name="connsiteY14" fmla="*/ 1472837 h 1525154"/>
              <a:gd name="connsiteX15" fmla="*/ 2121731 w 2634448"/>
              <a:gd name="connsiteY15" fmla="*/ 1459774 h 1525154"/>
              <a:gd name="connsiteX16" fmla="*/ 2053151 w 2634448"/>
              <a:gd name="connsiteY16" fmla="*/ 1463040 h 1525154"/>
              <a:gd name="connsiteX17" fmla="*/ 2010696 w 2634448"/>
              <a:gd name="connsiteY17" fmla="*/ 1476103 h 1525154"/>
              <a:gd name="connsiteX18" fmla="*/ 1974773 w 2634448"/>
              <a:gd name="connsiteY18" fmla="*/ 1495697 h 1525154"/>
              <a:gd name="connsiteX19" fmla="*/ 1929053 w 2634448"/>
              <a:gd name="connsiteY19" fmla="*/ 1508760 h 1525154"/>
              <a:gd name="connsiteX20" fmla="*/ 1873536 w 2634448"/>
              <a:gd name="connsiteY20" fmla="*/ 1525088 h 1525154"/>
              <a:gd name="connsiteX21" fmla="*/ 1801691 w 2634448"/>
              <a:gd name="connsiteY21" fmla="*/ 1502228 h 1525154"/>
              <a:gd name="connsiteX22" fmla="*/ 1733111 w 2634448"/>
              <a:gd name="connsiteY22" fmla="*/ 1443445 h 1525154"/>
              <a:gd name="connsiteX23" fmla="*/ 1671062 w 2634448"/>
              <a:gd name="connsiteY23" fmla="*/ 1400991 h 1525154"/>
              <a:gd name="connsiteX24" fmla="*/ 1586221 w 2634448"/>
              <a:gd name="connsiteY24" fmla="*/ 1362075 h 1525154"/>
              <a:gd name="connsiteX25" fmla="*/ 1478385 w 2634448"/>
              <a:gd name="connsiteY25" fmla="*/ 1352005 h 1525154"/>
              <a:gd name="connsiteX26" fmla="*/ 1400008 w 2634448"/>
              <a:gd name="connsiteY26" fmla="*/ 1352005 h 1525154"/>
              <a:gd name="connsiteX27" fmla="*/ 1308568 w 2634448"/>
              <a:gd name="connsiteY27" fmla="*/ 1338943 h 1525154"/>
              <a:gd name="connsiteX28" fmla="*/ 1226925 w 2634448"/>
              <a:gd name="connsiteY28" fmla="*/ 1325880 h 1525154"/>
              <a:gd name="connsiteX29" fmla="*/ 1104597 w 2634448"/>
              <a:gd name="connsiteY29" fmla="*/ 1291453 h 1525154"/>
              <a:gd name="connsiteX30" fmla="*/ 968933 w 2634448"/>
              <a:gd name="connsiteY30" fmla="*/ 1254034 h 1525154"/>
              <a:gd name="connsiteX31" fmla="*/ 856131 w 2634448"/>
              <a:gd name="connsiteY31" fmla="*/ 1217839 h 1525154"/>
              <a:gd name="connsiteX32" fmla="*/ 753396 w 2634448"/>
              <a:gd name="connsiteY32" fmla="*/ 1185454 h 1525154"/>
              <a:gd name="connsiteX33" fmla="*/ 661956 w 2634448"/>
              <a:gd name="connsiteY33" fmla="*/ 1156063 h 1525154"/>
              <a:gd name="connsiteX34" fmla="*/ 559562 w 2634448"/>
              <a:gd name="connsiteY34" fmla="*/ 1130549 h 1525154"/>
              <a:gd name="connsiteX35" fmla="*/ 456216 w 2634448"/>
              <a:gd name="connsiteY35" fmla="*/ 1120140 h 1525154"/>
              <a:gd name="connsiteX36" fmla="*/ 377839 w 2634448"/>
              <a:gd name="connsiteY36" fmla="*/ 1113608 h 1525154"/>
              <a:gd name="connsiteX37" fmla="*/ 243945 w 2634448"/>
              <a:gd name="connsiteY37" fmla="*/ 1080951 h 1525154"/>
              <a:gd name="connsiteX38" fmla="*/ 175365 w 2634448"/>
              <a:gd name="connsiteY38" fmla="*/ 1045028 h 1525154"/>
              <a:gd name="connsiteX39" fmla="*/ 103859 w 2634448"/>
              <a:gd name="connsiteY39" fmla="*/ 971754 h 1525154"/>
              <a:gd name="connsiteX40" fmla="*/ 63990 w 2634448"/>
              <a:gd name="connsiteY40" fmla="*/ 898956 h 1525154"/>
              <a:gd name="connsiteX41" fmla="*/ 30176 w 2634448"/>
              <a:gd name="connsiteY41" fmla="*/ 809897 h 1525154"/>
              <a:gd name="connsiteX42" fmla="*/ 8813 w 2634448"/>
              <a:gd name="connsiteY42" fmla="*/ 724988 h 1525154"/>
              <a:gd name="connsiteX43" fmla="*/ 2282 w 2634448"/>
              <a:gd name="connsiteY43" fmla="*/ 613954 h 1525154"/>
              <a:gd name="connsiteX44" fmla="*/ 44736 w 2634448"/>
              <a:gd name="connsiteY44" fmla="*/ 525780 h 1525154"/>
              <a:gd name="connsiteX45" fmla="*/ 119848 w 2634448"/>
              <a:gd name="connsiteY45" fmla="*/ 450668 h 1525154"/>
              <a:gd name="connsiteX46" fmla="*/ 221085 w 2634448"/>
              <a:gd name="connsiteY46" fmla="*/ 372291 h 1525154"/>
              <a:gd name="connsiteX47" fmla="*/ 368042 w 2634448"/>
              <a:gd name="connsiteY47" fmla="*/ 303711 h 1525154"/>
              <a:gd name="connsiteX48" fmla="*/ 524796 w 2634448"/>
              <a:gd name="connsiteY48" fmla="*/ 257991 h 1525154"/>
              <a:gd name="connsiteX49" fmla="*/ 648893 w 2634448"/>
              <a:gd name="connsiteY49" fmla="*/ 218803 h 1525154"/>
              <a:gd name="connsiteX50" fmla="*/ 792585 w 2634448"/>
              <a:gd name="connsiteY50" fmla="*/ 186145 h 1525154"/>
              <a:gd name="connsiteX51" fmla="*/ 952605 w 2634448"/>
              <a:gd name="connsiteY51" fmla="*/ 156754 h 1525154"/>
              <a:gd name="connsiteX52" fmla="*/ 1106093 w 2634448"/>
              <a:gd name="connsiteY52" fmla="*/ 127363 h 1525154"/>
              <a:gd name="connsiteX53" fmla="*/ 1396742 w 2634448"/>
              <a:gd name="connsiteY53" fmla="*/ 39188 h 1525154"/>
              <a:gd name="connsiteX54" fmla="*/ 1546965 w 2634448"/>
              <a:gd name="connsiteY54" fmla="*/ 13063 h 1525154"/>
              <a:gd name="connsiteX55" fmla="*/ 1680859 w 2634448"/>
              <a:gd name="connsiteY55" fmla="*/ 0 h 1525154"/>
              <a:gd name="connsiteX56" fmla="*/ 1769033 w 2634448"/>
              <a:gd name="connsiteY56" fmla="*/ 0 h 1525154"/>
              <a:gd name="connsiteX57" fmla="*/ 1853942 w 2634448"/>
              <a:gd name="connsiteY57" fmla="*/ 52251 h 1525154"/>
              <a:gd name="connsiteX58" fmla="*/ 1958445 w 2634448"/>
              <a:gd name="connsiteY58" fmla="*/ 133894 h 1525154"/>
              <a:gd name="connsiteX59" fmla="*/ 2062948 w 2634448"/>
              <a:gd name="connsiteY59" fmla="*/ 218803 h 1525154"/>
              <a:gd name="connsiteX60" fmla="*/ 2154388 w 2634448"/>
              <a:gd name="connsiteY60" fmla="*/ 284117 h 1525154"/>
              <a:gd name="connsiteX61" fmla="*/ 2190311 w 2634448"/>
              <a:gd name="connsiteY61" fmla="*/ 329837 h 1525154"/>
              <a:gd name="connsiteX62" fmla="*/ 2196842 w 2634448"/>
              <a:gd name="connsiteY62" fmla="*/ 378823 h 1525154"/>
              <a:gd name="connsiteX63" fmla="*/ 2170716 w 2634448"/>
              <a:gd name="connsiteY63" fmla="*/ 440871 h 1525154"/>
              <a:gd name="connsiteX64" fmla="*/ 2066213 w 2634448"/>
              <a:gd name="connsiteY64" fmla="*/ 480060 h 1525154"/>
              <a:gd name="connsiteX65" fmla="*/ 1938851 w 2634448"/>
              <a:gd name="connsiteY65" fmla="*/ 486591 h 1525154"/>
              <a:gd name="connsiteX66" fmla="*/ 1857208 w 2634448"/>
              <a:gd name="connsiteY66" fmla="*/ 480060 h 1525154"/>
              <a:gd name="connsiteX67" fmla="*/ 1710251 w 2634448"/>
              <a:gd name="connsiteY67" fmla="*/ 457200 h 1525154"/>
              <a:gd name="connsiteX68" fmla="*/ 1569825 w 2634448"/>
              <a:gd name="connsiteY68" fmla="*/ 431074 h 1525154"/>
              <a:gd name="connsiteX69" fmla="*/ 1439196 w 2634448"/>
              <a:gd name="connsiteY69" fmla="*/ 411480 h 1525154"/>
              <a:gd name="connsiteX70" fmla="*/ 1324896 w 2634448"/>
              <a:gd name="connsiteY70" fmla="*/ 414745 h 1525154"/>
              <a:gd name="connsiteX71" fmla="*/ 1217128 w 2634448"/>
              <a:gd name="connsiteY71" fmla="*/ 437605 h 1525154"/>
              <a:gd name="connsiteX72" fmla="*/ 1138751 w 2634448"/>
              <a:gd name="connsiteY72" fmla="*/ 470263 h 1525154"/>
              <a:gd name="connsiteX73" fmla="*/ 1004856 w 2634448"/>
              <a:gd name="connsiteY73" fmla="*/ 515983 h 1525154"/>
              <a:gd name="connsiteX74" fmla="*/ 923213 w 2634448"/>
              <a:gd name="connsiteY74" fmla="*/ 555171 h 1525154"/>
              <a:gd name="connsiteX75" fmla="*/ 779522 w 2634448"/>
              <a:gd name="connsiteY75" fmla="*/ 568234 h 1525154"/>
              <a:gd name="connsiteX76" fmla="*/ 635831 w 2634448"/>
              <a:gd name="connsiteY76" fmla="*/ 587828 h 1525154"/>
              <a:gd name="connsiteX77" fmla="*/ 547656 w 2634448"/>
              <a:gd name="connsiteY77" fmla="*/ 591094 h 1525154"/>
              <a:gd name="connsiteX78" fmla="*/ 410496 w 2634448"/>
              <a:gd name="connsiteY78" fmla="*/ 574765 h 1525154"/>
              <a:gd name="connsiteX79" fmla="*/ 289665 w 2634448"/>
              <a:gd name="connsiteY79" fmla="*/ 555171 h 1525154"/>
              <a:gd name="connsiteX80" fmla="*/ 172099 w 2634448"/>
              <a:gd name="connsiteY80" fmla="*/ 545374 h 1525154"/>
              <a:gd name="connsiteX0" fmla="*/ 2634448 w 2634448"/>
              <a:gd name="connsiteY0" fmla="*/ 1012371 h 1525154"/>
              <a:gd name="connsiteX1" fmla="*/ 2631182 w 2634448"/>
              <a:gd name="connsiteY1" fmla="*/ 1067888 h 1525154"/>
              <a:gd name="connsiteX2" fmla="*/ 2626147 w 2634448"/>
              <a:gd name="connsiteY2" fmla="*/ 1125787 h 1525154"/>
              <a:gd name="connsiteX3" fmla="*/ 2624651 w 2634448"/>
              <a:gd name="connsiteY3" fmla="*/ 1172391 h 1525154"/>
              <a:gd name="connsiteX4" fmla="*/ 2621113 w 2634448"/>
              <a:gd name="connsiteY4" fmla="*/ 1227296 h 1525154"/>
              <a:gd name="connsiteX5" fmla="*/ 2598525 w 2634448"/>
              <a:gd name="connsiteY5" fmla="*/ 1280160 h 1525154"/>
              <a:gd name="connsiteX6" fmla="*/ 2559336 w 2634448"/>
              <a:gd name="connsiteY6" fmla="*/ 1312817 h 1525154"/>
              <a:gd name="connsiteX7" fmla="*/ 2503819 w 2634448"/>
              <a:gd name="connsiteY7" fmla="*/ 1322614 h 1525154"/>
              <a:gd name="connsiteX8" fmla="*/ 2451568 w 2634448"/>
              <a:gd name="connsiteY8" fmla="*/ 1325880 h 1525154"/>
              <a:gd name="connsiteX9" fmla="*/ 2405848 w 2634448"/>
              <a:gd name="connsiteY9" fmla="*/ 1325880 h 1525154"/>
              <a:gd name="connsiteX10" fmla="*/ 2350331 w 2634448"/>
              <a:gd name="connsiteY10" fmla="*/ 1338943 h 1525154"/>
              <a:gd name="connsiteX11" fmla="*/ 2314408 w 2634448"/>
              <a:gd name="connsiteY11" fmla="*/ 1378131 h 1525154"/>
              <a:gd name="connsiteX12" fmla="*/ 2285016 w 2634448"/>
              <a:gd name="connsiteY12" fmla="*/ 1407523 h 1525154"/>
              <a:gd name="connsiteX13" fmla="*/ 2245828 w 2634448"/>
              <a:gd name="connsiteY13" fmla="*/ 1449977 h 1525154"/>
              <a:gd name="connsiteX14" fmla="*/ 2187045 w 2634448"/>
              <a:gd name="connsiteY14" fmla="*/ 1472837 h 1525154"/>
              <a:gd name="connsiteX15" fmla="*/ 2121731 w 2634448"/>
              <a:gd name="connsiteY15" fmla="*/ 1459774 h 1525154"/>
              <a:gd name="connsiteX16" fmla="*/ 2053151 w 2634448"/>
              <a:gd name="connsiteY16" fmla="*/ 1463040 h 1525154"/>
              <a:gd name="connsiteX17" fmla="*/ 2010696 w 2634448"/>
              <a:gd name="connsiteY17" fmla="*/ 1476103 h 1525154"/>
              <a:gd name="connsiteX18" fmla="*/ 1974773 w 2634448"/>
              <a:gd name="connsiteY18" fmla="*/ 1495697 h 1525154"/>
              <a:gd name="connsiteX19" fmla="*/ 1929053 w 2634448"/>
              <a:gd name="connsiteY19" fmla="*/ 1508760 h 1525154"/>
              <a:gd name="connsiteX20" fmla="*/ 1873536 w 2634448"/>
              <a:gd name="connsiteY20" fmla="*/ 1525088 h 1525154"/>
              <a:gd name="connsiteX21" fmla="*/ 1801691 w 2634448"/>
              <a:gd name="connsiteY21" fmla="*/ 1502228 h 1525154"/>
              <a:gd name="connsiteX22" fmla="*/ 1733111 w 2634448"/>
              <a:gd name="connsiteY22" fmla="*/ 1443445 h 1525154"/>
              <a:gd name="connsiteX23" fmla="*/ 1671062 w 2634448"/>
              <a:gd name="connsiteY23" fmla="*/ 1400991 h 1525154"/>
              <a:gd name="connsiteX24" fmla="*/ 1586221 w 2634448"/>
              <a:gd name="connsiteY24" fmla="*/ 1362075 h 1525154"/>
              <a:gd name="connsiteX25" fmla="*/ 1478385 w 2634448"/>
              <a:gd name="connsiteY25" fmla="*/ 1352005 h 1525154"/>
              <a:gd name="connsiteX26" fmla="*/ 1400008 w 2634448"/>
              <a:gd name="connsiteY26" fmla="*/ 1352005 h 1525154"/>
              <a:gd name="connsiteX27" fmla="*/ 1308568 w 2634448"/>
              <a:gd name="connsiteY27" fmla="*/ 1338943 h 1525154"/>
              <a:gd name="connsiteX28" fmla="*/ 1226925 w 2634448"/>
              <a:gd name="connsiteY28" fmla="*/ 1325880 h 1525154"/>
              <a:gd name="connsiteX29" fmla="*/ 1104597 w 2634448"/>
              <a:gd name="connsiteY29" fmla="*/ 1291453 h 1525154"/>
              <a:gd name="connsiteX30" fmla="*/ 968933 w 2634448"/>
              <a:gd name="connsiteY30" fmla="*/ 1254034 h 1525154"/>
              <a:gd name="connsiteX31" fmla="*/ 856131 w 2634448"/>
              <a:gd name="connsiteY31" fmla="*/ 1217839 h 1525154"/>
              <a:gd name="connsiteX32" fmla="*/ 753396 w 2634448"/>
              <a:gd name="connsiteY32" fmla="*/ 1185454 h 1525154"/>
              <a:gd name="connsiteX33" fmla="*/ 661956 w 2634448"/>
              <a:gd name="connsiteY33" fmla="*/ 1156063 h 1525154"/>
              <a:gd name="connsiteX34" fmla="*/ 559562 w 2634448"/>
              <a:gd name="connsiteY34" fmla="*/ 1130549 h 1525154"/>
              <a:gd name="connsiteX35" fmla="*/ 456216 w 2634448"/>
              <a:gd name="connsiteY35" fmla="*/ 1120140 h 1525154"/>
              <a:gd name="connsiteX36" fmla="*/ 377839 w 2634448"/>
              <a:gd name="connsiteY36" fmla="*/ 1113608 h 1525154"/>
              <a:gd name="connsiteX37" fmla="*/ 243945 w 2634448"/>
              <a:gd name="connsiteY37" fmla="*/ 1080951 h 1525154"/>
              <a:gd name="connsiteX38" fmla="*/ 175365 w 2634448"/>
              <a:gd name="connsiteY38" fmla="*/ 1045028 h 1525154"/>
              <a:gd name="connsiteX39" fmla="*/ 103859 w 2634448"/>
              <a:gd name="connsiteY39" fmla="*/ 971754 h 1525154"/>
              <a:gd name="connsiteX40" fmla="*/ 63990 w 2634448"/>
              <a:gd name="connsiteY40" fmla="*/ 898956 h 1525154"/>
              <a:gd name="connsiteX41" fmla="*/ 30176 w 2634448"/>
              <a:gd name="connsiteY41" fmla="*/ 809897 h 1525154"/>
              <a:gd name="connsiteX42" fmla="*/ 8813 w 2634448"/>
              <a:gd name="connsiteY42" fmla="*/ 724988 h 1525154"/>
              <a:gd name="connsiteX43" fmla="*/ 2282 w 2634448"/>
              <a:gd name="connsiteY43" fmla="*/ 613954 h 1525154"/>
              <a:gd name="connsiteX44" fmla="*/ 44736 w 2634448"/>
              <a:gd name="connsiteY44" fmla="*/ 525780 h 1525154"/>
              <a:gd name="connsiteX45" fmla="*/ 119848 w 2634448"/>
              <a:gd name="connsiteY45" fmla="*/ 450668 h 1525154"/>
              <a:gd name="connsiteX46" fmla="*/ 221085 w 2634448"/>
              <a:gd name="connsiteY46" fmla="*/ 372291 h 1525154"/>
              <a:gd name="connsiteX47" fmla="*/ 368042 w 2634448"/>
              <a:gd name="connsiteY47" fmla="*/ 303711 h 1525154"/>
              <a:gd name="connsiteX48" fmla="*/ 524796 w 2634448"/>
              <a:gd name="connsiteY48" fmla="*/ 257991 h 1525154"/>
              <a:gd name="connsiteX49" fmla="*/ 648893 w 2634448"/>
              <a:gd name="connsiteY49" fmla="*/ 225947 h 1525154"/>
              <a:gd name="connsiteX50" fmla="*/ 792585 w 2634448"/>
              <a:gd name="connsiteY50" fmla="*/ 186145 h 1525154"/>
              <a:gd name="connsiteX51" fmla="*/ 952605 w 2634448"/>
              <a:gd name="connsiteY51" fmla="*/ 156754 h 1525154"/>
              <a:gd name="connsiteX52" fmla="*/ 1106093 w 2634448"/>
              <a:gd name="connsiteY52" fmla="*/ 127363 h 1525154"/>
              <a:gd name="connsiteX53" fmla="*/ 1396742 w 2634448"/>
              <a:gd name="connsiteY53" fmla="*/ 39188 h 1525154"/>
              <a:gd name="connsiteX54" fmla="*/ 1546965 w 2634448"/>
              <a:gd name="connsiteY54" fmla="*/ 13063 h 1525154"/>
              <a:gd name="connsiteX55" fmla="*/ 1680859 w 2634448"/>
              <a:gd name="connsiteY55" fmla="*/ 0 h 1525154"/>
              <a:gd name="connsiteX56" fmla="*/ 1769033 w 2634448"/>
              <a:gd name="connsiteY56" fmla="*/ 0 h 1525154"/>
              <a:gd name="connsiteX57" fmla="*/ 1853942 w 2634448"/>
              <a:gd name="connsiteY57" fmla="*/ 52251 h 1525154"/>
              <a:gd name="connsiteX58" fmla="*/ 1958445 w 2634448"/>
              <a:gd name="connsiteY58" fmla="*/ 133894 h 1525154"/>
              <a:gd name="connsiteX59" fmla="*/ 2062948 w 2634448"/>
              <a:gd name="connsiteY59" fmla="*/ 218803 h 1525154"/>
              <a:gd name="connsiteX60" fmla="*/ 2154388 w 2634448"/>
              <a:gd name="connsiteY60" fmla="*/ 284117 h 1525154"/>
              <a:gd name="connsiteX61" fmla="*/ 2190311 w 2634448"/>
              <a:gd name="connsiteY61" fmla="*/ 329837 h 1525154"/>
              <a:gd name="connsiteX62" fmla="*/ 2196842 w 2634448"/>
              <a:gd name="connsiteY62" fmla="*/ 378823 h 1525154"/>
              <a:gd name="connsiteX63" fmla="*/ 2170716 w 2634448"/>
              <a:gd name="connsiteY63" fmla="*/ 440871 h 1525154"/>
              <a:gd name="connsiteX64" fmla="*/ 2066213 w 2634448"/>
              <a:gd name="connsiteY64" fmla="*/ 480060 h 1525154"/>
              <a:gd name="connsiteX65" fmla="*/ 1938851 w 2634448"/>
              <a:gd name="connsiteY65" fmla="*/ 486591 h 1525154"/>
              <a:gd name="connsiteX66" fmla="*/ 1857208 w 2634448"/>
              <a:gd name="connsiteY66" fmla="*/ 480060 h 1525154"/>
              <a:gd name="connsiteX67" fmla="*/ 1710251 w 2634448"/>
              <a:gd name="connsiteY67" fmla="*/ 457200 h 1525154"/>
              <a:gd name="connsiteX68" fmla="*/ 1569825 w 2634448"/>
              <a:gd name="connsiteY68" fmla="*/ 431074 h 1525154"/>
              <a:gd name="connsiteX69" fmla="*/ 1439196 w 2634448"/>
              <a:gd name="connsiteY69" fmla="*/ 411480 h 1525154"/>
              <a:gd name="connsiteX70" fmla="*/ 1324896 w 2634448"/>
              <a:gd name="connsiteY70" fmla="*/ 414745 h 1525154"/>
              <a:gd name="connsiteX71" fmla="*/ 1217128 w 2634448"/>
              <a:gd name="connsiteY71" fmla="*/ 437605 h 1525154"/>
              <a:gd name="connsiteX72" fmla="*/ 1138751 w 2634448"/>
              <a:gd name="connsiteY72" fmla="*/ 470263 h 1525154"/>
              <a:gd name="connsiteX73" fmla="*/ 1004856 w 2634448"/>
              <a:gd name="connsiteY73" fmla="*/ 515983 h 1525154"/>
              <a:gd name="connsiteX74" fmla="*/ 923213 w 2634448"/>
              <a:gd name="connsiteY74" fmla="*/ 555171 h 1525154"/>
              <a:gd name="connsiteX75" fmla="*/ 779522 w 2634448"/>
              <a:gd name="connsiteY75" fmla="*/ 568234 h 1525154"/>
              <a:gd name="connsiteX76" fmla="*/ 635831 w 2634448"/>
              <a:gd name="connsiteY76" fmla="*/ 587828 h 1525154"/>
              <a:gd name="connsiteX77" fmla="*/ 547656 w 2634448"/>
              <a:gd name="connsiteY77" fmla="*/ 591094 h 1525154"/>
              <a:gd name="connsiteX78" fmla="*/ 410496 w 2634448"/>
              <a:gd name="connsiteY78" fmla="*/ 574765 h 1525154"/>
              <a:gd name="connsiteX79" fmla="*/ 289665 w 2634448"/>
              <a:gd name="connsiteY79" fmla="*/ 555171 h 1525154"/>
              <a:gd name="connsiteX80" fmla="*/ 172099 w 2634448"/>
              <a:gd name="connsiteY80" fmla="*/ 545374 h 1525154"/>
              <a:gd name="connsiteX0" fmla="*/ 2634448 w 2634448"/>
              <a:gd name="connsiteY0" fmla="*/ 1016771 h 1529554"/>
              <a:gd name="connsiteX1" fmla="*/ 2631182 w 2634448"/>
              <a:gd name="connsiteY1" fmla="*/ 1072288 h 1529554"/>
              <a:gd name="connsiteX2" fmla="*/ 2626147 w 2634448"/>
              <a:gd name="connsiteY2" fmla="*/ 1130187 h 1529554"/>
              <a:gd name="connsiteX3" fmla="*/ 2624651 w 2634448"/>
              <a:gd name="connsiteY3" fmla="*/ 1176791 h 1529554"/>
              <a:gd name="connsiteX4" fmla="*/ 2621113 w 2634448"/>
              <a:gd name="connsiteY4" fmla="*/ 1231696 h 1529554"/>
              <a:gd name="connsiteX5" fmla="*/ 2598525 w 2634448"/>
              <a:gd name="connsiteY5" fmla="*/ 1284560 h 1529554"/>
              <a:gd name="connsiteX6" fmla="*/ 2559336 w 2634448"/>
              <a:gd name="connsiteY6" fmla="*/ 1317217 h 1529554"/>
              <a:gd name="connsiteX7" fmla="*/ 2503819 w 2634448"/>
              <a:gd name="connsiteY7" fmla="*/ 1327014 h 1529554"/>
              <a:gd name="connsiteX8" fmla="*/ 2451568 w 2634448"/>
              <a:gd name="connsiteY8" fmla="*/ 1330280 h 1529554"/>
              <a:gd name="connsiteX9" fmla="*/ 2405848 w 2634448"/>
              <a:gd name="connsiteY9" fmla="*/ 1330280 h 1529554"/>
              <a:gd name="connsiteX10" fmla="*/ 2350331 w 2634448"/>
              <a:gd name="connsiteY10" fmla="*/ 1343343 h 1529554"/>
              <a:gd name="connsiteX11" fmla="*/ 2314408 w 2634448"/>
              <a:gd name="connsiteY11" fmla="*/ 1382531 h 1529554"/>
              <a:gd name="connsiteX12" fmla="*/ 2285016 w 2634448"/>
              <a:gd name="connsiteY12" fmla="*/ 1411923 h 1529554"/>
              <a:gd name="connsiteX13" fmla="*/ 2245828 w 2634448"/>
              <a:gd name="connsiteY13" fmla="*/ 1454377 h 1529554"/>
              <a:gd name="connsiteX14" fmla="*/ 2187045 w 2634448"/>
              <a:gd name="connsiteY14" fmla="*/ 1477237 h 1529554"/>
              <a:gd name="connsiteX15" fmla="*/ 2121731 w 2634448"/>
              <a:gd name="connsiteY15" fmla="*/ 1464174 h 1529554"/>
              <a:gd name="connsiteX16" fmla="*/ 2053151 w 2634448"/>
              <a:gd name="connsiteY16" fmla="*/ 1467440 h 1529554"/>
              <a:gd name="connsiteX17" fmla="*/ 2010696 w 2634448"/>
              <a:gd name="connsiteY17" fmla="*/ 1480503 h 1529554"/>
              <a:gd name="connsiteX18" fmla="*/ 1974773 w 2634448"/>
              <a:gd name="connsiteY18" fmla="*/ 1500097 h 1529554"/>
              <a:gd name="connsiteX19" fmla="*/ 1929053 w 2634448"/>
              <a:gd name="connsiteY19" fmla="*/ 1513160 h 1529554"/>
              <a:gd name="connsiteX20" fmla="*/ 1873536 w 2634448"/>
              <a:gd name="connsiteY20" fmla="*/ 1529488 h 1529554"/>
              <a:gd name="connsiteX21" fmla="*/ 1801691 w 2634448"/>
              <a:gd name="connsiteY21" fmla="*/ 1506628 h 1529554"/>
              <a:gd name="connsiteX22" fmla="*/ 1733111 w 2634448"/>
              <a:gd name="connsiteY22" fmla="*/ 1447845 h 1529554"/>
              <a:gd name="connsiteX23" fmla="*/ 1671062 w 2634448"/>
              <a:gd name="connsiteY23" fmla="*/ 1405391 h 1529554"/>
              <a:gd name="connsiteX24" fmla="*/ 1586221 w 2634448"/>
              <a:gd name="connsiteY24" fmla="*/ 1366475 h 1529554"/>
              <a:gd name="connsiteX25" fmla="*/ 1478385 w 2634448"/>
              <a:gd name="connsiteY25" fmla="*/ 1356405 h 1529554"/>
              <a:gd name="connsiteX26" fmla="*/ 1400008 w 2634448"/>
              <a:gd name="connsiteY26" fmla="*/ 1356405 h 1529554"/>
              <a:gd name="connsiteX27" fmla="*/ 1308568 w 2634448"/>
              <a:gd name="connsiteY27" fmla="*/ 1343343 h 1529554"/>
              <a:gd name="connsiteX28" fmla="*/ 1226925 w 2634448"/>
              <a:gd name="connsiteY28" fmla="*/ 1330280 h 1529554"/>
              <a:gd name="connsiteX29" fmla="*/ 1104597 w 2634448"/>
              <a:gd name="connsiteY29" fmla="*/ 1295853 h 1529554"/>
              <a:gd name="connsiteX30" fmla="*/ 968933 w 2634448"/>
              <a:gd name="connsiteY30" fmla="*/ 1258434 h 1529554"/>
              <a:gd name="connsiteX31" fmla="*/ 856131 w 2634448"/>
              <a:gd name="connsiteY31" fmla="*/ 1222239 h 1529554"/>
              <a:gd name="connsiteX32" fmla="*/ 753396 w 2634448"/>
              <a:gd name="connsiteY32" fmla="*/ 1189854 h 1529554"/>
              <a:gd name="connsiteX33" fmla="*/ 661956 w 2634448"/>
              <a:gd name="connsiteY33" fmla="*/ 1160463 h 1529554"/>
              <a:gd name="connsiteX34" fmla="*/ 559562 w 2634448"/>
              <a:gd name="connsiteY34" fmla="*/ 1134949 h 1529554"/>
              <a:gd name="connsiteX35" fmla="*/ 456216 w 2634448"/>
              <a:gd name="connsiteY35" fmla="*/ 1124540 h 1529554"/>
              <a:gd name="connsiteX36" fmla="*/ 377839 w 2634448"/>
              <a:gd name="connsiteY36" fmla="*/ 1118008 h 1529554"/>
              <a:gd name="connsiteX37" fmla="*/ 243945 w 2634448"/>
              <a:gd name="connsiteY37" fmla="*/ 1085351 h 1529554"/>
              <a:gd name="connsiteX38" fmla="*/ 175365 w 2634448"/>
              <a:gd name="connsiteY38" fmla="*/ 1049428 h 1529554"/>
              <a:gd name="connsiteX39" fmla="*/ 103859 w 2634448"/>
              <a:gd name="connsiteY39" fmla="*/ 976154 h 1529554"/>
              <a:gd name="connsiteX40" fmla="*/ 63990 w 2634448"/>
              <a:gd name="connsiteY40" fmla="*/ 903356 h 1529554"/>
              <a:gd name="connsiteX41" fmla="*/ 30176 w 2634448"/>
              <a:gd name="connsiteY41" fmla="*/ 814297 h 1529554"/>
              <a:gd name="connsiteX42" fmla="*/ 8813 w 2634448"/>
              <a:gd name="connsiteY42" fmla="*/ 729388 h 1529554"/>
              <a:gd name="connsiteX43" fmla="*/ 2282 w 2634448"/>
              <a:gd name="connsiteY43" fmla="*/ 618354 h 1529554"/>
              <a:gd name="connsiteX44" fmla="*/ 44736 w 2634448"/>
              <a:gd name="connsiteY44" fmla="*/ 530180 h 1529554"/>
              <a:gd name="connsiteX45" fmla="*/ 119848 w 2634448"/>
              <a:gd name="connsiteY45" fmla="*/ 455068 h 1529554"/>
              <a:gd name="connsiteX46" fmla="*/ 221085 w 2634448"/>
              <a:gd name="connsiteY46" fmla="*/ 376691 h 1529554"/>
              <a:gd name="connsiteX47" fmla="*/ 368042 w 2634448"/>
              <a:gd name="connsiteY47" fmla="*/ 308111 h 1529554"/>
              <a:gd name="connsiteX48" fmla="*/ 524796 w 2634448"/>
              <a:gd name="connsiteY48" fmla="*/ 262391 h 1529554"/>
              <a:gd name="connsiteX49" fmla="*/ 648893 w 2634448"/>
              <a:gd name="connsiteY49" fmla="*/ 230347 h 1529554"/>
              <a:gd name="connsiteX50" fmla="*/ 792585 w 2634448"/>
              <a:gd name="connsiteY50" fmla="*/ 190545 h 1529554"/>
              <a:gd name="connsiteX51" fmla="*/ 952605 w 2634448"/>
              <a:gd name="connsiteY51" fmla="*/ 161154 h 1529554"/>
              <a:gd name="connsiteX52" fmla="*/ 1106093 w 2634448"/>
              <a:gd name="connsiteY52" fmla="*/ 131763 h 1529554"/>
              <a:gd name="connsiteX53" fmla="*/ 1396742 w 2634448"/>
              <a:gd name="connsiteY53" fmla="*/ 43588 h 1529554"/>
              <a:gd name="connsiteX54" fmla="*/ 1546965 w 2634448"/>
              <a:gd name="connsiteY54" fmla="*/ 17463 h 1529554"/>
              <a:gd name="connsiteX55" fmla="*/ 1680859 w 2634448"/>
              <a:gd name="connsiteY55" fmla="*/ 4400 h 1529554"/>
              <a:gd name="connsiteX56" fmla="*/ 1769033 w 2634448"/>
              <a:gd name="connsiteY56" fmla="*/ 4400 h 1529554"/>
              <a:gd name="connsiteX57" fmla="*/ 1853942 w 2634448"/>
              <a:gd name="connsiteY57" fmla="*/ 56651 h 1529554"/>
              <a:gd name="connsiteX58" fmla="*/ 1958445 w 2634448"/>
              <a:gd name="connsiteY58" fmla="*/ 138294 h 1529554"/>
              <a:gd name="connsiteX59" fmla="*/ 2062948 w 2634448"/>
              <a:gd name="connsiteY59" fmla="*/ 223203 h 1529554"/>
              <a:gd name="connsiteX60" fmla="*/ 2154388 w 2634448"/>
              <a:gd name="connsiteY60" fmla="*/ 288517 h 1529554"/>
              <a:gd name="connsiteX61" fmla="*/ 2190311 w 2634448"/>
              <a:gd name="connsiteY61" fmla="*/ 334237 h 1529554"/>
              <a:gd name="connsiteX62" fmla="*/ 2196842 w 2634448"/>
              <a:gd name="connsiteY62" fmla="*/ 383223 h 1529554"/>
              <a:gd name="connsiteX63" fmla="*/ 2170716 w 2634448"/>
              <a:gd name="connsiteY63" fmla="*/ 445271 h 1529554"/>
              <a:gd name="connsiteX64" fmla="*/ 2066213 w 2634448"/>
              <a:gd name="connsiteY64" fmla="*/ 484460 h 1529554"/>
              <a:gd name="connsiteX65" fmla="*/ 1938851 w 2634448"/>
              <a:gd name="connsiteY65" fmla="*/ 490991 h 1529554"/>
              <a:gd name="connsiteX66" fmla="*/ 1857208 w 2634448"/>
              <a:gd name="connsiteY66" fmla="*/ 484460 h 1529554"/>
              <a:gd name="connsiteX67" fmla="*/ 1710251 w 2634448"/>
              <a:gd name="connsiteY67" fmla="*/ 461600 h 1529554"/>
              <a:gd name="connsiteX68" fmla="*/ 1569825 w 2634448"/>
              <a:gd name="connsiteY68" fmla="*/ 435474 h 1529554"/>
              <a:gd name="connsiteX69" fmla="*/ 1439196 w 2634448"/>
              <a:gd name="connsiteY69" fmla="*/ 415880 h 1529554"/>
              <a:gd name="connsiteX70" fmla="*/ 1324896 w 2634448"/>
              <a:gd name="connsiteY70" fmla="*/ 419145 h 1529554"/>
              <a:gd name="connsiteX71" fmla="*/ 1217128 w 2634448"/>
              <a:gd name="connsiteY71" fmla="*/ 442005 h 1529554"/>
              <a:gd name="connsiteX72" fmla="*/ 1138751 w 2634448"/>
              <a:gd name="connsiteY72" fmla="*/ 474663 h 1529554"/>
              <a:gd name="connsiteX73" fmla="*/ 1004856 w 2634448"/>
              <a:gd name="connsiteY73" fmla="*/ 520383 h 1529554"/>
              <a:gd name="connsiteX74" fmla="*/ 923213 w 2634448"/>
              <a:gd name="connsiteY74" fmla="*/ 559571 h 1529554"/>
              <a:gd name="connsiteX75" fmla="*/ 779522 w 2634448"/>
              <a:gd name="connsiteY75" fmla="*/ 572634 h 1529554"/>
              <a:gd name="connsiteX76" fmla="*/ 635831 w 2634448"/>
              <a:gd name="connsiteY76" fmla="*/ 592228 h 1529554"/>
              <a:gd name="connsiteX77" fmla="*/ 547656 w 2634448"/>
              <a:gd name="connsiteY77" fmla="*/ 595494 h 1529554"/>
              <a:gd name="connsiteX78" fmla="*/ 410496 w 2634448"/>
              <a:gd name="connsiteY78" fmla="*/ 579165 h 1529554"/>
              <a:gd name="connsiteX79" fmla="*/ 289665 w 2634448"/>
              <a:gd name="connsiteY79" fmla="*/ 559571 h 1529554"/>
              <a:gd name="connsiteX80" fmla="*/ 172099 w 2634448"/>
              <a:gd name="connsiteY80" fmla="*/ 549774 h 1529554"/>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53942 w 2634448"/>
              <a:gd name="connsiteY57" fmla="*/ 62654 h 1535557"/>
              <a:gd name="connsiteX58" fmla="*/ 1958445 w 2634448"/>
              <a:gd name="connsiteY58" fmla="*/ 144297 h 1535557"/>
              <a:gd name="connsiteX59" fmla="*/ 2062948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6213 w 2634448"/>
              <a:gd name="connsiteY64" fmla="*/ 490463 h 1535557"/>
              <a:gd name="connsiteX65" fmla="*/ 1938851 w 2634448"/>
              <a:gd name="connsiteY65" fmla="*/ 496994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58445 w 2634448"/>
              <a:gd name="connsiteY58" fmla="*/ 144297 h 1535557"/>
              <a:gd name="connsiteX59" fmla="*/ 2062948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6213 w 2634448"/>
              <a:gd name="connsiteY64" fmla="*/ 490463 h 1535557"/>
              <a:gd name="connsiteX65" fmla="*/ 1938851 w 2634448"/>
              <a:gd name="connsiteY65" fmla="*/ 496994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58445 w 2634448"/>
              <a:gd name="connsiteY58" fmla="*/ 144297 h 1535557"/>
              <a:gd name="connsiteX59" fmla="*/ 2062948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6213 w 2634448"/>
              <a:gd name="connsiteY64" fmla="*/ 490463 h 1535557"/>
              <a:gd name="connsiteX65" fmla="*/ 1938851 w 2634448"/>
              <a:gd name="connsiteY65" fmla="*/ 496994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58445 w 2634448"/>
              <a:gd name="connsiteY58" fmla="*/ 144297 h 1535557"/>
              <a:gd name="connsiteX59" fmla="*/ 2062948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6213 w 2634448"/>
              <a:gd name="connsiteY64" fmla="*/ 490463 h 1535557"/>
              <a:gd name="connsiteX65" fmla="*/ 1938851 w 2634448"/>
              <a:gd name="connsiteY65" fmla="*/ 496994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58445 w 2634448"/>
              <a:gd name="connsiteY58" fmla="*/ 144297 h 1535557"/>
              <a:gd name="connsiteX59" fmla="*/ 2062948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6213 w 2634448"/>
              <a:gd name="connsiteY64" fmla="*/ 490463 h 1535557"/>
              <a:gd name="connsiteX65" fmla="*/ 1938851 w 2634448"/>
              <a:gd name="connsiteY65" fmla="*/ 496994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58445 w 2634448"/>
              <a:gd name="connsiteY58" fmla="*/ 144297 h 1535557"/>
              <a:gd name="connsiteX59" fmla="*/ 2062948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6213 w 2634448"/>
              <a:gd name="connsiteY64" fmla="*/ 490463 h 1535557"/>
              <a:gd name="connsiteX65" fmla="*/ 1938851 w 2634448"/>
              <a:gd name="connsiteY65" fmla="*/ 496994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58445 w 2634448"/>
              <a:gd name="connsiteY58" fmla="*/ 144297 h 1535557"/>
              <a:gd name="connsiteX59" fmla="*/ 2062948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6213 w 2634448"/>
              <a:gd name="connsiteY64" fmla="*/ 490463 h 1535557"/>
              <a:gd name="connsiteX65" fmla="*/ 1938851 w 2634448"/>
              <a:gd name="connsiteY65" fmla="*/ 496994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58445 w 2634448"/>
              <a:gd name="connsiteY58" fmla="*/ 144297 h 1535557"/>
              <a:gd name="connsiteX59" fmla="*/ 2062948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8851 w 2634448"/>
              <a:gd name="connsiteY65" fmla="*/ 496994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58445 w 2634448"/>
              <a:gd name="connsiteY58" fmla="*/ 144297 h 1535557"/>
              <a:gd name="connsiteX59" fmla="*/ 2062948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58445 w 2634448"/>
              <a:gd name="connsiteY58" fmla="*/ 144297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06093 w 2634448"/>
              <a:gd name="connsiteY52" fmla="*/ 137766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2585 w 2634448"/>
              <a:gd name="connsiteY50" fmla="*/ 196548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89665 w 2634448"/>
              <a:gd name="connsiteY79" fmla="*/ 565574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9522 w 2634448"/>
              <a:gd name="connsiteY75" fmla="*/ 578637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2379 w 2634448"/>
              <a:gd name="connsiteY75" fmla="*/ 585781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5574 h 1535557"/>
              <a:gd name="connsiteX75" fmla="*/ 772379 w 2634448"/>
              <a:gd name="connsiteY75" fmla="*/ 585781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04856 w 2634448"/>
              <a:gd name="connsiteY73" fmla="*/ 526386 h 1535557"/>
              <a:gd name="connsiteX74" fmla="*/ 923213 w 2634448"/>
              <a:gd name="connsiteY74" fmla="*/ 563192 h 1535557"/>
              <a:gd name="connsiteX75" fmla="*/ 772379 w 2634448"/>
              <a:gd name="connsiteY75" fmla="*/ 585781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35831 w 2634448"/>
              <a:gd name="connsiteY76" fmla="*/ 598231 h 1535557"/>
              <a:gd name="connsiteX77" fmla="*/ 547656 w 2634448"/>
              <a:gd name="connsiteY77" fmla="*/ 601497 h 1535557"/>
              <a:gd name="connsiteX78" fmla="*/ 410496 w 2634448"/>
              <a:gd name="connsiteY78" fmla="*/ 585168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5168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5168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23466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43945 w 2634448"/>
              <a:gd name="connsiteY37" fmla="*/ 1091354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51088 w 2634448"/>
              <a:gd name="connsiteY37" fmla="*/ 1088973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51088 w 2634448"/>
              <a:gd name="connsiteY37" fmla="*/ 1088973 h 1535557"/>
              <a:gd name="connsiteX38" fmla="*/ 175365 w 2634448"/>
              <a:gd name="connsiteY38" fmla="*/ 1055431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51088 w 2634448"/>
              <a:gd name="connsiteY37" fmla="*/ 1088973 h 1535557"/>
              <a:gd name="connsiteX38" fmla="*/ 177746 w 2634448"/>
              <a:gd name="connsiteY38" fmla="*/ 1045906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51088 w 2634448"/>
              <a:gd name="connsiteY37" fmla="*/ 1088973 h 1535557"/>
              <a:gd name="connsiteX38" fmla="*/ 177746 w 2634448"/>
              <a:gd name="connsiteY38" fmla="*/ 1045906 h 1535557"/>
              <a:gd name="connsiteX39" fmla="*/ 103859 w 2634448"/>
              <a:gd name="connsiteY39" fmla="*/ 982157 h 1535557"/>
              <a:gd name="connsiteX40" fmla="*/ 63990 w 2634448"/>
              <a:gd name="connsiteY40" fmla="*/ 909359 h 1535557"/>
              <a:gd name="connsiteX41" fmla="*/ 30176 w 2634448"/>
              <a:gd name="connsiteY41" fmla="*/ 820300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51088 w 2634448"/>
              <a:gd name="connsiteY37" fmla="*/ 1088973 h 1535557"/>
              <a:gd name="connsiteX38" fmla="*/ 177746 w 2634448"/>
              <a:gd name="connsiteY38" fmla="*/ 1045906 h 1535557"/>
              <a:gd name="connsiteX39" fmla="*/ 103859 w 2634448"/>
              <a:gd name="connsiteY39" fmla="*/ 982157 h 1535557"/>
              <a:gd name="connsiteX40" fmla="*/ 63990 w 2634448"/>
              <a:gd name="connsiteY40" fmla="*/ 909359 h 1535557"/>
              <a:gd name="connsiteX41" fmla="*/ 30176 w 2634448"/>
              <a:gd name="connsiteY41" fmla="*/ 827444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51088 w 2634448"/>
              <a:gd name="connsiteY37" fmla="*/ 1088973 h 1535557"/>
              <a:gd name="connsiteX38" fmla="*/ 177746 w 2634448"/>
              <a:gd name="connsiteY38" fmla="*/ 1045906 h 1535557"/>
              <a:gd name="connsiteX39" fmla="*/ 103859 w 2634448"/>
              <a:gd name="connsiteY39" fmla="*/ 982157 h 1535557"/>
              <a:gd name="connsiteX40" fmla="*/ 63990 w 2634448"/>
              <a:gd name="connsiteY40" fmla="*/ 909359 h 1535557"/>
              <a:gd name="connsiteX41" fmla="*/ 30176 w 2634448"/>
              <a:gd name="connsiteY41" fmla="*/ 827444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51088 w 2634448"/>
              <a:gd name="connsiteY37" fmla="*/ 1088973 h 1535557"/>
              <a:gd name="connsiteX38" fmla="*/ 177746 w 2634448"/>
              <a:gd name="connsiteY38" fmla="*/ 1045906 h 1535557"/>
              <a:gd name="connsiteX39" fmla="*/ 103859 w 2634448"/>
              <a:gd name="connsiteY39" fmla="*/ 982157 h 1535557"/>
              <a:gd name="connsiteX40" fmla="*/ 63990 w 2634448"/>
              <a:gd name="connsiteY40" fmla="*/ 909359 h 1535557"/>
              <a:gd name="connsiteX41" fmla="*/ 23032 w 2634448"/>
              <a:gd name="connsiteY41" fmla="*/ 834588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51088 w 2634448"/>
              <a:gd name="connsiteY37" fmla="*/ 1088973 h 1535557"/>
              <a:gd name="connsiteX38" fmla="*/ 177746 w 2634448"/>
              <a:gd name="connsiteY38" fmla="*/ 1045906 h 1535557"/>
              <a:gd name="connsiteX39" fmla="*/ 103859 w 2634448"/>
              <a:gd name="connsiteY39" fmla="*/ 982157 h 1535557"/>
              <a:gd name="connsiteX40" fmla="*/ 63990 w 2634448"/>
              <a:gd name="connsiteY40" fmla="*/ 909359 h 1535557"/>
              <a:gd name="connsiteX41" fmla="*/ 23032 w 2634448"/>
              <a:gd name="connsiteY41" fmla="*/ 834588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4448 w 2634448"/>
              <a:gd name="connsiteY0" fmla="*/ 1022774 h 1535557"/>
              <a:gd name="connsiteX1" fmla="*/ 2631182 w 2634448"/>
              <a:gd name="connsiteY1" fmla="*/ 1078291 h 1535557"/>
              <a:gd name="connsiteX2" fmla="*/ 2626147 w 2634448"/>
              <a:gd name="connsiteY2" fmla="*/ 1136190 h 1535557"/>
              <a:gd name="connsiteX3" fmla="*/ 2624651 w 2634448"/>
              <a:gd name="connsiteY3" fmla="*/ 1182794 h 1535557"/>
              <a:gd name="connsiteX4" fmla="*/ 2621113 w 2634448"/>
              <a:gd name="connsiteY4" fmla="*/ 1237699 h 1535557"/>
              <a:gd name="connsiteX5" fmla="*/ 2598525 w 2634448"/>
              <a:gd name="connsiteY5" fmla="*/ 1290563 h 1535557"/>
              <a:gd name="connsiteX6" fmla="*/ 2559336 w 2634448"/>
              <a:gd name="connsiteY6" fmla="*/ 1323220 h 1535557"/>
              <a:gd name="connsiteX7" fmla="*/ 2503819 w 2634448"/>
              <a:gd name="connsiteY7" fmla="*/ 1333017 h 1535557"/>
              <a:gd name="connsiteX8" fmla="*/ 2451568 w 2634448"/>
              <a:gd name="connsiteY8" fmla="*/ 1336283 h 1535557"/>
              <a:gd name="connsiteX9" fmla="*/ 2405848 w 2634448"/>
              <a:gd name="connsiteY9" fmla="*/ 1336283 h 1535557"/>
              <a:gd name="connsiteX10" fmla="*/ 2350331 w 2634448"/>
              <a:gd name="connsiteY10" fmla="*/ 1349346 h 1535557"/>
              <a:gd name="connsiteX11" fmla="*/ 2314408 w 2634448"/>
              <a:gd name="connsiteY11" fmla="*/ 1388534 h 1535557"/>
              <a:gd name="connsiteX12" fmla="*/ 2285016 w 2634448"/>
              <a:gd name="connsiteY12" fmla="*/ 1417926 h 1535557"/>
              <a:gd name="connsiteX13" fmla="*/ 2245828 w 2634448"/>
              <a:gd name="connsiteY13" fmla="*/ 1460380 h 1535557"/>
              <a:gd name="connsiteX14" fmla="*/ 2187045 w 2634448"/>
              <a:gd name="connsiteY14" fmla="*/ 1483240 h 1535557"/>
              <a:gd name="connsiteX15" fmla="*/ 2121731 w 2634448"/>
              <a:gd name="connsiteY15" fmla="*/ 1470177 h 1535557"/>
              <a:gd name="connsiteX16" fmla="*/ 2053151 w 2634448"/>
              <a:gd name="connsiteY16" fmla="*/ 1473443 h 1535557"/>
              <a:gd name="connsiteX17" fmla="*/ 2010696 w 2634448"/>
              <a:gd name="connsiteY17" fmla="*/ 1486506 h 1535557"/>
              <a:gd name="connsiteX18" fmla="*/ 1974773 w 2634448"/>
              <a:gd name="connsiteY18" fmla="*/ 1506100 h 1535557"/>
              <a:gd name="connsiteX19" fmla="*/ 1929053 w 2634448"/>
              <a:gd name="connsiteY19" fmla="*/ 1519163 h 1535557"/>
              <a:gd name="connsiteX20" fmla="*/ 1873536 w 2634448"/>
              <a:gd name="connsiteY20" fmla="*/ 1535491 h 1535557"/>
              <a:gd name="connsiteX21" fmla="*/ 1801691 w 2634448"/>
              <a:gd name="connsiteY21" fmla="*/ 1512631 h 1535557"/>
              <a:gd name="connsiteX22" fmla="*/ 1733111 w 2634448"/>
              <a:gd name="connsiteY22" fmla="*/ 1453848 h 1535557"/>
              <a:gd name="connsiteX23" fmla="*/ 1671062 w 2634448"/>
              <a:gd name="connsiteY23" fmla="*/ 1411394 h 1535557"/>
              <a:gd name="connsiteX24" fmla="*/ 1586221 w 2634448"/>
              <a:gd name="connsiteY24" fmla="*/ 1372478 h 1535557"/>
              <a:gd name="connsiteX25" fmla="*/ 1478385 w 2634448"/>
              <a:gd name="connsiteY25" fmla="*/ 1362408 h 1535557"/>
              <a:gd name="connsiteX26" fmla="*/ 1400008 w 2634448"/>
              <a:gd name="connsiteY26" fmla="*/ 1362408 h 1535557"/>
              <a:gd name="connsiteX27" fmla="*/ 1308568 w 2634448"/>
              <a:gd name="connsiteY27" fmla="*/ 1349346 h 1535557"/>
              <a:gd name="connsiteX28" fmla="*/ 1226925 w 2634448"/>
              <a:gd name="connsiteY28" fmla="*/ 1336283 h 1535557"/>
              <a:gd name="connsiteX29" fmla="*/ 1104597 w 2634448"/>
              <a:gd name="connsiteY29" fmla="*/ 1301856 h 1535557"/>
              <a:gd name="connsiteX30" fmla="*/ 968933 w 2634448"/>
              <a:gd name="connsiteY30" fmla="*/ 1264437 h 1535557"/>
              <a:gd name="connsiteX31" fmla="*/ 856131 w 2634448"/>
              <a:gd name="connsiteY31" fmla="*/ 1228242 h 1535557"/>
              <a:gd name="connsiteX32" fmla="*/ 753396 w 2634448"/>
              <a:gd name="connsiteY32" fmla="*/ 1195857 h 1535557"/>
              <a:gd name="connsiteX33" fmla="*/ 661956 w 2634448"/>
              <a:gd name="connsiteY33" fmla="*/ 1166466 h 1535557"/>
              <a:gd name="connsiteX34" fmla="*/ 559562 w 2634448"/>
              <a:gd name="connsiteY34" fmla="*/ 1140952 h 1535557"/>
              <a:gd name="connsiteX35" fmla="*/ 456216 w 2634448"/>
              <a:gd name="connsiteY35" fmla="*/ 1130543 h 1535557"/>
              <a:gd name="connsiteX36" fmla="*/ 377839 w 2634448"/>
              <a:gd name="connsiteY36" fmla="*/ 1124011 h 1535557"/>
              <a:gd name="connsiteX37" fmla="*/ 251088 w 2634448"/>
              <a:gd name="connsiteY37" fmla="*/ 1088973 h 1535557"/>
              <a:gd name="connsiteX38" fmla="*/ 177746 w 2634448"/>
              <a:gd name="connsiteY38" fmla="*/ 1045906 h 1535557"/>
              <a:gd name="connsiteX39" fmla="*/ 103859 w 2634448"/>
              <a:gd name="connsiteY39" fmla="*/ 982157 h 1535557"/>
              <a:gd name="connsiteX40" fmla="*/ 59228 w 2634448"/>
              <a:gd name="connsiteY40" fmla="*/ 923646 h 1535557"/>
              <a:gd name="connsiteX41" fmla="*/ 23032 w 2634448"/>
              <a:gd name="connsiteY41" fmla="*/ 834588 h 1535557"/>
              <a:gd name="connsiteX42" fmla="*/ 8813 w 2634448"/>
              <a:gd name="connsiteY42" fmla="*/ 735391 h 1535557"/>
              <a:gd name="connsiteX43" fmla="*/ 2282 w 2634448"/>
              <a:gd name="connsiteY43" fmla="*/ 624357 h 1535557"/>
              <a:gd name="connsiteX44" fmla="*/ 44736 w 2634448"/>
              <a:gd name="connsiteY44" fmla="*/ 536183 h 1535557"/>
              <a:gd name="connsiteX45" fmla="*/ 119848 w 2634448"/>
              <a:gd name="connsiteY45" fmla="*/ 461071 h 1535557"/>
              <a:gd name="connsiteX46" fmla="*/ 221085 w 2634448"/>
              <a:gd name="connsiteY46" fmla="*/ 382694 h 1535557"/>
              <a:gd name="connsiteX47" fmla="*/ 368042 w 2634448"/>
              <a:gd name="connsiteY47" fmla="*/ 314114 h 1535557"/>
              <a:gd name="connsiteX48" fmla="*/ 524796 w 2634448"/>
              <a:gd name="connsiteY48" fmla="*/ 268394 h 1535557"/>
              <a:gd name="connsiteX49" fmla="*/ 648893 w 2634448"/>
              <a:gd name="connsiteY49" fmla="*/ 236350 h 1535557"/>
              <a:gd name="connsiteX50" fmla="*/ 794966 w 2634448"/>
              <a:gd name="connsiteY50" fmla="*/ 201310 h 1535557"/>
              <a:gd name="connsiteX51" fmla="*/ 952605 w 2634448"/>
              <a:gd name="connsiteY51" fmla="*/ 167157 h 1535557"/>
              <a:gd name="connsiteX52" fmla="*/ 1144193 w 2634448"/>
              <a:gd name="connsiteY52" fmla="*/ 116335 h 1535557"/>
              <a:gd name="connsiteX53" fmla="*/ 1396742 w 2634448"/>
              <a:gd name="connsiteY53" fmla="*/ 49591 h 1535557"/>
              <a:gd name="connsiteX54" fmla="*/ 1546965 w 2634448"/>
              <a:gd name="connsiteY54" fmla="*/ 18704 h 1535557"/>
              <a:gd name="connsiteX55" fmla="*/ 1659428 w 2634448"/>
              <a:gd name="connsiteY55" fmla="*/ 878 h 1535557"/>
              <a:gd name="connsiteX56" fmla="*/ 1769033 w 2634448"/>
              <a:gd name="connsiteY56" fmla="*/ 10403 h 1535557"/>
              <a:gd name="connsiteX57" fmla="*/ 1875374 w 2634448"/>
              <a:gd name="connsiteY57" fmla="*/ 62654 h 1535557"/>
              <a:gd name="connsiteX58" fmla="*/ 1975114 w 2634448"/>
              <a:gd name="connsiteY58" fmla="*/ 151441 h 1535557"/>
              <a:gd name="connsiteX59" fmla="*/ 2070092 w 2634448"/>
              <a:gd name="connsiteY59" fmla="*/ 229206 h 1535557"/>
              <a:gd name="connsiteX60" fmla="*/ 2154388 w 2634448"/>
              <a:gd name="connsiteY60" fmla="*/ 294520 h 1535557"/>
              <a:gd name="connsiteX61" fmla="*/ 2190311 w 2634448"/>
              <a:gd name="connsiteY61" fmla="*/ 340240 h 1535557"/>
              <a:gd name="connsiteX62" fmla="*/ 2196842 w 2634448"/>
              <a:gd name="connsiteY62" fmla="*/ 389226 h 1535557"/>
              <a:gd name="connsiteX63" fmla="*/ 2170716 w 2634448"/>
              <a:gd name="connsiteY63" fmla="*/ 451274 h 1535557"/>
              <a:gd name="connsiteX64" fmla="*/ 2061451 w 2634448"/>
              <a:gd name="connsiteY64" fmla="*/ 499988 h 1535557"/>
              <a:gd name="connsiteX65" fmla="*/ 1936470 w 2634448"/>
              <a:gd name="connsiteY65" fmla="*/ 501757 h 1535557"/>
              <a:gd name="connsiteX66" fmla="*/ 1857208 w 2634448"/>
              <a:gd name="connsiteY66" fmla="*/ 490463 h 1535557"/>
              <a:gd name="connsiteX67" fmla="*/ 1710251 w 2634448"/>
              <a:gd name="connsiteY67" fmla="*/ 467603 h 1535557"/>
              <a:gd name="connsiteX68" fmla="*/ 1569825 w 2634448"/>
              <a:gd name="connsiteY68" fmla="*/ 441477 h 1535557"/>
              <a:gd name="connsiteX69" fmla="*/ 1439196 w 2634448"/>
              <a:gd name="connsiteY69" fmla="*/ 421883 h 1535557"/>
              <a:gd name="connsiteX70" fmla="*/ 1324896 w 2634448"/>
              <a:gd name="connsiteY70" fmla="*/ 425148 h 1535557"/>
              <a:gd name="connsiteX71" fmla="*/ 1217128 w 2634448"/>
              <a:gd name="connsiteY71" fmla="*/ 448008 h 1535557"/>
              <a:gd name="connsiteX72" fmla="*/ 1138751 w 2634448"/>
              <a:gd name="connsiteY72" fmla="*/ 480666 h 1535557"/>
              <a:gd name="connsiteX73" fmla="*/ 1023906 w 2634448"/>
              <a:gd name="connsiteY73" fmla="*/ 526386 h 1535557"/>
              <a:gd name="connsiteX74" fmla="*/ 923213 w 2634448"/>
              <a:gd name="connsiteY74" fmla="*/ 563192 h 1535557"/>
              <a:gd name="connsiteX75" fmla="*/ 772379 w 2634448"/>
              <a:gd name="connsiteY75" fmla="*/ 585781 h 1535557"/>
              <a:gd name="connsiteX76" fmla="*/ 657262 w 2634448"/>
              <a:gd name="connsiteY76" fmla="*/ 600612 h 1535557"/>
              <a:gd name="connsiteX77" fmla="*/ 547656 w 2634448"/>
              <a:gd name="connsiteY77" fmla="*/ 601497 h 1535557"/>
              <a:gd name="connsiteX78" fmla="*/ 410496 w 2634448"/>
              <a:gd name="connsiteY78" fmla="*/ 587549 h 1535557"/>
              <a:gd name="connsiteX79" fmla="*/ 292046 w 2634448"/>
              <a:gd name="connsiteY79" fmla="*/ 572718 h 1535557"/>
              <a:gd name="connsiteX80" fmla="*/ 172099 w 2634448"/>
              <a:gd name="connsiteY80" fmla="*/ 555777 h 1535557"/>
              <a:gd name="connsiteX0" fmla="*/ 2637207 w 2637207"/>
              <a:gd name="connsiteY0" fmla="*/ 1022774 h 1535557"/>
              <a:gd name="connsiteX1" fmla="*/ 2633941 w 2637207"/>
              <a:gd name="connsiteY1" fmla="*/ 1078291 h 1535557"/>
              <a:gd name="connsiteX2" fmla="*/ 2628906 w 2637207"/>
              <a:gd name="connsiteY2" fmla="*/ 1136190 h 1535557"/>
              <a:gd name="connsiteX3" fmla="*/ 2627410 w 2637207"/>
              <a:gd name="connsiteY3" fmla="*/ 1182794 h 1535557"/>
              <a:gd name="connsiteX4" fmla="*/ 2623872 w 2637207"/>
              <a:gd name="connsiteY4" fmla="*/ 1237699 h 1535557"/>
              <a:gd name="connsiteX5" fmla="*/ 2601284 w 2637207"/>
              <a:gd name="connsiteY5" fmla="*/ 1290563 h 1535557"/>
              <a:gd name="connsiteX6" fmla="*/ 2562095 w 2637207"/>
              <a:gd name="connsiteY6" fmla="*/ 1323220 h 1535557"/>
              <a:gd name="connsiteX7" fmla="*/ 2506578 w 2637207"/>
              <a:gd name="connsiteY7" fmla="*/ 1333017 h 1535557"/>
              <a:gd name="connsiteX8" fmla="*/ 2454327 w 2637207"/>
              <a:gd name="connsiteY8" fmla="*/ 1336283 h 1535557"/>
              <a:gd name="connsiteX9" fmla="*/ 2408607 w 2637207"/>
              <a:gd name="connsiteY9" fmla="*/ 1336283 h 1535557"/>
              <a:gd name="connsiteX10" fmla="*/ 2353090 w 2637207"/>
              <a:gd name="connsiteY10" fmla="*/ 1349346 h 1535557"/>
              <a:gd name="connsiteX11" fmla="*/ 2317167 w 2637207"/>
              <a:gd name="connsiteY11" fmla="*/ 1388534 h 1535557"/>
              <a:gd name="connsiteX12" fmla="*/ 2287775 w 2637207"/>
              <a:gd name="connsiteY12" fmla="*/ 1417926 h 1535557"/>
              <a:gd name="connsiteX13" fmla="*/ 2248587 w 2637207"/>
              <a:gd name="connsiteY13" fmla="*/ 1460380 h 1535557"/>
              <a:gd name="connsiteX14" fmla="*/ 2189804 w 2637207"/>
              <a:gd name="connsiteY14" fmla="*/ 1483240 h 1535557"/>
              <a:gd name="connsiteX15" fmla="*/ 2124490 w 2637207"/>
              <a:gd name="connsiteY15" fmla="*/ 1470177 h 1535557"/>
              <a:gd name="connsiteX16" fmla="*/ 2055910 w 2637207"/>
              <a:gd name="connsiteY16" fmla="*/ 1473443 h 1535557"/>
              <a:gd name="connsiteX17" fmla="*/ 2013455 w 2637207"/>
              <a:gd name="connsiteY17" fmla="*/ 1486506 h 1535557"/>
              <a:gd name="connsiteX18" fmla="*/ 1977532 w 2637207"/>
              <a:gd name="connsiteY18" fmla="*/ 1506100 h 1535557"/>
              <a:gd name="connsiteX19" fmla="*/ 1931812 w 2637207"/>
              <a:gd name="connsiteY19" fmla="*/ 1519163 h 1535557"/>
              <a:gd name="connsiteX20" fmla="*/ 1876295 w 2637207"/>
              <a:gd name="connsiteY20" fmla="*/ 1535491 h 1535557"/>
              <a:gd name="connsiteX21" fmla="*/ 1804450 w 2637207"/>
              <a:gd name="connsiteY21" fmla="*/ 1512631 h 1535557"/>
              <a:gd name="connsiteX22" fmla="*/ 1735870 w 2637207"/>
              <a:gd name="connsiteY22" fmla="*/ 1453848 h 1535557"/>
              <a:gd name="connsiteX23" fmla="*/ 1673821 w 2637207"/>
              <a:gd name="connsiteY23" fmla="*/ 1411394 h 1535557"/>
              <a:gd name="connsiteX24" fmla="*/ 1588980 w 2637207"/>
              <a:gd name="connsiteY24" fmla="*/ 1372478 h 1535557"/>
              <a:gd name="connsiteX25" fmla="*/ 1481144 w 2637207"/>
              <a:gd name="connsiteY25" fmla="*/ 1362408 h 1535557"/>
              <a:gd name="connsiteX26" fmla="*/ 1402767 w 2637207"/>
              <a:gd name="connsiteY26" fmla="*/ 1362408 h 1535557"/>
              <a:gd name="connsiteX27" fmla="*/ 1311327 w 2637207"/>
              <a:gd name="connsiteY27" fmla="*/ 1349346 h 1535557"/>
              <a:gd name="connsiteX28" fmla="*/ 1229684 w 2637207"/>
              <a:gd name="connsiteY28" fmla="*/ 1336283 h 1535557"/>
              <a:gd name="connsiteX29" fmla="*/ 1107356 w 2637207"/>
              <a:gd name="connsiteY29" fmla="*/ 1301856 h 1535557"/>
              <a:gd name="connsiteX30" fmla="*/ 971692 w 2637207"/>
              <a:gd name="connsiteY30" fmla="*/ 1264437 h 1535557"/>
              <a:gd name="connsiteX31" fmla="*/ 858890 w 2637207"/>
              <a:gd name="connsiteY31" fmla="*/ 1228242 h 1535557"/>
              <a:gd name="connsiteX32" fmla="*/ 756155 w 2637207"/>
              <a:gd name="connsiteY32" fmla="*/ 1195857 h 1535557"/>
              <a:gd name="connsiteX33" fmla="*/ 664715 w 2637207"/>
              <a:gd name="connsiteY33" fmla="*/ 1166466 h 1535557"/>
              <a:gd name="connsiteX34" fmla="*/ 562321 w 2637207"/>
              <a:gd name="connsiteY34" fmla="*/ 1140952 h 1535557"/>
              <a:gd name="connsiteX35" fmla="*/ 458975 w 2637207"/>
              <a:gd name="connsiteY35" fmla="*/ 1130543 h 1535557"/>
              <a:gd name="connsiteX36" fmla="*/ 380598 w 2637207"/>
              <a:gd name="connsiteY36" fmla="*/ 1124011 h 1535557"/>
              <a:gd name="connsiteX37" fmla="*/ 253847 w 2637207"/>
              <a:gd name="connsiteY37" fmla="*/ 1088973 h 1535557"/>
              <a:gd name="connsiteX38" fmla="*/ 180505 w 2637207"/>
              <a:gd name="connsiteY38" fmla="*/ 1045906 h 1535557"/>
              <a:gd name="connsiteX39" fmla="*/ 106618 w 2637207"/>
              <a:gd name="connsiteY39" fmla="*/ 982157 h 1535557"/>
              <a:gd name="connsiteX40" fmla="*/ 61987 w 2637207"/>
              <a:gd name="connsiteY40" fmla="*/ 923646 h 1535557"/>
              <a:gd name="connsiteX41" fmla="*/ 25791 w 2637207"/>
              <a:gd name="connsiteY41" fmla="*/ 834588 h 1535557"/>
              <a:gd name="connsiteX42" fmla="*/ 4428 w 2637207"/>
              <a:gd name="connsiteY42" fmla="*/ 735391 h 1535557"/>
              <a:gd name="connsiteX43" fmla="*/ 5041 w 2637207"/>
              <a:gd name="connsiteY43" fmla="*/ 624357 h 1535557"/>
              <a:gd name="connsiteX44" fmla="*/ 47495 w 2637207"/>
              <a:gd name="connsiteY44" fmla="*/ 536183 h 1535557"/>
              <a:gd name="connsiteX45" fmla="*/ 122607 w 2637207"/>
              <a:gd name="connsiteY45" fmla="*/ 461071 h 1535557"/>
              <a:gd name="connsiteX46" fmla="*/ 223844 w 2637207"/>
              <a:gd name="connsiteY46" fmla="*/ 382694 h 1535557"/>
              <a:gd name="connsiteX47" fmla="*/ 370801 w 2637207"/>
              <a:gd name="connsiteY47" fmla="*/ 314114 h 1535557"/>
              <a:gd name="connsiteX48" fmla="*/ 527555 w 2637207"/>
              <a:gd name="connsiteY48" fmla="*/ 268394 h 1535557"/>
              <a:gd name="connsiteX49" fmla="*/ 651652 w 2637207"/>
              <a:gd name="connsiteY49" fmla="*/ 236350 h 1535557"/>
              <a:gd name="connsiteX50" fmla="*/ 797725 w 2637207"/>
              <a:gd name="connsiteY50" fmla="*/ 201310 h 1535557"/>
              <a:gd name="connsiteX51" fmla="*/ 955364 w 2637207"/>
              <a:gd name="connsiteY51" fmla="*/ 167157 h 1535557"/>
              <a:gd name="connsiteX52" fmla="*/ 1146952 w 2637207"/>
              <a:gd name="connsiteY52" fmla="*/ 116335 h 1535557"/>
              <a:gd name="connsiteX53" fmla="*/ 1399501 w 2637207"/>
              <a:gd name="connsiteY53" fmla="*/ 49591 h 1535557"/>
              <a:gd name="connsiteX54" fmla="*/ 1549724 w 2637207"/>
              <a:gd name="connsiteY54" fmla="*/ 18704 h 1535557"/>
              <a:gd name="connsiteX55" fmla="*/ 1662187 w 2637207"/>
              <a:gd name="connsiteY55" fmla="*/ 878 h 1535557"/>
              <a:gd name="connsiteX56" fmla="*/ 1771792 w 2637207"/>
              <a:gd name="connsiteY56" fmla="*/ 10403 h 1535557"/>
              <a:gd name="connsiteX57" fmla="*/ 1878133 w 2637207"/>
              <a:gd name="connsiteY57" fmla="*/ 62654 h 1535557"/>
              <a:gd name="connsiteX58" fmla="*/ 1977873 w 2637207"/>
              <a:gd name="connsiteY58" fmla="*/ 151441 h 1535557"/>
              <a:gd name="connsiteX59" fmla="*/ 2072851 w 2637207"/>
              <a:gd name="connsiteY59" fmla="*/ 229206 h 1535557"/>
              <a:gd name="connsiteX60" fmla="*/ 2157147 w 2637207"/>
              <a:gd name="connsiteY60" fmla="*/ 294520 h 1535557"/>
              <a:gd name="connsiteX61" fmla="*/ 2193070 w 2637207"/>
              <a:gd name="connsiteY61" fmla="*/ 340240 h 1535557"/>
              <a:gd name="connsiteX62" fmla="*/ 2199601 w 2637207"/>
              <a:gd name="connsiteY62" fmla="*/ 389226 h 1535557"/>
              <a:gd name="connsiteX63" fmla="*/ 2173475 w 2637207"/>
              <a:gd name="connsiteY63" fmla="*/ 451274 h 1535557"/>
              <a:gd name="connsiteX64" fmla="*/ 2064210 w 2637207"/>
              <a:gd name="connsiteY64" fmla="*/ 499988 h 1535557"/>
              <a:gd name="connsiteX65" fmla="*/ 1939229 w 2637207"/>
              <a:gd name="connsiteY65" fmla="*/ 501757 h 1535557"/>
              <a:gd name="connsiteX66" fmla="*/ 1859967 w 2637207"/>
              <a:gd name="connsiteY66" fmla="*/ 490463 h 1535557"/>
              <a:gd name="connsiteX67" fmla="*/ 1713010 w 2637207"/>
              <a:gd name="connsiteY67" fmla="*/ 467603 h 1535557"/>
              <a:gd name="connsiteX68" fmla="*/ 1572584 w 2637207"/>
              <a:gd name="connsiteY68" fmla="*/ 441477 h 1535557"/>
              <a:gd name="connsiteX69" fmla="*/ 1441955 w 2637207"/>
              <a:gd name="connsiteY69" fmla="*/ 421883 h 1535557"/>
              <a:gd name="connsiteX70" fmla="*/ 1327655 w 2637207"/>
              <a:gd name="connsiteY70" fmla="*/ 425148 h 1535557"/>
              <a:gd name="connsiteX71" fmla="*/ 1219887 w 2637207"/>
              <a:gd name="connsiteY71" fmla="*/ 448008 h 1535557"/>
              <a:gd name="connsiteX72" fmla="*/ 1141510 w 2637207"/>
              <a:gd name="connsiteY72" fmla="*/ 480666 h 1535557"/>
              <a:gd name="connsiteX73" fmla="*/ 1026665 w 2637207"/>
              <a:gd name="connsiteY73" fmla="*/ 526386 h 1535557"/>
              <a:gd name="connsiteX74" fmla="*/ 925972 w 2637207"/>
              <a:gd name="connsiteY74" fmla="*/ 563192 h 1535557"/>
              <a:gd name="connsiteX75" fmla="*/ 775138 w 2637207"/>
              <a:gd name="connsiteY75" fmla="*/ 585781 h 1535557"/>
              <a:gd name="connsiteX76" fmla="*/ 660021 w 2637207"/>
              <a:gd name="connsiteY76" fmla="*/ 600612 h 1535557"/>
              <a:gd name="connsiteX77" fmla="*/ 550415 w 2637207"/>
              <a:gd name="connsiteY77" fmla="*/ 601497 h 1535557"/>
              <a:gd name="connsiteX78" fmla="*/ 413255 w 2637207"/>
              <a:gd name="connsiteY78" fmla="*/ 587549 h 1535557"/>
              <a:gd name="connsiteX79" fmla="*/ 294805 w 2637207"/>
              <a:gd name="connsiteY79" fmla="*/ 572718 h 1535557"/>
              <a:gd name="connsiteX80" fmla="*/ 174858 w 2637207"/>
              <a:gd name="connsiteY80" fmla="*/ 555777 h 1535557"/>
              <a:gd name="connsiteX0" fmla="*/ 2637207 w 2637207"/>
              <a:gd name="connsiteY0" fmla="*/ 1022774 h 1535557"/>
              <a:gd name="connsiteX1" fmla="*/ 2633941 w 2637207"/>
              <a:gd name="connsiteY1" fmla="*/ 1078291 h 1535557"/>
              <a:gd name="connsiteX2" fmla="*/ 2628906 w 2637207"/>
              <a:gd name="connsiteY2" fmla="*/ 1136190 h 1535557"/>
              <a:gd name="connsiteX3" fmla="*/ 2627410 w 2637207"/>
              <a:gd name="connsiteY3" fmla="*/ 1182794 h 1535557"/>
              <a:gd name="connsiteX4" fmla="*/ 2623872 w 2637207"/>
              <a:gd name="connsiteY4" fmla="*/ 1237699 h 1535557"/>
              <a:gd name="connsiteX5" fmla="*/ 2601284 w 2637207"/>
              <a:gd name="connsiteY5" fmla="*/ 1290563 h 1535557"/>
              <a:gd name="connsiteX6" fmla="*/ 2562095 w 2637207"/>
              <a:gd name="connsiteY6" fmla="*/ 1323220 h 1535557"/>
              <a:gd name="connsiteX7" fmla="*/ 2506578 w 2637207"/>
              <a:gd name="connsiteY7" fmla="*/ 1333017 h 1535557"/>
              <a:gd name="connsiteX8" fmla="*/ 2454327 w 2637207"/>
              <a:gd name="connsiteY8" fmla="*/ 1336283 h 1535557"/>
              <a:gd name="connsiteX9" fmla="*/ 2408607 w 2637207"/>
              <a:gd name="connsiteY9" fmla="*/ 1336283 h 1535557"/>
              <a:gd name="connsiteX10" fmla="*/ 2353090 w 2637207"/>
              <a:gd name="connsiteY10" fmla="*/ 1349346 h 1535557"/>
              <a:gd name="connsiteX11" fmla="*/ 2317167 w 2637207"/>
              <a:gd name="connsiteY11" fmla="*/ 1388534 h 1535557"/>
              <a:gd name="connsiteX12" fmla="*/ 2287775 w 2637207"/>
              <a:gd name="connsiteY12" fmla="*/ 1417926 h 1535557"/>
              <a:gd name="connsiteX13" fmla="*/ 2248587 w 2637207"/>
              <a:gd name="connsiteY13" fmla="*/ 1460380 h 1535557"/>
              <a:gd name="connsiteX14" fmla="*/ 2189804 w 2637207"/>
              <a:gd name="connsiteY14" fmla="*/ 1483240 h 1535557"/>
              <a:gd name="connsiteX15" fmla="*/ 2124490 w 2637207"/>
              <a:gd name="connsiteY15" fmla="*/ 1470177 h 1535557"/>
              <a:gd name="connsiteX16" fmla="*/ 2055910 w 2637207"/>
              <a:gd name="connsiteY16" fmla="*/ 1473443 h 1535557"/>
              <a:gd name="connsiteX17" fmla="*/ 2013455 w 2637207"/>
              <a:gd name="connsiteY17" fmla="*/ 1486506 h 1535557"/>
              <a:gd name="connsiteX18" fmla="*/ 1977532 w 2637207"/>
              <a:gd name="connsiteY18" fmla="*/ 1506100 h 1535557"/>
              <a:gd name="connsiteX19" fmla="*/ 1931812 w 2637207"/>
              <a:gd name="connsiteY19" fmla="*/ 1519163 h 1535557"/>
              <a:gd name="connsiteX20" fmla="*/ 1876295 w 2637207"/>
              <a:gd name="connsiteY20" fmla="*/ 1535491 h 1535557"/>
              <a:gd name="connsiteX21" fmla="*/ 1804450 w 2637207"/>
              <a:gd name="connsiteY21" fmla="*/ 1512631 h 1535557"/>
              <a:gd name="connsiteX22" fmla="*/ 1735870 w 2637207"/>
              <a:gd name="connsiteY22" fmla="*/ 1453848 h 1535557"/>
              <a:gd name="connsiteX23" fmla="*/ 1673821 w 2637207"/>
              <a:gd name="connsiteY23" fmla="*/ 1411394 h 1535557"/>
              <a:gd name="connsiteX24" fmla="*/ 1588980 w 2637207"/>
              <a:gd name="connsiteY24" fmla="*/ 1372478 h 1535557"/>
              <a:gd name="connsiteX25" fmla="*/ 1481144 w 2637207"/>
              <a:gd name="connsiteY25" fmla="*/ 1362408 h 1535557"/>
              <a:gd name="connsiteX26" fmla="*/ 1402767 w 2637207"/>
              <a:gd name="connsiteY26" fmla="*/ 1362408 h 1535557"/>
              <a:gd name="connsiteX27" fmla="*/ 1311327 w 2637207"/>
              <a:gd name="connsiteY27" fmla="*/ 1349346 h 1535557"/>
              <a:gd name="connsiteX28" fmla="*/ 1229684 w 2637207"/>
              <a:gd name="connsiteY28" fmla="*/ 1336283 h 1535557"/>
              <a:gd name="connsiteX29" fmla="*/ 1107356 w 2637207"/>
              <a:gd name="connsiteY29" fmla="*/ 1301856 h 1535557"/>
              <a:gd name="connsiteX30" fmla="*/ 971692 w 2637207"/>
              <a:gd name="connsiteY30" fmla="*/ 1264437 h 1535557"/>
              <a:gd name="connsiteX31" fmla="*/ 858890 w 2637207"/>
              <a:gd name="connsiteY31" fmla="*/ 1228242 h 1535557"/>
              <a:gd name="connsiteX32" fmla="*/ 756155 w 2637207"/>
              <a:gd name="connsiteY32" fmla="*/ 1195857 h 1535557"/>
              <a:gd name="connsiteX33" fmla="*/ 664715 w 2637207"/>
              <a:gd name="connsiteY33" fmla="*/ 1166466 h 1535557"/>
              <a:gd name="connsiteX34" fmla="*/ 562321 w 2637207"/>
              <a:gd name="connsiteY34" fmla="*/ 1140952 h 1535557"/>
              <a:gd name="connsiteX35" fmla="*/ 458975 w 2637207"/>
              <a:gd name="connsiteY35" fmla="*/ 1130543 h 1535557"/>
              <a:gd name="connsiteX36" fmla="*/ 380598 w 2637207"/>
              <a:gd name="connsiteY36" fmla="*/ 1124011 h 1535557"/>
              <a:gd name="connsiteX37" fmla="*/ 253847 w 2637207"/>
              <a:gd name="connsiteY37" fmla="*/ 1088973 h 1535557"/>
              <a:gd name="connsiteX38" fmla="*/ 180505 w 2637207"/>
              <a:gd name="connsiteY38" fmla="*/ 1045906 h 1535557"/>
              <a:gd name="connsiteX39" fmla="*/ 106618 w 2637207"/>
              <a:gd name="connsiteY39" fmla="*/ 982157 h 1535557"/>
              <a:gd name="connsiteX40" fmla="*/ 61987 w 2637207"/>
              <a:gd name="connsiteY40" fmla="*/ 923646 h 1535557"/>
              <a:gd name="connsiteX41" fmla="*/ 25791 w 2637207"/>
              <a:gd name="connsiteY41" fmla="*/ 834588 h 1535557"/>
              <a:gd name="connsiteX42" fmla="*/ 4428 w 2637207"/>
              <a:gd name="connsiteY42" fmla="*/ 735391 h 1535557"/>
              <a:gd name="connsiteX43" fmla="*/ 5041 w 2637207"/>
              <a:gd name="connsiteY43" fmla="*/ 624357 h 1535557"/>
              <a:gd name="connsiteX44" fmla="*/ 47495 w 2637207"/>
              <a:gd name="connsiteY44" fmla="*/ 536183 h 1535557"/>
              <a:gd name="connsiteX45" fmla="*/ 122607 w 2637207"/>
              <a:gd name="connsiteY45" fmla="*/ 461071 h 1535557"/>
              <a:gd name="connsiteX46" fmla="*/ 223844 w 2637207"/>
              <a:gd name="connsiteY46" fmla="*/ 382694 h 1535557"/>
              <a:gd name="connsiteX47" fmla="*/ 370801 w 2637207"/>
              <a:gd name="connsiteY47" fmla="*/ 314114 h 1535557"/>
              <a:gd name="connsiteX48" fmla="*/ 527555 w 2637207"/>
              <a:gd name="connsiteY48" fmla="*/ 268394 h 1535557"/>
              <a:gd name="connsiteX49" fmla="*/ 651652 w 2637207"/>
              <a:gd name="connsiteY49" fmla="*/ 236350 h 1535557"/>
              <a:gd name="connsiteX50" fmla="*/ 797725 w 2637207"/>
              <a:gd name="connsiteY50" fmla="*/ 201310 h 1535557"/>
              <a:gd name="connsiteX51" fmla="*/ 955364 w 2637207"/>
              <a:gd name="connsiteY51" fmla="*/ 167157 h 1535557"/>
              <a:gd name="connsiteX52" fmla="*/ 1146952 w 2637207"/>
              <a:gd name="connsiteY52" fmla="*/ 116335 h 1535557"/>
              <a:gd name="connsiteX53" fmla="*/ 1399501 w 2637207"/>
              <a:gd name="connsiteY53" fmla="*/ 49591 h 1535557"/>
              <a:gd name="connsiteX54" fmla="*/ 1549724 w 2637207"/>
              <a:gd name="connsiteY54" fmla="*/ 18704 h 1535557"/>
              <a:gd name="connsiteX55" fmla="*/ 1662187 w 2637207"/>
              <a:gd name="connsiteY55" fmla="*/ 878 h 1535557"/>
              <a:gd name="connsiteX56" fmla="*/ 1771792 w 2637207"/>
              <a:gd name="connsiteY56" fmla="*/ 10403 h 1535557"/>
              <a:gd name="connsiteX57" fmla="*/ 1878133 w 2637207"/>
              <a:gd name="connsiteY57" fmla="*/ 62654 h 1535557"/>
              <a:gd name="connsiteX58" fmla="*/ 1977873 w 2637207"/>
              <a:gd name="connsiteY58" fmla="*/ 151441 h 1535557"/>
              <a:gd name="connsiteX59" fmla="*/ 2072851 w 2637207"/>
              <a:gd name="connsiteY59" fmla="*/ 229206 h 1535557"/>
              <a:gd name="connsiteX60" fmla="*/ 2157147 w 2637207"/>
              <a:gd name="connsiteY60" fmla="*/ 294520 h 1535557"/>
              <a:gd name="connsiteX61" fmla="*/ 2193070 w 2637207"/>
              <a:gd name="connsiteY61" fmla="*/ 340240 h 1535557"/>
              <a:gd name="connsiteX62" fmla="*/ 2199601 w 2637207"/>
              <a:gd name="connsiteY62" fmla="*/ 389226 h 1535557"/>
              <a:gd name="connsiteX63" fmla="*/ 2173475 w 2637207"/>
              <a:gd name="connsiteY63" fmla="*/ 451274 h 1535557"/>
              <a:gd name="connsiteX64" fmla="*/ 2064210 w 2637207"/>
              <a:gd name="connsiteY64" fmla="*/ 499988 h 1535557"/>
              <a:gd name="connsiteX65" fmla="*/ 1939229 w 2637207"/>
              <a:gd name="connsiteY65" fmla="*/ 501757 h 1535557"/>
              <a:gd name="connsiteX66" fmla="*/ 1859967 w 2637207"/>
              <a:gd name="connsiteY66" fmla="*/ 490463 h 1535557"/>
              <a:gd name="connsiteX67" fmla="*/ 1713010 w 2637207"/>
              <a:gd name="connsiteY67" fmla="*/ 467603 h 1535557"/>
              <a:gd name="connsiteX68" fmla="*/ 1572584 w 2637207"/>
              <a:gd name="connsiteY68" fmla="*/ 441477 h 1535557"/>
              <a:gd name="connsiteX69" fmla="*/ 1441955 w 2637207"/>
              <a:gd name="connsiteY69" fmla="*/ 421883 h 1535557"/>
              <a:gd name="connsiteX70" fmla="*/ 1327655 w 2637207"/>
              <a:gd name="connsiteY70" fmla="*/ 425148 h 1535557"/>
              <a:gd name="connsiteX71" fmla="*/ 1219887 w 2637207"/>
              <a:gd name="connsiteY71" fmla="*/ 448008 h 1535557"/>
              <a:gd name="connsiteX72" fmla="*/ 1141510 w 2637207"/>
              <a:gd name="connsiteY72" fmla="*/ 480666 h 1535557"/>
              <a:gd name="connsiteX73" fmla="*/ 1026665 w 2637207"/>
              <a:gd name="connsiteY73" fmla="*/ 526386 h 1535557"/>
              <a:gd name="connsiteX74" fmla="*/ 925972 w 2637207"/>
              <a:gd name="connsiteY74" fmla="*/ 563192 h 1535557"/>
              <a:gd name="connsiteX75" fmla="*/ 775138 w 2637207"/>
              <a:gd name="connsiteY75" fmla="*/ 585781 h 1535557"/>
              <a:gd name="connsiteX76" fmla="*/ 660021 w 2637207"/>
              <a:gd name="connsiteY76" fmla="*/ 600612 h 1535557"/>
              <a:gd name="connsiteX77" fmla="*/ 550415 w 2637207"/>
              <a:gd name="connsiteY77" fmla="*/ 601497 h 1535557"/>
              <a:gd name="connsiteX78" fmla="*/ 413255 w 2637207"/>
              <a:gd name="connsiteY78" fmla="*/ 587549 h 1535557"/>
              <a:gd name="connsiteX79" fmla="*/ 294805 w 2637207"/>
              <a:gd name="connsiteY79" fmla="*/ 572718 h 1535557"/>
              <a:gd name="connsiteX80" fmla="*/ 174858 w 2637207"/>
              <a:gd name="connsiteY80" fmla="*/ 555777 h 1535557"/>
              <a:gd name="connsiteX0" fmla="*/ 2637207 w 2637207"/>
              <a:gd name="connsiteY0" fmla="*/ 1022774 h 1535557"/>
              <a:gd name="connsiteX1" fmla="*/ 2633941 w 2637207"/>
              <a:gd name="connsiteY1" fmla="*/ 1078291 h 1535557"/>
              <a:gd name="connsiteX2" fmla="*/ 2628906 w 2637207"/>
              <a:gd name="connsiteY2" fmla="*/ 1136190 h 1535557"/>
              <a:gd name="connsiteX3" fmla="*/ 2627410 w 2637207"/>
              <a:gd name="connsiteY3" fmla="*/ 1182794 h 1535557"/>
              <a:gd name="connsiteX4" fmla="*/ 2623872 w 2637207"/>
              <a:gd name="connsiteY4" fmla="*/ 1237699 h 1535557"/>
              <a:gd name="connsiteX5" fmla="*/ 2601284 w 2637207"/>
              <a:gd name="connsiteY5" fmla="*/ 1290563 h 1535557"/>
              <a:gd name="connsiteX6" fmla="*/ 2562095 w 2637207"/>
              <a:gd name="connsiteY6" fmla="*/ 1323220 h 1535557"/>
              <a:gd name="connsiteX7" fmla="*/ 2506578 w 2637207"/>
              <a:gd name="connsiteY7" fmla="*/ 1333017 h 1535557"/>
              <a:gd name="connsiteX8" fmla="*/ 2454327 w 2637207"/>
              <a:gd name="connsiteY8" fmla="*/ 1336283 h 1535557"/>
              <a:gd name="connsiteX9" fmla="*/ 2408607 w 2637207"/>
              <a:gd name="connsiteY9" fmla="*/ 1336283 h 1535557"/>
              <a:gd name="connsiteX10" fmla="*/ 2353090 w 2637207"/>
              <a:gd name="connsiteY10" fmla="*/ 1349346 h 1535557"/>
              <a:gd name="connsiteX11" fmla="*/ 2317167 w 2637207"/>
              <a:gd name="connsiteY11" fmla="*/ 1388534 h 1535557"/>
              <a:gd name="connsiteX12" fmla="*/ 2287775 w 2637207"/>
              <a:gd name="connsiteY12" fmla="*/ 1417926 h 1535557"/>
              <a:gd name="connsiteX13" fmla="*/ 2248587 w 2637207"/>
              <a:gd name="connsiteY13" fmla="*/ 1460380 h 1535557"/>
              <a:gd name="connsiteX14" fmla="*/ 2189804 w 2637207"/>
              <a:gd name="connsiteY14" fmla="*/ 1483240 h 1535557"/>
              <a:gd name="connsiteX15" fmla="*/ 2124490 w 2637207"/>
              <a:gd name="connsiteY15" fmla="*/ 1470177 h 1535557"/>
              <a:gd name="connsiteX16" fmla="*/ 2055910 w 2637207"/>
              <a:gd name="connsiteY16" fmla="*/ 1473443 h 1535557"/>
              <a:gd name="connsiteX17" fmla="*/ 2013455 w 2637207"/>
              <a:gd name="connsiteY17" fmla="*/ 1486506 h 1535557"/>
              <a:gd name="connsiteX18" fmla="*/ 1977532 w 2637207"/>
              <a:gd name="connsiteY18" fmla="*/ 1506100 h 1535557"/>
              <a:gd name="connsiteX19" fmla="*/ 1931812 w 2637207"/>
              <a:gd name="connsiteY19" fmla="*/ 1519163 h 1535557"/>
              <a:gd name="connsiteX20" fmla="*/ 1876295 w 2637207"/>
              <a:gd name="connsiteY20" fmla="*/ 1535491 h 1535557"/>
              <a:gd name="connsiteX21" fmla="*/ 1804450 w 2637207"/>
              <a:gd name="connsiteY21" fmla="*/ 1512631 h 1535557"/>
              <a:gd name="connsiteX22" fmla="*/ 1735870 w 2637207"/>
              <a:gd name="connsiteY22" fmla="*/ 1453848 h 1535557"/>
              <a:gd name="connsiteX23" fmla="*/ 1673821 w 2637207"/>
              <a:gd name="connsiteY23" fmla="*/ 1411394 h 1535557"/>
              <a:gd name="connsiteX24" fmla="*/ 1588980 w 2637207"/>
              <a:gd name="connsiteY24" fmla="*/ 1372478 h 1535557"/>
              <a:gd name="connsiteX25" fmla="*/ 1481144 w 2637207"/>
              <a:gd name="connsiteY25" fmla="*/ 1362408 h 1535557"/>
              <a:gd name="connsiteX26" fmla="*/ 1402767 w 2637207"/>
              <a:gd name="connsiteY26" fmla="*/ 1362408 h 1535557"/>
              <a:gd name="connsiteX27" fmla="*/ 1311327 w 2637207"/>
              <a:gd name="connsiteY27" fmla="*/ 1349346 h 1535557"/>
              <a:gd name="connsiteX28" fmla="*/ 1229684 w 2637207"/>
              <a:gd name="connsiteY28" fmla="*/ 1336283 h 1535557"/>
              <a:gd name="connsiteX29" fmla="*/ 1107356 w 2637207"/>
              <a:gd name="connsiteY29" fmla="*/ 1301856 h 1535557"/>
              <a:gd name="connsiteX30" fmla="*/ 971692 w 2637207"/>
              <a:gd name="connsiteY30" fmla="*/ 1264437 h 1535557"/>
              <a:gd name="connsiteX31" fmla="*/ 858890 w 2637207"/>
              <a:gd name="connsiteY31" fmla="*/ 1228242 h 1535557"/>
              <a:gd name="connsiteX32" fmla="*/ 756155 w 2637207"/>
              <a:gd name="connsiteY32" fmla="*/ 1195857 h 1535557"/>
              <a:gd name="connsiteX33" fmla="*/ 664715 w 2637207"/>
              <a:gd name="connsiteY33" fmla="*/ 1166466 h 1535557"/>
              <a:gd name="connsiteX34" fmla="*/ 562321 w 2637207"/>
              <a:gd name="connsiteY34" fmla="*/ 1140952 h 1535557"/>
              <a:gd name="connsiteX35" fmla="*/ 458975 w 2637207"/>
              <a:gd name="connsiteY35" fmla="*/ 1130543 h 1535557"/>
              <a:gd name="connsiteX36" fmla="*/ 380598 w 2637207"/>
              <a:gd name="connsiteY36" fmla="*/ 1124011 h 1535557"/>
              <a:gd name="connsiteX37" fmla="*/ 253847 w 2637207"/>
              <a:gd name="connsiteY37" fmla="*/ 1088973 h 1535557"/>
              <a:gd name="connsiteX38" fmla="*/ 180505 w 2637207"/>
              <a:gd name="connsiteY38" fmla="*/ 1045906 h 1535557"/>
              <a:gd name="connsiteX39" fmla="*/ 106618 w 2637207"/>
              <a:gd name="connsiteY39" fmla="*/ 982157 h 1535557"/>
              <a:gd name="connsiteX40" fmla="*/ 61987 w 2637207"/>
              <a:gd name="connsiteY40" fmla="*/ 923646 h 1535557"/>
              <a:gd name="connsiteX41" fmla="*/ 25791 w 2637207"/>
              <a:gd name="connsiteY41" fmla="*/ 834588 h 1535557"/>
              <a:gd name="connsiteX42" fmla="*/ 4428 w 2637207"/>
              <a:gd name="connsiteY42" fmla="*/ 735391 h 1535557"/>
              <a:gd name="connsiteX43" fmla="*/ 5041 w 2637207"/>
              <a:gd name="connsiteY43" fmla="*/ 624357 h 1535557"/>
              <a:gd name="connsiteX44" fmla="*/ 47495 w 2637207"/>
              <a:gd name="connsiteY44" fmla="*/ 536183 h 1535557"/>
              <a:gd name="connsiteX45" fmla="*/ 122607 w 2637207"/>
              <a:gd name="connsiteY45" fmla="*/ 461071 h 1535557"/>
              <a:gd name="connsiteX46" fmla="*/ 223844 w 2637207"/>
              <a:gd name="connsiteY46" fmla="*/ 382694 h 1535557"/>
              <a:gd name="connsiteX47" fmla="*/ 370801 w 2637207"/>
              <a:gd name="connsiteY47" fmla="*/ 314114 h 1535557"/>
              <a:gd name="connsiteX48" fmla="*/ 527555 w 2637207"/>
              <a:gd name="connsiteY48" fmla="*/ 268394 h 1535557"/>
              <a:gd name="connsiteX49" fmla="*/ 651652 w 2637207"/>
              <a:gd name="connsiteY49" fmla="*/ 236350 h 1535557"/>
              <a:gd name="connsiteX50" fmla="*/ 797725 w 2637207"/>
              <a:gd name="connsiteY50" fmla="*/ 201310 h 1535557"/>
              <a:gd name="connsiteX51" fmla="*/ 955364 w 2637207"/>
              <a:gd name="connsiteY51" fmla="*/ 167157 h 1535557"/>
              <a:gd name="connsiteX52" fmla="*/ 1146952 w 2637207"/>
              <a:gd name="connsiteY52" fmla="*/ 116335 h 1535557"/>
              <a:gd name="connsiteX53" fmla="*/ 1399501 w 2637207"/>
              <a:gd name="connsiteY53" fmla="*/ 49591 h 1535557"/>
              <a:gd name="connsiteX54" fmla="*/ 1549724 w 2637207"/>
              <a:gd name="connsiteY54" fmla="*/ 18704 h 1535557"/>
              <a:gd name="connsiteX55" fmla="*/ 1662187 w 2637207"/>
              <a:gd name="connsiteY55" fmla="*/ 878 h 1535557"/>
              <a:gd name="connsiteX56" fmla="*/ 1771792 w 2637207"/>
              <a:gd name="connsiteY56" fmla="*/ 10403 h 1535557"/>
              <a:gd name="connsiteX57" fmla="*/ 1878133 w 2637207"/>
              <a:gd name="connsiteY57" fmla="*/ 62654 h 1535557"/>
              <a:gd name="connsiteX58" fmla="*/ 1977873 w 2637207"/>
              <a:gd name="connsiteY58" fmla="*/ 151441 h 1535557"/>
              <a:gd name="connsiteX59" fmla="*/ 2072851 w 2637207"/>
              <a:gd name="connsiteY59" fmla="*/ 229206 h 1535557"/>
              <a:gd name="connsiteX60" fmla="*/ 2157147 w 2637207"/>
              <a:gd name="connsiteY60" fmla="*/ 294520 h 1535557"/>
              <a:gd name="connsiteX61" fmla="*/ 2193070 w 2637207"/>
              <a:gd name="connsiteY61" fmla="*/ 340240 h 1535557"/>
              <a:gd name="connsiteX62" fmla="*/ 2199601 w 2637207"/>
              <a:gd name="connsiteY62" fmla="*/ 389226 h 1535557"/>
              <a:gd name="connsiteX63" fmla="*/ 2173475 w 2637207"/>
              <a:gd name="connsiteY63" fmla="*/ 451274 h 1535557"/>
              <a:gd name="connsiteX64" fmla="*/ 2064210 w 2637207"/>
              <a:gd name="connsiteY64" fmla="*/ 499988 h 1535557"/>
              <a:gd name="connsiteX65" fmla="*/ 1939229 w 2637207"/>
              <a:gd name="connsiteY65" fmla="*/ 501757 h 1535557"/>
              <a:gd name="connsiteX66" fmla="*/ 1859967 w 2637207"/>
              <a:gd name="connsiteY66" fmla="*/ 490463 h 1535557"/>
              <a:gd name="connsiteX67" fmla="*/ 1713010 w 2637207"/>
              <a:gd name="connsiteY67" fmla="*/ 467603 h 1535557"/>
              <a:gd name="connsiteX68" fmla="*/ 1572584 w 2637207"/>
              <a:gd name="connsiteY68" fmla="*/ 441477 h 1535557"/>
              <a:gd name="connsiteX69" fmla="*/ 1441955 w 2637207"/>
              <a:gd name="connsiteY69" fmla="*/ 421883 h 1535557"/>
              <a:gd name="connsiteX70" fmla="*/ 1327655 w 2637207"/>
              <a:gd name="connsiteY70" fmla="*/ 425148 h 1535557"/>
              <a:gd name="connsiteX71" fmla="*/ 1219887 w 2637207"/>
              <a:gd name="connsiteY71" fmla="*/ 448008 h 1535557"/>
              <a:gd name="connsiteX72" fmla="*/ 1141510 w 2637207"/>
              <a:gd name="connsiteY72" fmla="*/ 480666 h 1535557"/>
              <a:gd name="connsiteX73" fmla="*/ 1026665 w 2637207"/>
              <a:gd name="connsiteY73" fmla="*/ 526386 h 1535557"/>
              <a:gd name="connsiteX74" fmla="*/ 925972 w 2637207"/>
              <a:gd name="connsiteY74" fmla="*/ 563192 h 1535557"/>
              <a:gd name="connsiteX75" fmla="*/ 775138 w 2637207"/>
              <a:gd name="connsiteY75" fmla="*/ 585781 h 1535557"/>
              <a:gd name="connsiteX76" fmla="*/ 660021 w 2637207"/>
              <a:gd name="connsiteY76" fmla="*/ 600612 h 1535557"/>
              <a:gd name="connsiteX77" fmla="*/ 550415 w 2637207"/>
              <a:gd name="connsiteY77" fmla="*/ 601497 h 1535557"/>
              <a:gd name="connsiteX78" fmla="*/ 413255 w 2637207"/>
              <a:gd name="connsiteY78" fmla="*/ 587549 h 1535557"/>
              <a:gd name="connsiteX79" fmla="*/ 294805 w 2637207"/>
              <a:gd name="connsiteY79" fmla="*/ 572718 h 1535557"/>
              <a:gd name="connsiteX80" fmla="*/ 174858 w 2637207"/>
              <a:gd name="connsiteY80" fmla="*/ 555777 h 1535557"/>
              <a:gd name="connsiteX0" fmla="*/ 2637207 w 2637207"/>
              <a:gd name="connsiteY0" fmla="*/ 1022774 h 1535557"/>
              <a:gd name="connsiteX1" fmla="*/ 2633941 w 2637207"/>
              <a:gd name="connsiteY1" fmla="*/ 1078291 h 1535557"/>
              <a:gd name="connsiteX2" fmla="*/ 2628906 w 2637207"/>
              <a:gd name="connsiteY2" fmla="*/ 1136190 h 1535557"/>
              <a:gd name="connsiteX3" fmla="*/ 2627410 w 2637207"/>
              <a:gd name="connsiteY3" fmla="*/ 1182794 h 1535557"/>
              <a:gd name="connsiteX4" fmla="*/ 2623872 w 2637207"/>
              <a:gd name="connsiteY4" fmla="*/ 1237699 h 1535557"/>
              <a:gd name="connsiteX5" fmla="*/ 2601284 w 2637207"/>
              <a:gd name="connsiteY5" fmla="*/ 1290563 h 1535557"/>
              <a:gd name="connsiteX6" fmla="*/ 2562095 w 2637207"/>
              <a:gd name="connsiteY6" fmla="*/ 1323220 h 1535557"/>
              <a:gd name="connsiteX7" fmla="*/ 2506578 w 2637207"/>
              <a:gd name="connsiteY7" fmla="*/ 1333017 h 1535557"/>
              <a:gd name="connsiteX8" fmla="*/ 2454327 w 2637207"/>
              <a:gd name="connsiteY8" fmla="*/ 1336283 h 1535557"/>
              <a:gd name="connsiteX9" fmla="*/ 2408607 w 2637207"/>
              <a:gd name="connsiteY9" fmla="*/ 1336283 h 1535557"/>
              <a:gd name="connsiteX10" fmla="*/ 2353090 w 2637207"/>
              <a:gd name="connsiteY10" fmla="*/ 1349346 h 1535557"/>
              <a:gd name="connsiteX11" fmla="*/ 2317167 w 2637207"/>
              <a:gd name="connsiteY11" fmla="*/ 1388534 h 1535557"/>
              <a:gd name="connsiteX12" fmla="*/ 2287775 w 2637207"/>
              <a:gd name="connsiteY12" fmla="*/ 1417926 h 1535557"/>
              <a:gd name="connsiteX13" fmla="*/ 2248587 w 2637207"/>
              <a:gd name="connsiteY13" fmla="*/ 1460380 h 1535557"/>
              <a:gd name="connsiteX14" fmla="*/ 2189804 w 2637207"/>
              <a:gd name="connsiteY14" fmla="*/ 1483240 h 1535557"/>
              <a:gd name="connsiteX15" fmla="*/ 2124490 w 2637207"/>
              <a:gd name="connsiteY15" fmla="*/ 1470177 h 1535557"/>
              <a:gd name="connsiteX16" fmla="*/ 2055910 w 2637207"/>
              <a:gd name="connsiteY16" fmla="*/ 1473443 h 1535557"/>
              <a:gd name="connsiteX17" fmla="*/ 2013455 w 2637207"/>
              <a:gd name="connsiteY17" fmla="*/ 1486506 h 1535557"/>
              <a:gd name="connsiteX18" fmla="*/ 1977532 w 2637207"/>
              <a:gd name="connsiteY18" fmla="*/ 1506100 h 1535557"/>
              <a:gd name="connsiteX19" fmla="*/ 1931812 w 2637207"/>
              <a:gd name="connsiteY19" fmla="*/ 1519163 h 1535557"/>
              <a:gd name="connsiteX20" fmla="*/ 1876295 w 2637207"/>
              <a:gd name="connsiteY20" fmla="*/ 1535491 h 1535557"/>
              <a:gd name="connsiteX21" fmla="*/ 1804450 w 2637207"/>
              <a:gd name="connsiteY21" fmla="*/ 1512631 h 1535557"/>
              <a:gd name="connsiteX22" fmla="*/ 1735870 w 2637207"/>
              <a:gd name="connsiteY22" fmla="*/ 1453848 h 1535557"/>
              <a:gd name="connsiteX23" fmla="*/ 1673821 w 2637207"/>
              <a:gd name="connsiteY23" fmla="*/ 1411394 h 1535557"/>
              <a:gd name="connsiteX24" fmla="*/ 1588980 w 2637207"/>
              <a:gd name="connsiteY24" fmla="*/ 1372478 h 1535557"/>
              <a:gd name="connsiteX25" fmla="*/ 1481144 w 2637207"/>
              <a:gd name="connsiteY25" fmla="*/ 1362408 h 1535557"/>
              <a:gd name="connsiteX26" fmla="*/ 1402767 w 2637207"/>
              <a:gd name="connsiteY26" fmla="*/ 1362408 h 1535557"/>
              <a:gd name="connsiteX27" fmla="*/ 1311327 w 2637207"/>
              <a:gd name="connsiteY27" fmla="*/ 1349346 h 1535557"/>
              <a:gd name="connsiteX28" fmla="*/ 1229684 w 2637207"/>
              <a:gd name="connsiteY28" fmla="*/ 1336283 h 1535557"/>
              <a:gd name="connsiteX29" fmla="*/ 1107356 w 2637207"/>
              <a:gd name="connsiteY29" fmla="*/ 1301856 h 1535557"/>
              <a:gd name="connsiteX30" fmla="*/ 971692 w 2637207"/>
              <a:gd name="connsiteY30" fmla="*/ 1264437 h 1535557"/>
              <a:gd name="connsiteX31" fmla="*/ 858890 w 2637207"/>
              <a:gd name="connsiteY31" fmla="*/ 1228242 h 1535557"/>
              <a:gd name="connsiteX32" fmla="*/ 756155 w 2637207"/>
              <a:gd name="connsiteY32" fmla="*/ 1195857 h 1535557"/>
              <a:gd name="connsiteX33" fmla="*/ 664715 w 2637207"/>
              <a:gd name="connsiteY33" fmla="*/ 1166466 h 1535557"/>
              <a:gd name="connsiteX34" fmla="*/ 562321 w 2637207"/>
              <a:gd name="connsiteY34" fmla="*/ 1140952 h 1535557"/>
              <a:gd name="connsiteX35" fmla="*/ 458975 w 2637207"/>
              <a:gd name="connsiteY35" fmla="*/ 1130543 h 1535557"/>
              <a:gd name="connsiteX36" fmla="*/ 380598 w 2637207"/>
              <a:gd name="connsiteY36" fmla="*/ 1124011 h 1535557"/>
              <a:gd name="connsiteX37" fmla="*/ 253847 w 2637207"/>
              <a:gd name="connsiteY37" fmla="*/ 1088973 h 1535557"/>
              <a:gd name="connsiteX38" fmla="*/ 180505 w 2637207"/>
              <a:gd name="connsiteY38" fmla="*/ 1045906 h 1535557"/>
              <a:gd name="connsiteX39" fmla="*/ 106618 w 2637207"/>
              <a:gd name="connsiteY39" fmla="*/ 982157 h 1535557"/>
              <a:gd name="connsiteX40" fmla="*/ 61987 w 2637207"/>
              <a:gd name="connsiteY40" fmla="*/ 923646 h 1535557"/>
              <a:gd name="connsiteX41" fmla="*/ 25791 w 2637207"/>
              <a:gd name="connsiteY41" fmla="*/ 834588 h 1535557"/>
              <a:gd name="connsiteX42" fmla="*/ 4428 w 2637207"/>
              <a:gd name="connsiteY42" fmla="*/ 735391 h 1535557"/>
              <a:gd name="connsiteX43" fmla="*/ 5041 w 2637207"/>
              <a:gd name="connsiteY43" fmla="*/ 624357 h 1535557"/>
              <a:gd name="connsiteX44" fmla="*/ 47495 w 2637207"/>
              <a:gd name="connsiteY44" fmla="*/ 536183 h 1535557"/>
              <a:gd name="connsiteX45" fmla="*/ 122607 w 2637207"/>
              <a:gd name="connsiteY45" fmla="*/ 461071 h 1535557"/>
              <a:gd name="connsiteX46" fmla="*/ 223844 w 2637207"/>
              <a:gd name="connsiteY46" fmla="*/ 382694 h 1535557"/>
              <a:gd name="connsiteX47" fmla="*/ 370801 w 2637207"/>
              <a:gd name="connsiteY47" fmla="*/ 314114 h 1535557"/>
              <a:gd name="connsiteX48" fmla="*/ 527555 w 2637207"/>
              <a:gd name="connsiteY48" fmla="*/ 268394 h 1535557"/>
              <a:gd name="connsiteX49" fmla="*/ 651652 w 2637207"/>
              <a:gd name="connsiteY49" fmla="*/ 236350 h 1535557"/>
              <a:gd name="connsiteX50" fmla="*/ 797725 w 2637207"/>
              <a:gd name="connsiteY50" fmla="*/ 201310 h 1535557"/>
              <a:gd name="connsiteX51" fmla="*/ 955364 w 2637207"/>
              <a:gd name="connsiteY51" fmla="*/ 167157 h 1535557"/>
              <a:gd name="connsiteX52" fmla="*/ 1146952 w 2637207"/>
              <a:gd name="connsiteY52" fmla="*/ 116335 h 1535557"/>
              <a:gd name="connsiteX53" fmla="*/ 1399501 w 2637207"/>
              <a:gd name="connsiteY53" fmla="*/ 49591 h 1535557"/>
              <a:gd name="connsiteX54" fmla="*/ 1549724 w 2637207"/>
              <a:gd name="connsiteY54" fmla="*/ 18704 h 1535557"/>
              <a:gd name="connsiteX55" fmla="*/ 1662187 w 2637207"/>
              <a:gd name="connsiteY55" fmla="*/ 878 h 1535557"/>
              <a:gd name="connsiteX56" fmla="*/ 1771792 w 2637207"/>
              <a:gd name="connsiteY56" fmla="*/ 10403 h 1535557"/>
              <a:gd name="connsiteX57" fmla="*/ 1878133 w 2637207"/>
              <a:gd name="connsiteY57" fmla="*/ 62654 h 1535557"/>
              <a:gd name="connsiteX58" fmla="*/ 1977873 w 2637207"/>
              <a:gd name="connsiteY58" fmla="*/ 151441 h 1535557"/>
              <a:gd name="connsiteX59" fmla="*/ 2072851 w 2637207"/>
              <a:gd name="connsiteY59" fmla="*/ 229206 h 1535557"/>
              <a:gd name="connsiteX60" fmla="*/ 2157147 w 2637207"/>
              <a:gd name="connsiteY60" fmla="*/ 294520 h 1535557"/>
              <a:gd name="connsiteX61" fmla="*/ 2193070 w 2637207"/>
              <a:gd name="connsiteY61" fmla="*/ 340240 h 1535557"/>
              <a:gd name="connsiteX62" fmla="*/ 2199601 w 2637207"/>
              <a:gd name="connsiteY62" fmla="*/ 389226 h 1535557"/>
              <a:gd name="connsiteX63" fmla="*/ 2173475 w 2637207"/>
              <a:gd name="connsiteY63" fmla="*/ 451274 h 1535557"/>
              <a:gd name="connsiteX64" fmla="*/ 2064210 w 2637207"/>
              <a:gd name="connsiteY64" fmla="*/ 499988 h 1535557"/>
              <a:gd name="connsiteX65" fmla="*/ 1939229 w 2637207"/>
              <a:gd name="connsiteY65" fmla="*/ 501757 h 1535557"/>
              <a:gd name="connsiteX66" fmla="*/ 1859967 w 2637207"/>
              <a:gd name="connsiteY66" fmla="*/ 490463 h 1535557"/>
              <a:gd name="connsiteX67" fmla="*/ 1713010 w 2637207"/>
              <a:gd name="connsiteY67" fmla="*/ 467603 h 1535557"/>
              <a:gd name="connsiteX68" fmla="*/ 1572584 w 2637207"/>
              <a:gd name="connsiteY68" fmla="*/ 441477 h 1535557"/>
              <a:gd name="connsiteX69" fmla="*/ 1441955 w 2637207"/>
              <a:gd name="connsiteY69" fmla="*/ 421883 h 1535557"/>
              <a:gd name="connsiteX70" fmla="*/ 1327655 w 2637207"/>
              <a:gd name="connsiteY70" fmla="*/ 425148 h 1535557"/>
              <a:gd name="connsiteX71" fmla="*/ 1219887 w 2637207"/>
              <a:gd name="connsiteY71" fmla="*/ 448008 h 1535557"/>
              <a:gd name="connsiteX72" fmla="*/ 1141510 w 2637207"/>
              <a:gd name="connsiteY72" fmla="*/ 480666 h 1535557"/>
              <a:gd name="connsiteX73" fmla="*/ 1026665 w 2637207"/>
              <a:gd name="connsiteY73" fmla="*/ 526386 h 1535557"/>
              <a:gd name="connsiteX74" fmla="*/ 925972 w 2637207"/>
              <a:gd name="connsiteY74" fmla="*/ 563192 h 1535557"/>
              <a:gd name="connsiteX75" fmla="*/ 775138 w 2637207"/>
              <a:gd name="connsiteY75" fmla="*/ 585781 h 1535557"/>
              <a:gd name="connsiteX76" fmla="*/ 660021 w 2637207"/>
              <a:gd name="connsiteY76" fmla="*/ 600612 h 1535557"/>
              <a:gd name="connsiteX77" fmla="*/ 550415 w 2637207"/>
              <a:gd name="connsiteY77" fmla="*/ 601497 h 1535557"/>
              <a:gd name="connsiteX78" fmla="*/ 413255 w 2637207"/>
              <a:gd name="connsiteY78" fmla="*/ 587549 h 1535557"/>
              <a:gd name="connsiteX79" fmla="*/ 294805 w 2637207"/>
              <a:gd name="connsiteY79" fmla="*/ 572718 h 1535557"/>
              <a:gd name="connsiteX80" fmla="*/ 174858 w 2637207"/>
              <a:gd name="connsiteY80" fmla="*/ 555777 h 1535557"/>
              <a:gd name="connsiteX0" fmla="*/ 2637207 w 2637207"/>
              <a:gd name="connsiteY0" fmla="*/ 1022774 h 1535557"/>
              <a:gd name="connsiteX1" fmla="*/ 2633941 w 2637207"/>
              <a:gd name="connsiteY1" fmla="*/ 1078291 h 1535557"/>
              <a:gd name="connsiteX2" fmla="*/ 2628906 w 2637207"/>
              <a:gd name="connsiteY2" fmla="*/ 1136190 h 1535557"/>
              <a:gd name="connsiteX3" fmla="*/ 2627410 w 2637207"/>
              <a:gd name="connsiteY3" fmla="*/ 1182794 h 1535557"/>
              <a:gd name="connsiteX4" fmla="*/ 2623872 w 2637207"/>
              <a:gd name="connsiteY4" fmla="*/ 1237699 h 1535557"/>
              <a:gd name="connsiteX5" fmla="*/ 2601284 w 2637207"/>
              <a:gd name="connsiteY5" fmla="*/ 1290563 h 1535557"/>
              <a:gd name="connsiteX6" fmla="*/ 2562095 w 2637207"/>
              <a:gd name="connsiteY6" fmla="*/ 1323220 h 1535557"/>
              <a:gd name="connsiteX7" fmla="*/ 2506578 w 2637207"/>
              <a:gd name="connsiteY7" fmla="*/ 1333017 h 1535557"/>
              <a:gd name="connsiteX8" fmla="*/ 2454327 w 2637207"/>
              <a:gd name="connsiteY8" fmla="*/ 1336283 h 1535557"/>
              <a:gd name="connsiteX9" fmla="*/ 2408607 w 2637207"/>
              <a:gd name="connsiteY9" fmla="*/ 1336283 h 1535557"/>
              <a:gd name="connsiteX10" fmla="*/ 2353090 w 2637207"/>
              <a:gd name="connsiteY10" fmla="*/ 1349346 h 1535557"/>
              <a:gd name="connsiteX11" fmla="*/ 2317167 w 2637207"/>
              <a:gd name="connsiteY11" fmla="*/ 1388534 h 1535557"/>
              <a:gd name="connsiteX12" fmla="*/ 2287775 w 2637207"/>
              <a:gd name="connsiteY12" fmla="*/ 1417926 h 1535557"/>
              <a:gd name="connsiteX13" fmla="*/ 2248587 w 2637207"/>
              <a:gd name="connsiteY13" fmla="*/ 1460380 h 1535557"/>
              <a:gd name="connsiteX14" fmla="*/ 2189804 w 2637207"/>
              <a:gd name="connsiteY14" fmla="*/ 1483240 h 1535557"/>
              <a:gd name="connsiteX15" fmla="*/ 2124490 w 2637207"/>
              <a:gd name="connsiteY15" fmla="*/ 1470177 h 1535557"/>
              <a:gd name="connsiteX16" fmla="*/ 2055910 w 2637207"/>
              <a:gd name="connsiteY16" fmla="*/ 1473443 h 1535557"/>
              <a:gd name="connsiteX17" fmla="*/ 2013455 w 2637207"/>
              <a:gd name="connsiteY17" fmla="*/ 1486506 h 1535557"/>
              <a:gd name="connsiteX18" fmla="*/ 1977532 w 2637207"/>
              <a:gd name="connsiteY18" fmla="*/ 1506100 h 1535557"/>
              <a:gd name="connsiteX19" fmla="*/ 1931812 w 2637207"/>
              <a:gd name="connsiteY19" fmla="*/ 1519163 h 1535557"/>
              <a:gd name="connsiteX20" fmla="*/ 1876295 w 2637207"/>
              <a:gd name="connsiteY20" fmla="*/ 1535491 h 1535557"/>
              <a:gd name="connsiteX21" fmla="*/ 1804450 w 2637207"/>
              <a:gd name="connsiteY21" fmla="*/ 1512631 h 1535557"/>
              <a:gd name="connsiteX22" fmla="*/ 1735870 w 2637207"/>
              <a:gd name="connsiteY22" fmla="*/ 1453848 h 1535557"/>
              <a:gd name="connsiteX23" fmla="*/ 1673821 w 2637207"/>
              <a:gd name="connsiteY23" fmla="*/ 1411394 h 1535557"/>
              <a:gd name="connsiteX24" fmla="*/ 1588980 w 2637207"/>
              <a:gd name="connsiteY24" fmla="*/ 1372478 h 1535557"/>
              <a:gd name="connsiteX25" fmla="*/ 1481144 w 2637207"/>
              <a:gd name="connsiteY25" fmla="*/ 1362408 h 1535557"/>
              <a:gd name="connsiteX26" fmla="*/ 1402767 w 2637207"/>
              <a:gd name="connsiteY26" fmla="*/ 1362408 h 1535557"/>
              <a:gd name="connsiteX27" fmla="*/ 1311327 w 2637207"/>
              <a:gd name="connsiteY27" fmla="*/ 1349346 h 1535557"/>
              <a:gd name="connsiteX28" fmla="*/ 1229684 w 2637207"/>
              <a:gd name="connsiteY28" fmla="*/ 1336283 h 1535557"/>
              <a:gd name="connsiteX29" fmla="*/ 1107356 w 2637207"/>
              <a:gd name="connsiteY29" fmla="*/ 1301856 h 1535557"/>
              <a:gd name="connsiteX30" fmla="*/ 971692 w 2637207"/>
              <a:gd name="connsiteY30" fmla="*/ 1264437 h 1535557"/>
              <a:gd name="connsiteX31" fmla="*/ 858890 w 2637207"/>
              <a:gd name="connsiteY31" fmla="*/ 1228242 h 1535557"/>
              <a:gd name="connsiteX32" fmla="*/ 756155 w 2637207"/>
              <a:gd name="connsiteY32" fmla="*/ 1195857 h 1535557"/>
              <a:gd name="connsiteX33" fmla="*/ 664715 w 2637207"/>
              <a:gd name="connsiteY33" fmla="*/ 1166466 h 1535557"/>
              <a:gd name="connsiteX34" fmla="*/ 562321 w 2637207"/>
              <a:gd name="connsiteY34" fmla="*/ 1140952 h 1535557"/>
              <a:gd name="connsiteX35" fmla="*/ 458975 w 2637207"/>
              <a:gd name="connsiteY35" fmla="*/ 1130543 h 1535557"/>
              <a:gd name="connsiteX36" fmla="*/ 380598 w 2637207"/>
              <a:gd name="connsiteY36" fmla="*/ 1124011 h 1535557"/>
              <a:gd name="connsiteX37" fmla="*/ 253847 w 2637207"/>
              <a:gd name="connsiteY37" fmla="*/ 1088973 h 1535557"/>
              <a:gd name="connsiteX38" fmla="*/ 180505 w 2637207"/>
              <a:gd name="connsiteY38" fmla="*/ 1045906 h 1535557"/>
              <a:gd name="connsiteX39" fmla="*/ 106618 w 2637207"/>
              <a:gd name="connsiteY39" fmla="*/ 982157 h 1535557"/>
              <a:gd name="connsiteX40" fmla="*/ 61987 w 2637207"/>
              <a:gd name="connsiteY40" fmla="*/ 923646 h 1535557"/>
              <a:gd name="connsiteX41" fmla="*/ 25791 w 2637207"/>
              <a:gd name="connsiteY41" fmla="*/ 834588 h 1535557"/>
              <a:gd name="connsiteX42" fmla="*/ 4428 w 2637207"/>
              <a:gd name="connsiteY42" fmla="*/ 735391 h 1535557"/>
              <a:gd name="connsiteX43" fmla="*/ 5041 w 2637207"/>
              <a:gd name="connsiteY43" fmla="*/ 624357 h 1535557"/>
              <a:gd name="connsiteX44" fmla="*/ 47495 w 2637207"/>
              <a:gd name="connsiteY44" fmla="*/ 536183 h 1535557"/>
              <a:gd name="connsiteX45" fmla="*/ 122607 w 2637207"/>
              <a:gd name="connsiteY45" fmla="*/ 461071 h 1535557"/>
              <a:gd name="connsiteX46" fmla="*/ 223844 w 2637207"/>
              <a:gd name="connsiteY46" fmla="*/ 382694 h 1535557"/>
              <a:gd name="connsiteX47" fmla="*/ 370801 w 2637207"/>
              <a:gd name="connsiteY47" fmla="*/ 314114 h 1535557"/>
              <a:gd name="connsiteX48" fmla="*/ 527555 w 2637207"/>
              <a:gd name="connsiteY48" fmla="*/ 268394 h 1535557"/>
              <a:gd name="connsiteX49" fmla="*/ 651652 w 2637207"/>
              <a:gd name="connsiteY49" fmla="*/ 236350 h 1535557"/>
              <a:gd name="connsiteX50" fmla="*/ 797725 w 2637207"/>
              <a:gd name="connsiteY50" fmla="*/ 201310 h 1535557"/>
              <a:gd name="connsiteX51" fmla="*/ 955364 w 2637207"/>
              <a:gd name="connsiteY51" fmla="*/ 167157 h 1535557"/>
              <a:gd name="connsiteX52" fmla="*/ 1146952 w 2637207"/>
              <a:gd name="connsiteY52" fmla="*/ 116335 h 1535557"/>
              <a:gd name="connsiteX53" fmla="*/ 1399501 w 2637207"/>
              <a:gd name="connsiteY53" fmla="*/ 49591 h 1535557"/>
              <a:gd name="connsiteX54" fmla="*/ 1549724 w 2637207"/>
              <a:gd name="connsiteY54" fmla="*/ 18704 h 1535557"/>
              <a:gd name="connsiteX55" fmla="*/ 1662187 w 2637207"/>
              <a:gd name="connsiteY55" fmla="*/ 878 h 1535557"/>
              <a:gd name="connsiteX56" fmla="*/ 1771792 w 2637207"/>
              <a:gd name="connsiteY56" fmla="*/ 10403 h 1535557"/>
              <a:gd name="connsiteX57" fmla="*/ 1878133 w 2637207"/>
              <a:gd name="connsiteY57" fmla="*/ 62654 h 1535557"/>
              <a:gd name="connsiteX58" fmla="*/ 1977873 w 2637207"/>
              <a:gd name="connsiteY58" fmla="*/ 151441 h 1535557"/>
              <a:gd name="connsiteX59" fmla="*/ 2072851 w 2637207"/>
              <a:gd name="connsiteY59" fmla="*/ 229206 h 1535557"/>
              <a:gd name="connsiteX60" fmla="*/ 2157147 w 2637207"/>
              <a:gd name="connsiteY60" fmla="*/ 294520 h 1535557"/>
              <a:gd name="connsiteX61" fmla="*/ 2193070 w 2637207"/>
              <a:gd name="connsiteY61" fmla="*/ 340240 h 1535557"/>
              <a:gd name="connsiteX62" fmla="*/ 2199601 w 2637207"/>
              <a:gd name="connsiteY62" fmla="*/ 389226 h 1535557"/>
              <a:gd name="connsiteX63" fmla="*/ 2173475 w 2637207"/>
              <a:gd name="connsiteY63" fmla="*/ 451274 h 1535557"/>
              <a:gd name="connsiteX64" fmla="*/ 2064210 w 2637207"/>
              <a:gd name="connsiteY64" fmla="*/ 499988 h 1535557"/>
              <a:gd name="connsiteX65" fmla="*/ 1939229 w 2637207"/>
              <a:gd name="connsiteY65" fmla="*/ 501757 h 1535557"/>
              <a:gd name="connsiteX66" fmla="*/ 1859967 w 2637207"/>
              <a:gd name="connsiteY66" fmla="*/ 490463 h 1535557"/>
              <a:gd name="connsiteX67" fmla="*/ 1713010 w 2637207"/>
              <a:gd name="connsiteY67" fmla="*/ 467603 h 1535557"/>
              <a:gd name="connsiteX68" fmla="*/ 1572584 w 2637207"/>
              <a:gd name="connsiteY68" fmla="*/ 441477 h 1535557"/>
              <a:gd name="connsiteX69" fmla="*/ 1441955 w 2637207"/>
              <a:gd name="connsiteY69" fmla="*/ 421883 h 1535557"/>
              <a:gd name="connsiteX70" fmla="*/ 1327655 w 2637207"/>
              <a:gd name="connsiteY70" fmla="*/ 425148 h 1535557"/>
              <a:gd name="connsiteX71" fmla="*/ 1219887 w 2637207"/>
              <a:gd name="connsiteY71" fmla="*/ 448008 h 1535557"/>
              <a:gd name="connsiteX72" fmla="*/ 1141510 w 2637207"/>
              <a:gd name="connsiteY72" fmla="*/ 480666 h 1535557"/>
              <a:gd name="connsiteX73" fmla="*/ 1026665 w 2637207"/>
              <a:gd name="connsiteY73" fmla="*/ 526386 h 1535557"/>
              <a:gd name="connsiteX74" fmla="*/ 925972 w 2637207"/>
              <a:gd name="connsiteY74" fmla="*/ 563192 h 1535557"/>
              <a:gd name="connsiteX75" fmla="*/ 775138 w 2637207"/>
              <a:gd name="connsiteY75" fmla="*/ 585781 h 1535557"/>
              <a:gd name="connsiteX76" fmla="*/ 660021 w 2637207"/>
              <a:gd name="connsiteY76" fmla="*/ 600612 h 1535557"/>
              <a:gd name="connsiteX77" fmla="*/ 550415 w 2637207"/>
              <a:gd name="connsiteY77" fmla="*/ 601497 h 1535557"/>
              <a:gd name="connsiteX78" fmla="*/ 413255 w 2637207"/>
              <a:gd name="connsiteY78" fmla="*/ 587549 h 1535557"/>
              <a:gd name="connsiteX79" fmla="*/ 294805 w 2637207"/>
              <a:gd name="connsiteY79" fmla="*/ 572718 h 1535557"/>
              <a:gd name="connsiteX80" fmla="*/ 174858 w 2637207"/>
              <a:gd name="connsiteY80" fmla="*/ 555777 h 1535557"/>
              <a:gd name="connsiteX0" fmla="*/ 2637207 w 2637207"/>
              <a:gd name="connsiteY0" fmla="*/ 1022774 h 1535557"/>
              <a:gd name="connsiteX1" fmla="*/ 2633941 w 2637207"/>
              <a:gd name="connsiteY1" fmla="*/ 1078291 h 1535557"/>
              <a:gd name="connsiteX2" fmla="*/ 2628906 w 2637207"/>
              <a:gd name="connsiteY2" fmla="*/ 1136190 h 1535557"/>
              <a:gd name="connsiteX3" fmla="*/ 2627410 w 2637207"/>
              <a:gd name="connsiteY3" fmla="*/ 1182794 h 1535557"/>
              <a:gd name="connsiteX4" fmla="*/ 2623872 w 2637207"/>
              <a:gd name="connsiteY4" fmla="*/ 1237699 h 1535557"/>
              <a:gd name="connsiteX5" fmla="*/ 2601284 w 2637207"/>
              <a:gd name="connsiteY5" fmla="*/ 1290563 h 1535557"/>
              <a:gd name="connsiteX6" fmla="*/ 2562095 w 2637207"/>
              <a:gd name="connsiteY6" fmla="*/ 1323220 h 1535557"/>
              <a:gd name="connsiteX7" fmla="*/ 2506578 w 2637207"/>
              <a:gd name="connsiteY7" fmla="*/ 1333017 h 1535557"/>
              <a:gd name="connsiteX8" fmla="*/ 2454327 w 2637207"/>
              <a:gd name="connsiteY8" fmla="*/ 1336283 h 1535557"/>
              <a:gd name="connsiteX9" fmla="*/ 2408607 w 2637207"/>
              <a:gd name="connsiteY9" fmla="*/ 1336283 h 1535557"/>
              <a:gd name="connsiteX10" fmla="*/ 2353090 w 2637207"/>
              <a:gd name="connsiteY10" fmla="*/ 1349346 h 1535557"/>
              <a:gd name="connsiteX11" fmla="*/ 2317167 w 2637207"/>
              <a:gd name="connsiteY11" fmla="*/ 1388534 h 1535557"/>
              <a:gd name="connsiteX12" fmla="*/ 2287775 w 2637207"/>
              <a:gd name="connsiteY12" fmla="*/ 1417926 h 1535557"/>
              <a:gd name="connsiteX13" fmla="*/ 2248587 w 2637207"/>
              <a:gd name="connsiteY13" fmla="*/ 1460380 h 1535557"/>
              <a:gd name="connsiteX14" fmla="*/ 2189804 w 2637207"/>
              <a:gd name="connsiteY14" fmla="*/ 1483240 h 1535557"/>
              <a:gd name="connsiteX15" fmla="*/ 2124490 w 2637207"/>
              <a:gd name="connsiteY15" fmla="*/ 1470177 h 1535557"/>
              <a:gd name="connsiteX16" fmla="*/ 2055910 w 2637207"/>
              <a:gd name="connsiteY16" fmla="*/ 1473443 h 1535557"/>
              <a:gd name="connsiteX17" fmla="*/ 2013455 w 2637207"/>
              <a:gd name="connsiteY17" fmla="*/ 1486506 h 1535557"/>
              <a:gd name="connsiteX18" fmla="*/ 1977532 w 2637207"/>
              <a:gd name="connsiteY18" fmla="*/ 1506100 h 1535557"/>
              <a:gd name="connsiteX19" fmla="*/ 1931812 w 2637207"/>
              <a:gd name="connsiteY19" fmla="*/ 1519163 h 1535557"/>
              <a:gd name="connsiteX20" fmla="*/ 1876295 w 2637207"/>
              <a:gd name="connsiteY20" fmla="*/ 1535491 h 1535557"/>
              <a:gd name="connsiteX21" fmla="*/ 1804450 w 2637207"/>
              <a:gd name="connsiteY21" fmla="*/ 1512631 h 1535557"/>
              <a:gd name="connsiteX22" fmla="*/ 1735870 w 2637207"/>
              <a:gd name="connsiteY22" fmla="*/ 1453848 h 1535557"/>
              <a:gd name="connsiteX23" fmla="*/ 1673821 w 2637207"/>
              <a:gd name="connsiteY23" fmla="*/ 1411394 h 1535557"/>
              <a:gd name="connsiteX24" fmla="*/ 1588980 w 2637207"/>
              <a:gd name="connsiteY24" fmla="*/ 1372478 h 1535557"/>
              <a:gd name="connsiteX25" fmla="*/ 1481144 w 2637207"/>
              <a:gd name="connsiteY25" fmla="*/ 1362408 h 1535557"/>
              <a:gd name="connsiteX26" fmla="*/ 1402767 w 2637207"/>
              <a:gd name="connsiteY26" fmla="*/ 1362408 h 1535557"/>
              <a:gd name="connsiteX27" fmla="*/ 1311327 w 2637207"/>
              <a:gd name="connsiteY27" fmla="*/ 1349346 h 1535557"/>
              <a:gd name="connsiteX28" fmla="*/ 1229684 w 2637207"/>
              <a:gd name="connsiteY28" fmla="*/ 1336283 h 1535557"/>
              <a:gd name="connsiteX29" fmla="*/ 1107356 w 2637207"/>
              <a:gd name="connsiteY29" fmla="*/ 1301856 h 1535557"/>
              <a:gd name="connsiteX30" fmla="*/ 971692 w 2637207"/>
              <a:gd name="connsiteY30" fmla="*/ 1264437 h 1535557"/>
              <a:gd name="connsiteX31" fmla="*/ 858890 w 2637207"/>
              <a:gd name="connsiteY31" fmla="*/ 1228242 h 1535557"/>
              <a:gd name="connsiteX32" fmla="*/ 756155 w 2637207"/>
              <a:gd name="connsiteY32" fmla="*/ 1195857 h 1535557"/>
              <a:gd name="connsiteX33" fmla="*/ 664715 w 2637207"/>
              <a:gd name="connsiteY33" fmla="*/ 1166466 h 1535557"/>
              <a:gd name="connsiteX34" fmla="*/ 562321 w 2637207"/>
              <a:gd name="connsiteY34" fmla="*/ 1140952 h 1535557"/>
              <a:gd name="connsiteX35" fmla="*/ 458975 w 2637207"/>
              <a:gd name="connsiteY35" fmla="*/ 1130543 h 1535557"/>
              <a:gd name="connsiteX36" fmla="*/ 380598 w 2637207"/>
              <a:gd name="connsiteY36" fmla="*/ 1124011 h 1535557"/>
              <a:gd name="connsiteX37" fmla="*/ 253847 w 2637207"/>
              <a:gd name="connsiteY37" fmla="*/ 1088973 h 1535557"/>
              <a:gd name="connsiteX38" fmla="*/ 180505 w 2637207"/>
              <a:gd name="connsiteY38" fmla="*/ 1045906 h 1535557"/>
              <a:gd name="connsiteX39" fmla="*/ 106618 w 2637207"/>
              <a:gd name="connsiteY39" fmla="*/ 982157 h 1535557"/>
              <a:gd name="connsiteX40" fmla="*/ 61987 w 2637207"/>
              <a:gd name="connsiteY40" fmla="*/ 923646 h 1535557"/>
              <a:gd name="connsiteX41" fmla="*/ 25791 w 2637207"/>
              <a:gd name="connsiteY41" fmla="*/ 834588 h 1535557"/>
              <a:gd name="connsiteX42" fmla="*/ 4428 w 2637207"/>
              <a:gd name="connsiteY42" fmla="*/ 735391 h 1535557"/>
              <a:gd name="connsiteX43" fmla="*/ 5041 w 2637207"/>
              <a:gd name="connsiteY43" fmla="*/ 624357 h 1535557"/>
              <a:gd name="connsiteX44" fmla="*/ 47495 w 2637207"/>
              <a:gd name="connsiteY44" fmla="*/ 536183 h 1535557"/>
              <a:gd name="connsiteX45" fmla="*/ 122607 w 2637207"/>
              <a:gd name="connsiteY45" fmla="*/ 461071 h 1535557"/>
              <a:gd name="connsiteX46" fmla="*/ 223844 w 2637207"/>
              <a:gd name="connsiteY46" fmla="*/ 382694 h 1535557"/>
              <a:gd name="connsiteX47" fmla="*/ 370801 w 2637207"/>
              <a:gd name="connsiteY47" fmla="*/ 314114 h 1535557"/>
              <a:gd name="connsiteX48" fmla="*/ 527555 w 2637207"/>
              <a:gd name="connsiteY48" fmla="*/ 268394 h 1535557"/>
              <a:gd name="connsiteX49" fmla="*/ 651652 w 2637207"/>
              <a:gd name="connsiteY49" fmla="*/ 236350 h 1535557"/>
              <a:gd name="connsiteX50" fmla="*/ 797725 w 2637207"/>
              <a:gd name="connsiteY50" fmla="*/ 201310 h 1535557"/>
              <a:gd name="connsiteX51" fmla="*/ 955364 w 2637207"/>
              <a:gd name="connsiteY51" fmla="*/ 167157 h 1535557"/>
              <a:gd name="connsiteX52" fmla="*/ 1146952 w 2637207"/>
              <a:gd name="connsiteY52" fmla="*/ 116335 h 1535557"/>
              <a:gd name="connsiteX53" fmla="*/ 1399501 w 2637207"/>
              <a:gd name="connsiteY53" fmla="*/ 49591 h 1535557"/>
              <a:gd name="connsiteX54" fmla="*/ 1549724 w 2637207"/>
              <a:gd name="connsiteY54" fmla="*/ 18704 h 1535557"/>
              <a:gd name="connsiteX55" fmla="*/ 1662187 w 2637207"/>
              <a:gd name="connsiteY55" fmla="*/ 878 h 1535557"/>
              <a:gd name="connsiteX56" fmla="*/ 1771792 w 2637207"/>
              <a:gd name="connsiteY56" fmla="*/ 10403 h 1535557"/>
              <a:gd name="connsiteX57" fmla="*/ 1878133 w 2637207"/>
              <a:gd name="connsiteY57" fmla="*/ 62654 h 1535557"/>
              <a:gd name="connsiteX58" fmla="*/ 1977873 w 2637207"/>
              <a:gd name="connsiteY58" fmla="*/ 151441 h 1535557"/>
              <a:gd name="connsiteX59" fmla="*/ 2072851 w 2637207"/>
              <a:gd name="connsiteY59" fmla="*/ 229206 h 1535557"/>
              <a:gd name="connsiteX60" fmla="*/ 2157147 w 2637207"/>
              <a:gd name="connsiteY60" fmla="*/ 294520 h 1535557"/>
              <a:gd name="connsiteX61" fmla="*/ 2193070 w 2637207"/>
              <a:gd name="connsiteY61" fmla="*/ 340240 h 1535557"/>
              <a:gd name="connsiteX62" fmla="*/ 2199601 w 2637207"/>
              <a:gd name="connsiteY62" fmla="*/ 389226 h 1535557"/>
              <a:gd name="connsiteX63" fmla="*/ 2173475 w 2637207"/>
              <a:gd name="connsiteY63" fmla="*/ 451274 h 1535557"/>
              <a:gd name="connsiteX64" fmla="*/ 2064210 w 2637207"/>
              <a:gd name="connsiteY64" fmla="*/ 499988 h 1535557"/>
              <a:gd name="connsiteX65" fmla="*/ 1939229 w 2637207"/>
              <a:gd name="connsiteY65" fmla="*/ 501757 h 1535557"/>
              <a:gd name="connsiteX66" fmla="*/ 1859967 w 2637207"/>
              <a:gd name="connsiteY66" fmla="*/ 490463 h 1535557"/>
              <a:gd name="connsiteX67" fmla="*/ 1713010 w 2637207"/>
              <a:gd name="connsiteY67" fmla="*/ 467603 h 1535557"/>
              <a:gd name="connsiteX68" fmla="*/ 1572584 w 2637207"/>
              <a:gd name="connsiteY68" fmla="*/ 441477 h 1535557"/>
              <a:gd name="connsiteX69" fmla="*/ 1441955 w 2637207"/>
              <a:gd name="connsiteY69" fmla="*/ 421883 h 1535557"/>
              <a:gd name="connsiteX70" fmla="*/ 1327655 w 2637207"/>
              <a:gd name="connsiteY70" fmla="*/ 425148 h 1535557"/>
              <a:gd name="connsiteX71" fmla="*/ 1219887 w 2637207"/>
              <a:gd name="connsiteY71" fmla="*/ 448008 h 1535557"/>
              <a:gd name="connsiteX72" fmla="*/ 1141510 w 2637207"/>
              <a:gd name="connsiteY72" fmla="*/ 480666 h 1535557"/>
              <a:gd name="connsiteX73" fmla="*/ 1026665 w 2637207"/>
              <a:gd name="connsiteY73" fmla="*/ 526386 h 1535557"/>
              <a:gd name="connsiteX74" fmla="*/ 925972 w 2637207"/>
              <a:gd name="connsiteY74" fmla="*/ 563192 h 1535557"/>
              <a:gd name="connsiteX75" fmla="*/ 775138 w 2637207"/>
              <a:gd name="connsiteY75" fmla="*/ 585781 h 1535557"/>
              <a:gd name="connsiteX76" fmla="*/ 660021 w 2637207"/>
              <a:gd name="connsiteY76" fmla="*/ 600612 h 1535557"/>
              <a:gd name="connsiteX77" fmla="*/ 550415 w 2637207"/>
              <a:gd name="connsiteY77" fmla="*/ 601497 h 1535557"/>
              <a:gd name="connsiteX78" fmla="*/ 413255 w 2637207"/>
              <a:gd name="connsiteY78" fmla="*/ 587549 h 1535557"/>
              <a:gd name="connsiteX79" fmla="*/ 294805 w 2637207"/>
              <a:gd name="connsiteY79" fmla="*/ 572718 h 1535557"/>
              <a:gd name="connsiteX80" fmla="*/ 174858 w 2637207"/>
              <a:gd name="connsiteY80" fmla="*/ 555777 h 1535557"/>
              <a:gd name="connsiteX0" fmla="*/ 2637207 w 2637207"/>
              <a:gd name="connsiteY0" fmla="*/ 1022774 h 1535557"/>
              <a:gd name="connsiteX1" fmla="*/ 2633941 w 2637207"/>
              <a:gd name="connsiteY1" fmla="*/ 1078291 h 1535557"/>
              <a:gd name="connsiteX2" fmla="*/ 2628906 w 2637207"/>
              <a:gd name="connsiteY2" fmla="*/ 1136190 h 1535557"/>
              <a:gd name="connsiteX3" fmla="*/ 2627410 w 2637207"/>
              <a:gd name="connsiteY3" fmla="*/ 1182794 h 1535557"/>
              <a:gd name="connsiteX4" fmla="*/ 2623872 w 2637207"/>
              <a:gd name="connsiteY4" fmla="*/ 1237699 h 1535557"/>
              <a:gd name="connsiteX5" fmla="*/ 2601284 w 2637207"/>
              <a:gd name="connsiteY5" fmla="*/ 1290563 h 1535557"/>
              <a:gd name="connsiteX6" fmla="*/ 2562095 w 2637207"/>
              <a:gd name="connsiteY6" fmla="*/ 1323220 h 1535557"/>
              <a:gd name="connsiteX7" fmla="*/ 2506578 w 2637207"/>
              <a:gd name="connsiteY7" fmla="*/ 1333017 h 1535557"/>
              <a:gd name="connsiteX8" fmla="*/ 2454327 w 2637207"/>
              <a:gd name="connsiteY8" fmla="*/ 1336283 h 1535557"/>
              <a:gd name="connsiteX9" fmla="*/ 2408607 w 2637207"/>
              <a:gd name="connsiteY9" fmla="*/ 1336283 h 1535557"/>
              <a:gd name="connsiteX10" fmla="*/ 2353090 w 2637207"/>
              <a:gd name="connsiteY10" fmla="*/ 1349346 h 1535557"/>
              <a:gd name="connsiteX11" fmla="*/ 2317167 w 2637207"/>
              <a:gd name="connsiteY11" fmla="*/ 1388534 h 1535557"/>
              <a:gd name="connsiteX12" fmla="*/ 2287775 w 2637207"/>
              <a:gd name="connsiteY12" fmla="*/ 1417926 h 1535557"/>
              <a:gd name="connsiteX13" fmla="*/ 2248587 w 2637207"/>
              <a:gd name="connsiteY13" fmla="*/ 1460380 h 1535557"/>
              <a:gd name="connsiteX14" fmla="*/ 2189804 w 2637207"/>
              <a:gd name="connsiteY14" fmla="*/ 1483240 h 1535557"/>
              <a:gd name="connsiteX15" fmla="*/ 2124490 w 2637207"/>
              <a:gd name="connsiteY15" fmla="*/ 1470177 h 1535557"/>
              <a:gd name="connsiteX16" fmla="*/ 2055910 w 2637207"/>
              <a:gd name="connsiteY16" fmla="*/ 1473443 h 1535557"/>
              <a:gd name="connsiteX17" fmla="*/ 2013455 w 2637207"/>
              <a:gd name="connsiteY17" fmla="*/ 1486506 h 1535557"/>
              <a:gd name="connsiteX18" fmla="*/ 1977532 w 2637207"/>
              <a:gd name="connsiteY18" fmla="*/ 1506100 h 1535557"/>
              <a:gd name="connsiteX19" fmla="*/ 1931812 w 2637207"/>
              <a:gd name="connsiteY19" fmla="*/ 1519163 h 1535557"/>
              <a:gd name="connsiteX20" fmla="*/ 1876295 w 2637207"/>
              <a:gd name="connsiteY20" fmla="*/ 1535491 h 1535557"/>
              <a:gd name="connsiteX21" fmla="*/ 1804450 w 2637207"/>
              <a:gd name="connsiteY21" fmla="*/ 1512631 h 1535557"/>
              <a:gd name="connsiteX22" fmla="*/ 1735870 w 2637207"/>
              <a:gd name="connsiteY22" fmla="*/ 1453848 h 1535557"/>
              <a:gd name="connsiteX23" fmla="*/ 1673821 w 2637207"/>
              <a:gd name="connsiteY23" fmla="*/ 1411394 h 1535557"/>
              <a:gd name="connsiteX24" fmla="*/ 1588980 w 2637207"/>
              <a:gd name="connsiteY24" fmla="*/ 1372478 h 1535557"/>
              <a:gd name="connsiteX25" fmla="*/ 1481144 w 2637207"/>
              <a:gd name="connsiteY25" fmla="*/ 1362408 h 1535557"/>
              <a:gd name="connsiteX26" fmla="*/ 1402767 w 2637207"/>
              <a:gd name="connsiteY26" fmla="*/ 1362408 h 1535557"/>
              <a:gd name="connsiteX27" fmla="*/ 1311327 w 2637207"/>
              <a:gd name="connsiteY27" fmla="*/ 1349346 h 1535557"/>
              <a:gd name="connsiteX28" fmla="*/ 1229684 w 2637207"/>
              <a:gd name="connsiteY28" fmla="*/ 1336283 h 1535557"/>
              <a:gd name="connsiteX29" fmla="*/ 1107356 w 2637207"/>
              <a:gd name="connsiteY29" fmla="*/ 1301856 h 1535557"/>
              <a:gd name="connsiteX30" fmla="*/ 971692 w 2637207"/>
              <a:gd name="connsiteY30" fmla="*/ 1264437 h 1535557"/>
              <a:gd name="connsiteX31" fmla="*/ 858890 w 2637207"/>
              <a:gd name="connsiteY31" fmla="*/ 1228242 h 1535557"/>
              <a:gd name="connsiteX32" fmla="*/ 756155 w 2637207"/>
              <a:gd name="connsiteY32" fmla="*/ 1195857 h 1535557"/>
              <a:gd name="connsiteX33" fmla="*/ 664715 w 2637207"/>
              <a:gd name="connsiteY33" fmla="*/ 1166466 h 1535557"/>
              <a:gd name="connsiteX34" fmla="*/ 562321 w 2637207"/>
              <a:gd name="connsiteY34" fmla="*/ 1140952 h 1535557"/>
              <a:gd name="connsiteX35" fmla="*/ 458975 w 2637207"/>
              <a:gd name="connsiteY35" fmla="*/ 1130543 h 1535557"/>
              <a:gd name="connsiteX36" fmla="*/ 380598 w 2637207"/>
              <a:gd name="connsiteY36" fmla="*/ 1124011 h 1535557"/>
              <a:gd name="connsiteX37" fmla="*/ 253847 w 2637207"/>
              <a:gd name="connsiteY37" fmla="*/ 1088973 h 1535557"/>
              <a:gd name="connsiteX38" fmla="*/ 180505 w 2637207"/>
              <a:gd name="connsiteY38" fmla="*/ 1045906 h 1535557"/>
              <a:gd name="connsiteX39" fmla="*/ 106618 w 2637207"/>
              <a:gd name="connsiteY39" fmla="*/ 982157 h 1535557"/>
              <a:gd name="connsiteX40" fmla="*/ 61987 w 2637207"/>
              <a:gd name="connsiteY40" fmla="*/ 923646 h 1535557"/>
              <a:gd name="connsiteX41" fmla="*/ 25791 w 2637207"/>
              <a:gd name="connsiteY41" fmla="*/ 834588 h 1535557"/>
              <a:gd name="connsiteX42" fmla="*/ 4428 w 2637207"/>
              <a:gd name="connsiteY42" fmla="*/ 735391 h 1535557"/>
              <a:gd name="connsiteX43" fmla="*/ 5041 w 2637207"/>
              <a:gd name="connsiteY43" fmla="*/ 624357 h 1535557"/>
              <a:gd name="connsiteX44" fmla="*/ 47495 w 2637207"/>
              <a:gd name="connsiteY44" fmla="*/ 536183 h 1535557"/>
              <a:gd name="connsiteX45" fmla="*/ 122607 w 2637207"/>
              <a:gd name="connsiteY45" fmla="*/ 461071 h 1535557"/>
              <a:gd name="connsiteX46" fmla="*/ 223844 w 2637207"/>
              <a:gd name="connsiteY46" fmla="*/ 382694 h 1535557"/>
              <a:gd name="connsiteX47" fmla="*/ 370801 w 2637207"/>
              <a:gd name="connsiteY47" fmla="*/ 314114 h 1535557"/>
              <a:gd name="connsiteX48" fmla="*/ 527555 w 2637207"/>
              <a:gd name="connsiteY48" fmla="*/ 268394 h 1535557"/>
              <a:gd name="connsiteX49" fmla="*/ 651652 w 2637207"/>
              <a:gd name="connsiteY49" fmla="*/ 236350 h 1535557"/>
              <a:gd name="connsiteX50" fmla="*/ 797725 w 2637207"/>
              <a:gd name="connsiteY50" fmla="*/ 201310 h 1535557"/>
              <a:gd name="connsiteX51" fmla="*/ 955364 w 2637207"/>
              <a:gd name="connsiteY51" fmla="*/ 167157 h 1535557"/>
              <a:gd name="connsiteX52" fmla="*/ 1146952 w 2637207"/>
              <a:gd name="connsiteY52" fmla="*/ 116335 h 1535557"/>
              <a:gd name="connsiteX53" fmla="*/ 1399501 w 2637207"/>
              <a:gd name="connsiteY53" fmla="*/ 49591 h 1535557"/>
              <a:gd name="connsiteX54" fmla="*/ 1549724 w 2637207"/>
              <a:gd name="connsiteY54" fmla="*/ 18704 h 1535557"/>
              <a:gd name="connsiteX55" fmla="*/ 1662187 w 2637207"/>
              <a:gd name="connsiteY55" fmla="*/ 878 h 1535557"/>
              <a:gd name="connsiteX56" fmla="*/ 1771792 w 2637207"/>
              <a:gd name="connsiteY56" fmla="*/ 10403 h 1535557"/>
              <a:gd name="connsiteX57" fmla="*/ 1878133 w 2637207"/>
              <a:gd name="connsiteY57" fmla="*/ 62654 h 1535557"/>
              <a:gd name="connsiteX58" fmla="*/ 1977873 w 2637207"/>
              <a:gd name="connsiteY58" fmla="*/ 151441 h 1535557"/>
              <a:gd name="connsiteX59" fmla="*/ 2072851 w 2637207"/>
              <a:gd name="connsiteY59" fmla="*/ 229206 h 1535557"/>
              <a:gd name="connsiteX60" fmla="*/ 2157147 w 2637207"/>
              <a:gd name="connsiteY60" fmla="*/ 294520 h 1535557"/>
              <a:gd name="connsiteX61" fmla="*/ 2193070 w 2637207"/>
              <a:gd name="connsiteY61" fmla="*/ 340240 h 1535557"/>
              <a:gd name="connsiteX62" fmla="*/ 2199601 w 2637207"/>
              <a:gd name="connsiteY62" fmla="*/ 389226 h 1535557"/>
              <a:gd name="connsiteX63" fmla="*/ 2173475 w 2637207"/>
              <a:gd name="connsiteY63" fmla="*/ 451274 h 1535557"/>
              <a:gd name="connsiteX64" fmla="*/ 2064210 w 2637207"/>
              <a:gd name="connsiteY64" fmla="*/ 499988 h 1535557"/>
              <a:gd name="connsiteX65" fmla="*/ 1939229 w 2637207"/>
              <a:gd name="connsiteY65" fmla="*/ 501757 h 1535557"/>
              <a:gd name="connsiteX66" fmla="*/ 1859967 w 2637207"/>
              <a:gd name="connsiteY66" fmla="*/ 490463 h 1535557"/>
              <a:gd name="connsiteX67" fmla="*/ 1713010 w 2637207"/>
              <a:gd name="connsiteY67" fmla="*/ 467603 h 1535557"/>
              <a:gd name="connsiteX68" fmla="*/ 1572584 w 2637207"/>
              <a:gd name="connsiteY68" fmla="*/ 441477 h 1535557"/>
              <a:gd name="connsiteX69" fmla="*/ 1441955 w 2637207"/>
              <a:gd name="connsiteY69" fmla="*/ 421883 h 1535557"/>
              <a:gd name="connsiteX70" fmla="*/ 1327655 w 2637207"/>
              <a:gd name="connsiteY70" fmla="*/ 425148 h 1535557"/>
              <a:gd name="connsiteX71" fmla="*/ 1227031 w 2637207"/>
              <a:gd name="connsiteY71" fmla="*/ 450389 h 1535557"/>
              <a:gd name="connsiteX72" fmla="*/ 1141510 w 2637207"/>
              <a:gd name="connsiteY72" fmla="*/ 480666 h 1535557"/>
              <a:gd name="connsiteX73" fmla="*/ 1026665 w 2637207"/>
              <a:gd name="connsiteY73" fmla="*/ 526386 h 1535557"/>
              <a:gd name="connsiteX74" fmla="*/ 925972 w 2637207"/>
              <a:gd name="connsiteY74" fmla="*/ 563192 h 1535557"/>
              <a:gd name="connsiteX75" fmla="*/ 775138 w 2637207"/>
              <a:gd name="connsiteY75" fmla="*/ 585781 h 1535557"/>
              <a:gd name="connsiteX76" fmla="*/ 660021 w 2637207"/>
              <a:gd name="connsiteY76" fmla="*/ 600612 h 1535557"/>
              <a:gd name="connsiteX77" fmla="*/ 550415 w 2637207"/>
              <a:gd name="connsiteY77" fmla="*/ 601497 h 1535557"/>
              <a:gd name="connsiteX78" fmla="*/ 413255 w 2637207"/>
              <a:gd name="connsiteY78" fmla="*/ 587549 h 1535557"/>
              <a:gd name="connsiteX79" fmla="*/ 294805 w 2637207"/>
              <a:gd name="connsiteY79" fmla="*/ 572718 h 1535557"/>
              <a:gd name="connsiteX80" fmla="*/ 174858 w 2637207"/>
              <a:gd name="connsiteY80" fmla="*/ 555777 h 1535557"/>
              <a:gd name="connsiteX0" fmla="*/ 2637207 w 2637207"/>
              <a:gd name="connsiteY0" fmla="*/ 1022774 h 1535557"/>
              <a:gd name="connsiteX1" fmla="*/ 2633941 w 2637207"/>
              <a:gd name="connsiteY1" fmla="*/ 1078291 h 1535557"/>
              <a:gd name="connsiteX2" fmla="*/ 2628906 w 2637207"/>
              <a:gd name="connsiteY2" fmla="*/ 1136190 h 1535557"/>
              <a:gd name="connsiteX3" fmla="*/ 2627410 w 2637207"/>
              <a:gd name="connsiteY3" fmla="*/ 1182794 h 1535557"/>
              <a:gd name="connsiteX4" fmla="*/ 2623872 w 2637207"/>
              <a:gd name="connsiteY4" fmla="*/ 1237699 h 1535557"/>
              <a:gd name="connsiteX5" fmla="*/ 2601284 w 2637207"/>
              <a:gd name="connsiteY5" fmla="*/ 1290563 h 1535557"/>
              <a:gd name="connsiteX6" fmla="*/ 2562095 w 2637207"/>
              <a:gd name="connsiteY6" fmla="*/ 1323220 h 1535557"/>
              <a:gd name="connsiteX7" fmla="*/ 2506578 w 2637207"/>
              <a:gd name="connsiteY7" fmla="*/ 1333017 h 1535557"/>
              <a:gd name="connsiteX8" fmla="*/ 2454327 w 2637207"/>
              <a:gd name="connsiteY8" fmla="*/ 1336283 h 1535557"/>
              <a:gd name="connsiteX9" fmla="*/ 2408607 w 2637207"/>
              <a:gd name="connsiteY9" fmla="*/ 1336283 h 1535557"/>
              <a:gd name="connsiteX10" fmla="*/ 2353090 w 2637207"/>
              <a:gd name="connsiteY10" fmla="*/ 1349346 h 1535557"/>
              <a:gd name="connsiteX11" fmla="*/ 2317167 w 2637207"/>
              <a:gd name="connsiteY11" fmla="*/ 1388534 h 1535557"/>
              <a:gd name="connsiteX12" fmla="*/ 2287775 w 2637207"/>
              <a:gd name="connsiteY12" fmla="*/ 1417926 h 1535557"/>
              <a:gd name="connsiteX13" fmla="*/ 2248587 w 2637207"/>
              <a:gd name="connsiteY13" fmla="*/ 1460380 h 1535557"/>
              <a:gd name="connsiteX14" fmla="*/ 2189804 w 2637207"/>
              <a:gd name="connsiteY14" fmla="*/ 1483240 h 1535557"/>
              <a:gd name="connsiteX15" fmla="*/ 2124490 w 2637207"/>
              <a:gd name="connsiteY15" fmla="*/ 1470177 h 1535557"/>
              <a:gd name="connsiteX16" fmla="*/ 2055910 w 2637207"/>
              <a:gd name="connsiteY16" fmla="*/ 1473443 h 1535557"/>
              <a:gd name="connsiteX17" fmla="*/ 2013455 w 2637207"/>
              <a:gd name="connsiteY17" fmla="*/ 1486506 h 1535557"/>
              <a:gd name="connsiteX18" fmla="*/ 1977532 w 2637207"/>
              <a:gd name="connsiteY18" fmla="*/ 1506100 h 1535557"/>
              <a:gd name="connsiteX19" fmla="*/ 1931812 w 2637207"/>
              <a:gd name="connsiteY19" fmla="*/ 1519163 h 1535557"/>
              <a:gd name="connsiteX20" fmla="*/ 1876295 w 2637207"/>
              <a:gd name="connsiteY20" fmla="*/ 1535491 h 1535557"/>
              <a:gd name="connsiteX21" fmla="*/ 1804450 w 2637207"/>
              <a:gd name="connsiteY21" fmla="*/ 1512631 h 1535557"/>
              <a:gd name="connsiteX22" fmla="*/ 1735870 w 2637207"/>
              <a:gd name="connsiteY22" fmla="*/ 1453848 h 1535557"/>
              <a:gd name="connsiteX23" fmla="*/ 1673821 w 2637207"/>
              <a:gd name="connsiteY23" fmla="*/ 1411394 h 1535557"/>
              <a:gd name="connsiteX24" fmla="*/ 1588980 w 2637207"/>
              <a:gd name="connsiteY24" fmla="*/ 1372478 h 1535557"/>
              <a:gd name="connsiteX25" fmla="*/ 1481144 w 2637207"/>
              <a:gd name="connsiteY25" fmla="*/ 1362408 h 1535557"/>
              <a:gd name="connsiteX26" fmla="*/ 1402767 w 2637207"/>
              <a:gd name="connsiteY26" fmla="*/ 1362408 h 1535557"/>
              <a:gd name="connsiteX27" fmla="*/ 1311327 w 2637207"/>
              <a:gd name="connsiteY27" fmla="*/ 1349346 h 1535557"/>
              <a:gd name="connsiteX28" fmla="*/ 1229684 w 2637207"/>
              <a:gd name="connsiteY28" fmla="*/ 1336283 h 1535557"/>
              <a:gd name="connsiteX29" fmla="*/ 1107356 w 2637207"/>
              <a:gd name="connsiteY29" fmla="*/ 1301856 h 1535557"/>
              <a:gd name="connsiteX30" fmla="*/ 971692 w 2637207"/>
              <a:gd name="connsiteY30" fmla="*/ 1264437 h 1535557"/>
              <a:gd name="connsiteX31" fmla="*/ 858890 w 2637207"/>
              <a:gd name="connsiteY31" fmla="*/ 1228242 h 1535557"/>
              <a:gd name="connsiteX32" fmla="*/ 756155 w 2637207"/>
              <a:gd name="connsiteY32" fmla="*/ 1195857 h 1535557"/>
              <a:gd name="connsiteX33" fmla="*/ 664715 w 2637207"/>
              <a:gd name="connsiteY33" fmla="*/ 1166466 h 1535557"/>
              <a:gd name="connsiteX34" fmla="*/ 562321 w 2637207"/>
              <a:gd name="connsiteY34" fmla="*/ 1140952 h 1535557"/>
              <a:gd name="connsiteX35" fmla="*/ 458975 w 2637207"/>
              <a:gd name="connsiteY35" fmla="*/ 1130543 h 1535557"/>
              <a:gd name="connsiteX36" fmla="*/ 380598 w 2637207"/>
              <a:gd name="connsiteY36" fmla="*/ 1124011 h 1535557"/>
              <a:gd name="connsiteX37" fmla="*/ 253847 w 2637207"/>
              <a:gd name="connsiteY37" fmla="*/ 1088973 h 1535557"/>
              <a:gd name="connsiteX38" fmla="*/ 180505 w 2637207"/>
              <a:gd name="connsiteY38" fmla="*/ 1045906 h 1535557"/>
              <a:gd name="connsiteX39" fmla="*/ 106618 w 2637207"/>
              <a:gd name="connsiteY39" fmla="*/ 982157 h 1535557"/>
              <a:gd name="connsiteX40" fmla="*/ 61987 w 2637207"/>
              <a:gd name="connsiteY40" fmla="*/ 923646 h 1535557"/>
              <a:gd name="connsiteX41" fmla="*/ 25791 w 2637207"/>
              <a:gd name="connsiteY41" fmla="*/ 834588 h 1535557"/>
              <a:gd name="connsiteX42" fmla="*/ 4428 w 2637207"/>
              <a:gd name="connsiteY42" fmla="*/ 735391 h 1535557"/>
              <a:gd name="connsiteX43" fmla="*/ 5041 w 2637207"/>
              <a:gd name="connsiteY43" fmla="*/ 624357 h 1535557"/>
              <a:gd name="connsiteX44" fmla="*/ 47495 w 2637207"/>
              <a:gd name="connsiteY44" fmla="*/ 536183 h 1535557"/>
              <a:gd name="connsiteX45" fmla="*/ 122607 w 2637207"/>
              <a:gd name="connsiteY45" fmla="*/ 461071 h 1535557"/>
              <a:gd name="connsiteX46" fmla="*/ 223844 w 2637207"/>
              <a:gd name="connsiteY46" fmla="*/ 382694 h 1535557"/>
              <a:gd name="connsiteX47" fmla="*/ 370801 w 2637207"/>
              <a:gd name="connsiteY47" fmla="*/ 314114 h 1535557"/>
              <a:gd name="connsiteX48" fmla="*/ 527555 w 2637207"/>
              <a:gd name="connsiteY48" fmla="*/ 268394 h 1535557"/>
              <a:gd name="connsiteX49" fmla="*/ 651652 w 2637207"/>
              <a:gd name="connsiteY49" fmla="*/ 236350 h 1535557"/>
              <a:gd name="connsiteX50" fmla="*/ 797725 w 2637207"/>
              <a:gd name="connsiteY50" fmla="*/ 201310 h 1535557"/>
              <a:gd name="connsiteX51" fmla="*/ 955364 w 2637207"/>
              <a:gd name="connsiteY51" fmla="*/ 167157 h 1535557"/>
              <a:gd name="connsiteX52" fmla="*/ 1146952 w 2637207"/>
              <a:gd name="connsiteY52" fmla="*/ 116335 h 1535557"/>
              <a:gd name="connsiteX53" fmla="*/ 1399501 w 2637207"/>
              <a:gd name="connsiteY53" fmla="*/ 49591 h 1535557"/>
              <a:gd name="connsiteX54" fmla="*/ 1549724 w 2637207"/>
              <a:gd name="connsiteY54" fmla="*/ 18704 h 1535557"/>
              <a:gd name="connsiteX55" fmla="*/ 1662187 w 2637207"/>
              <a:gd name="connsiteY55" fmla="*/ 878 h 1535557"/>
              <a:gd name="connsiteX56" fmla="*/ 1771792 w 2637207"/>
              <a:gd name="connsiteY56" fmla="*/ 10403 h 1535557"/>
              <a:gd name="connsiteX57" fmla="*/ 1878133 w 2637207"/>
              <a:gd name="connsiteY57" fmla="*/ 62654 h 1535557"/>
              <a:gd name="connsiteX58" fmla="*/ 1977873 w 2637207"/>
              <a:gd name="connsiteY58" fmla="*/ 151441 h 1535557"/>
              <a:gd name="connsiteX59" fmla="*/ 2072851 w 2637207"/>
              <a:gd name="connsiteY59" fmla="*/ 229206 h 1535557"/>
              <a:gd name="connsiteX60" fmla="*/ 2157147 w 2637207"/>
              <a:gd name="connsiteY60" fmla="*/ 294520 h 1535557"/>
              <a:gd name="connsiteX61" fmla="*/ 2193070 w 2637207"/>
              <a:gd name="connsiteY61" fmla="*/ 340240 h 1535557"/>
              <a:gd name="connsiteX62" fmla="*/ 2199601 w 2637207"/>
              <a:gd name="connsiteY62" fmla="*/ 389226 h 1535557"/>
              <a:gd name="connsiteX63" fmla="*/ 2173475 w 2637207"/>
              <a:gd name="connsiteY63" fmla="*/ 451274 h 1535557"/>
              <a:gd name="connsiteX64" fmla="*/ 2064210 w 2637207"/>
              <a:gd name="connsiteY64" fmla="*/ 499988 h 1535557"/>
              <a:gd name="connsiteX65" fmla="*/ 1939229 w 2637207"/>
              <a:gd name="connsiteY65" fmla="*/ 501757 h 1535557"/>
              <a:gd name="connsiteX66" fmla="*/ 1859967 w 2637207"/>
              <a:gd name="connsiteY66" fmla="*/ 490463 h 1535557"/>
              <a:gd name="connsiteX67" fmla="*/ 1713010 w 2637207"/>
              <a:gd name="connsiteY67" fmla="*/ 467603 h 1535557"/>
              <a:gd name="connsiteX68" fmla="*/ 1572584 w 2637207"/>
              <a:gd name="connsiteY68" fmla="*/ 441477 h 1535557"/>
              <a:gd name="connsiteX69" fmla="*/ 1441955 w 2637207"/>
              <a:gd name="connsiteY69" fmla="*/ 421883 h 1535557"/>
              <a:gd name="connsiteX70" fmla="*/ 1327655 w 2637207"/>
              <a:gd name="connsiteY70" fmla="*/ 425148 h 1535557"/>
              <a:gd name="connsiteX71" fmla="*/ 1227031 w 2637207"/>
              <a:gd name="connsiteY71" fmla="*/ 450389 h 1535557"/>
              <a:gd name="connsiteX72" fmla="*/ 1141510 w 2637207"/>
              <a:gd name="connsiteY72" fmla="*/ 480666 h 1535557"/>
              <a:gd name="connsiteX73" fmla="*/ 1026665 w 2637207"/>
              <a:gd name="connsiteY73" fmla="*/ 526386 h 1535557"/>
              <a:gd name="connsiteX74" fmla="*/ 925972 w 2637207"/>
              <a:gd name="connsiteY74" fmla="*/ 563192 h 1535557"/>
              <a:gd name="connsiteX75" fmla="*/ 775138 w 2637207"/>
              <a:gd name="connsiteY75" fmla="*/ 585781 h 1535557"/>
              <a:gd name="connsiteX76" fmla="*/ 660021 w 2637207"/>
              <a:gd name="connsiteY76" fmla="*/ 600612 h 1535557"/>
              <a:gd name="connsiteX77" fmla="*/ 550415 w 2637207"/>
              <a:gd name="connsiteY77" fmla="*/ 601497 h 1535557"/>
              <a:gd name="connsiteX78" fmla="*/ 413255 w 2637207"/>
              <a:gd name="connsiteY78" fmla="*/ 587549 h 1535557"/>
              <a:gd name="connsiteX79" fmla="*/ 294805 w 2637207"/>
              <a:gd name="connsiteY79" fmla="*/ 572718 h 1535557"/>
              <a:gd name="connsiteX80" fmla="*/ 174858 w 2637207"/>
              <a:gd name="connsiteY80" fmla="*/ 555777 h 1535557"/>
              <a:gd name="connsiteX0" fmla="*/ 2637207 w 2637207"/>
              <a:gd name="connsiteY0" fmla="*/ 1022774 h 1535557"/>
              <a:gd name="connsiteX1" fmla="*/ 2633941 w 2637207"/>
              <a:gd name="connsiteY1" fmla="*/ 1078291 h 1535557"/>
              <a:gd name="connsiteX2" fmla="*/ 2628906 w 2637207"/>
              <a:gd name="connsiteY2" fmla="*/ 1136190 h 1535557"/>
              <a:gd name="connsiteX3" fmla="*/ 2627410 w 2637207"/>
              <a:gd name="connsiteY3" fmla="*/ 1182794 h 1535557"/>
              <a:gd name="connsiteX4" fmla="*/ 2623872 w 2637207"/>
              <a:gd name="connsiteY4" fmla="*/ 1237699 h 1535557"/>
              <a:gd name="connsiteX5" fmla="*/ 2601284 w 2637207"/>
              <a:gd name="connsiteY5" fmla="*/ 1290563 h 1535557"/>
              <a:gd name="connsiteX6" fmla="*/ 2562095 w 2637207"/>
              <a:gd name="connsiteY6" fmla="*/ 1323220 h 1535557"/>
              <a:gd name="connsiteX7" fmla="*/ 2506578 w 2637207"/>
              <a:gd name="connsiteY7" fmla="*/ 1333017 h 1535557"/>
              <a:gd name="connsiteX8" fmla="*/ 2454327 w 2637207"/>
              <a:gd name="connsiteY8" fmla="*/ 1336283 h 1535557"/>
              <a:gd name="connsiteX9" fmla="*/ 2408607 w 2637207"/>
              <a:gd name="connsiteY9" fmla="*/ 1336283 h 1535557"/>
              <a:gd name="connsiteX10" fmla="*/ 2353090 w 2637207"/>
              <a:gd name="connsiteY10" fmla="*/ 1349346 h 1535557"/>
              <a:gd name="connsiteX11" fmla="*/ 2317167 w 2637207"/>
              <a:gd name="connsiteY11" fmla="*/ 1388534 h 1535557"/>
              <a:gd name="connsiteX12" fmla="*/ 2287775 w 2637207"/>
              <a:gd name="connsiteY12" fmla="*/ 1417926 h 1535557"/>
              <a:gd name="connsiteX13" fmla="*/ 2248587 w 2637207"/>
              <a:gd name="connsiteY13" fmla="*/ 1460380 h 1535557"/>
              <a:gd name="connsiteX14" fmla="*/ 2189804 w 2637207"/>
              <a:gd name="connsiteY14" fmla="*/ 1483240 h 1535557"/>
              <a:gd name="connsiteX15" fmla="*/ 2124490 w 2637207"/>
              <a:gd name="connsiteY15" fmla="*/ 1470177 h 1535557"/>
              <a:gd name="connsiteX16" fmla="*/ 2055910 w 2637207"/>
              <a:gd name="connsiteY16" fmla="*/ 1473443 h 1535557"/>
              <a:gd name="connsiteX17" fmla="*/ 2013455 w 2637207"/>
              <a:gd name="connsiteY17" fmla="*/ 1486506 h 1535557"/>
              <a:gd name="connsiteX18" fmla="*/ 1977532 w 2637207"/>
              <a:gd name="connsiteY18" fmla="*/ 1506100 h 1535557"/>
              <a:gd name="connsiteX19" fmla="*/ 1931812 w 2637207"/>
              <a:gd name="connsiteY19" fmla="*/ 1519163 h 1535557"/>
              <a:gd name="connsiteX20" fmla="*/ 1876295 w 2637207"/>
              <a:gd name="connsiteY20" fmla="*/ 1535491 h 1535557"/>
              <a:gd name="connsiteX21" fmla="*/ 1804450 w 2637207"/>
              <a:gd name="connsiteY21" fmla="*/ 1512631 h 1535557"/>
              <a:gd name="connsiteX22" fmla="*/ 1735870 w 2637207"/>
              <a:gd name="connsiteY22" fmla="*/ 1453848 h 1535557"/>
              <a:gd name="connsiteX23" fmla="*/ 1673821 w 2637207"/>
              <a:gd name="connsiteY23" fmla="*/ 1411394 h 1535557"/>
              <a:gd name="connsiteX24" fmla="*/ 1588980 w 2637207"/>
              <a:gd name="connsiteY24" fmla="*/ 1372478 h 1535557"/>
              <a:gd name="connsiteX25" fmla="*/ 1481144 w 2637207"/>
              <a:gd name="connsiteY25" fmla="*/ 1362408 h 1535557"/>
              <a:gd name="connsiteX26" fmla="*/ 1402767 w 2637207"/>
              <a:gd name="connsiteY26" fmla="*/ 1362408 h 1535557"/>
              <a:gd name="connsiteX27" fmla="*/ 1311327 w 2637207"/>
              <a:gd name="connsiteY27" fmla="*/ 1349346 h 1535557"/>
              <a:gd name="connsiteX28" fmla="*/ 1229684 w 2637207"/>
              <a:gd name="connsiteY28" fmla="*/ 1336283 h 1535557"/>
              <a:gd name="connsiteX29" fmla="*/ 1107356 w 2637207"/>
              <a:gd name="connsiteY29" fmla="*/ 1301856 h 1535557"/>
              <a:gd name="connsiteX30" fmla="*/ 971692 w 2637207"/>
              <a:gd name="connsiteY30" fmla="*/ 1264437 h 1535557"/>
              <a:gd name="connsiteX31" fmla="*/ 858890 w 2637207"/>
              <a:gd name="connsiteY31" fmla="*/ 1228242 h 1535557"/>
              <a:gd name="connsiteX32" fmla="*/ 756155 w 2637207"/>
              <a:gd name="connsiteY32" fmla="*/ 1195857 h 1535557"/>
              <a:gd name="connsiteX33" fmla="*/ 664715 w 2637207"/>
              <a:gd name="connsiteY33" fmla="*/ 1166466 h 1535557"/>
              <a:gd name="connsiteX34" fmla="*/ 562321 w 2637207"/>
              <a:gd name="connsiteY34" fmla="*/ 1140952 h 1535557"/>
              <a:gd name="connsiteX35" fmla="*/ 458975 w 2637207"/>
              <a:gd name="connsiteY35" fmla="*/ 1130543 h 1535557"/>
              <a:gd name="connsiteX36" fmla="*/ 380598 w 2637207"/>
              <a:gd name="connsiteY36" fmla="*/ 1124011 h 1535557"/>
              <a:gd name="connsiteX37" fmla="*/ 253847 w 2637207"/>
              <a:gd name="connsiteY37" fmla="*/ 1088973 h 1535557"/>
              <a:gd name="connsiteX38" fmla="*/ 180505 w 2637207"/>
              <a:gd name="connsiteY38" fmla="*/ 1045906 h 1535557"/>
              <a:gd name="connsiteX39" fmla="*/ 106618 w 2637207"/>
              <a:gd name="connsiteY39" fmla="*/ 982157 h 1535557"/>
              <a:gd name="connsiteX40" fmla="*/ 61987 w 2637207"/>
              <a:gd name="connsiteY40" fmla="*/ 923646 h 1535557"/>
              <a:gd name="connsiteX41" fmla="*/ 25791 w 2637207"/>
              <a:gd name="connsiteY41" fmla="*/ 834588 h 1535557"/>
              <a:gd name="connsiteX42" fmla="*/ 4428 w 2637207"/>
              <a:gd name="connsiteY42" fmla="*/ 735391 h 1535557"/>
              <a:gd name="connsiteX43" fmla="*/ 5041 w 2637207"/>
              <a:gd name="connsiteY43" fmla="*/ 624357 h 1535557"/>
              <a:gd name="connsiteX44" fmla="*/ 47495 w 2637207"/>
              <a:gd name="connsiteY44" fmla="*/ 536183 h 1535557"/>
              <a:gd name="connsiteX45" fmla="*/ 115463 w 2637207"/>
              <a:gd name="connsiteY45" fmla="*/ 461071 h 1535557"/>
              <a:gd name="connsiteX46" fmla="*/ 223844 w 2637207"/>
              <a:gd name="connsiteY46" fmla="*/ 382694 h 1535557"/>
              <a:gd name="connsiteX47" fmla="*/ 370801 w 2637207"/>
              <a:gd name="connsiteY47" fmla="*/ 314114 h 1535557"/>
              <a:gd name="connsiteX48" fmla="*/ 527555 w 2637207"/>
              <a:gd name="connsiteY48" fmla="*/ 268394 h 1535557"/>
              <a:gd name="connsiteX49" fmla="*/ 651652 w 2637207"/>
              <a:gd name="connsiteY49" fmla="*/ 236350 h 1535557"/>
              <a:gd name="connsiteX50" fmla="*/ 797725 w 2637207"/>
              <a:gd name="connsiteY50" fmla="*/ 201310 h 1535557"/>
              <a:gd name="connsiteX51" fmla="*/ 955364 w 2637207"/>
              <a:gd name="connsiteY51" fmla="*/ 167157 h 1535557"/>
              <a:gd name="connsiteX52" fmla="*/ 1146952 w 2637207"/>
              <a:gd name="connsiteY52" fmla="*/ 116335 h 1535557"/>
              <a:gd name="connsiteX53" fmla="*/ 1399501 w 2637207"/>
              <a:gd name="connsiteY53" fmla="*/ 49591 h 1535557"/>
              <a:gd name="connsiteX54" fmla="*/ 1549724 w 2637207"/>
              <a:gd name="connsiteY54" fmla="*/ 18704 h 1535557"/>
              <a:gd name="connsiteX55" fmla="*/ 1662187 w 2637207"/>
              <a:gd name="connsiteY55" fmla="*/ 878 h 1535557"/>
              <a:gd name="connsiteX56" fmla="*/ 1771792 w 2637207"/>
              <a:gd name="connsiteY56" fmla="*/ 10403 h 1535557"/>
              <a:gd name="connsiteX57" fmla="*/ 1878133 w 2637207"/>
              <a:gd name="connsiteY57" fmla="*/ 62654 h 1535557"/>
              <a:gd name="connsiteX58" fmla="*/ 1977873 w 2637207"/>
              <a:gd name="connsiteY58" fmla="*/ 151441 h 1535557"/>
              <a:gd name="connsiteX59" fmla="*/ 2072851 w 2637207"/>
              <a:gd name="connsiteY59" fmla="*/ 229206 h 1535557"/>
              <a:gd name="connsiteX60" fmla="*/ 2157147 w 2637207"/>
              <a:gd name="connsiteY60" fmla="*/ 294520 h 1535557"/>
              <a:gd name="connsiteX61" fmla="*/ 2193070 w 2637207"/>
              <a:gd name="connsiteY61" fmla="*/ 340240 h 1535557"/>
              <a:gd name="connsiteX62" fmla="*/ 2199601 w 2637207"/>
              <a:gd name="connsiteY62" fmla="*/ 389226 h 1535557"/>
              <a:gd name="connsiteX63" fmla="*/ 2173475 w 2637207"/>
              <a:gd name="connsiteY63" fmla="*/ 451274 h 1535557"/>
              <a:gd name="connsiteX64" fmla="*/ 2064210 w 2637207"/>
              <a:gd name="connsiteY64" fmla="*/ 499988 h 1535557"/>
              <a:gd name="connsiteX65" fmla="*/ 1939229 w 2637207"/>
              <a:gd name="connsiteY65" fmla="*/ 501757 h 1535557"/>
              <a:gd name="connsiteX66" fmla="*/ 1859967 w 2637207"/>
              <a:gd name="connsiteY66" fmla="*/ 490463 h 1535557"/>
              <a:gd name="connsiteX67" fmla="*/ 1713010 w 2637207"/>
              <a:gd name="connsiteY67" fmla="*/ 467603 h 1535557"/>
              <a:gd name="connsiteX68" fmla="*/ 1572584 w 2637207"/>
              <a:gd name="connsiteY68" fmla="*/ 441477 h 1535557"/>
              <a:gd name="connsiteX69" fmla="*/ 1441955 w 2637207"/>
              <a:gd name="connsiteY69" fmla="*/ 421883 h 1535557"/>
              <a:gd name="connsiteX70" fmla="*/ 1327655 w 2637207"/>
              <a:gd name="connsiteY70" fmla="*/ 425148 h 1535557"/>
              <a:gd name="connsiteX71" fmla="*/ 1227031 w 2637207"/>
              <a:gd name="connsiteY71" fmla="*/ 450389 h 1535557"/>
              <a:gd name="connsiteX72" fmla="*/ 1141510 w 2637207"/>
              <a:gd name="connsiteY72" fmla="*/ 480666 h 1535557"/>
              <a:gd name="connsiteX73" fmla="*/ 1026665 w 2637207"/>
              <a:gd name="connsiteY73" fmla="*/ 526386 h 1535557"/>
              <a:gd name="connsiteX74" fmla="*/ 925972 w 2637207"/>
              <a:gd name="connsiteY74" fmla="*/ 563192 h 1535557"/>
              <a:gd name="connsiteX75" fmla="*/ 775138 w 2637207"/>
              <a:gd name="connsiteY75" fmla="*/ 585781 h 1535557"/>
              <a:gd name="connsiteX76" fmla="*/ 660021 w 2637207"/>
              <a:gd name="connsiteY76" fmla="*/ 600612 h 1535557"/>
              <a:gd name="connsiteX77" fmla="*/ 550415 w 2637207"/>
              <a:gd name="connsiteY77" fmla="*/ 601497 h 1535557"/>
              <a:gd name="connsiteX78" fmla="*/ 413255 w 2637207"/>
              <a:gd name="connsiteY78" fmla="*/ 587549 h 1535557"/>
              <a:gd name="connsiteX79" fmla="*/ 294805 w 2637207"/>
              <a:gd name="connsiteY79" fmla="*/ 572718 h 1535557"/>
              <a:gd name="connsiteX80" fmla="*/ 174858 w 2637207"/>
              <a:gd name="connsiteY80" fmla="*/ 555777 h 1535557"/>
              <a:gd name="connsiteX0" fmla="*/ 2637207 w 2637207"/>
              <a:gd name="connsiteY0" fmla="*/ 1022774 h 1535557"/>
              <a:gd name="connsiteX1" fmla="*/ 2633941 w 2637207"/>
              <a:gd name="connsiteY1" fmla="*/ 1078291 h 1535557"/>
              <a:gd name="connsiteX2" fmla="*/ 2628906 w 2637207"/>
              <a:gd name="connsiteY2" fmla="*/ 1136190 h 1535557"/>
              <a:gd name="connsiteX3" fmla="*/ 2627410 w 2637207"/>
              <a:gd name="connsiteY3" fmla="*/ 1182794 h 1535557"/>
              <a:gd name="connsiteX4" fmla="*/ 2623872 w 2637207"/>
              <a:gd name="connsiteY4" fmla="*/ 1237699 h 1535557"/>
              <a:gd name="connsiteX5" fmla="*/ 2601284 w 2637207"/>
              <a:gd name="connsiteY5" fmla="*/ 1290563 h 1535557"/>
              <a:gd name="connsiteX6" fmla="*/ 2562095 w 2637207"/>
              <a:gd name="connsiteY6" fmla="*/ 1323220 h 1535557"/>
              <a:gd name="connsiteX7" fmla="*/ 2506578 w 2637207"/>
              <a:gd name="connsiteY7" fmla="*/ 1333017 h 1535557"/>
              <a:gd name="connsiteX8" fmla="*/ 2454327 w 2637207"/>
              <a:gd name="connsiteY8" fmla="*/ 1336283 h 1535557"/>
              <a:gd name="connsiteX9" fmla="*/ 2408607 w 2637207"/>
              <a:gd name="connsiteY9" fmla="*/ 1336283 h 1535557"/>
              <a:gd name="connsiteX10" fmla="*/ 2353090 w 2637207"/>
              <a:gd name="connsiteY10" fmla="*/ 1349346 h 1535557"/>
              <a:gd name="connsiteX11" fmla="*/ 2317167 w 2637207"/>
              <a:gd name="connsiteY11" fmla="*/ 1388534 h 1535557"/>
              <a:gd name="connsiteX12" fmla="*/ 2287775 w 2637207"/>
              <a:gd name="connsiteY12" fmla="*/ 1417926 h 1535557"/>
              <a:gd name="connsiteX13" fmla="*/ 2248587 w 2637207"/>
              <a:gd name="connsiteY13" fmla="*/ 1460380 h 1535557"/>
              <a:gd name="connsiteX14" fmla="*/ 2189804 w 2637207"/>
              <a:gd name="connsiteY14" fmla="*/ 1483240 h 1535557"/>
              <a:gd name="connsiteX15" fmla="*/ 2124490 w 2637207"/>
              <a:gd name="connsiteY15" fmla="*/ 1470177 h 1535557"/>
              <a:gd name="connsiteX16" fmla="*/ 2055910 w 2637207"/>
              <a:gd name="connsiteY16" fmla="*/ 1473443 h 1535557"/>
              <a:gd name="connsiteX17" fmla="*/ 2013455 w 2637207"/>
              <a:gd name="connsiteY17" fmla="*/ 1486506 h 1535557"/>
              <a:gd name="connsiteX18" fmla="*/ 1977532 w 2637207"/>
              <a:gd name="connsiteY18" fmla="*/ 1506100 h 1535557"/>
              <a:gd name="connsiteX19" fmla="*/ 1931812 w 2637207"/>
              <a:gd name="connsiteY19" fmla="*/ 1519163 h 1535557"/>
              <a:gd name="connsiteX20" fmla="*/ 1876295 w 2637207"/>
              <a:gd name="connsiteY20" fmla="*/ 1535491 h 1535557"/>
              <a:gd name="connsiteX21" fmla="*/ 1804450 w 2637207"/>
              <a:gd name="connsiteY21" fmla="*/ 1512631 h 1535557"/>
              <a:gd name="connsiteX22" fmla="*/ 1735870 w 2637207"/>
              <a:gd name="connsiteY22" fmla="*/ 1453848 h 1535557"/>
              <a:gd name="connsiteX23" fmla="*/ 1673821 w 2637207"/>
              <a:gd name="connsiteY23" fmla="*/ 1411394 h 1535557"/>
              <a:gd name="connsiteX24" fmla="*/ 1588980 w 2637207"/>
              <a:gd name="connsiteY24" fmla="*/ 1372478 h 1535557"/>
              <a:gd name="connsiteX25" fmla="*/ 1481144 w 2637207"/>
              <a:gd name="connsiteY25" fmla="*/ 1362408 h 1535557"/>
              <a:gd name="connsiteX26" fmla="*/ 1402767 w 2637207"/>
              <a:gd name="connsiteY26" fmla="*/ 1362408 h 1535557"/>
              <a:gd name="connsiteX27" fmla="*/ 1311327 w 2637207"/>
              <a:gd name="connsiteY27" fmla="*/ 1349346 h 1535557"/>
              <a:gd name="connsiteX28" fmla="*/ 1229684 w 2637207"/>
              <a:gd name="connsiteY28" fmla="*/ 1336283 h 1535557"/>
              <a:gd name="connsiteX29" fmla="*/ 1107356 w 2637207"/>
              <a:gd name="connsiteY29" fmla="*/ 1301856 h 1535557"/>
              <a:gd name="connsiteX30" fmla="*/ 971692 w 2637207"/>
              <a:gd name="connsiteY30" fmla="*/ 1264437 h 1535557"/>
              <a:gd name="connsiteX31" fmla="*/ 858890 w 2637207"/>
              <a:gd name="connsiteY31" fmla="*/ 1228242 h 1535557"/>
              <a:gd name="connsiteX32" fmla="*/ 756155 w 2637207"/>
              <a:gd name="connsiteY32" fmla="*/ 1195857 h 1535557"/>
              <a:gd name="connsiteX33" fmla="*/ 664715 w 2637207"/>
              <a:gd name="connsiteY33" fmla="*/ 1166466 h 1535557"/>
              <a:gd name="connsiteX34" fmla="*/ 562321 w 2637207"/>
              <a:gd name="connsiteY34" fmla="*/ 1140952 h 1535557"/>
              <a:gd name="connsiteX35" fmla="*/ 458975 w 2637207"/>
              <a:gd name="connsiteY35" fmla="*/ 1130543 h 1535557"/>
              <a:gd name="connsiteX36" fmla="*/ 380598 w 2637207"/>
              <a:gd name="connsiteY36" fmla="*/ 1124011 h 1535557"/>
              <a:gd name="connsiteX37" fmla="*/ 253847 w 2637207"/>
              <a:gd name="connsiteY37" fmla="*/ 1088973 h 1535557"/>
              <a:gd name="connsiteX38" fmla="*/ 178124 w 2637207"/>
              <a:gd name="connsiteY38" fmla="*/ 1050668 h 1535557"/>
              <a:gd name="connsiteX39" fmla="*/ 106618 w 2637207"/>
              <a:gd name="connsiteY39" fmla="*/ 982157 h 1535557"/>
              <a:gd name="connsiteX40" fmla="*/ 61987 w 2637207"/>
              <a:gd name="connsiteY40" fmla="*/ 923646 h 1535557"/>
              <a:gd name="connsiteX41" fmla="*/ 25791 w 2637207"/>
              <a:gd name="connsiteY41" fmla="*/ 834588 h 1535557"/>
              <a:gd name="connsiteX42" fmla="*/ 4428 w 2637207"/>
              <a:gd name="connsiteY42" fmla="*/ 735391 h 1535557"/>
              <a:gd name="connsiteX43" fmla="*/ 5041 w 2637207"/>
              <a:gd name="connsiteY43" fmla="*/ 624357 h 1535557"/>
              <a:gd name="connsiteX44" fmla="*/ 47495 w 2637207"/>
              <a:gd name="connsiteY44" fmla="*/ 536183 h 1535557"/>
              <a:gd name="connsiteX45" fmla="*/ 115463 w 2637207"/>
              <a:gd name="connsiteY45" fmla="*/ 461071 h 1535557"/>
              <a:gd name="connsiteX46" fmla="*/ 223844 w 2637207"/>
              <a:gd name="connsiteY46" fmla="*/ 382694 h 1535557"/>
              <a:gd name="connsiteX47" fmla="*/ 370801 w 2637207"/>
              <a:gd name="connsiteY47" fmla="*/ 314114 h 1535557"/>
              <a:gd name="connsiteX48" fmla="*/ 527555 w 2637207"/>
              <a:gd name="connsiteY48" fmla="*/ 268394 h 1535557"/>
              <a:gd name="connsiteX49" fmla="*/ 651652 w 2637207"/>
              <a:gd name="connsiteY49" fmla="*/ 236350 h 1535557"/>
              <a:gd name="connsiteX50" fmla="*/ 797725 w 2637207"/>
              <a:gd name="connsiteY50" fmla="*/ 201310 h 1535557"/>
              <a:gd name="connsiteX51" fmla="*/ 955364 w 2637207"/>
              <a:gd name="connsiteY51" fmla="*/ 167157 h 1535557"/>
              <a:gd name="connsiteX52" fmla="*/ 1146952 w 2637207"/>
              <a:gd name="connsiteY52" fmla="*/ 116335 h 1535557"/>
              <a:gd name="connsiteX53" fmla="*/ 1399501 w 2637207"/>
              <a:gd name="connsiteY53" fmla="*/ 49591 h 1535557"/>
              <a:gd name="connsiteX54" fmla="*/ 1549724 w 2637207"/>
              <a:gd name="connsiteY54" fmla="*/ 18704 h 1535557"/>
              <a:gd name="connsiteX55" fmla="*/ 1662187 w 2637207"/>
              <a:gd name="connsiteY55" fmla="*/ 878 h 1535557"/>
              <a:gd name="connsiteX56" fmla="*/ 1771792 w 2637207"/>
              <a:gd name="connsiteY56" fmla="*/ 10403 h 1535557"/>
              <a:gd name="connsiteX57" fmla="*/ 1878133 w 2637207"/>
              <a:gd name="connsiteY57" fmla="*/ 62654 h 1535557"/>
              <a:gd name="connsiteX58" fmla="*/ 1977873 w 2637207"/>
              <a:gd name="connsiteY58" fmla="*/ 151441 h 1535557"/>
              <a:gd name="connsiteX59" fmla="*/ 2072851 w 2637207"/>
              <a:gd name="connsiteY59" fmla="*/ 229206 h 1535557"/>
              <a:gd name="connsiteX60" fmla="*/ 2157147 w 2637207"/>
              <a:gd name="connsiteY60" fmla="*/ 294520 h 1535557"/>
              <a:gd name="connsiteX61" fmla="*/ 2193070 w 2637207"/>
              <a:gd name="connsiteY61" fmla="*/ 340240 h 1535557"/>
              <a:gd name="connsiteX62" fmla="*/ 2199601 w 2637207"/>
              <a:gd name="connsiteY62" fmla="*/ 389226 h 1535557"/>
              <a:gd name="connsiteX63" fmla="*/ 2173475 w 2637207"/>
              <a:gd name="connsiteY63" fmla="*/ 451274 h 1535557"/>
              <a:gd name="connsiteX64" fmla="*/ 2064210 w 2637207"/>
              <a:gd name="connsiteY64" fmla="*/ 499988 h 1535557"/>
              <a:gd name="connsiteX65" fmla="*/ 1939229 w 2637207"/>
              <a:gd name="connsiteY65" fmla="*/ 501757 h 1535557"/>
              <a:gd name="connsiteX66" fmla="*/ 1859967 w 2637207"/>
              <a:gd name="connsiteY66" fmla="*/ 490463 h 1535557"/>
              <a:gd name="connsiteX67" fmla="*/ 1713010 w 2637207"/>
              <a:gd name="connsiteY67" fmla="*/ 467603 h 1535557"/>
              <a:gd name="connsiteX68" fmla="*/ 1572584 w 2637207"/>
              <a:gd name="connsiteY68" fmla="*/ 441477 h 1535557"/>
              <a:gd name="connsiteX69" fmla="*/ 1441955 w 2637207"/>
              <a:gd name="connsiteY69" fmla="*/ 421883 h 1535557"/>
              <a:gd name="connsiteX70" fmla="*/ 1327655 w 2637207"/>
              <a:gd name="connsiteY70" fmla="*/ 425148 h 1535557"/>
              <a:gd name="connsiteX71" fmla="*/ 1227031 w 2637207"/>
              <a:gd name="connsiteY71" fmla="*/ 450389 h 1535557"/>
              <a:gd name="connsiteX72" fmla="*/ 1141510 w 2637207"/>
              <a:gd name="connsiteY72" fmla="*/ 480666 h 1535557"/>
              <a:gd name="connsiteX73" fmla="*/ 1026665 w 2637207"/>
              <a:gd name="connsiteY73" fmla="*/ 526386 h 1535557"/>
              <a:gd name="connsiteX74" fmla="*/ 925972 w 2637207"/>
              <a:gd name="connsiteY74" fmla="*/ 563192 h 1535557"/>
              <a:gd name="connsiteX75" fmla="*/ 775138 w 2637207"/>
              <a:gd name="connsiteY75" fmla="*/ 585781 h 1535557"/>
              <a:gd name="connsiteX76" fmla="*/ 660021 w 2637207"/>
              <a:gd name="connsiteY76" fmla="*/ 600612 h 1535557"/>
              <a:gd name="connsiteX77" fmla="*/ 550415 w 2637207"/>
              <a:gd name="connsiteY77" fmla="*/ 601497 h 1535557"/>
              <a:gd name="connsiteX78" fmla="*/ 413255 w 2637207"/>
              <a:gd name="connsiteY78" fmla="*/ 587549 h 1535557"/>
              <a:gd name="connsiteX79" fmla="*/ 294805 w 2637207"/>
              <a:gd name="connsiteY79" fmla="*/ 572718 h 1535557"/>
              <a:gd name="connsiteX80" fmla="*/ 174858 w 2637207"/>
              <a:gd name="connsiteY80" fmla="*/ 555777 h 1535557"/>
              <a:gd name="connsiteX0" fmla="*/ 2634884 w 2634884"/>
              <a:gd name="connsiteY0" fmla="*/ 1022774 h 1535557"/>
              <a:gd name="connsiteX1" fmla="*/ 2631618 w 2634884"/>
              <a:gd name="connsiteY1" fmla="*/ 1078291 h 1535557"/>
              <a:gd name="connsiteX2" fmla="*/ 2626583 w 2634884"/>
              <a:gd name="connsiteY2" fmla="*/ 1136190 h 1535557"/>
              <a:gd name="connsiteX3" fmla="*/ 2625087 w 2634884"/>
              <a:gd name="connsiteY3" fmla="*/ 1182794 h 1535557"/>
              <a:gd name="connsiteX4" fmla="*/ 2621549 w 2634884"/>
              <a:gd name="connsiteY4" fmla="*/ 1237699 h 1535557"/>
              <a:gd name="connsiteX5" fmla="*/ 2598961 w 2634884"/>
              <a:gd name="connsiteY5" fmla="*/ 1290563 h 1535557"/>
              <a:gd name="connsiteX6" fmla="*/ 2559772 w 2634884"/>
              <a:gd name="connsiteY6" fmla="*/ 1323220 h 1535557"/>
              <a:gd name="connsiteX7" fmla="*/ 2504255 w 2634884"/>
              <a:gd name="connsiteY7" fmla="*/ 1333017 h 1535557"/>
              <a:gd name="connsiteX8" fmla="*/ 2452004 w 2634884"/>
              <a:gd name="connsiteY8" fmla="*/ 1336283 h 1535557"/>
              <a:gd name="connsiteX9" fmla="*/ 2406284 w 2634884"/>
              <a:gd name="connsiteY9" fmla="*/ 1336283 h 1535557"/>
              <a:gd name="connsiteX10" fmla="*/ 2350767 w 2634884"/>
              <a:gd name="connsiteY10" fmla="*/ 1349346 h 1535557"/>
              <a:gd name="connsiteX11" fmla="*/ 2314844 w 2634884"/>
              <a:gd name="connsiteY11" fmla="*/ 1388534 h 1535557"/>
              <a:gd name="connsiteX12" fmla="*/ 2285452 w 2634884"/>
              <a:gd name="connsiteY12" fmla="*/ 1417926 h 1535557"/>
              <a:gd name="connsiteX13" fmla="*/ 2246264 w 2634884"/>
              <a:gd name="connsiteY13" fmla="*/ 1460380 h 1535557"/>
              <a:gd name="connsiteX14" fmla="*/ 2187481 w 2634884"/>
              <a:gd name="connsiteY14" fmla="*/ 1483240 h 1535557"/>
              <a:gd name="connsiteX15" fmla="*/ 2122167 w 2634884"/>
              <a:gd name="connsiteY15" fmla="*/ 1470177 h 1535557"/>
              <a:gd name="connsiteX16" fmla="*/ 2053587 w 2634884"/>
              <a:gd name="connsiteY16" fmla="*/ 1473443 h 1535557"/>
              <a:gd name="connsiteX17" fmla="*/ 2011132 w 2634884"/>
              <a:gd name="connsiteY17" fmla="*/ 1486506 h 1535557"/>
              <a:gd name="connsiteX18" fmla="*/ 1975209 w 2634884"/>
              <a:gd name="connsiteY18" fmla="*/ 1506100 h 1535557"/>
              <a:gd name="connsiteX19" fmla="*/ 1929489 w 2634884"/>
              <a:gd name="connsiteY19" fmla="*/ 1519163 h 1535557"/>
              <a:gd name="connsiteX20" fmla="*/ 1873972 w 2634884"/>
              <a:gd name="connsiteY20" fmla="*/ 1535491 h 1535557"/>
              <a:gd name="connsiteX21" fmla="*/ 1802127 w 2634884"/>
              <a:gd name="connsiteY21" fmla="*/ 1512631 h 1535557"/>
              <a:gd name="connsiteX22" fmla="*/ 1733547 w 2634884"/>
              <a:gd name="connsiteY22" fmla="*/ 1453848 h 1535557"/>
              <a:gd name="connsiteX23" fmla="*/ 1671498 w 2634884"/>
              <a:gd name="connsiteY23" fmla="*/ 1411394 h 1535557"/>
              <a:gd name="connsiteX24" fmla="*/ 1586657 w 2634884"/>
              <a:gd name="connsiteY24" fmla="*/ 1372478 h 1535557"/>
              <a:gd name="connsiteX25" fmla="*/ 1478821 w 2634884"/>
              <a:gd name="connsiteY25" fmla="*/ 1362408 h 1535557"/>
              <a:gd name="connsiteX26" fmla="*/ 1400444 w 2634884"/>
              <a:gd name="connsiteY26" fmla="*/ 1362408 h 1535557"/>
              <a:gd name="connsiteX27" fmla="*/ 1309004 w 2634884"/>
              <a:gd name="connsiteY27" fmla="*/ 1349346 h 1535557"/>
              <a:gd name="connsiteX28" fmla="*/ 1227361 w 2634884"/>
              <a:gd name="connsiteY28" fmla="*/ 1336283 h 1535557"/>
              <a:gd name="connsiteX29" fmla="*/ 1105033 w 2634884"/>
              <a:gd name="connsiteY29" fmla="*/ 1301856 h 1535557"/>
              <a:gd name="connsiteX30" fmla="*/ 969369 w 2634884"/>
              <a:gd name="connsiteY30" fmla="*/ 1264437 h 1535557"/>
              <a:gd name="connsiteX31" fmla="*/ 856567 w 2634884"/>
              <a:gd name="connsiteY31" fmla="*/ 1228242 h 1535557"/>
              <a:gd name="connsiteX32" fmla="*/ 753832 w 2634884"/>
              <a:gd name="connsiteY32" fmla="*/ 1195857 h 1535557"/>
              <a:gd name="connsiteX33" fmla="*/ 662392 w 2634884"/>
              <a:gd name="connsiteY33" fmla="*/ 1166466 h 1535557"/>
              <a:gd name="connsiteX34" fmla="*/ 559998 w 2634884"/>
              <a:gd name="connsiteY34" fmla="*/ 1140952 h 1535557"/>
              <a:gd name="connsiteX35" fmla="*/ 456652 w 2634884"/>
              <a:gd name="connsiteY35" fmla="*/ 1130543 h 1535557"/>
              <a:gd name="connsiteX36" fmla="*/ 378275 w 2634884"/>
              <a:gd name="connsiteY36" fmla="*/ 1124011 h 1535557"/>
              <a:gd name="connsiteX37" fmla="*/ 251524 w 2634884"/>
              <a:gd name="connsiteY37" fmla="*/ 1088973 h 1535557"/>
              <a:gd name="connsiteX38" fmla="*/ 175801 w 2634884"/>
              <a:gd name="connsiteY38" fmla="*/ 1050668 h 1535557"/>
              <a:gd name="connsiteX39" fmla="*/ 104295 w 2634884"/>
              <a:gd name="connsiteY39" fmla="*/ 982157 h 1535557"/>
              <a:gd name="connsiteX40" fmla="*/ 59664 w 2634884"/>
              <a:gd name="connsiteY40" fmla="*/ 923646 h 1535557"/>
              <a:gd name="connsiteX41" fmla="*/ 23468 w 2634884"/>
              <a:gd name="connsiteY41" fmla="*/ 834588 h 1535557"/>
              <a:gd name="connsiteX42" fmla="*/ 2105 w 2634884"/>
              <a:gd name="connsiteY42" fmla="*/ 735391 h 1535557"/>
              <a:gd name="connsiteX43" fmla="*/ 9862 w 2634884"/>
              <a:gd name="connsiteY43" fmla="*/ 624357 h 1535557"/>
              <a:gd name="connsiteX44" fmla="*/ 45172 w 2634884"/>
              <a:gd name="connsiteY44" fmla="*/ 536183 h 1535557"/>
              <a:gd name="connsiteX45" fmla="*/ 113140 w 2634884"/>
              <a:gd name="connsiteY45" fmla="*/ 461071 h 1535557"/>
              <a:gd name="connsiteX46" fmla="*/ 221521 w 2634884"/>
              <a:gd name="connsiteY46" fmla="*/ 382694 h 1535557"/>
              <a:gd name="connsiteX47" fmla="*/ 368478 w 2634884"/>
              <a:gd name="connsiteY47" fmla="*/ 314114 h 1535557"/>
              <a:gd name="connsiteX48" fmla="*/ 525232 w 2634884"/>
              <a:gd name="connsiteY48" fmla="*/ 268394 h 1535557"/>
              <a:gd name="connsiteX49" fmla="*/ 649329 w 2634884"/>
              <a:gd name="connsiteY49" fmla="*/ 236350 h 1535557"/>
              <a:gd name="connsiteX50" fmla="*/ 795402 w 2634884"/>
              <a:gd name="connsiteY50" fmla="*/ 201310 h 1535557"/>
              <a:gd name="connsiteX51" fmla="*/ 953041 w 2634884"/>
              <a:gd name="connsiteY51" fmla="*/ 167157 h 1535557"/>
              <a:gd name="connsiteX52" fmla="*/ 1144629 w 2634884"/>
              <a:gd name="connsiteY52" fmla="*/ 116335 h 1535557"/>
              <a:gd name="connsiteX53" fmla="*/ 1397178 w 2634884"/>
              <a:gd name="connsiteY53" fmla="*/ 49591 h 1535557"/>
              <a:gd name="connsiteX54" fmla="*/ 1547401 w 2634884"/>
              <a:gd name="connsiteY54" fmla="*/ 18704 h 1535557"/>
              <a:gd name="connsiteX55" fmla="*/ 1659864 w 2634884"/>
              <a:gd name="connsiteY55" fmla="*/ 878 h 1535557"/>
              <a:gd name="connsiteX56" fmla="*/ 1769469 w 2634884"/>
              <a:gd name="connsiteY56" fmla="*/ 10403 h 1535557"/>
              <a:gd name="connsiteX57" fmla="*/ 1875810 w 2634884"/>
              <a:gd name="connsiteY57" fmla="*/ 62654 h 1535557"/>
              <a:gd name="connsiteX58" fmla="*/ 1975550 w 2634884"/>
              <a:gd name="connsiteY58" fmla="*/ 151441 h 1535557"/>
              <a:gd name="connsiteX59" fmla="*/ 2070528 w 2634884"/>
              <a:gd name="connsiteY59" fmla="*/ 229206 h 1535557"/>
              <a:gd name="connsiteX60" fmla="*/ 2154824 w 2634884"/>
              <a:gd name="connsiteY60" fmla="*/ 294520 h 1535557"/>
              <a:gd name="connsiteX61" fmla="*/ 2190747 w 2634884"/>
              <a:gd name="connsiteY61" fmla="*/ 340240 h 1535557"/>
              <a:gd name="connsiteX62" fmla="*/ 2197278 w 2634884"/>
              <a:gd name="connsiteY62" fmla="*/ 389226 h 1535557"/>
              <a:gd name="connsiteX63" fmla="*/ 2171152 w 2634884"/>
              <a:gd name="connsiteY63" fmla="*/ 451274 h 1535557"/>
              <a:gd name="connsiteX64" fmla="*/ 2061887 w 2634884"/>
              <a:gd name="connsiteY64" fmla="*/ 499988 h 1535557"/>
              <a:gd name="connsiteX65" fmla="*/ 1936906 w 2634884"/>
              <a:gd name="connsiteY65" fmla="*/ 501757 h 1535557"/>
              <a:gd name="connsiteX66" fmla="*/ 1857644 w 2634884"/>
              <a:gd name="connsiteY66" fmla="*/ 490463 h 1535557"/>
              <a:gd name="connsiteX67" fmla="*/ 1710687 w 2634884"/>
              <a:gd name="connsiteY67" fmla="*/ 467603 h 1535557"/>
              <a:gd name="connsiteX68" fmla="*/ 1570261 w 2634884"/>
              <a:gd name="connsiteY68" fmla="*/ 441477 h 1535557"/>
              <a:gd name="connsiteX69" fmla="*/ 1439632 w 2634884"/>
              <a:gd name="connsiteY69" fmla="*/ 421883 h 1535557"/>
              <a:gd name="connsiteX70" fmla="*/ 1325332 w 2634884"/>
              <a:gd name="connsiteY70" fmla="*/ 425148 h 1535557"/>
              <a:gd name="connsiteX71" fmla="*/ 1224708 w 2634884"/>
              <a:gd name="connsiteY71" fmla="*/ 450389 h 1535557"/>
              <a:gd name="connsiteX72" fmla="*/ 1139187 w 2634884"/>
              <a:gd name="connsiteY72" fmla="*/ 480666 h 1535557"/>
              <a:gd name="connsiteX73" fmla="*/ 1024342 w 2634884"/>
              <a:gd name="connsiteY73" fmla="*/ 526386 h 1535557"/>
              <a:gd name="connsiteX74" fmla="*/ 923649 w 2634884"/>
              <a:gd name="connsiteY74" fmla="*/ 563192 h 1535557"/>
              <a:gd name="connsiteX75" fmla="*/ 772815 w 2634884"/>
              <a:gd name="connsiteY75" fmla="*/ 585781 h 1535557"/>
              <a:gd name="connsiteX76" fmla="*/ 657698 w 2634884"/>
              <a:gd name="connsiteY76" fmla="*/ 600612 h 1535557"/>
              <a:gd name="connsiteX77" fmla="*/ 548092 w 2634884"/>
              <a:gd name="connsiteY77" fmla="*/ 601497 h 1535557"/>
              <a:gd name="connsiteX78" fmla="*/ 410932 w 2634884"/>
              <a:gd name="connsiteY78" fmla="*/ 587549 h 1535557"/>
              <a:gd name="connsiteX79" fmla="*/ 292482 w 2634884"/>
              <a:gd name="connsiteY79" fmla="*/ 572718 h 1535557"/>
              <a:gd name="connsiteX80" fmla="*/ 172535 w 2634884"/>
              <a:gd name="connsiteY80" fmla="*/ 555777 h 1535557"/>
              <a:gd name="connsiteX0" fmla="*/ 2635237 w 2635237"/>
              <a:gd name="connsiteY0" fmla="*/ 1022774 h 1535557"/>
              <a:gd name="connsiteX1" fmla="*/ 2631971 w 2635237"/>
              <a:gd name="connsiteY1" fmla="*/ 1078291 h 1535557"/>
              <a:gd name="connsiteX2" fmla="*/ 2626936 w 2635237"/>
              <a:gd name="connsiteY2" fmla="*/ 1136190 h 1535557"/>
              <a:gd name="connsiteX3" fmla="*/ 2625440 w 2635237"/>
              <a:gd name="connsiteY3" fmla="*/ 1182794 h 1535557"/>
              <a:gd name="connsiteX4" fmla="*/ 2621902 w 2635237"/>
              <a:gd name="connsiteY4" fmla="*/ 1237699 h 1535557"/>
              <a:gd name="connsiteX5" fmla="*/ 2599314 w 2635237"/>
              <a:gd name="connsiteY5" fmla="*/ 1290563 h 1535557"/>
              <a:gd name="connsiteX6" fmla="*/ 2560125 w 2635237"/>
              <a:gd name="connsiteY6" fmla="*/ 1323220 h 1535557"/>
              <a:gd name="connsiteX7" fmla="*/ 2504608 w 2635237"/>
              <a:gd name="connsiteY7" fmla="*/ 1333017 h 1535557"/>
              <a:gd name="connsiteX8" fmla="*/ 2452357 w 2635237"/>
              <a:gd name="connsiteY8" fmla="*/ 1336283 h 1535557"/>
              <a:gd name="connsiteX9" fmla="*/ 2406637 w 2635237"/>
              <a:gd name="connsiteY9" fmla="*/ 1336283 h 1535557"/>
              <a:gd name="connsiteX10" fmla="*/ 2351120 w 2635237"/>
              <a:gd name="connsiteY10" fmla="*/ 1349346 h 1535557"/>
              <a:gd name="connsiteX11" fmla="*/ 2315197 w 2635237"/>
              <a:gd name="connsiteY11" fmla="*/ 1388534 h 1535557"/>
              <a:gd name="connsiteX12" fmla="*/ 2285805 w 2635237"/>
              <a:gd name="connsiteY12" fmla="*/ 1417926 h 1535557"/>
              <a:gd name="connsiteX13" fmla="*/ 2246617 w 2635237"/>
              <a:gd name="connsiteY13" fmla="*/ 1460380 h 1535557"/>
              <a:gd name="connsiteX14" fmla="*/ 2187834 w 2635237"/>
              <a:gd name="connsiteY14" fmla="*/ 1483240 h 1535557"/>
              <a:gd name="connsiteX15" fmla="*/ 2122520 w 2635237"/>
              <a:gd name="connsiteY15" fmla="*/ 1470177 h 1535557"/>
              <a:gd name="connsiteX16" fmla="*/ 2053940 w 2635237"/>
              <a:gd name="connsiteY16" fmla="*/ 1473443 h 1535557"/>
              <a:gd name="connsiteX17" fmla="*/ 2011485 w 2635237"/>
              <a:gd name="connsiteY17" fmla="*/ 1486506 h 1535557"/>
              <a:gd name="connsiteX18" fmla="*/ 1975562 w 2635237"/>
              <a:gd name="connsiteY18" fmla="*/ 1506100 h 1535557"/>
              <a:gd name="connsiteX19" fmla="*/ 1929842 w 2635237"/>
              <a:gd name="connsiteY19" fmla="*/ 1519163 h 1535557"/>
              <a:gd name="connsiteX20" fmla="*/ 1874325 w 2635237"/>
              <a:gd name="connsiteY20" fmla="*/ 1535491 h 1535557"/>
              <a:gd name="connsiteX21" fmla="*/ 1802480 w 2635237"/>
              <a:gd name="connsiteY21" fmla="*/ 1512631 h 1535557"/>
              <a:gd name="connsiteX22" fmla="*/ 1733900 w 2635237"/>
              <a:gd name="connsiteY22" fmla="*/ 1453848 h 1535557"/>
              <a:gd name="connsiteX23" fmla="*/ 1671851 w 2635237"/>
              <a:gd name="connsiteY23" fmla="*/ 1411394 h 1535557"/>
              <a:gd name="connsiteX24" fmla="*/ 1587010 w 2635237"/>
              <a:gd name="connsiteY24" fmla="*/ 1372478 h 1535557"/>
              <a:gd name="connsiteX25" fmla="*/ 1479174 w 2635237"/>
              <a:gd name="connsiteY25" fmla="*/ 1362408 h 1535557"/>
              <a:gd name="connsiteX26" fmla="*/ 1400797 w 2635237"/>
              <a:gd name="connsiteY26" fmla="*/ 1362408 h 1535557"/>
              <a:gd name="connsiteX27" fmla="*/ 1309357 w 2635237"/>
              <a:gd name="connsiteY27" fmla="*/ 1349346 h 1535557"/>
              <a:gd name="connsiteX28" fmla="*/ 1227714 w 2635237"/>
              <a:gd name="connsiteY28" fmla="*/ 1336283 h 1535557"/>
              <a:gd name="connsiteX29" fmla="*/ 1105386 w 2635237"/>
              <a:gd name="connsiteY29" fmla="*/ 1301856 h 1535557"/>
              <a:gd name="connsiteX30" fmla="*/ 969722 w 2635237"/>
              <a:gd name="connsiteY30" fmla="*/ 1264437 h 1535557"/>
              <a:gd name="connsiteX31" fmla="*/ 856920 w 2635237"/>
              <a:gd name="connsiteY31" fmla="*/ 1228242 h 1535557"/>
              <a:gd name="connsiteX32" fmla="*/ 754185 w 2635237"/>
              <a:gd name="connsiteY32" fmla="*/ 1195857 h 1535557"/>
              <a:gd name="connsiteX33" fmla="*/ 662745 w 2635237"/>
              <a:gd name="connsiteY33" fmla="*/ 1166466 h 1535557"/>
              <a:gd name="connsiteX34" fmla="*/ 560351 w 2635237"/>
              <a:gd name="connsiteY34" fmla="*/ 1140952 h 1535557"/>
              <a:gd name="connsiteX35" fmla="*/ 457005 w 2635237"/>
              <a:gd name="connsiteY35" fmla="*/ 1130543 h 1535557"/>
              <a:gd name="connsiteX36" fmla="*/ 378628 w 2635237"/>
              <a:gd name="connsiteY36" fmla="*/ 1124011 h 1535557"/>
              <a:gd name="connsiteX37" fmla="*/ 251877 w 2635237"/>
              <a:gd name="connsiteY37" fmla="*/ 1088973 h 1535557"/>
              <a:gd name="connsiteX38" fmla="*/ 176154 w 2635237"/>
              <a:gd name="connsiteY38" fmla="*/ 1050668 h 1535557"/>
              <a:gd name="connsiteX39" fmla="*/ 104648 w 2635237"/>
              <a:gd name="connsiteY39" fmla="*/ 982157 h 1535557"/>
              <a:gd name="connsiteX40" fmla="*/ 60017 w 2635237"/>
              <a:gd name="connsiteY40" fmla="*/ 923646 h 1535557"/>
              <a:gd name="connsiteX41" fmla="*/ 23821 w 2635237"/>
              <a:gd name="connsiteY41" fmla="*/ 834588 h 1535557"/>
              <a:gd name="connsiteX42" fmla="*/ 2458 w 2635237"/>
              <a:gd name="connsiteY42" fmla="*/ 735391 h 1535557"/>
              <a:gd name="connsiteX43" fmla="*/ 10215 w 2635237"/>
              <a:gd name="connsiteY43" fmla="*/ 624357 h 1535557"/>
              <a:gd name="connsiteX44" fmla="*/ 57431 w 2635237"/>
              <a:gd name="connsiteY44" fmla="*/ 517133 h 1535557"/>
              <a:gd name="connsiteX45" fmla="*/ 113493 w 2635237"/>
              <a:gd name="connsiteY45" fmla="*/ 461071 h 1535557"/>
              <a:gd name="connsiteX46" fmla="*/ 221874 w 2635237"/>
              <a:gd name="connsiteY46" fmla="*/ 382694 h 1535557"/>
              <a:gd name="connsiteX47" fmla="*/ 368831 w 2635237"/>
              <a:gd name="connsiteY47" fmla="*/ 314114 h 1535557"/>
              <a:gd name="connsiteX48" fmla="*/ 525585 w 2635237"/>
              <a:gd name="connsiteY48" fmla="*/ 268394 h 1535557"/>
              <a:gd name="connsiteX49" fmla="*/ 649682 w 2635237"/>
              <a:gd name="connsiteY49" fmla="*/ 236350 h 1535557"/>
              <a:gd name="connsiteX50" fmla="*/ 795755 w 2635237"/>
              <a:gd name="connsiteY50" fmla="*/ 201310 h 1535557"/>
              <a:gd name="connsiteX51" fmla="*/ 953394 w 2635237"/>
              <a:gd name="connsiteY51" fmla="*/ 167157 h 1535557"/>
              <a:gd name="connsiteX52" fmla="*/ 1144982 w 2635237"/>
              <a:gd name="connsiteY52" fmla="*/ 116335 h 1535557"/>
              <a:gd name="connsiteX53" fmla="*/ 1397531 w 2635237"/>
              <a:gd name="connsiteY53" fmla="*/ 49591 h 1535557"/>
              <a:gd name="connsiteX54" fmla="*/ 1547754 w 2635237"/>
              <a:gd name="connsiteY54" fmla="*/ 18704 h 1535557"/>
              <a:gd name="connsiteX55" fmla="*/ 1660217 w 2635237"/>
              <a:gd name="connsiteY55" fmla="*/ 878 h 1535557"/>
              <a:gd name="connsiteX56" fmla="*/ 1769822 w 2635237"/>
              <a:gd name="connsiteY56" fmla="*/ 10403 h 1535557"/>
              <a:gd name="connsiteX57" fmla="*/ 1876163 w 2635237"/>
              <a:gd name="connsiteY57" fmla="*/ 62654 h 1535557"/>
              <a:gd name="connsiteX58" fmla="*/ 1975903 w 2635237"/>
              <a:gd name="connsiteY58" fmla="*/ 151441 h 1535557"/>
              <a:gd name="connsiteX59" fmla="*/ 2070881 w 2635237"/>
              <a:gd name="connsiteY59" fmla="*/ 229206 h 1535557"/>
              <a:gd name="connsiteX60" fmla="*/ 2155177 w 2635237"/>
              <a:gd name="connsiteY60" fmla="*/ 294520 h 1535557"/>
              <a:gd name="connsiteX61" fmla="*/ 2191100 w 2635237"/>
              <a:gd name="connsiteY61" fmla="*/ 340240 h 1535557"/>
              <a:gd name="connsiteX62" fmla="*/ 2197631 w 2635237"/>
              <a:gd name="connsiteY62" fmla="*/ 389226 h 1535557"/>
              <a:gd name="connsiteX63" fmla="*/ 2171505 w 2635237"/>
              <a:gd name="connsiteY63" fmla="*/ 451274 h 1535557"/>
              <a:gd name="connsiteX64" fmla="*/ 2062240 w 2635237"/>
              <a:gd name="connsiteY64" fmla="*/ 499988 h 1535557"/>
              <a:gd name="connsiteX65" fmla="*/ 1937259 w 2635237"/>
              <a:gd name="connsiteY65" fmla="*/ 501757 h 1535557"/>
              <a:gd name="connsiteX66" fmla="*/ 1857997 w 2635237"/>
              <a:gd name="connsiteY66" fmla="*/ 490463 h 1535557"/>
              <a:gd name="connsiteX67" fmla="*/ 1711040 w 2635237"/>
              <a:gd name="connsiteY67" fmla="*/ 467603 h 1535557"/>
              <a:gd name="connsiteX68" fmla="*/ 1570614 w 2635237"/>
              <a:gd name="connsiteY68" fmla="*/ 441477 h 1535557"/>
              <a:gd name="connsiteX69" fmla="*/ 1439985 w 2635237"/>
              <a:gd name="connsiteY69" fmla="*/ 421883 h 1535557"/>
              <a:gd name="connsiteX70" fmla="*/ 1325685 w 2635237"/>
              <a:gd name="connsiteY70" fmla="*/ 425148 h 1535557"/>
              <a:gd name="connsiteX71" fmla="*/ 1225061 w 2635237"/>
              <a:gd name="connsiteY71" fmla="*/ 450389 h 1535557"/>
              <a:gd name="connsiteX72" fmla="*/ 1139540 w 2635237"/>
              <a:gd name="connsiteY72" fmla="*/ 480666 h 1535557"/>
              <a:gd name="connsiteX73" fmla="*/ 1024695 w 2635237"/>
              <a:gd name="connsiteY73" fmla="*/ 526386 h 1535557"/>
              <a:gd name="connsiteX74" fmla="*/ 924002 w 2635237"/>
              <a:gd name="connsiteY74" fmla="*/ 563192 h 1535557"/>
              <a:gd name="connsiteX75" fmla="*/ 773168 w 2635237"/>
              <a:gd name="connsiteY75" fmla="*/ 585781 h 1535557"/>
              <a:gd name="connsiteX76" fmla="*/ 658051 w 2635237"/>
              <a:gd name="connsiteY76" fmla="*/ 600612 h 1535557"/>
              <a:gd name="connsiteX77" fmla="*/ 548445 w 2635237"/>
              <a:gd name="connsiteY77" fmla="*/ 601497 h 1535557"/>
              <a:gd name="connsiteX78" fmla="*/ 411285 w 2635237"/>
              <a:gd name="connsiteY78" fmla="*/ 587549 h 1535557"/>
              <a:gd name="connsiteX79" fmla="*/ 292835 w 2635237"/>
              <a:gd name="connsiteY79" fmla="*/ 572718 h 1535557"/>
              <a:gd name="connsiteX80" fmla="*/ 172888 w 2635237"/>
              <a:gd name="connsiteY80" fmla="*/ 555777 h 1535557"/>
              <a:gd name="connsiteX0" fmla="*/ 2635237 w 2635237"/>
              <a:gd name="connsiteY0" fmla="*/ 1022176 h 1534959"/>
              <a:gd name="connsiteX1" fmla="*/ 2631971 w 2635237"/>
              <a:gd name="connsiteY1" fmla="*/ 1077693 h 1534959"/>
              <a:gd name="connsiteX2" fmla="*/ 2626936 w 2635237"/>
              <a:gd name="connsiteY2" fmla="*/ 1135592 h 1534959"/>
              <a:gd name="connsiteX3" fmla="*/ 2625440 w 2635237"/>
              <a:gd name="connsiteY3" fmla="*/ 1182196 h 1534959"/>
              <a:gd name="connsiteX4" fmla="*/ 2621902 w 2635237"/>
              <a:gd name="connsiteY4" fmla="*/ 1237101 h 1534959"/>
              <a:gd name="connsiteX5" fmla="*/ 2599314 w 2635237"/>
              <a:gd name="connsiteY5" fmla="*/ 1289965 h 1534959"/>
              <a:gd name="connsiteX6" fmla="*/ 2560125 w 2635237"/>
              <a:gd name="connsiteY6" fmla="*/ 1322622 h 1534959"/>
              <a:gd name="connsiteX7" fmla="*/ 2504608 w 2635237"/>
              <a:gd name="connsiteY7" fmla="*/ 1332419 h 1534959"/>
              <a:gd name="connsiteX8" fmla="*/ 2452357 w 2635237"/>
              <a:gd name="connsiteY8" fmla="*/ 1335685 h 1534959"/>
              <a:gd name="connsiteX9" fmla="*/ 2406637 w 2635237"/>
              <a:gd name="connsiteY9" fmla="*/ 1335685 h 1534959"/>
              <a:gd name="connsiteX10" fmla="*/ 2351120 w 2635237"/>
              <a:gd name="connsiteY10" fmla="*/ 1348748 h 1534959"/>
              <a:gd name="connsiteX11" fmla="*/ 2315197 w 2635237"/>
              <a:gd name="connsiteY11" fmla="*/ 1387936 h 1534959"/>
              <a:gd name="connsiteX12" fmla="*/ 2285805 w 2635237"/>
              <a:gd name="connsiteY12" fmla="*/ 1417328 h 1534959"/>
              <a:gd name="connsiteX13" fmla="*/ 2246617 w 2635237"/>
              <a:gd name="connsiteY13" fmla="*/ 1459782 h 1534959"/>
              <a:gd name="connsiteX14" fmla="*/ 2187834 w 2635237"/>
              <a:gd name="connsiteY14" fmla="*/ 1482642 h 1534959"/>
              <a:gd name="connsiteX15" fmla="*/ 2122520 w 2635237"/>
              <a:gd name="connsiteY15" fmla="*/ 1469579 h 1534959"/>
              <a:gd name="connsiteX16" fmla="*/ 2053940 w 2635237"/>
              <a:gd name="connsiteY16" fmla="*/ 1472845 h 1534959"/>
              <a:gd name="connsiteX17" fmla="*/ 2011485 w 2635237"/>
              <a:gd name="connsiteY17" fmla="*/ 1485908 h 1534959"/>
              <a:gd name="connsiteX18" fmla="*/ 1975562 w 2635237"/>
              <a:gd name="connsiteY18" fmla="*/ 1505502 h 1534959"/>
              <a:gd name="connsiteX19" fmla="*/ 1929842 w 2635237"/>
              <a:gd name="connsiteY19" fmla="*/ 1518565 h 1534959"/>
              <a:gd name="connsiteX20" fmla="*/ 1874325 w 2635237"/>
              <a:gd name="connsiteY20" fmla="*/ 1534893 h 1534959"/>
              <a:gd name="connsiteX21" fmla="*/ 1802480 w 2635237"/>
              <a:gd name="connsiteY21" fmla="*/ 1512033 h 1534959"/>
              <a:gd name="connsiteX22" fmla="*/ 1733900 w 2635237"/>
              <a:gd name="connsiteY22" fmla="*/ 1453250 h 1534959"/>
              <a:gd name="connsiteX23" fmla="*/ 1671851 w 2635237"/>
              <a:gd name="connsiteY23" fmla="*/ 1410796 h 1534959"/>
              <a:gd name="connsiteX24" fmla="*/ 1587010 w 2635237"/>
              <a:gd name="connsiteY24" fmla="*/ 1371880 h 1534959"/>
              <a:gd name="connsiteX25" fmla="*/ 1479174 w 2635237"/>
              <a:gd name="connsiteY25" fmla="*/ 1361810 h 1534959"/>
              <a:gd name="connsiteX26" fmla="*/ 1400797 w 2635237"/>
              <a:gd name="connsiteY26" fmla="*/ 1361810 h 1534959"/>
              <a:gd name="connsiteX27" fmla="*/ 1309357 w 2635237"/>
              <a:gd name="connsiteY27" fmla="*/ 1348748 h 1534959"/>
              <a:gd name="connsiteX28" fmla="*/ 1227714 w 2635237"/>
              <a:gd name="connsiteY28" fmla="*/ 1335685 h 1534959"/>
              <a:gd name="connsiteX29" fmla="*/ 1105386 w 2635237"/>
              <a:gd name="connsiteY29" fmla="*/ 1301258 h 1534959"/>
              <a:gd name="connsiteX30" fmla="*/ 969722 w 2635237"/>
              <a:gd name="connsiteY30" fmla="*/ 1263839 h 1534959"/>
              <a:gd name="connsiteX31" fmla="*/ 856920 w 2635237"/>
              <a:gd name="connsiteY31" fmla="*/ 1227644 h 1534959"/>
              <a:gd name="connsiteX32" fmla="*/ 754185 w 2635237"/>
              <a:gd name="connsiteY32" fmla="*/ 1195259 h 1534959"/>
              <a:gd name="connsiteX33" fmla="*/ 662745 w 2635237"/>
              <a:gd name="connsiteY33" fmla="*/ 1165868 h 1534959"/>
              <a:gd name="connsiteX34" fmla="*/ 560351 w 2635237"/>
              <a:gd name="connsiteY34" fmla="*/ 1140354 h 1534959"/>
              <a:gd name="connsiteX35" fmla="*/ 457005 w 2635237"/>
              <a:gd name="connsiteY35" fmla="*/ 1129945 h 1534959"/>
              <a:gd name="connsiteX36" fmla="*/ 378628 w 2635237"/>
              <a:gd name="connsiteY36" fmla="*/ 1123413 h 1534959"/>
              <a:gd name="connsiteX37" fmla="*/ 251877 w 2635237"/>
              <a:gd name="connsiteY37" fmla="*/ 1088375 h 1534959"/>
              <a:gd name="connsiteX38" fmla="*/ 176154 w 2635237"/>
              <a:gd name="connsiteY38" fmla="*/ 1050070 h 1534959"/>
              <a:gd name="connsiteX39" fmla="*/ 104648 w 2635237"/>
              <a:gd name="connsiteY39" fmla="*/ 981559 h 1534959"/>
              <a:gd name="connsiteX40" fmla="*/ 60017 w 2635237"/>
              <a:gd name="connsiteY40" fmla="*/ 923048 h 1534959"/>
              <a:gd name="connsiteX41" fmla="*/ 23821 w 2635237"/>
              <a:gd name="connsiteY41" fmla="*/ 833990 h 1534959"/>
              <a:gd name="connsiteX42" fmla="*/ 2458 w 2635237"/>
              <a:gd name="connsiteY42" fmla="*/ 734793 h 1534959"/>
              <a:gd name="connsiteX43" fmla="*/ 10215 w 2635237"/>
              <a:gd name="connsiteY43" fmla="*/ 623759 h 1534959"/>
              <a:gd name="connsiteX44" fmla="*/ 57431 w 2635237"/>
              <a:gd name="connsiteY44" fmla="*/ 516535 h 1534959"/>
              <a:gd name="connsiteX45" fmla="*/ 113493 w 2635237"/>
              <a:gd name="connsiteY45" fmla="*/ 460473 h 1534959"/>
              <a:gd name="connsiteX46" fmla="*/ 221874 w 2635237"/>
              <a:gd name="connsiteY46" fmla="*/ 382096 h 1534959"/>
              <a:gd name="connsiteX47" fmla="*/ 368831 w 2635237"/>
              <a:gd name="connsiteY47" fmla="*/ 313516 h 1534959"/>
              <a:gd name="connsiteX48" fmla="*/ 525585 w 2635237"/>
              <a:gd name="connsiteY48" fmla="*/ 267796 h 1534959"/>
              <a:gd name="connsiteX49" fmla="*/ 649682 w 2635237"/>
              <a:gd name="connsiteY49" fmla="*/ 235752 h 1534959"/>
              <a:gd name="connsiteX50" fmla="*/ 795755 w 2635237"/>
              <a:gd name="connsiteY50" fmla="*/ 200712 h 1534959"/>
              <a:gd name="connsiteX51" fmla="*/ 953394 w 2635237"/>
              <a:gd name="connsiteY51" fmla="*/ 166559 h 1534959"/>
              <a:gd name="connsiteX52" fmla="*/ 1144982 w 2635237"/>
              <a:gd name="connsiteY52" fmla="*/ 115737 h 1534959"/>
              <a:gd name="connsiteX53" fmla="*/ 1397531 w 2635237"/>
              <a:gd name="connsiteY53" fmla="*/ 48993 h 1534959"/>
              <a:gd name="connsiteX54" fmla="*/ 1547754 w 2635237"/>
              <a:gd name="connsiteY54" fmla="*/ 18106 h 1534959"/>
              <a:gd name="connsiteX55" fmla="*/ 1660217 w 2635237"/>
              <a:gd name="connsiteY55" fmla="*/ 280 h 1534959"/>
              <a:gd name="connsiteX56" fmla="*/ 1769822 w 2635237"/>
              <a:gd name="connsiteY56" fmla="*/ 19330 h 1534959"/>
              <a:gd name="connsiteX57" fmla="*/ 1876163 w 2635237"/>
              <a:gd name="connsiteY57" fmla="*/ 62056 h 1534959"/>
              <a:gd name="connsiteX58" fmla="*/ 1975903 w 2635237"/>
              <a:gd name="connsiteY58" fmla="*/ 150843 h 1534959"/>
              <a:gd name="connsiteX59" fmla="*/ 2070881 w 2635237"/>
              <a:gd name="connsiteY59" fmla="*/ 228608 h 1534959"/>
              <a:gd name="connsiteX60" fmla="*/ 2155177 w 2635237"/>
              <a:gd name="connsiteY60" fmla="*/ 293922 h 1534959"/>
              <a:gd name="connsiteX61" fmla="*/ 2191100 w 2635237"/>
              <a:gd name="connsiteY61" fmla="*/ 339642 h 1534959"/>
              <a:gd name="connsiteX62" fmla="*/ 2197631 w 2635237"/>
              <a:gd name="connsiteY62" fmla="*/ 388628 h 1534959"/>
              <a:gd name="connsiteX63" fmla="*/ 2171505 w 2635237"/>
              <a:gd name="connsiteY63" fmla="*/ 450676 h 1534959"/>
              <a:gd name="connsiteX64" fmla="*/ 2062240 w 2635237"/>
              <a:gd name="connsiteY64" fmla="*/ 499390 h 1534959"/>
              <a:gd name="connsiteX65" fmla="*/ 1937259 w 2635237"/>
              <a:gd name="connsiteY65" fmla="*/ 501159 h 1534959"/>
              <a:gd name="connsiteX66" fmla="*/ 1857997 w 2635237"/>
              <a:gd name="connsiteY66" fmla="*/ 489865 h 1534959"/>
              <a:gd name="connsiteX67" fmla="*/ 1711040 w 2635237"/>
              <a:gd name="connsiteY67" fmla="*/ 467005 h 1534959"/>
              <a:gd name="connsiteX68" fmla="*/ 1570614 w 2635237"/>
              <a:gd name="connsiteY68" fmla="*/ 440879 h 1534959"/>
              <a:gd name="connsiteX69" fmla="*/ 1439985 w 2635237"/>
              <a:gd name="connsiteY69" fmla="*/ 421285 h 1534959"/>
              <a:gd name="connsiteX70" fmla="*/ 1325685 w 2635237"/>
              <a:gd name="connsiteY70" fmla="*/ 424550 h 1534959"/>
              <a:gd name="connsiteX71" fmla="*/ 1225061 w 2635237"/>
              <a:gd name="connsiteY71" fmla="*/ 449791 h 1534959"/>
              <a:gd name="connsiteX72" fmla="*/ 1139540 w 2635237"/>
              <a:gd name="connsiteY72" fmla="*/ 480068 h 1534959"/>
              <a:gd name="connsiteX73" fmla="*/ 1024695 w 2635237"/>
              <a:gd name="connsiteY73" fmla="*/ 525788 h 1534959"/>
              <a:gd name="connsiteX74" fmla="*/ 924002 w 2635237"/>
              <a:gd name="connsiteY74" fmla="*/ 562594 h 1534959"/>
              <a:gd name="connsiteX75" fmla="*/ 773168 w 2635237"/>
              <a:gd name="connsiteY75" fmla="*/ 585183 h 1534959"/>
              <a:gd name="connsiteX76" fmla="*/ 658051 w 2635237"/>
              <a:gd name="connsiteY76" fmla="*/ 600014 h 1534959"/>
              <a:gd name="connsiteX77" fmla="*/ 548445 w 2635237"/>
              <a:gd name="connsiteY77" fmla="*/ 600899 h 1534959"/>
              <a:gd name="connsiteX78" fmla="*/ 411285 w 2635237"/>
              <a:gd name="connsiteY78" fmla="*/ 586951 h 1534959"/>
              <a:gd name="connsiteX79" fmla="*/ 292835 w 2635237"/>
              <a:gd name="connsiteY79" fmla="*/ 572120 h 1534959"/>
              <a:gd name="connsiteX80" fmla="*/ 172888 w 2635237"/>
              <a:gd name="connsiteY80" fmla="*/ 555179 h 1534959"/>
              <a:gd name="connsiteX0" fmla="*/ 2635237 w 2635237"/>
              <a:gd name="connsiteY0" fmla="*/ 1016013 h 1528796"/>
              <a:gd name="connsiteX1" fmla="*/ 2631971 w 2635237"/>
              <a:gd name="connsiteY1" fmla="*/ 1071530 h 1528796"/>
              <a:gd name="connsiteX2" fmla="*/ 2626936 w 2635237"/>
              <a:gd name="connsiteY2" fmla="*/ 1129429 h 1528796"/>
              <a:gd name="connsiteX3" fmla="*/ 2625440 w 2635237"/>
              <a:gd name="connsiteY3" fmla="*/ 1176033 h 1528796"/>
              <a:gd name="connsiteX4" fmla="*/ 2621902 w 2635237"/>
              <a:gd name="connsiteY4" fmla="*/ 1230938 h 1528796"/>
              <a:gd name="connsiteX5" fmla="*/ 2599314 w 2635237"/>
              <a:gd name="connsiteY5" fmla="*/ 1283802 h 1528796"/>
              <a:gd name="connsiteX6" fmla="*/ 2560125 w 2635237"/>
              <a:gd name="connsiteY6" fmla="*/ 1316459 h 1528796"/>
              <a:gd name="connsiteX7" fmla="*/ 2504608 w 2635237"/>
              <a:gd name="connsiteY7" fmla="*/ 1326256 h 1528796"/>
              <a:gd name="connsiteX8" fmla="*/ 2452357 w 2635237"/>
              <a:gd name="connsiteY8" fmla="*/ 1329522 h 1528796"/>
              <a:gd name="connsiteX9" fmla="*/ 2406637 w 2635237"/>
              <a:gd name="connsiteY9" fmla="*/ 1329522 h 1528796"/>
              <a:gd name="connsiteX10" fmla="*/ 2351120 w 2635237"/>
              <a:gd name="connsiteY10" fmla="*/ 1342585 h 1528796"/>
              <a:gd name="connsiteX11" fmla="*/ 2315197 w 2635237"/>
              <a:gd name="connsiteY11" fmla="*/ 1381773 h 1528796"/>
              <a:gd name="connsiteX12" fmla="*/ 2285805 w 2635237"/>
              <a:gd name="connsiteY12" fmla="*/ 1411165 h 1528796"/>
              <a:gd name="connsiteX13" fmla="*/ 2246617 w 2635237"/>
              <a:gd name="connsiteY13" fmla="*/ 1453619 h 1528796"/>
              <a:gd name="connsiteX14" fmla="*/ 2187834 w 2635237"/>
              <a:gd name="connsiteY14" fmla="*/ 1476479 h 1528796"/>
              <a:gd name="connsiteX15" fmla="*/ 2122520 w 2635237"/>
              <a:gd name="connsiteY15" fmla="*/ 1463416 h 1528796"/>
              <a:gd name="connsiteX16" fmla="*/ 2053940 w 2635237"/>
              <a:gd name="connsiteY16" fmla="*/ 1466682 h 1528796"/>
              <a:gd name="connsiteX17" fmla="*/ 2011485 w 2635237"/>
              <a:gd name="connsiteY17" fmla="*/ 1479745 h 1528796"/>
              <a:gd name="connsiteX18" fmla="*/ 1975562 w 2635237"/>
              <a:gd name="connsiteY18" fmla="*/ 1499339 h 1528796"/>
              <a:gd name="connsiteX19" fmla="*/ 1929842 w 2635237"/>
              <a:gd name="connsiteY19" fmla="*/ 1512402 h 1528796"/>
              <a:gd name="connsiteX20" fmla="*/ 1874325 w 2635237"/>
              <a:gd name="connsiteY20" fmla="*/ 1528730 h 1528796"/>
              <a:gd name="connsiteX21" fmla="*/ 1802480 w 2635237"/>
              <a:gd name="connsiteY21" fmla="*/ 1505870 h 1528796"/>
              <a:gd name="connsiteX22" fmla="*/ 1733900 w 2635237"/>
              <a:gd name="connsiteY22" fmla="*/ 1447087 h 1528796"/>
              <a:gd name="connsiteX23" fmla="*/ 1671851 w 2635237"/>
              <a:gd name="connsiteY23" fmla="*/ 1404633 h 1528796"/>
              <a:gd name="connsiteX24" fmla="*/ 1587010 w 2635237"/>
              <a:gd name="connsiteY24" fmla="*/ 1365717 h 1528796"/>
              <a:gd name="connsiteX25" fmla="*/ 1479174 w 2635237"/>
              <a:gd name="connsiteY25" fmla="*/ 1355647 h 1528796"/>
              <a:gd name="connsiteX26" fmla="*/ 1400797 w 2635237"/>
              <a:gd name="connsiteY26" fmla="*/ 1355647 h 1528796"/>
              <a:gd name="connsiteX27" fmla="*/ 1309357 w 2635237"/>
              <a:gd name="connsiteY27" fmla="*/ 1342585 h 1528796"/>
              <a:gd name="connsiteX28" fmla="*/ 1227714 w 2635237"/>
              <a:gd name="connsiteY28" fmla="*/ 1329522 h 1528796"/>
              <a:gd name="connsiteX29" fmla="*/ 1105386 w 2635237"/>
              <a:gd name="connsiteY29" fmla="*/ 1295095 h 1528796"/>
              <a:gd name="connsiteX30" fmla="*/ 969722 w 2635237"/>
              <a:gd name="connsiteY30" fmla="*/ 1257676 h 1528796"/>
              <a:gd name="connsiteX31" fmla="*/ 856920 w 2635237"/>
              <a:gd name="connsiteY31" fmla="*/ 1221481 h 1528796"/>
              <a:gd name="connsiteX32" fmla="*/ 754185 w 2635237"/>
              <a:gd name="connsiteY32" fmla="*/ 1189096 h 1528796"/>
              <a:gd name="connsiteX33" fmla="*/ 662745 w 2635237"/>
              <a:gd name="connsiteY33" fmla="*/ 1159705 h 1528796"/>
              <a:gd name="connsiteX34" fmla="*/ 560351 w 2635237"/>
              <a:gd name="connsiteY34" fmla="*/ 1134191 h 1528796"/>
              <a:gd name="connsiteX35" fmla="*/ 457005 w 2635237"/>
              <a:gd name="connsiteY35" fmla="*/ 1123782 h 1528796"/>
              <a:gd name="connsiteX36" fmla="*/ 378628 w 2635237"/>
              <a:gd name="connsiteY36" fmla="*/ 1117250 h 1528796"/>
              <a:gd name="connsiteX37" fmla="*/ 251877 w 2635237"/>
              <a:gd name="connsiteY37" fmla="*/ 1082212 h 1528796"/>
              <a:gd name="connsiteX38" fmla="*/ 176154 w 2635237"/>
              <a:gd name="connsiteY38" fmla="*/ 1043907 h 1528796"/>
              <a:gd name="connsiteX39" fmla="*/ 104648 w 2635237"/>
              <a:gd name="connsiteY39" fmla="*/ 975396 h 1528796"/>
              <a:gd name="connsiteX40" fmla="*/ 60017 w 2635237"/>
              <a:gd name="connsiteY40" fmla="*/ 916885 h 1528796"/>
              <a:gd name="connsiteX41" fmla="*/ 23821 w 2635237"/>
              <a:gd name="connsiteY41" fmla="*/ 827827 h 1528796"/>
              <a:gd name="connsiteX42" fmla="*/ 2458 w 2635237"/>
              <a:gd name="connsiteY42" fmla="*/ 728630 h 1528796"/>
              <a:gd name="connsiteX43" fmla="*/ 10215 w 2635237"/>
              <a:gd name="connsiteY43" fmla="*/ 617596 h 1528796"/>
              <a:gd name="connsiteX44" fmla="*/ 57431 w 2635237"/>
              <a:gd name="connsiteY44" fmla="*/ 510372 h 1528796"/>
              <a:gd name="connsiteX45" fmla="*/ 113493 w 2635237"/>
              <a:gd name="connsiteY45" fmla="*/ 454310 h 1528796"/>
              <a:gd name="connsiteX46" fmla="*/ 221874 w 2635237"/>
              <a:gd name="connsiteY46" fmla="*/ 375933 h 1528796"/>
              <a:gd name="connsiteX47" fmla="*/ 368831 w 2635237"/>
              <a:gd name="connsiteY47" fmla="*/ 307353 h 1528796"/>
              <a:gd name="connsiteX48" fmla="*/ 525585 w 2635237"/>
              <a:gd name="connsiteY48" fmla="*/ 261633 h 1528796"/>
              <a:gd name="connsiteX49" fmla="*/ 649682 w 2635237"/>
              <a:gd name="connsiteY49" fmla="*/ 229589 h 1528796"/>
              <a:gd name="connsiteX50" fmla="*/ 795755 w 2635237"/>
              <a:gd name="connsiteY50" fmla="*/ 194549 h 1528796"/>
              <a:gd name="connsiteX51" fmla="*/ 953394 w 2635237"/>
              <a:gd name="connsiteY51" fmla="*/ 160396 h 1528796"/>
              <a:gd name="connsiteX52" fmla="*/ 1144982 w 2635237"/>
              <a:gd name="connsiteY52" fmla="*/ 109574 h 1528796"/>
              <a:gd name="connsiteX53" fmla="*/ 1397531 w 2635237"/>
              <a:gd name="connsiteY53" fmla="*/ 42830 h 1528796"/>
              <a:gd name="connsiteX54" fmla="*/ 1547754 w 2635237"/>
              <a:gd name="connsiteY54" fmla="*/ 11943 h 1528796"/>
              <a:gd name="connsiteX55" fmla="*/ 1657042 w 2635237"/>
              <a:gd name="connsiteY55" fmla="*/ 467 h 1528796"/>
              <a:gd name="connsiteX56" fmla="*/ 1769822 w 2635237"/>
              <a:gd name="connsiteY56" fmla="*/ 13167 h 1528796"/>
              <a:gd name="connsiteX57" fmla="*/ 1876163 w 2635237"/>
              <a:gd name="connsiteY57" fmla="*/ 55893 h 1528796"/>
              <a:gd name="connsiteX58" fmla="*/ 1975903 w 2635237"/>
              <a:gd name="connsiteY58" fmla="*/ 144680 h 1528796"/>
              <a:gd name="connsiteX59" fmla="*/ 2070881 w 2635237"/>
              <a:gd name="connsiteY59" fmla="*/ 222445 h 1528796"/>
              <a:gd name="connsiteX60" fmla="*/ 2155177 w 2635237"/>
              <a:gd name="connsiteY60" fmla="*/ 287759 h 1528796"/>
              <a:gd name="connsiteX61" fmla="*/ 2191100 w 2635237"/>
              <a:gd name="connsiteY61" fmla="*/ 333479 h 1528796"/>
              <a:gd name="connsiteX62" fmla="*/ 2197631 w 2635237"/>
              <a:gd name="connsiteY62" fmla="*/ 382465 h 1528796"/>
              <a:gd name="connsiteX63" fmla="*/ 2171505 w 2635237"/>
              <a:gd name="connsiteY63" fmla="*/ 444513 h 1528796"/>
              <a:gd name="connsiteX64" fmla="*/ 2062240 w 2635237"/>
              <a:gd name="connsiteY64" fmla="*/ 493227 h 1528796"/>
              <a:gd name="connsiteX65" fmla="*/ 1937259 w 2635237"/>
              <a:gd name="connsiteY65" fmla="*/ 494996 h 1528796"/>
              <a:gd name="connsiteX66" fmla="*/ 1857997 w 2635237"/>
              <a:gd name="connsiteY66" fmla="*/ 483702 h 1528796"/>
              <a:gd name="connsiteX67" fmla="*/ 1711040 w 2635237"/>
              <a:gd name="connsiteY67" fmla="*/ 460842 h 1528796"/>
              <a:gd name="connsiteX68" fmla="*/ 1570614 w 2635237"/>
              <a:gd name="connsiteY68" fmla="*/ 434716 h 1528796"/>
              <a:gd name="connsiteX69" fmla="*/ 1439985 w 2635237"/>
              <a:gd name="connsiteY69" fmla="*/ 415122 h 1528796"/>
              <a:gd name="connsiteX70" fmla="*/ 1325685 w 2635237"/>
              <a:gd name="connsiteY70" fmla="*/ 418387 h 1528796"/>
              <a:gd name="connsiteX71" fmla="*/ 1225061 w 2635237"/>
              <a:gd name="connsiteY71" fmla="*/ 443628 h 1528796"/>
              <a:gd name="connsiteX72" fmla="*/ 1139540 w 2635237"/>
              <a:gd name="connsiteY72" fmla="*/ 473905 h 1528796"/>
              <a:gd name="connsiteX73" fmla="*/ 1024695 w 2635237"/>
              <a:gd name="connsiteY73" fmla="*/ 519625 h 1528796"/>
              <a:gd name="connsiteX74" fmla="*/ 924002 w 2635237"/>
              <a:gd name="connsiteY74" fmla="*/ 556431 h 1528796"/>
              <a:gd name="connsiteX75" fmla="*/ 773168 w 2635237"/>
              <a:gd name="connsiteY75" fmla="*/ 579020 h 1528796"/>
              <a:gd name="connsiteX76" fmla="*/ 658051 w 2635237"/>
              <a:gd name="connsiteY76" fmla="*/ 593851 h 1528796"/>
              <a:gd name="connsiteX77" fmla="*/ 548445 w 2635237"/>
              <a:gd name="connsiteY77" fmla="*/ 594736 h 1528796"/>
              <a:gd name="connsiteX78" fmla="*/ 411285 w 2635237"/>
              <a:gd name="connsiteY78" fmla="*/ 580788 h 1528796"/>
              <a:gd name="connsiteX79" fmla="*/ 292835 w 2635237"/>
              <a:gd name="connsiteY79" fmla="*/ 565957 h 1528796"/>
              <a:gd name="connsiteX80" fmla="*/ 172888 w 2635237"/>
              <a:gd name="connsiteY80" fmla="*/ 549016 h 1528796"/>
              <a:gd name="connsiteX0" fmla="*/ 2635237 w 2635237"/>
              <a:gd name="connsiteY0" fmla="*/ 1016013 h 1528796"/>
              <a:gd name="connsiteX1" fmla="*/ 2631971 w 2635237"/>
              <a:gd name="connsiteY1" fmla="*/ 1071530 h 1528796"/>
              <a:gd name="connsiteX2" fmla="*/ 2626936 w 2635237"/>
              <a:gd name="connsiteY2" fmla="*/ 1129429 h 1528796"/>
              <a:gd name="connsiteX3" fmla="*/ 2625440 w 2635237"/>
              <a:gd name="connsiteY3" fmla="*/ 1176033 h 1528796"/>
              <a:gd name="connsiteX4" fmla="*/ 2621902 w 2635237"/>
              <a:gd name="connsiteY4" fmla="*/ 1230938 h 1528796"/>
              <a:gd name="connsiteX5" fmla="*/ 2599314 w 2635237"/>
              <a:gd name="connsiteY5" fmla="*/ 1283802 h 1528796"/>
              <a:gd name="connsiteX6" fmla="*/ 2560125 w 2635237"/>
              <a:gd name="connsiteY6" fmla="*/ 1316459 h 1528796"/>
              <a:gd name="connsiteX7" fmla="*/ 2504608 w 2635237"/>
              <a:gd name="connsiteY7" fmla="*/ 1326256 h 1528796"/>
              <a:gd name="connsiteX8" fmla="*/ 2452357 w 2635237"/>
              <a:gd name="connsiteY8" fmla="*/ 1329522 h 1528796"/>
              <a:gd name="connsiteX9" fmla="*/ 2406637 w 2635237"/>
              <a:gd name="connsiteY9" fmla="*/ 1329522 h 1528796"/>
              <a:gd name="connsiteX10" fmla="*/ 2351120 w 2635237"/>
              <a:gd name="connsiteY10" fmla="*/ 1342585 h 1528796"/>
              <a:gd name="connsiteX11" fmla="*/ 2315197 w 2635237"/>
              <a:gd name="connsiteY11" fmla="*/ 1381773 h 1528796"/>
              <a:gd name="connsiteX12" fmla="*/ 2285805 w 2635237"/>
              <a:gd name="connsiteY12" fmla="*/ 1411165 h 1528796"/>
              <a:gd name="connsiteX13" fmla="*/ 2246617 w 2635237"/>
              <a:gd name="connsiteY13" fmla="*/ 1453619 h 1528796"/>
              <a:gd name="connsiteX14" fmla="*/ 2187834 w 2635237"/>
              <a:gd name="connsiteY14" fmla="*/ 1476479 h 1528796"/>
              <a:gd name="connsiteX15" fmla="*/ 2122520 w 2635237"/>
              <a:gd name="connsiteY15" fmla="*/ 1463416 h 1528796"/>
              <a:gd name="connsiteX16" fmla="*/ 2053940 w 2635237"/>
              <a:gd name="connsiteY16" fmla="*/ 1466682 h 1528796"/>
              <a:gd name="connsiteX17" fmla="*/ 2011485 w 2635237"/>
              <a:gd name="connsiteY17" fmla="*/ 1479745 h 1528796"/>
              <a:gd name="connsiteX18" fmla="*/ 1975562 w 2635237"/>
              <a:gd name="connsiteY18" fmla="*/ 1499339 h 1528796"/>
              <a:gd name="connsiteX19" fmla="*/ 1929842 w 2635237"/>
              <a:gd name="connsiteY19" fmla="*/ 1512402 h 1528796"/>
              <a:gd name="connsiteX20" fmla="*/ 1874325 w 2635237"/>
              <a:gd name="connsiteY20" fmla="*/ 1528730 h 1528796"/>
              <a:gd name="connsiteX21" fmla="*/ 1802480 w 2635237"/>
              <a:gd name="connsiteY21" fmla="*/ 1505870 h 1528796"/>
              <a:gd name="connsiteX22" fmla="*/ 1733900 w 2635237"/>
              <a:gd name="connsiteY22" fmla="*/ 1447087 h 1528796"/>
              <a:gd name="connsiteX23" fmla="*/ 1671851 w 2635237"/>
              <a:gd name="connsiteY23" fmla="*/ 1404633 h 1528796"/>
              <a:gd name="connsiteX24" fmla="*/ 1587010 w 2635237"/>
              <a:gd name="connsiteY24" fmla="*/ 1365717 h 1528796"/>
              <a:gd name="connsiteX25" fmla="*/ 1479174 w 2635237"/>
              <a:gd name="connsiteY25" fmla="*/ 1355647 h 1528796"/>
              <a:gd name="connsiteX26" fmla="*/ 1400797 w 2635237"/>
              <a:gd name="connsiteY26" fmla="*/ 1355647 h 1528796"/>
              <a:gd name="connsiteX27" fmla="*/ 1309357 w 2635237"/>
              <a:gd name="connsiteY27" fmla="*/ 1342585 h 1528796"/>
              <a:gd name="connsiteX28" fmla="*/ 1227714 w 2635237"/>
              <a:gd name="connsiteY28" fmla="*/ 1329522 h 1528796"/>
              <a:gd name="connsiteX29" fmla="*/ 1105386 w 2635237"/>
              <a:gd name="connsiteY29" fmla="*/ 1295095 h 1528796"/>
              <a:gd name="connsiteX30" fmla="*/ 969722 w 2635237"/>
              <a:gd name="connsiteY30" fmla="*/ 1257676 h 1528796"/>
              <a:gd name="connsiteX31" fmla="*/ 856920 w 2635237"/>
              <a:gd name="connsiteY31" fmla="*/ 1221481 h 1528796"/>
              <a:gd name="connsiteX32" fmla="*/ 754185 w 2635237"/>
              <a:gd name="connsiteY32" fmla="*/ 1189096 h 1528796"/>
              <a:gd name="connsiteX33" fmla="*/ 662745 w 2635237"/>
              <a:gd name="connsiteY33" fmla="*/ 1159705 h 1528796"/>
              <a:gd name="connsiteX34" fmla="*/ 560351 w 2635237"/>
              <a:gd name="connsiteY34" fmla="*/ 1134191 h 1528796"/>
              <a:gd name="connsiteX35" fmla="*/ 457005 w 2635237"/>
              <a:gd name="connsiteY35" fmla="*/ 1123782 h 1528796"/>
              <a:gd name="connsiteX36" fmla="*/ 378628 w 2635237"/>
              <a:gd name="connsiteY36" fmla="*/ 1117250 h 1528796"/>
              <a:gd name="connsiteX37" fmla="*/ 251877 w 2635237"/>
              <a:gd name="connsiteY37" fmla="*/ 1082212 h 1528796"/>
              <a:gd name="connsiteX38" fmla="*/ 176154 w 2635237"/>
              <a:gd name="connsiteY38" fmla="*/ 1043907 h 1528796"/>
              <a:gd name="connsiteX39" fmla="*/ 104648 w 2635237"/>
              <a:gd name="connsiteY39" fmla="*/ 975396 h 1528796"/>
              <a:gd name="connsiteX40" fmla="*/ 60017 w 2635237"/>
              <a:gd name="connsiteY40" fmla="*/ 916885 h 1528796"/>
              <a:gd name="connsiteX41" fmla="*/ 23821 w 2635237"/>
              <a:gd name="connsiteY41" fmla="*/ 827827 h 1528796"/>
              <a:gd name="connsiteX42" fmla="*/ 2458 w 2635237"/>
              <a:gd name="connsiteY42" fmla="*/ 728630 h 1528796"/>
              <a:gd name="connsiteX43" fmla="*/ 10215 w 2635237"/>
              <a:gd name="connsiteY43" fmla="*/ 617596 h 1528796"/>
              <a:gd name="connsiteX44" fmla="*/ 57431 w 2635237"/>
              <a:gd name="connsiteY44" fmla="*/ 510372 h 1528796"/>
              <a:gd name="connsiteX45" fmla="*/ 113493 w 2635237"/>
              <a:gd name="connsiteY45" fmla="*/ 454310 h 1528796"/>
              <a:gd name="connsiteX46" fmla="*/ 221874 w 2635237"/>
              <a:gd name="connsiteY46" fmla="*/ 375933 h 1528796"/>
              <a:gd name="connsiteX47" fmla="*/ 368831 w 2635237"/>
              <a:gd name="connsiteY47" fmla="*/ 307353 h 1528796"/>
              <a:gd name="connsiteX48" fmla="*/ 525585 w 2635237"/>
              <a:gd name="connsiteY48" fmla="*/ 261633 h 1528796"/>
              <a:gd name="connsiteX49" fmla="*/ 649682 w 2635237"/>
              <a:gd name="connsiteY49" fmla="*/ 229589 h 1528796"/>
              <a:gd name="connsiteX50" fmla="*/ 795755 w 2635237"/>
              <a:gd name="connsiteY50" fmla="*/ 194549 h 1528796"/>
              <a:gd name="connsiteX51" fmla="*/ 953394 w 2635237"/>
              <a:gd name="connsiteY51" fmla="*/ 160396 h 1528796"/>
              <a:gd name="connsiteX52" fmla="*/ 1144982 w 2635237"/>
              <a:gd name="connsiteY52" fmla="*/ 109574 h 1528796"/>
              <a:gd name="connsiteX53" fmla="*/ 1397531 w 2635237"/>
              <a:gd name="connsiteY53" fmla="*/ 42830 h 1528796"/>
              <a:gd name="connsiteX54" fmla="*/ 1547754 w 2635237"/>
              <a:gd name="connsiteY54" fmla="*/ 11943 h 1528796"/>
              <a:gd name="connsiteX55" fmla="*/ 1657042 w 2635237"/>
              <a:gd name="connsiteY55" fmla="*/ 467 h 1528796"/>
              <a:gd name="connsiteX56" fmla="*/ 1769822 w 2635237"/>
              <a:gd name="connsiteY56" fmla="*/ 13167 h 1528796"/>
              <a:gd name="connsiteX57" fmla="*/ 1876163 w 2635237"/>
              <a:gd name="connsiteY57" fmla="*/ 55893 h 1528796"/>
              <a:gd name="connsiteX58" fmla="*/ 1975903 w 2635237"/>
              <a:gd name="connsiteY58" fmla="*/ 144680 h 1528796"/>
              <a:gd name="connsiteX59" fmla="*/ 2070881 w 2635237"/>
              <a:gd name="connsiteY59" fmla="*/ 222445 h 1528796"/>
              <a:gd name="connsiteX60" fmla="*/ 2155177 w 2635237"/>
              <a:gd name="connsiteY60" fmla="*/ 287759 h 1528796"/>
              <a:gd name="connsiteX61" fmla="*/ 2191100 w 2635237"/>
              <a:gd name="connsiteY61" fmla="*/ 333479 h 1528796"/>
              <a:gd name="connsiteX62" fmla="*/ 2197631 w 2635237"/>
              <a:gd name="connsiteY62" fmla="*/ 382465 h 1528796"/>
              <a:gd name="connsiteX63" fmla="*/ 2171505 w 2635237"/>
              <a:gd name="connsiteY63" fmla="*/ 444513 h 1528796"/>
              <a:gd name="connsiteX64" fmla="*/ 2062240 w 2635237"/>
              <a:gd name="connsiteY64" fmla="*/ 493227 h 1528796"/>
              <a:gd name="connsiteX65" fmla="*/ 1937259 w 2635237"/>
              <a:gd name="connsiteY65" fmla="*/ 494996 h 1528796"/>
              <a:gd name="connsiteX66" fmla="*/ 1857997 w 2635237"/>
              <a:gd name="connsiteY66" fmla="*/ 483702 h 1528796"/>
              <a:gd name="connsiteX67" fmla="*/ 1711040 w 2635237"/>
              <a:gd name="connsiteY67" fmla="*/ 460842 h 1528796"/>
              <a:gd name="connsiteX68" fmla="*/ 1570614 w 2635237"/>
              <a:gd name="connsiteY68" fmla="*/ 434716 h 1528796"/>
              <a:gd name="connsiteX69" fmla="*/ 1439985 w 2635237"/>
              <a:gd name="connsiteY69" fmla="*/ 415122 h 1528796"/>
              <a:gd name="connsiteX70" fmla="*/ 1325685 w 2635237"/>
              <a:gd name="connsiteY70" fmla="*/ 418387 h 1528796"/>
              <a:gd name="connsiteX71" fmla="*/ 1225061 w 2635237"/>
              <a:gd name="connsiteY71" fmla="*/ 443628 h 1528796"/>
              <a:gd name="connsiteX72" fmla="*/ 1139540 w 2635237"/>
              <a:gd name="connsiteY72" fmla="*/ 473905 h 1528796"/>
              <a:gd name="connsiteX73" fmla="*/ 1024695 w 2635237"/>
              <a:gd name="connsiteY73" fmla="*/ 519625 h 1528796"/>
              <a:gd name="connsiteX74" fmla="*/ 924002 w 2635237"/>
              <a:gd name="connsiteY74" fmla="*/ 556431 h 1528796"/>
              <a:gd name="connsiteX75" fmla="*/ 773168 w 2635237"/>
              <a:gd name="connsiteY75" fmla="*/ 579020 h 1528796"/>
              <a:gd name="connsiteX76" fmla="*/ 658051 w 2635237"/>
              <a:gd name="connsiteY76" fmla="*/ 593851 h 1528796"/>
              <a:gd name="connsiteX77" fmla="*/ 548445 w 2635237"/>
              <a:gd name="connsiteY77" fmla="*/ 594736 h 1528796"/>
              <a:gd name="connsiteX78" fmla="*/ 411285 w 2635237"/>
              <a:gd name="connsiteY78" fmla="*/ 580788 h 1528796"/>
              <a:gd name="connsiteX79" fmla="*/ 292835 w 2635237"/>
              <a:gd name="connsiteY79" fmla="*/ 565957 h 1528796"/>
              <a:gd name="connsiteX80" fmla="*/ 172888 w 2635237"/>
              <a:gd name="connsiteY80" fmla="*/ 549016 h 15287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1519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197631 w 2635237"/>
              <a:gd name="connsiteY62" fmla="*/ 382565 h 1528896"/>
              <a:gd name="connsiteX63" fmla="*/ 2171505 w 2635237"/>
              <a:gd name="connsiteY63" fmla="*/ 44461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93951 h 1528896"/>
              <a:gd name="connsiteX77" fmla="*/ 548445 w 2635237"/>
              <a:gd name="connsiteY77" fmla="*/ 594836 h 1528896"/>
              <a:gd name="connsiteX78" fmla="*/ 411285 w 2635237"/>
              <a:gd name="connsiteY78" fmla="*/ 580888 h 1528896"/>
              <a:gd name="connsiteX79" fmla="*/ 292835 w 2635237"/>
              <a:gd name="connsiteY79" fmla="*/ 56605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1519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197631 w 2635237"/>
              <a:gd name="connsiteY62" fmla="*/ 382565 h 1528896"/>
              <a:gd name="connsiteX63" fmla="*/ 2171505 w 2635237"/>
              <a:gd name="connsiteY63" fmla="*/ 44461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48445 w 2635237"/>
              <a:gd name="connsiteY77" fmla="*/ 594836 h 1528896"/>
              <a:gd name="connsiteX78" fmla="*/ 411285 w 2635237"/>
              <a:gd name="connsiteY78" fmla="*/ 580888 h 1528896"/>
              <a:gd name="connsiteX79" fmla="*/ 292835 w 2635237"/>
              <a:gd name="connsiteY79" fmla="*/ 56605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1519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197631 w 2635237"/>
              <a:gd name="connsiteY62" fmla="*/ 382565 h 1528896"/>
              <a:gd name="connsiteX63" fmla="*/ 2171505 w 2635237"/>
              <a:gd name="connsiteY63" fmla="*/ 44461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11285 w 2635237"/>
              <a:gd name="connsiteY78" fmla="*/ 580888 h 1528896"/>
              <a:gd name="connsiteX79" fmla="*/ 292835 w 2635237"/>
              <a:gd name="connsiteY79" fmla="*/ 56605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1519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197631 w 2635237"/>
              <a:gd name="connsiteY62" fmla="*/ 382565 h 1528896"/>
              <a:gd name="connsiteX63" fmla="*/ 2171505 w 2635237"/>
              <a:gd name="connsiteY63" fmla="*/ 44461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1760 w 2635237"/>
              <a:gd name="connsiteY78" fmla="*/ 580888 h 1528896"/>
              <a:gd name="connsiteX79" fmla="*/ 292835 w 2635237"/>
              <a:gd name="connsiteY79" fmla="*/ 56605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1519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197631 w 2635237"/>
              <a:gd name="connsiteY62" fmla="*/ 382565 h 1528896"/>
              <a:gd name="connsiteX63" fmla="*/ 2171505 w 2635237"/>
              <a:gd name="connsiteY63" fmla="*/ 44461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1760 w 2635237"/>
              <a:gd name="connsiteY78" fmla="*/ 580888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1519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197631 w 2635237"/>
              <a:gd name="connsiteY62" fmla="*/ 382565 h 1528896"/>
              <a:gd name="connsiteX63" fmla="*/ 2171505 w 2635237"/>
              <a:gd name="connsiteY63" fmla="*/ 44461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1760 w 2635237"/>
              <a:gd name="connsiteY78" fmla="*/ 580888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1519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197631 w 2635237"/>
              <a:gd name="connsiteY62" fmla="*/ 382565 h 1528896"/>
              <a:gd name="connsiteX63" fmla="*/ 2171505 w 2635237"/>
              <a:gd name="connsiteY63" fmla="*/ 44461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1760 w 2635237"/>
              <a:gd name="connsiteY78" fmla="*/ 580888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1519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197631 w 2635237"/>
              <a:gd name="connsiteY62" fmla="*/ 382565 h 1528896"/>
              <a:gd name="connsiteX63" fmla="*/ 2171505 w 2635237"/>
              <a:gd name="connsiteY63" fmla="*/ 44461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8110 w 2635237"/>
              <a:gd name="connsiteY78" fmla="*/ 571363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1519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197631 w 2635237"/>
              <a:gd name="connsiteY62" fmla="*/ 382565 h 1528896"/>
              <a:gd name="connsiteX63" fmla="*/ 2165155 w 2635237"/>
              <a:gd name="connsiteY63" fmla="*/ 46366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8110 w 2635237"/>
              <a:gd name="connsiteY78" fmla="*/ 571363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1519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210331 w 2635237"/>
              <a:gd name="connsiteY62" fmla="*/ 392090 h 1528896"/>
              <a:gd name="connsiteX63" fmla="*/ 2165155 w 2635237"/>
              <a:gd name="connsiteY63" fmla="*/ 46366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8110 w 2635237"/>
              <a:gd name="connsiteY78" fmla="*/ 571363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08847 w 2635237"/>
              <a:gd name="connsiteY11" fmla="*/ 1381873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210331 w 2635237"/>
              <a:gd name="connsiteY62" fmla="*/ 392090 h 1528896"/>
              <a:gd name="connsiteX63" fmla="*/ 2165155 w 2635237"/>
              <a:gd name="connsiteY63" fmla="*/ 46366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8110 w 2635237"/>
              <a:gd name="connsiteY78" fmla="*/ 571363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08847 w 2635237"/>
              <a:gd name="connsiteY11" fmla="*/ 1378698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210331 w 2635237"/>
              <a:gd name="connsiteY62" fmla="*/ 392090 h 1528896"/>
              <a:gd name="connsiteX63" fmla="*/ 2165155 w 2635237"/>
              <a:gd name="connsiteY63" fmla="*/ 46366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8110 w 2635237"/>
              <a:gd name="connsiteY78" fmla="*/ 571363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3197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02497 w 2635237"/>
              <a:gd name="connsiteY11" fmla="*/ 1372348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210331 w 2635237"/>
              <a:gd name="connsiteY62" fmla="*/ 392090 h 1528896"/>
              <a:gd name="connsiteX63" fmla="*/ 2165155 w 2635237"/>
              <a:gd name="connsiteY63" fmla="*/ 46366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8110 w 2635237"/>
              <a:gd name="connsiteY78" fmla="*/ 571363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2562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99314 w 2635237"/>
              <a:gd name="connsiteY5" fmla="*/ 1283902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02497 w 2635237"/>
              <a:gd name="connsiteY11" fmla="*/ 1372348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210331 w 2635237"/>
              <a:gd name="connsiteY62" fmla="*/ 392090 h 1528896"/>
              <a:gd name="connsiteX63" fmla="*/ 2165155 w 2635237"/>
              <a:gd name="connsiteY63" fmla="*/ 46366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8110 w 2635237"/>
              <a:gd name="connsiteY78" fmla="*/ 571363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2562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89789 w 2635237"/>
              <a:gd name="connsiteY5" fmla="*/ 1280727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02497 w 2635237"/>
              <a:gd name="connsiteY11" fmla="*/ 1372348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210331 w 2635237"/>
              <a:gd name="connsiteY62" fmla="*/ 392090 h 1528896"/>
              <a:gd name="connsiteX63" fmla="*/ 2165155 w 2635237"/>
              <a:gd name="connsiteY63" fmla="*/ 46366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8110 w 2635237"/>
              <a:gd name="connsiteY78" fmla="*/ 571363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2562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89789 w 2635237"/>
              <a:gd name="connsiteY5" fmla="*/ 1280727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02497 w 2635237"/>
              <a:gd name="connsiteY11" fmla="*/ 1372348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210331 w 2635237"/>
              <a:gd name="connsiteY62" fmla="*/ 392090 h 1528896"/>
              <a:gd name="connsiteX63" fmla="*/ 2165155 w 2635237"/>
              <a:gd name="connsiteY63" fmla="*/ 46366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8110 w 2635237"/>
              <a:gd name="connsiteY78" fmla="*/ 571363 h 1528896"/>
              <a:gd name="connsiteX79" fmla="*/ 305535 w 2635237"/>
              <a:gd name="connsiteY79" fmla="*/ 559707 h 1528896"/>
              <a:gd name="connsiteX80" fmla="*/ 172888 w 2635237"/>
              <a:gd name="connsiteY80" fmla="*/ 549116 h 1528896"/>
              <a:gd name="connsiteX0" fmla="*/ 2635237 w 2635237"/>
              <a:gd name="connsiteY0" fmla="*/ 1016113 h 1528896"/>
              <a:gd name="connsiteX1" fmla="*/ 2625621 w 2635237"/>
              <a:gd name="connsiteY1" fmla="*/ 1071630 h 1528896"/>
              <a:gd name="connsiteX2" fmla="*/ 2626936 w 2635237"/>
              <a:gd name="connsiteY2" fmla="*/ 1129529 h 1528896"/>
              <a:gd name="connsiteX3" fmla="*/ 2625440 w 2635237"/>
              <a:gd name="connsiteY3" fmla="*/ 1176133 h 1528896"/>
              <a:gd name="connsiteX4" fmla="*/ 2621902 w 2635237"/>
              <a:gd name="connsiteY4" fmla="*/ 1231038 h 1528896"/>
              <a:gd name="connsiteX5" fmla="*/ 2589789 w 2635237"/>
              <a:gd name="connsiteY5" fmla="*/ 1280727 h 1528896"/>
              <a:gd name="connsiteX6" fmla="*/ 2560125 w 2635237"/>
              <a:gd name="connsiteY6" fmla="*/ 1316559 h 1528896"/>
              <a:gd name="connsiteX7" fmla="*/ 2504608 w 2635237"/>
              <a:gd name="connsiteY7" fmla="*/ 1326356 h 1528896"/>
              <a:gd name="connsiteX8" fmla="*/ 2452357 w 2635237"/>
              <a:gd name="connsiteY8" fmla="*/ 1329622 h 1528896"/>
              <a:gd name="connsiteX9" fmla="*/ 2406637 w 2635237"/>
              <a:gd name="connsiteY9" fmla="*/ 1329622 h 1528896"/>
              <a:gd name="connsiteX10" fmla="*/ 2351120 w 2635237"/>
              <a:gd name="connsiteY10" fmla="*/ 1342685 h 1528896"/>
              <a:gd name="connsiteX11" fmla="*/ 2302497 w 2635237"/>
              <a:gd name="connsiteY11" fmla="*/ 1372348 h 1528896"/>
              <a:gd name="connsiteX12" fmla="*/ 2285805 w 2635237"/>
              <a:gd name="connsiteY12" fmla="*/ 1411265 h 1528896"/>
              <a:gd name="connsiteX13" fmla="*/ 2246617 w 2635237"/>
              <a:gd name="connsiteY13" fmla="*/ 1453719 h 1528896"/>
              <a:gd name="connsiteX14" fmla="*/ 2187834 w 2635237"/>
              <a:gd name="connsiteY14" fmla="*/ 1476579 h 1528896"/>
              <a:gd name="connsiteX15" fmla="*/ 2122520 w 2635237"/>
              <a:gd name="connsiteY15" fmla="*/ 1463516 h 1528896"/>
              <a:gd name="connsiteX16" fmla="*/ 2053940 w 2635237"/>
              <a:gd name="connsiteY16" fmla="*/ 1466782 h 1528896"/>
              <a:gd name="connsiteX17" fmla="*/ 2011485 w 2635237"/>
              <a:gd name="connsiteY17" fmla="*/ 1479845 h 1528896"/>
              <a:gd name="connsiteX18" fmla="*/ 1975562 w 2635237"/>
              <a:gd name="connsiteY18" fmla="*/ 1499439 h 1528896"/>
              <a:gd name="connsiteX19" fmla="*/ 1929842 w 2635237"/>
              <a:gd name="connsiteY19" fmla="*/ 1512502 h 1528896"/>
              <a:gd name="connsiteX20" fmla="*/ 1874325 w 2635237"/>
              <a:gd name="connsiteY20" fmla="*/ 1528830 h 1528896"/>
              <a:gd name="connsiteX21" fmla="*/ 1802480 w 2635237"/>
              <a:gd name="connsiteY21" fmla="*/ 1505970 h 1528896"/>
              <a:gd name="connsiteX22" fmla="*/ 1733900 w 2635237"/>
              <a:gd name="connsiteY22" fmla="*/ 1447187 h 1528896"/>
              <a:gd name="connsiteX23" fmla="*/ 1671851 w 2635237"/>
              <a:gd name="connsiteY23" fmla="*/ 1404733 h 1528896"/>
              <a:gd name="connsiteX24" fmla="*/ 1587010 w 2635237"/>
              <a:gd name="connsiteY24" fmla="*/ 1365817 h 1528896"/>
              <a:gd name="connsiteX25" fmla="*/ 1479174 w 2635237"/>
              <a:gd name="connsiteY25" fmla="*/ 1355747 h 1528896"/>
              <a:gd name="connsiteX26" fmla="*/ 1400797 w 2635237"/>
              <a:gd name="connsiteY26" fmla="*/ 1355747 h 1528896"/>
              <a:gd name="connsiteX27" fmla="*/ 1309357 w 2635237"/>
              <a:gd name="connsiteY27" fmla="*/ 1342685 h 1528896"/>
              <a:gd name="connsiteX28" fmla="*/ 1227714 w 2635237"/>
              <a:gd name="connsiteY28" fmla="*/ 1329622 h 1528896"/>
              <a:gd name="connsiteX29" fmla="*/ 1105386 w 2635237"/>
              <a:gd name="connsiteY29" fmla="*/ 1295195 h 1528896"/>
              <a:gd name="connsiteX30" fmla="*/ 969722 w 2635237"/>
              <a:gd name="connsiteY30" fmla="*/ 1257776 h 1528896"/>
              <a:gd name="connsiteX31" fmla="*/ 856920 w 2635237"/>
              <a:gd name="connsiteY31" fmla="*/ 1221581 h 1528896"/>
              <a:gd name="connsiteX32" fmla="*/ 754185 w 2635237"/>
              <a:gd name="connsiteY32" fmla="*/ 1189196 h 1528896"/>
              <a:gd name="connsiteX33" fmla="*/ 662745 w 2635237"/>
              <a:gd name="connsiteY33" fmla="*/ 1159805 h 1528896"/>
              <a:gd name="connsiteX34" fmla="*/ 560351 w 2635237"/>
              <a:gd name="connsiteY34" fmla="*/ 1134291 h 1528896"/>
              <a:gd name="connsiteX35" fmla="*/ 457005 w 2635237"/>
              <a:gd name="connsiteY35" fmla="*/ 1123882 h 1528896"/>
              <a:gd name="connsiteX36" fmla="*/ 378628 w 2635237"/>
              <a:gd name="connsiteY36" fmla="*/ 1117350 h 1528896"/>
              <a:gd name="connsiteX37" fmla="*/ 251877 w 2635237"/>
              <a:gd name="connsiteY37" fmla="*/ 1082312 h 1528896"/>
              <a:gd name="connsiteX38" fmla="*/ 176154 w 2635237"/>
              <a:gd name="connsiteY38" fmla="*/ 1044007 h 1528896"/>
              <a:gd name="connsiteX39" fmla="*/ 104648 w 2635237"/>
              <a:gd name="connsiteY39" fmla="*/ 975496 h 1528896"/>
              <a:gd name="connsiteX40" fmla="*/ 60017 w 2635237"/>
              <a:gd name="connsiteY40" fmla="*/ 916985 h 1528896"/>
              <a:gd name="connsiteX41" fmla="*/ 23821 w 2635237"/>
              <a:gd name="connsiteY41" fmla="*/ 827927 h 1528896"/>
              <a:gd name="connsiteX42" fmla="*/ 2458 w 2635237"/>
              <a:gd name="connsiteY42" fmla="*/ 728730 h 1528896"/>
              <a:gd name="connsiteX43" fmla="*/ 10215 w 2635237"/>
              <a:gd name="connsiteY43" fmla="*/ 617696 h 1528896"/>
              <a:gd name="connsiteX44" fmla="*/ 57431 w 2635237"/>
              <a:gd name="connsiteY44" fmla="*/ 510472 h 1528896"/>
              <a:gd name="connsiteX45" fmla="*/ 113493 w 2635237"/>
              <a:gd name="connsiteY45" fmla="*/ 454410 h 1528896"/>
              <a:gd name="connsiteX46" fmla="*/ 221874 w 2635237"/>
              <a:gd name="connsiteY46" fmla="*/ 376033 h 1528896"/>
              <a:gd name="connsiteX47" fmla="*/ 368831 w 2635237"/>
              <a:gd name="connsiteY47" fmla="*/ 307453 h 1528896"/>
              <a:gd name="connsiteX48" fmla="*/ 525585 w 2635237"/>
              <a:gd name="connsiteY48" fmla="*/ 261733 h 1528896"/>
              <a:gd name="connsiteX49" fmla="*/ 649682 w 2635237"/>
              <a:gd name="connsiteY49" fmla="*/ 229689 h 1528896"/>
              <a:gd name="connsiteX50" fmla="*/ 795755 w 2635237"/>
              <a:gd name="connsiteY50" fmla="*/ 194649 h 1528896"/>
              <a:gd name="connsiteX51" fmla="*/ 953394 w 2635237"/>
              <a:gd name="connsiteY51" fmla="*/ 160496 h 1528896"/>
              <a:gd name="connsiteX52" fmla="*/ 1144982 w 2635237"/>
              <a:gd name="connsiteY52" fmla="*/ 109674 h 1528896"/>
              <a:gd name="connsiteX53" fmla="*/ 1397531 w 2635237"/>
              <a:gd name="connsiteY53" fmla="*/ 42930 h 1528896"/>
              <a:gd name="connsiteX54" fmla="*/ 1547754 w 2635237"/>
              <a:gd name="connsiteY54" fmla="*/ 12043 h 1528896"/>
              <a:gd name="connsiteX55" fmla="*/ 1657042 w 2635237"/>
              <a:gd name="connsiteY55" fmla="*/ 567 h 1528896"/>
              <a:gd name="connsiteX56" fmla="*/ 1769822 w 2635237"/>
              <a:gd name="connsiteY56" fmla="*/ 13267 h 1528896"/>
              <a:gd name="connsiteX57" fmla="*/ 1876163 w 2635237"/>
              <a:gd name="connsiteY57" fmla="*/ 65518 h 1528896"/>
              <a:gd name="connsiteX58" fmla="*/ 1975903 w 2635237"/>
              <a:gd name="connsiteY58" fmla="*/ 144780 h 1528896"/>
              <a:gd name="connsiteX59" fmla="*/ 2070881 w 2635237"/>
              <a:gd name="connsiteY59" fmla="*/ 222545 h 1528896"/>
              <a:gd name="connsiteX60" fmla="*/ 2155177 w 2635237"/>
              <a:gd name="connsiteY60" fmla="*/ 287859 h 1528896"/>
              <a:gd name="connsiteX61" fmla="*/ 2191100 w 2635237"/>
              <a:gd name="connsiteY61" fmla="*/ 333579 h 1528896"/>
              <a:gd name="connsiteX62" fmla="*/ 2210331 w 2635237"/>
              <a:gd name="connsiteY62" fmla="*/ 392090 h 1528896"/>
              <a:gd name="connsiteX63" fmla="*/ 2165155 w 2635237"/>
              <a:gd name="connsiteY63" fmla="*/ 463663 h 1528896"/>
              <a:gd name="connsiteX64" fmla="*/ 2062240 w 2635237"/>
              <a:gd name="connsiteY64" fmla="*/ 493327 h 1528896"/>
              <a:gd name="connsiteX65" fmla="*/ 1937259 w 2635237"/>
              <a:gd name="connsiteY65" fmla="*/ 495096 h 1528896"/>
              <a:gd name="connsiteX66" fmla="*/ 1857997 w 2635237"/>
              <a:gd name="connsiteY66" fmla="*/ 483802 h 1528896"/>
              <a:gd name="connsiteX67" fmla="*/ 1711040 w 2635237"/>
              <a:gd name="connsiteY67" fmla="*/ 460942 h 1528896"/>
              <a:gd name="connsiteX68" fmla="*/ 1570614 w 2635237"/>
              <a:gd name="connsiteY68" fmla="*/ 434816 h 1528896"/>
              <a:gd name="connsiteX69" fmla="*/ 1439985 w 2635237"/>
              <a:gd name="connsiteY69" fmla="*/ 415222 h 1528896"/>
              <a:gd name="connsiteX70" fmla="*/ 1325685 w 2635237"/>
              <a:gd name="connsiteY70" fmla="*/ 418487 h 1528896"/>
              <a:gd name="connsiteX71" fmla="*/ 1225061 w 2635237"/>
              <a:gd name="connsiteY71" fmla="*/ 443728 h 1528896"/>
              <a:gd name="connsiteX72" fmla="*/ 1139540 w 2635237"/>
              <a:gd name="connsiteY72" fmla="*/ 474005 h 1528896"/>
              <a:gd name="connsiteX73" fmla="*/ 1024695 w 2635237"/>
              <a:gd name="connsiteY73" fmla="*/ 519725 h 1528896"/>
              <a:gd name="connsiteX74" fmla="*/ 924002 w 2635237"/>
              <a:gd name="connsiteY74" fmla="*/ 556531 h 1528896"/>
              <a:gd name="connsiteX75" fmla="*/ 773168 w 2635237"/>
              <a:gd name="connsiteY75" fmla="*/ 579120 h 1528896"/>
              <a:gd name="connsiteX76" fmla="*/ 658051 w 2635237"/>
              <a:gd name="connsiteY76" fmla="*/ 581251 h 1528896"/>
              <a:gd name="connsiteX77" fmla="*/ 526220 w 2635237"/>
              <a:gd name="connsiteY77" fmla="*/ 582136 h 1528896"/>
              <a:gd name="connsiteX78" fmla="*/ 408110 w 2635237"/>
              <a:gd name="connsiteY78" fmla="*/ 571363 h 1528896"/>
              <a:gd name="connsiteX79" fmla="*/ 305535 w 2635237"/>
              <a:gd name="connsiteY79" fmla="*/ 559707 h 1528896"/>
              <a:gd name="connsiteX80" fmla="*/ 172888 w 2635237"/>
              <a:gd name="connsiteY80" fmla="*/ 549116 h 1528896"/>
              <a:gd name="connsiteX0" fmla="*/ 2635237 w 2635237"/>
              <a:gd name="connsiteY0" fmla="*/ 1016113 h 1529007"/>
              <a:gd name="connsiteX1" fmla="*/ 2625621 w 2635237"/>
              <a:gd name="connsiteY1" fmla="*/ 1071630 h 1529007"/>
              <a:gd name="connsiteX2" fmla="*/ 2626936 w 2635237"/>
              <a:gd name="connsiteY2" fmla="*/ 1129529 h 1529007"/>
              <a:gd name="connsiteX3" fmla="*/ 2625440 w 2635237"/>
              <a:gd name="connsiteY3" fmla="*/ 1176133 h 1529007"/>
              <a:gd name="connsiteX4" fmla="*/ 2621902 w 2635237"/>
              <a:gd name="connsiteY4" fmla="*/ 1231038 h 1529007"/>
              <a:gd name="connsiteX5" fmla="*/ 2589789 w 2635237"/>
              <a:gd name="connsiteY5" fmla="*/ 1280727 h 1529007"/>
              <a:gd name="connsiteX6" fmla="*/ 2560125 w 2635237"/>
              <a:gd name="connsiteY6" fmla="*/ 1316559 h 1529007"/>
              <a:gd name="connsiteX7" fmla="*/ 2504608 w 2635237"/>
              <a:gd name="connsiteY7" fmla="*/ 1326356 h 1529007"/>
              <a:gd name="connsiteX8" fmla="*/ 2452357 w 2635237"/>
              <a:gd name="connsiteY8" fmla="*/ 1329622 h 1529007"/>
              <a:gd name="connsiteX9" fmla="*/ 2406637 w 2635237"/>
              <a:gd name="connsiteY9" fmla="*/ 1329622 h 1529007"/>
              <a:gd name="connsiteX10" fmla="*/ 2351120 w 2635237"/>
              <a:gd name="connsiteY10" fmla="*/ 1342685 h 1529007"/>
              <a:gd name="connsiteX11" fmla="*/ 2302497 w 2635237"/>
              <a:gd name="connsiteY11" fmla="*/ 1372348 h 1529007"/>
              <a:gd name="connsiteX12" fmla="*/ 2285805 w 2635237"/>
              <a:gd name="connsiteY12" fmla="*/ 1411265 h 1529007"/>
              <a:gd name="connsiteX13" fmla="*/ 2246617 w 2635237"/>
              <a:gd name="connsiteY13" fmla="*/ 1453719 h 1529007"/>
              <a:gd name="connsiteX14" fmla="*/ 2187834 w 2635237"/>
              <a:gd name="connsiteY14" fmla="*/ 1476579 h 1529007"/>
              <a:gd name="connsiteX15" fmla="*/ 2122520 w 2635237"/>
              <a:gd name="connsiteY15" fmla="*/ 1463516 h 1529007"/>
              <a:gd name="connsiteX16" fmla="*/ 2053940 w 2635237"/>
              <a:gd name="connsiteY16" fmla="*/ 1466782 h 1529007"/>
              <a:gd name="connsiteX17" fmla="*/ 2011485 w 2635237"/>
              <a:gd name="connsiteY17" fmla="*/ 1479845 h 1529007"/>
              <a:gd name="connsiteX18" fmla="*/ 1975562 w 2635237"/>
              <a:gd name="connsiteY18" fmla="*/ 1499439 h 1529007"/>
              <a:gd name="connsiteX19" fmla="*/ 1933017 w 2635237"/>
              <a:gd name="connsiteY19" fmla="*/ 1515677 h 1529007"/>
              <a:gd name="connsiteX20" fmla="*/ 1874325 w 2635237"/>
              <a:gd name="connsiteY20" fmla="*/ 1528830 h 1529007"/>
              <a:gd name="connsiteX21" fmla="*/ 1802480 w 2635237"/>
              <a:gd name="connsiteY21" fmla="*/ 1505970 h 1529007"/>
              <a:gd name="connsiteX22" fmla="*/ 1733900 w 2635237"/>
              <a:gd name="connsiteY22" fmla="*/ 1447187 h 1529007"/>
              <a:gd name="connsiteX23" fmla="*/ 1671851 w 2635237"/>
              <a:gd name="connsiteY23" fmla="*/ 1404733 h 1529007"/>
              <a:gd name="connsiteX24" fmla="*/ 1587010 w 2635237"/>
              <a:gd name="connsiteY24" fmla="*/ 1365817 h 1529007"/>
              <a:gd name="connsiteX25" fmla="*/ 1479174 w 2635237"/>
              <a:gd name="connsiteY25" fmla="*/ 1355747 h 1529007"/>
              <a:gd name="connsiteX26" fmla="*/ 1400797 w 2635237"/>
              <a:gd name="connsiteY26" fmla="*/ 1355747 h 1529007"/>
              <a:gd name="connsiteX27" fmla="*/ 1309357 w 2635237"/>
              <a:gd name="connsiteY27" fmla="*/ 1342685 h 1529007"/>
              <a:gd name="connsiteX28" fmla="*/ 1227714 w 2635237"/>
              <a:gd name="connsiteY28" fmla="*/ 1329622 h 1529007"/>
              <a:gd name="connsiteX29" fmla="*/ 1105386 w 2635237"/>
              <a:gd name="connsiteY29" fmla="*/ 1295195 h 1529007"/>
              <a:gd name="connsiteX30" fmla="*/ 969722 w 2635237"/>
              <a:gd name="connsiteY30" fmla="*/ 1257776 h 1529007"/>
              <a:gd name="connsiteX31" fmla="*/ 856920 w 2635237"/>
              <a:gd name="connsiteY31" fmla="*/ 1221581 h 1529007"/>
              <a:gd name="connsiteX32" fmla="*/ 754185 w 2635237"/>
              <a:gd name="connsiteY32" fmla="*/ 1189196 h 1529007"/>
              <a:gd name="connsiteX33" fmla="*/ 662745 w 2635237"/>
              <a:gd name="connsiteY33" fmla="*/ 1159805 h 1529007"/>
              <a:gd name="connsiteX34" fmla="*/ 560351 w 2635237"/>
              <a:gd name="connsiteY34" fmla="*/ 1134291 h 1529007"/>
              <a:gd name="connsiteX35" fmla="*/ 457005 w 2635237"/>
              <a:gd name="connsiteY35" fmla="*/ 1123882 h 1529007"/>
              <a:gd name="connsiteX36" fmla="*/ 378628 w 2635237"/>
              <a:gd name="connsiteY36" fmla="*/ 1117350 h 1529007"/>
              <a:gd name="connsiteX37" fmla="*/ 251877 w 2635237"/>
              <a:gd name="connsiteY37" fmla="*/ 1082312 h 1529007"/>
              <a:gd name="connsiteX38" fmla="*/ 176154 w 2635237"/>
              <a:gd name="connsiteY38" fmla="*/ 1044007 h 1529007"/>
              <a:gd name="connsiteX39" fmla="*/ 104648 w 2635237"/>
              <a:gd name="connsiteY39" fmla="*/ 975496 h 1529007"/>
              <a:gd name="connsiteX40" fmla="*/ 60017 w 2635237"/>
              <a:gd name="connsiteY40" fmla="*/ 916985 h 1529007"/>
              <a:gd name="connsiteX41" fmla="*/ 23821 w 2635237"/>
              <a:gd name="connsiteY41" fmla="*/ 827927 h 1529007"/>
              <a:gd name="connsiteX42" fmla="*/ 2458 w 2635237"/>
              <a:gd name="connsiteY42" fmla="*/ 728730 h 1529007"/>
              <a:gd name="connsiteX43" fmla="*/ 10215 w 2635237"/>
              <a:gd name="connsiteY43" fmla="*/ 617696 h 1529007"/>
              <a:gd name="connsiteX44" fmla="*/ 57431 w 2635237"/>
              <a:gd name="connsiteY44" fmla="*/ 510472 h 1529007"/>
              <a:gd name="connsiteX45" fmla="*/ 113493 w 2635237"/>
              <a:gd name="connsiteY45" fmla="*/ 454410 h 1529007"/>
              <a:gd name="connsiteX46" fmla="*/ 221874 w 2635237"/>
              <a:gd name="connsiteY46" fmla="*/ 376033 h 1529007"/>
              <a:gd name="connsiteX47" fmla="*/ 368831 w 2635237"/>
              <a:gd name="connsiteY47" fmla="*/ 307453 h 1529007"/>
              <a:gd name="connsiteX48" fmla="*/ 525585 w 2635237"/>
              <a:gd name="connsiteY48" fmla="*/ 261733 h 1529007"/>
              <a:gd name="connsiteX49" fmla="*/ 649682 w 2635237"/>
              <a:gd name="connsiteY49" fmla="*/ 229689 h 1529007"/>
              <a:gd name="connsiteX50" fmla="*/ 795755 w 2635237"/>
              <a:gd name="connsiteY50" fmla="*/ 194649 h 1529007"/>
              <a:gd name="connsiteX51" fmla="*/ 953394 w 2635237"/>
              <a:gd name="connsiteY51" fmla="*/ 160496 h 1529007"/>
              <a:gd name="connsiteX52" fmla="*/ 1144982 w 2635237"/>
              <a:gd name="connsiteY52" fmla="*/ 109674 h 1529007"/>
              <a:gd name="connsiteX53" fmla="*/ 1397531 w 2635237"/>
              <a:gd name="connsiteY53" fmla="*/ 42930 h 1529007"/>
              <a:gd name="connsiteX54" fmla="*/ 1547754 w 2635237"/>
              <a:gd name="connsiteY54" fmla="*/ 12043 h 1529007"/>
              <a:gd name="connsiteX55" fmla="*/ 1657042 w 2635237"/>
              <a:gd name="connsiteY55" fmla="*/ 567 h 1529007"/>
              <a:gd name="connsiteX56" fmla="*/ 1769822 w 2635237"/>
              <a:gd name="connsiteY56" fmla="*/ 13267 h 1529007"/>
              <a:gd name="connsiteX57" fmla="*/ 1876163 w 2635237"/>
              <a:gd name="connsiteY57" fmla="*/ 65518 h 1529007"/>
              <a:gd name="connsiteX58" fmla="*/ 1975903 w 2635237"/>
              <a:gd name="connsiteY58" fmla="*/ 144780 h 1529007"/>
              <a:gd name="connsiteX59" fmla="*/ 2070881 w 2635237"/>
              <a:gd name="connsiteY59" fmla="*/ 222545 h 1529007"/>
              <a:gd name="connsiteX60" fmla="*/ 2155177 w 2635237"/>
              <a:gd name="connsiteY60" fmla="*/ 287859 h 1529007"/>
              <a:gd name="connsiteX61" fmla="*/ 2191100 w 2635237"/>
              <a:gd name="connsiteY61" fmla="*/ 333579 h 1529007"/>
              <a:gd name="connsiteX62" fmla="*/ 2210331 w 2635237"/>
              <a:gd name="connsiteY62" fmla="*/ 392090 h 1529007"/>
              <a:gd name="connsiteX63" fmla="*/ 2165155 w 2635237"/>
              <a:gd name="connsiteY63" fmla="*/ 463663 h 1529007"/>
              <a:gd name="connsiteX64" fmla="*/ 2062240 w 2635237"/>
              <a:gd name="connsiteY64" fmla="*/ 493327 h 1529007"/>
              <a:gd name="connsiteX65" fmla="*/ 1937259 w 2635237"/>
              <a:gd name="connsiteY65" fmla="*/ 495096 h 1529007"/>
              <a:gd name="connsiteX66" fmla="*/ 1857997 w 2635237"/>
              <a:gd name="connsiteY66" fmla="*/ 483802 h 1529007"/>
              <a:gd name="connsiteX67" fmla="*/ 1711040 w 2635237"/>
              <a:gd name="connsiteY67" fmla="*/ 460942 h 1529007"/>
              <a:gd name="connsiteX68" fmla="*/ 1570614 w 2635237"/>
              <a:gd name="connsiteY68" fmla="*/ 434816 h 1529007"/>
              <a:gd name="connsiteX69" fmla="*/ 1439985 w 2635237"/>
              <a:gd name="connsiteY69" fmla="*/ 415222 h 1529007"/>
              <a:gd name="connsiteX70" fmla="*/ 1325685 w 2635237"/>
              <a:gd name="connsiteY70" fmla="*/ 418487 h 1529007"/>
              <a:gd name="connsiteX71" fmla="*/ 1225061 w 2635237"/>
              <a:gd name="connsiteY71" fmla="*/ 443728 h 1529007"/>
              <a:gd name="connsiteX72" fmla="*/ 1139540 w 2635237"/>
              <a:gd name="connsiteY72" fmla="*/ 474005 h 1529007"/>
              <a:gd name="connsiteX73" fmla="*/ 1024695 w 2635237"/>
              <a:gd name="connsiteY73" fmla="*/ 519725 h 1529007"/>
              <a:gd name="connsiteX74" fmla="*/ 924002 w 2635237"/>
              <a:gd name="connsiteY74" fmla="*/ 556531 h 1529007"/>
              <a:gd name="connsiteX75" fmla="*/ 773168 w 2635237"/>
              <a:gd name="connsiteY75" fmla="*/ 579120 h 1529007"/>
              <a:gd name="connsiteX76" fmla="*/ 658051 w 2635237"/>
              <a:gd name="connsiteY76" fmla="*/ 581251 h 1529007"/>
              <a:gd name="connsiteX77" fmla="*/ 526220 w 2635237"/>
              <a:gd name="connsiteY77" fmla="*/ 582136 h 1529007"/>
              <a:gd name="connsiteX78" fmla="*/ 408110 w 2635237"/>
              <a:gd name="connsiteY78" fmla="*/ 571363 h 1529007"/>
              <a:gd name="connsiteX79" fmla="*/ 305535 w 2635237"/>
              <a:gd name="connsiteY79" fmla="*/ 559707 h 1529007"/>
              <a:gd name="connsiteX80" fmla="*/ 172888 w 2635237"/>
              <a:gd name="connsiteY80" fmla="*/ 549116 h 1529007"/>
              <a:gd name="connsiteX0" fmla="*/ 2635237 w 2635237"/>
              <a:gd name="connsiteY0" fmla="*/ 1016113 h 1519886"/>
              <a:gd name="connsiteX1" fmla="*/ 2625621 w 2635237"/>
              <a:gd name="connsiteY1" fmla="*/ 1071630 h 1519886"/>
              <a:gd name="connsiteX2" fmla="*/ 2626936 w 2635237"/>
              <a:gd name="connsiteY2" fmla="*/ 1129529 h 1519886"/>
              <a:gd name="connsiteX3" fmla="*/ 2625440 w 2635237"/>
              <a:gd name="connsiteY3" fmla="*/ 1176133 h 1519886"/>
              <a:gd name="connsiteX4" fmla="*/ 2621902 w 2635237"/>
              <a:gd name="connsiteY4" fmla="*/ 1231038 h 1519886"/>
              <a:gd name="connsiteX5" fmla="*/ 2589789 w 2635237"/>
              <a:gd name="connsiteY5" fmla="*/ 1280727 h 1519886"/>
              <a:gd name="connsiteX6" fmla="*/ 2560125 w 2635237"/>
              <a:gd name="connsiteY6" fmla="*/ 1316559 h 1519886"/>
              <a:gd name="connsiteX7" fmla="*/ 2504608 w 2635237"/>
              <a:gd name="connsiteY7" fmla="*/ 1326356 h 1519886"/>
              <a:gd name="connsiteX8" fmla="*/ 2452357 w 2635237"/>
              <a:gd name="connsiteY8" fmla="*/ 1329622 h 1519886"/>
              <a:gd name="connsiteX9" fmla="*/ 2406637 w 2635237"/>
              <a:gd name="connsiteY9" fmla="*/ 1329622 h 1519886"/>
              <a:gd name="connsiteX10" fmla="*/ 2351120 w 2635237"/>
              <a:gd name="connsiteY10" fmla="*/ 1342685 h 1519886"/>
              <a:gd name="connsiteX11" fmla="*/ 2302497 w 2635237"/>
              <a:gd name="connsiteY11" fmla="*/ 1372348 h 1519886"/>
              <a:gd name="connsiteX12" fmla="*/ 2285805 w 2635237"/>
              <a:gd name="connsiteY12" fmla="*/ 1411265 h 1519886"/>
              <a:gd name="connsiteX13" fmla="*/ 2246617 w 2635237"/>
              <a:gd name="connsiteY13" fmla="*/ 1453719 h 1519886"/>
              <a:gd name="connsiteX14" fmla="*/ 2187834 w 2635237"/>
              <a:gd name="connsiteY14" fmla="*/ 1476579 h 1519886"/>
              <a:gd name="connsiteX15" fmla="*/ 2122520 w 2635237"/>
              <a:gd name="connsiteY15" fmla="*/ 1463516 h 1519886"/>
              <a:gd name="connsiteX16" fmla="*/ 2053940 w 2635237"/>
              <a:gd name="connsiteY16" fmla="*/ 1466782 h 1519886"/>
              <a:gd name="connsiteX17" fmla="*/ 2011485 w 2635237"/>
              <a:gd name="connsiteY17" fmla="*/ 1479845 h 1519886"/>
              <a:gd name="connsiteX18" fmla="*/ 1975562 w 2635237"/>
              <a:gd name="connsiteY18" fmla="*/ 1499439 h 1519886"/>
              <a:gd name="connsiteX19" fmla="*/ 1933017 w 2635237"/>
              <a:gd name="connsiteY19" fmla="*/ 1515677 h 1519886"/>
              <a:gd name="connsiteX20" fmla="*/ 1880675 w 2635237"/>
              <a:gd name="connsiteY20" fmla="*/ 1519305 h 1519886"/>
              <a:gd name="connsiteX21" fmla="*/ 1802480 w 2635237"/>
              <a:gd name="connsiteY21" fmla="*/ 1505970 h 1519886"/>
              <a:gd name="connsiteX22" fmla="*/ 1733900 w 2635237"/>
              <a:gd name="connsiteY22" fmla="*/ 1447187 h 1519886"/>
              <a:gd name="connsiteX23" fmla="*/ 1671851 w 2635237"/>
              <a:gd name="connsiteY23" fmla="*/ 1404733 h 1519886"/>
              <a:gd name="connsiteX24" fmla="*/ 1587010 w 2635237"/>
              <a:gd name="connsiteY24" fmla="*/ 1365817 h 1519886"/>
              <a:gd name="connsiteX25" fmla="*/ 1479174 w 2635237"/>
              <a:gd name="connsiteY25" fmla="*/ 1355747 h 1519886"/>
              <a:gd name="connsiteX26" fmla="*/ 1400797 w 2635237"/>
              <a:gd name="connsiteY26" fmla="*/ 1355747 h 1519886"/>
              <a:gd name="connsiteX27" fmla="*/ 1309357 w 2635237"/>
              <a:gd name="connsiteY27" fmla="*/ 1342685 h 1519886"/>
              <a:gd name="connsiteX28" fmla="*/ 1227714 w 2635237"/>
              <a:gd name="connsiteY28" fmla="*/ 1329622 h 1519886"/>
              <a:gd name="connsiteX29" fmla="*/ 1105386 w 2635237"/>
              <a:gd name="connsiteY29" fmla="*/ 1295195 h 1519886"/>
              <a:gd name="connsiteX30" fmla="*/ 969722 w 2635237"/>
              <a:gd name="connsiteY30" fmla="*/ 1257776 h 1519886"/>
              <a:gd name="connsiteX31" fmla="*/ 856920 w 2635237"/>
              <a:gd name="connsiteY31" fmla="*/ 1221581 h 1519886"/>
              <a:gd name="connsiteX32" fmla="*/ 754185 w 2635237"/>
              <a:gd name="connsiteY32" fmla="*/ 1189196 h 1519886"/>
              <a:gd name="connsiteX33" fmla="*/ 662745 w 2635237"/>
              <a:gd name="connsiteY33" fmla="*/ 1159805 h 1519886"/>
              <a:gd name="connsiteX34" fmla="*/ 560351 w 2635237"/>
              <a:gd name="connsiteY34" fmla="*/ 1134291 h 1519886"/>
              <a:gd name="connsiteX35" fmla="*/ 457005 w 2635237"/>
              <a:gd name="connsiteY35" fmla="*/ 1123882 h 1519886"/>
              <a:gd name="connsiteX36" fmla="*/ 378628 w 2635237"/>
              <a:gd name="connsiteY36" fmla="*/ 1117350 h 1519886"/>
              <a:gd name="connsiteX37" fmla="*/ 251877 w 2635237"/>
              <a:gd name="connsiteY37" fmla="*/ 1082312 h 1519886"/>
              <a:gd name="connsiteX38" fmla="*/ 176154 w 2635237"/>
              <a:gd name="connsiteY38" fmla="*/ 1044007 h 1519886"/>
              <a:gd name="connsiteX39" fmla="*/ 104648 w 2635237"/>
              <a:gd name="connsiteY39" fmla="*/ 975496 h 1519886"/>
              <a:gd name="connsiteX40" fmla="*/ 60017 w 2635237"/>
              <a:gd name="connsiteY40" fmla="*/ 916985 h 1519886"/>
              <a:gd name="connsiteX41" fmla="*/ 23821 w 2635237"/>
              <a:gd name="connsiteY41" fmla="*/ 827927 h 1519886"/>
              <a:gd name="connsiteX42" fmla="*/ 2458 w 2635237"/>
              <a:gd name="connsiteY42" fmla="*/ 728730 h 1519886"/>
              <a:gd name="connsiteX43" fmla="*/ 10215 w 2635237"/>
              <a:gd name="connsiteY43" fmla="*/ 617696 h 1519886"/>
              <a:gd name="connsiteX44" fmla="*/ 57431 w 2635237"/>
              <a:gd name="connsiteY44" fmla="*/ 510472 h 1519886"/>
              <a:gd name="connsiteX45" fmla="*/ 113493 w 2635237"/>
              <a:gd name="connsiteY45" fmla="*/ 454410 h 1519886"/>
              <a:gd name="connsiteX46" fmla="*/ 221874 w 2635237"/>
              <a:gd name="connsiteY46" fmla="*/ 376033 h 1519886"/>
              <a:gd name="connsiteX47" fmla="*/ 368831 w 2635237"/>
              <a:gd name="connsiteY47" fmla="*/ 307453 h 1519886"/>
              <a:gd name="connsiteX48" fmla="*/ 525585 w 2635237"/>
              <a:gd name="connsiteY48" fmla="*/ 261733 h 1519886"/>
              <a:gd name="connsiteX49" fmla="*/ 649682 w 2635237"/>
              <a:gd name="connsiteY49" fmla="*/ 229689 h 1519886"/>
              <a:gd name="connsiteX50" fmla="*/ 795755 w 2635237"/>
              <a:gd name="connsiteY50" fmla="*/ 194649 h 1519886"/>
              <a:gd name="connsiteX51" fmla="*/ 953394 w 2635237"/>
              <a:gd name="connsiteY51" fmla="*/ 160496 h 1519886"/>
              <a:gd name="connsiteX52" fmla="*/ 1144982 w 2635237"/>
              <a:gd name="connsiteY52" fmla="*/ 109674 h 1519886"/>
              <a:gd name="connsiteX53" fmla="*/ 1397531 w 2635237"/>
              <a:gd name="connsiteY53" fmla="*/ 42930 h 1519886"/>
              <a:gd name="connsiteX54" fmla="*/ 1547754 w 2635237"/>
              <a:gd name="connsiteY54" fmla="*/ 12043 h 1519886"/>
              <a:gd name="connsiteX55" fmla="*/ 1657042 w 2635237"/>
              <a:gd name="connsiteY55" fmla="*/ 567 h 1519886"/>
              <a:gd name="connsiteX56" fmla="*/ 1769822 w 2635237"/>
              <a:gd name="connsiteY56" fmla="*/ 13267 h 1519886"/>
              <a:gd name="connsiteX57" fmla="*/ 1876163 w 2635237"/>
              <a:gd name="connsiteY57" fmla="*/ 65518 h 1519886"/>
              <a:gd name="connsiteX58" fmla="*/ 1975903 w 2635237"/>
              <a:gd name="connsiteY58" fmla="*/ 144780 h 1519886"/>
              <a:gd name="connsiteX59" fmla="*/ 2070881 w 2635237"/>
              <a:gd name="connsiteY59" fmla="*/ 222545 h 1519886"/>
              <a:gd name="connsiteX60" fmla="*/ 2155177 w 2635237"/>
              <a:gd name="connsiteY60" fmla="*/ 287859 h 1519886"/>
              <a:gd name="connsiteX61" fmla="*/ 2191100 w 2635237"/>
              <a:gd name="connsiteY61" fmla="*/ 333579 h 1519886"/>
              <a:gd name="connsiteX62" fmla="*/ 2210331 w 2635237"/>
              <a:gd name="connsiteY62" fmla="*/ 392090 h 1519886"/>
              <a:gd name="connsiteX63" fmla="*/ 2165155 w 2635237"/>
              <a:gd name="connsiteY63" fmla="*/ 463663 h 1519886"/>
              <a:gd name="connsiteX64" fmla="*/ 2062240 w 2635237"/>
              <a:gd name="connsiteY64" fmla="*/ 493327 h 1519886"/>
              <a:gd name="connsiteX65" fmla="*/ 1937259 w 2635237"/>
              <a:gd name="connsiteY65" fmla="*/ 495096 h 1519886"/>
              <a:gd name="connsiteX66" fmla="*/ 1857997 w 2635237"/>
              <a:gd name="connsiteY66" fmla="*/ 483802 h 1519886"/>
              <a:gd name="connsiteX67" fmla="*/ 1711040 w 2635237"/>
              <a:gd name="connsiteY67" fmla="*/ 460942 h 1519886"/>
              <a:gd name="connsiteX68" fmla="*/ 1570614 w 2635237"/>
              <a:gd name="connsiteY68" fmla="*/ 434816 h 1519886"/>
              <a:gd name="connsiteX69" fmla="*/ 1439985 w 2635237"/>
              <a:gd name="connsiteY69" fmla="*/ 415222 h 1519886"/>
              <a:gd name="connsiteX70" fmla="*/ 1325685 w 2635237"/>
              <a:gd name="connsiteY70" fmla="*/ 418487 h 1519886"/>
              <a:gd name="connsiteX71" fmla="*/ 1225061 w 2635237"/>
              <a:gd name="connsiteY71" fmla="*/ 443728 h 1519886"/>
              <a:gd name="connsiteX72" fmla="*/ 1139540 w 2635237"/>
              <a:gd name="connsiteY72" fmla="*/ 474005 h 1519886"/>
              <a:gd name="connsiteX73" fmla="*/ 1024695 w 2635237"/>
              <a:gd name="connsiteY73" fmla="*/ 519725 h 1519886"/>
              <a:gd name="connsiteX74" fmla="*/ 924002 w 2635237"/>
              <a:gd name="connsiteY74" fmla="*/ 556531 h 1519886"/>
              <a:gd name="connsiteX75" fmla="*/ 773168 w 2635237"/>
              <a:gd name="connsiteY75" fmla="*/ 579120 h 1519886"/>
              <a:gd name="connsiteX76" fmla="*/ 658051 w 2635237"/>
              <a:gd name="connsiteY76" fmla="*/ 581251 h 1519886"/>
              <a:gd name="connsiteX77" fmla="*/ 526220 w 2635237"/>
              <a:gd name="connsiteY77" fmla="*/ 582136 h 1519886"/>
              <a:gd name="connsiteX78" fmla="*/ 408110 w 2635237"/>
              <a:gd name="connsiteY78" fmla="*/ 571363 h 1519886"/>
              <a:gd name="connsiteX79" fmla="*/ 305535 w 2635237"/>
              <a:gd name="connsiteY79" fmla="*/ 559707 h 1519886"/>
              <a:gd name="connsiteX80" fmla="*/ 172888 w 2635237"/>
              <a:gd name="connsiteY80" fmla="*/ 549116 h 1519886"/>
              <a:gd name="connsiteX0" fmla="*/ 2635237 w 2635237"/>
              <a:gd name="connsiteY0" fmla="*/ 1016113 h 1519886"/>
              <a:gd name="connsiteX1" fmla="*/ 2625621 w 2635237"/>
              <a:gd name="connsiteY1" fmla="*/ 1071630 h 1519886"/>
              <a:gd name="connsiteX2" fmla="*/ 2626936 w 2635237"/>
              <a:gd name="connsiteY2" fmla="*/ 1129529 h 1519886"/>
              <a:gd name="connsiteX3" fmla="*/ 2625440 w 2635237"/>
              <a:gd name="connsiteY3" fmla="*/ 1176133 h 1519886"/>
              <a:gd name="connsiteX4" fmla="*/ 2621902 w 2635237"/>
              <a:gd name="connsiteY4" fmla="*/ 1231038 h 1519886"/>
              <a:gd name="connsiteX5" fmla="*/ 2589789 w 2635237"/>
              <a:gd name="connsiteY5" fmla="*/ 1280727 h 1519886"/>
              <a:gd name="connsiteX6" fmla="*/ 2560125 w 2635237"/>
              <a:gd name="connsiteY6" fmla="*/ 1316559 h 1519886"/>
              <a:gd name="connsiteX7" fmla="*/ 2504608 w 2635237"/>
              <a:gd name="connsiteY7" fmla="*/ 1326356 h 1519886"/>
              <a:gd name="connsiteX8" fmla="*/ 2452357 w 2635237"/>
              <a:gd name="connsiteY8" fmla="*/ 1329622 h 1519886"/>
              <a:gd name="connsiteX9" fmla="*/ 2406637 w 2635237"/>
              <a:gd name="connsiteY9" fmla="*/ 1329622 h 1519886"/>
              <a:gd name="connsiteX10" fmla="*/ 2351120 w 2635237"/>
              <a:gd name="connsiteY10" fmla="*/ 1342685 h 1519886"/>
              <a:gd name="connsiteX11" fmla="*/ 2302497 w 2635237"/>
              <a:gd name="connsiteY11" fmla="*/ 1372348 h 1519886"/>
              <a:gd name="connsiteX12" fmla="*/ 2285805 w 2635237"/>
              <a:gd name="connsiteY12" fmla="*/ 1411265 h 1519886"/>
              <a:gd name="connsiteX13" fmla="*/ 2246617 w 2635237"/>
              <a:gd name="connsiteY13" fmla="*/ 1453719 h 1519886"/>
              <a:gd name="connsiteX14" fmla="*/ 2187834 w 2635237"/>
              <a:gd name="connsiteY14" fmla="*/ 1476579 h 1519886"/>
              <a:gd name="connsiteX15" fmla="*/ 2122520 w 2635237"/>
              <a:gd name="connsiteY15" fmla="*/ 1463516 h 1519886"/>
              <a:gd name="connsiteX16" fmla="*/ 2053940 w 2635237"/>
              <a:gd name="connsiteY16" fmla="*/ 1466782 h 1519886"/>
              <a:gd name="connsiteX17" fmla="*/ 2011485 w 2635237"/>
              <a:gd name="connsiteY17" fmla="*/ 1479845 h 1519886"/>
              <a:gd name="connsiteX18" fmla="*/ 1975562 w 2635237"/>
              <a:gd name="connsiteY18" fmla="*/ 1499439 h 1519886"/>
              <a:gd name="connsiteX19" fmla="*/ 1933017 w 2635237"/>
              <a:gd name="connsiteY19" fmla="*/ 1515677 h 1519886"/>
              <a:gd name="connsiteX20" fmla="*/ 1880675 w 2635237"/>
              <a:gd name="connsiteY20" fmla="*/ 1519305 h 1519886"/>
              <a:gd name="connsiteX21" fmla="*/ 1802480 w 2635237"/>
              <a:gd name="connsiteY21" fmla="*/ 1505970 h 1519886"/>
              <a:gd name="connsiteX22" fmla="*/ 1733900 w 2635237"/>
              <a:gd name="connsiteY22" fmla="*/ 1447187 h 1519886"/>
              <a:gd name="connsiteX23" fmla="*/ 1671851 w 2635237"/>
              <a:gd name="connsiteY23" fmla="*/ 1404733 h 1519886"/>
              <a:gd name="connsiteX24" fmla="*/ 1587010 w 2635237"/>
              <a:gd name="connsiteY24" fmla="*/ 1365817 h 1519886"/>
              <a:gd name="connsiteX25" fmla="*/ 1479174 w 2635237"/>
              <a:gd name="connsiteY25" fmla="*/ 1355747 h 1519886"/>
              <a:gd name="connsiteX26" fmla="*/ 1400797 w 2635237"/>
              <a:gd name="connsiteY26" fmla="*/ 1355747 h 1519886"/>
              <a:gd name="connsiteX27" fmla="*/ 1309357 w 2635237"/>
              <a:gd name="connsiteY27" fmla="*/ 1342685 h 1519886"/>
              <a:gd name="connsiteX28" fmla="*/ 1227714 w 2635237"/>
              <a:gd name="connsiteY28" fmla="*/ 1329622 h 1519886"/>
              <a:gd name="connsiteX29" fmla="*/ 1105386 w 2635237"/>
              <a:gd name="connsiteY29" fmla="*/ 1295195 h 1519886"/>
              <a:gd name="connsiteX30" fmla="*/ 969722 w 2635237"/>
              <a:gd name="connsiteY30" fmla="*/ 1257776 h 1519886"/>
              <a:gd name="connsiteX31" fmla="*/ 856920 w 2635237"/>
              <a:gd name="connsiteY31" fmla="*/ 1221581 h 1519886"/>
              <a:gd name="connsiteX32" fmla="*/ 754185 w 2635237"/>
              <a:gd name="connsiteY32" fmla="*/ 1189196 h 1519886"/>
              <a:gd name="connsiteX33" fmla="*/ 662745 w 2635237"/>
              <a:gd name="connsiteY33" fmla="*/ 1159805 h 1519886"/>
              <a:gd name="connsiteX34" fmla="*/ 560351 w 2635237"/>
              <a:gd name="connsiteY34" fmla="*/ 1134291 h 1519886"/>
              <a:gd name="connsiteX35" fmla="*/ 457005 w 2635237"/>
              <a:gd name="connsiteY35" fmla="*/ 1123882 h 1519886"/>
              <a:gd name="connsiteX36" fmla="*/ 378628 w 2635237"/>
              <a:gd name="connsiteY36" fmla="*/ 1117350 h 1519886"/>
              <a:gd name="connsiteX37" fmla="*/ 251877 w 2635237"/>
              <a:gd name="connsiteY37" fmla="*/ 1082312 h 1519886"/>
              <a:gd name="connsiteX38" fmla="*/ 176154 w 2635237"/>
              <a:gd name="connsiteY38" fmla="*/ 1044007 h 1519886"/>
              <a:gd name="connsiteX39" fmla="*/ 104648 w 2635237"/>
              <a:gd name="connsiteY39" fmla="*/ 975496 h 1519886"/>
              <a:gd name="connsiteX40" fmla="*/ 60017 w 2635237"/>
              <a:gd name="connsiteY40" fmla="*/ 916985 h 1519886"/>
              <a:gd name="connsiteX41" fmla="*/ 23821 w 2635237"/>
              <a:gd name="connsiteY41" fmla="*/ 827927 h 1519886"/>
              <a:gd name="connsiteX42" fmla="*/ 2458 w 2635237"/>
              <a:gd name="connsiteY42" fmla="*/ 728730 h 1519886"/>
              <a:gd name="connsiteX43" fmla="*/ 10215 w 2635237"/>
              <a:gd name="connsiteY43" fmla="*/ 617696 h 1519886"/>
              <a:gd name="connsiteX44" fmla="*/ 57431 w 2635237"/>
              <a:gd name="connsiteY44" fmla="*/ 510472 h 1519886"/>
              <a:gd name="connsiteX45" fmla="*/ 113493 w 2635237"/>
              <a:gd name="connsiteY45" fmla="*/ 454410 h 1519886"/>
              <a:gd name="connsiteX46" fmla="*/ 221874 w 2635237"/>
              <a:gd name="connsiteY46" fmla="*/ 376033 h 1519886"/>
              <a:gd name="connsiteX47" fmla="*/ 368831 w 2635237"/>
              <a:gd name="connsiteY47" fmla="*/ 307453 h 1519886"/>
              <a:gd name="connsiteX48" fmla="*/ 525585 w 2635237"/>
              <a:gd name="connsiteY48" fmla="*/ 261733 h 1519886"/>
              <a:gd name="connsiteX49" fmla="*/ 649682 w 2635237"/>
              <a:gd name="connsiteY49" fmla="*/ 229689 h 1519886"/>
              <a:gd name="connsiteX50" fmla="*/ 795755 w 2635237"/>
              <a:gd name="connsiteY50" fmla="*/ 194649 h 1519886"/>
              <a:gd name="connsiteX51" fmla="*/ 953394 w 2635237"/>
              <a:gd name="connsiteY51" fmla="*/ 160496 h 1519886"/>
              <a:gd name="connsiteX52" fmla="*/ 1144982 w 2635237"/>
              <a:gd name="connsiteY52" fmla="*/ 109674 h 1519886"/>
              <a:gd name="connsiteX53" fmla="*/ 1397531 w 2635237"/>
              <a:gd name="connsiteY53" fmla="*/ 42930 h 1519886"/>
              <a:gd name="connsiteX54" fmla="*/ 1547754 w 2635237"/>
              <a:gd name="connsiteY54" fmla="*/ 12043 h 1519886"/>
              <a:gd name="connsiteX55" fmla="*/ 1657042 w 2635237"/>
              <a:gd name="connsiteY55" fmla="*/ 567 h 1519886"/>
              <a:gd name="connsiteX56" fmla="*/ 1769822 w 2635237"/>
              <a:gd name="connsiteY56" fmla="*/ 13267 h 1519886"/>
              <a:gd name="connsiteX57" fmla="*/ 1876163 w 2635237"/>
              <a:gd name="connsiteY57" fmla="*/ 65518 h 1519886"/>
              <a:gd name="connsiteX58" fmla="*/ 1975903 w 2635237"/>
              <a:gd name="connsiteY58" fmla="*/ 144780 h 1519886"/>
              <a:gd name="connsiteX59" fmla="*/ 2070881 w 2635237"/>
              <a:gd name="connsiteY59" fmla="*/ 222545 h 1519886"/>
              <a:gd name="connsiteX60" fmla="*/ 2155177 w 2635237"/>
              <a:gd name="connsiteY60" fmla="*/ 287859 h 1519886"/>
              <a:gd name="connsiteX61" fmla="*/ 2191100 w 2635237"/>
              <a:gd name="connsiteY61" fmla="*/ 333579 h 1519886"/>
              <a:gd name="connsiteX62" fmla="*/ 2210331 w 2635237"/>
              <a:gd name="connsiteY62" fmla="*/ 392090 h 1519886"/>
              <a:gd name="connsiteX63" fmla="*/ 2165155 w 2635237"/>
              <a:gd name="connsiteY63" fmla="*/ 463663 h 1519886"/>
              <a:gd name="connsiteX64" fmla="*/ 2062240 w 2635237"/>
              <a:gd name="connsiteY64" fmla="*/ 493327 h 1519886"/>
              <a:gd name="connsiteX65" fmla="*/ 1937259 w 2635237"/>
              <a:gd name="connsiteY65" fmla="*/ 495096 h 1519886"/>
              <a:gd name="connsiteX66" fmla="*/ 1857997 w 2635237"/>
              <a:gd name="connsiteY66" fmla="*/ 483802 h 1519886"/>
              <a:gd name="connsiteX67" fmla="*/ 1711040 w 2635237"/>
              <a:gd name="connsiteY67" fmla="*/ 460942 h 1519886"/>
              <a:gd name="connsiteX68" fmla="*/ 1570614 w 2635237"/>
              <a:gd name="connsiteY68" fmla="*/ 434816 h 1519886"/>
              <a:gd name="connsiteX69" fmla="*/ 1439985 w 2635237"/>
              <a:gd name="connsiteY69" fmla="*/ 415222 h 1519886"/>
              <a:gd name="connsiteX70" fmla="*/ 1325685 w 2635237"/>
              <a:gd name="connsiteY70" fmla="*/ 418487 h 1519886"/>
              <a:gd name="connsiteX71" fmla="*/ 1225061 w 2635237"/>
              <a:gd name="connsiteY71" fmla="*/ 443728 h 1519886"/>
              <a:gd name="connsiteX72" fmla="*/ 1139540 w 2635237"/>
              <a:gd name="connsiteY72" fmla="*/ 474005 h 1519886"/>
              <a:gd name="connsiteX73" fmla="*/ 1024695 w 2635237"/>
              <a:gd name="connsiteY73" fmla="*/ 519725 h 1519886"/>
              <a:gd name="connsiteX74" fmla="*/ 924002 w 2635237"/>
              <a:gd name="connsiteY74" fmla="*/ 556531 h 1519886"/>
              <a:gd name="connsiteX75" fmla="*/ 773168 w 2635237"/>
              <a:gd name="connsiteY75" fmla="*/ 579120 h 1519886"/>
              <a:gd name="connsiteX76" fmla="*/ 658051 w 2635237"/>
              <a:gd name="connsiteY76" fmla="*/ 581251 h 1519886"/>
              <a:gd name="connsiteX77" fmla="*/ 526220 w 2635237"/>
              <a:gd name="connsiteY77" fmla="*/ 582136 h 1519886"/>
              <a:gd name="connsiteX78" fmla="*/ 408110 w 2635237"/>
              <a:gd name="connsiteY78" fmla="*/ 571363 h 1519886"/>
              <a:gd name="connsiteX79" fmla="*/ 305535 w 2635237"/>
              <a:gd name="connsiteY79" fmla="*/ 559707 h 1519886"/>
              <a:gd name="connsiteX80" fmla="*/ 172888 w 2635237"/>
              <a:gd name="connsiteY80" fmla="*/ 549116 h 1519886"/>
              <a:gd name="connsiteX0" fmla="*/ 2635237 w 2635237"/>
              <a:gd name="connsiteY0" fmla="*/ 1016113 h 1520395"/>
              <a:gd name="connsiteX1" fmla="*/ 2625621 w 2635237"/>
              <a:gd name="connsiteY1" fmla="*/ 1071630 h 1520395"/>
              <a:gd name="connsiteX2" fmla="*/ 2626936 w 2635237"/>
              <a:gd name="connsiteY2" fmla="*/ 1129529 h 1520395"/>
              <a:gd name="connsiteX3" fmla="*/ 2625440 w 2635237"/>
              <a:gd name="connsiteY3" fmla="*/ 1176133 h 1520395"/>
              <a:gd name="connsiteX4" fmla="*/ 2621902 w 2635237"/>
              <a:gd name="connsiteY4" fmla="*/ 1231038 h 1520395"/>
              <a:gd name="connsiteX5" fmla="*/ 2589789 w 2635237"/>
              <a:gd name="connsiteY5" fmla="*/ 1280727 h 1520395"/>
              <a:gd name="connsiteX6" fmla="*/ 2560125 w 2635237"/>
              <a:gd name="connsiteY6" fmla="*/ 1316559 h 1520395"/>
              <a:gd name="connsiteX7" fmla="*/ 2504608 w 2635237"/>
              <a:gd name="connsiteY7" fmla="*/ 1326356 h 1520395"/>
              <a:gd name="connsiteX8" fmla="*/ 2452357 w 2635237"/>
              <a:gd name="connsiteY8" fmla="*/ 1329622 h 1520395"/>
              <a:gd name="connsiteX9" fmla="*/ 2406637 w 2635237"/>
              <a:gd name="connsiteY9" fmla="*/ 1329622 h 1520395"/>
              <a:gd name="connsiteX10" fmla="*/ 2351120 w 2635237"/>
              <a:gd name="connsiteY10" fmla="*/ 1342685 h 1520395"/>
              <a:gd name="connsiteX11" fmla="*/ 2302497 w 2635237"/>
              <a:gd name="connsiteY11" fmla="*/ 1372348 h 1520395"/>
              <a:gd name="connsiteX12" fmla="*/ 2285805 w 2635237"/>
              <a:gd name="connsiteY12" fmla="*/ 1411265 h 1520395"/>
              <a:gd name="connsiteX13" fmla="*/ 2246617 w 2635237"/>
              <a:gd name="connsiteY13" fmla="*/ 1453719 h 1520395"/>
              <a:gd name="connsiteX14" fmla="*/ 2187834 w 2635237"/>
              <a:gd name="connsiteY14" fmla="*/ 1476579 h 1520395"/>
              <a:gd name="connsiteX15" fmla="*/ 2122520 w 2635237"/>
              <a:gd name="connsiteY15" fmla="*/ 1463516 h 1520395"/>
              <a:gd name="connsiteX16" fmla="*/ 2053940 w 2635237"/>
              <a:gd name="connsiteY16" fmla="*/ 1466782 h 1520395"/>
              <a:gd name="connsiteX17" fmla="*/ 2011485 w 2635237"/>
              <a:gd name="connsiteY17" fmla="*/ 1479845 h 1520395"/>
              <a:gd name="connsiteX18" fmla="*/ 1975562 w 2635237"/>
              <a:gd name="connsiteY18" fmla="*/ 1499439 h 1520395"/>
              <a:gd name="connsiteX19" fmla="*/ 1933017 w 2635237"/>
              <a:gd name="connsiteY19" fmla="*/ 1515677 h 1520395"/>
              <a:gd name="connsiteX20" fmla="*/ 1880675 w 2635237"/>
              <a:gd name="connsiteY20" fmla="*/ 1519305 h 1520395"/>
              <a:gd name="connsiteX21" fmla="*/ 1802480 w 2635237"/>
              <a:gd name="connsiteY21" fmla="*/ 1498827 h 1520395"/>
              <a:gd name="connsiteX22" fmla="*/ 1733900 w 2635237"/>
              <a:gd name="connsiteY22" fmla="*/ 1447187 h 1520395"/>
              <a:gd name="connsiteX23" fmla="*/ 1671851 w 2635237"/>
              <a:gd name="connsiteY23" fmla="*/ 1404733 h 1520395"/>
              <a:gd name="connsiteX24" fmla="*/ 1587010 w 2635237"/>
              <a:gd name="connsiteY24" fmla="*/ 1365817 h 1520395"/>
              <a:gd name="connsiteX25" fmla="*/ 1479174 w 2635237"/>
              <a:gd name="connsiteY25" fmla="*/ 1355747 h 1520395"/>
              <a:gd name="connsiteX26" fmla="*/ 1400797 w 2635237"/>
              <a:gd name="connsiteY26" fmla="*/ 1355747 h 1520395"/>
              <a:gd name="connsiteX27" fmla="*/ 1309357 w 2635237"/>
              <a:gd name="connsiteY27" fmla="*/ 1342685 h 1520395"/>
              <a:gd name="connsiteX28" fmla="*/ 1227714 w 2635237"/>
              <a:gd name="connsiteY28" fmla="*/ 1329622 h 1520395"/>
              <a:gd name="connsiteX29" fmla="*/ 1105386 w 2635237"/>
              <a:gd name="connsiteY29" fmla="*/ 1295195 h 1520395"/>
              <a:gd name="connsiteX30" fmla="*/ 969722 w 2635237"/>
              <a:gd name="connsiteY30" fmla="*/ 1257776 h 1520395"/>
              <a:gd name="connsiteX31" fmla="*/ 856920 w 2635237"/>
              <a:gd name="connsiteY31" fmla="*/ 1221581 h 1520395"/>
              <a:gd name="connsiteX32" fmla="*/ 754185 w 2635237"/>
              <a:gd name="connsiteY32" fmla="*/ 1189196 h 1520395"/>
              <a:gd name="connsiteX33" fmla="*/ 662745 w 2635237"/>
              <a:gd name="connsiteY33" fmla="*/ 1159805 h 1520395"/>
              <a:gd name="connsiteX34" fmla="*/ 560351 w 2635237"/>
              <a:gd name="connsiteY34" fmla="*/ 1134291 h 1520395"/>
              <a:gd name="connsiteX35" fmla="*/ 457005 w 2635237"/>
              <a:gd name="connsiteY35" fmla="*/ 1123882 h 1520395"/>
              <a:gd name="connsiteX36" fmla="*/ 378628 w 2635237"/>
              <a:gd name="connsiteY36" fmla="*/ 1117350 h 1520395"/>
              <a:gd name="connsiteX37" fmla="*/ 251877 w 2635237"/>
              <a:gd name="connsiteY37" fmla="*/ 1082312 h 1520395"/>
              <a:gd name="connsiteX38" fmla="*/ 176154 w 2635237"/>
              <a:gd name="connsiteY38" fmla="*/ 1044007 h 1520395"/>
              <a:gd name="connsiteX39" fmla="*/ 104648 w 2635237"/>
              <a:gd name="connsiteY39" fmla="*/ 975496 h 1520395"/>
              <a:gd name="connsiteX40" fmla="*/ 60017 w 2635237"/>
              <a:gd name="connsiteY40" fmla="*/ 916985 h 1520395"/>
              <a:gd name="connsiteX41" fmla="*/ 23821 w 2635237"/>
              <a:gd name="connsiteY41" fmla="*/ 827927 h 1520395"/>
              <a:gd name="connsiteX42" fmla="*/ 2458 w 2635237"/>
              <a:gd name="connsiteY42" fmla="*/ 728730 h 1520395"/>
              <a:gd name="connsiteX43" fmla="*/ 10215 w 2635237"/>
              <a:gd name="connsiteY43" fmla="*/ 617696 h 1520395"/>
              <a:gd name="connsiteX44" fmla="*/ 57431 w 2635237"/>
              <a:gd name="connsiteY44" fmla="*/ 510472 h 1520395"/>
              <a:gd name="connsiteX45" fmla="*/ 113493 w 2635237"/>
              <a:gd name="connsiteY45" fmla="*/ 454410 h 1520395"/>
              <a:gd name="connsiteX46" fmla="*/ 221874 w 2635237"/>
              <a:gd name="connsiteY46" fmla="*/ 376033 h 1520395"/>
              <a:gd name="connsiteX47" fmla="*/ 368831 w 2635237"/>
              <a:gd name="connsiteY47" fmla="*/ 307453 h 1520395"/>
              <a:gd name="connsiteX48" fmla="*/ 525585 w 2635237"/>
              <a:gd name="connsiteY48" fmla="*/ 261733 h 1520395"/>
              <a:gd name="connsiteX49" fmla="*/ 649682 w 2635237"/>
              <a:gd name="connsiteY49" fmla="*/ 229689 h 1520395"/>
              <a:gd name="connsiteX50" fmla="*/ 795755 w 2635237"/>
              <a:gd name="connsiteY50" fmla="*/ 194649 h 1520395"/>
              <a:gd name="connsiteX51" fmla="*/ 953394 w 2635237"/>
              <a:gd name="connsiteY51" fmla="*/ 160496 h 1520395"/>
              <a:gd name="connsiteX52" fmla="*/ 1144982 w 2635237"/>
              <a:gd name="connsiteY52" fmla="*/ 109674 h 1520395"/>
              <a:gd name="connsiteX53" fmla="*/ 1397531 w 2635237"/>
              <a:gd name="connsiteY53" fmla="*/ 42930 h 1520395"/>
              <a:gd name="connsiteX54" fmla="*/ 1547754 w 2635237"/>
              <a:gd name="connsiteY54" fmla="*/ 12043 h 1520395"/>
              <a:gd name="connsiteX55" fmla="*/ 1657042 w 2635237"/>
              <a:gd name="connsiteY55" fmla="*/ 567 h 1520395"/>
              <a:gd name="connsiteX56" fmla="*/ 1769822 w 2635237"/>
              <a:gd name="connsiteY56" fmla="*/ 13267 h 1520395"/>
              <a:gd name="connsiteX57" fmla="*/ 1876163 w 2635237"/>
              <a:gd name="connsiteY57" fmla="*/ 65518 h 1520395"/>
              <a:gd name="connsiteX58" fmla="*/ 1975903 w 2635237"/>
              <a:gd name="connsiteY58" fmla="*/ 144780 h 1520395"/>
              <a:gd name="connsiteX59" fmla="*/ 2070881 w 2635237"/>
              <a:gd name="connsiteY59" fmla="*/ 222545 h 1520395"/>
              <a:gd name="connsiteX60" fmla="*/ 2155177 w 2635237"/>
              <a:gd name="connsiteY60" fmla="*/ 287859 h 1520395"/>
              <a:gd name="connsiteX61" fmla="*/ 2191100 w 2635237"/>
              <a:gd name="connsiteY61" fmla="*/ 333579 h 1520395"/>
              <a:gd name="connsiteX62" fmla="*/ 2210331 w 2635237"/>
              <a:gd name="connsiteY62" fmla="*/ 392090 h 1520395"/>
              <a:gd name="connsiteX63" fmla="*/ 2165155 w 2635237"/>
              <a:gd name="connsiteY63" fmla="*/ 463663 h 1520395"/>
              <a:gd name="connsiteX64" fmla="*/ 2062240 w 2635237"/>
              <a:gd name="connsiteY64" fmla="*/ 493327 h 1520395"/>
              <a:gd name="connsiteX65" fmla="*/ 1937259 w 2635237"/>
              <a:gd name="connsiteY65" fmla="*/ 495096 h 1520395"/>
              <a:gd name="connsiteX66" fmla="*/ 1857997 w 2635237"/>
              <a:gd name="connsiteY66" fmla="*/ 483802 h 1520395"/>
              <a:gd name="connsiteX67" fmla="*/ 1711040 w 2635237"/>
              <a:gd name="connsiteY67" fmla="*/ 460942 h 1520395"/>
              <a:gd name="connsiteX68" fmla="*/ 1570614 w 2635237"/>
              <a:gd name="connsiteY68" fmla="*/ 434816 h 1520395"/>
              <a:gd name="connsiteX69" fmla="*/ 1439985 w 2635237"/>
              <a:gd name="connsiteY69" fmla="*/ 415222 h 1520395"/>
              <a:gd name="connsiteX70" fmla="*/ 1325685 w 2635237"/>
              <a:gd name="connsiteY70" fmla="*/ 418487 h 1520395"/>
              <a:gd name="connsiteX71" fmla="*/ 1225061 w 2635237"/>
              <a:gd name="connsiteY71" fmla="*/ 443728 h 1520395"/>
              <a:gd name="connsiteX72" fmla="*/ 1139540 w 2635237"/>
              <a:gd name="connsiteY72" fmla="*/ 474005 h 1520395"/>
              <a:gd name="connsiteX73" fmla="*/ 1024695 w 2635237"/>
              <a:gd name="connsiteY73" fmla="*/ 519725 h 1520395"/>
              <a:gd name="connsiteX74" fmla="*/ 924002 w 2635237"/>
              <a:gd name="connsiteY74" fmla="*/ 556531 h 1520395"/>
              <a:gd name="connsiteX75" fmla="*/ 773168 w 2635237"/>
              <a:gd name="connsiteY75" fmla="*/ 579120 h 1520395"/>
              <a:gd name="connsiteX76" fmla="*/ 658051 w 2635237"/>
              <a:gd name="connsiteY76" fmla="*/ 581251 h 1520395"/>
              <a:gd name="connsiteX77" fmla="*/ 526220 w 2635237"/>
              <a:gd name="connsiteY77" fmla="*/ 582136 h 1520395"/>
              <a:gd name="connsiteX78" fmla="*/ 408110 w 2635237"/>
              <a:gd name="connsiteY78" fmla="*/ 571363 h 1520395"/>
              <a:gd name="connsiteX79" fmla="*/ 305535 w 2635237"/>
              <a:gd name="connsiteY79" fmla="*/ 559707 h 1520395"/>
              <a:gd name="connsiteX80" fmla="*/ 172888 w 2635237"/>
              <a:gd name="connsiteY80" fmla="*/ 549116 h 1520395"/>
              <a:gd name="connsiteX0" fmla="*/ 2635237 w 2635237"/>
              <a:gd name="connsiteY0" fmla="*/ 1016113 h 1520395"/>
              <a:gd name="connsiteX1" fmla="*/ 2625621 w 2635237"/>
              <a:gd name="connsiteY1" fmla="*/ 1071630 h 1520395"/>
              <a:gd name="connsiteX2" fmla="*/ 2626936 w 2635237"/>
              <a:gd name="connsiteY2" fmla="*/ 1129529 h 1520395"/>
              <a:gd name="connsiteX3" fmla="*/ 2625440 w 2635237"/>
              <a:gd name="connsiteY3" fmla="*/ 1176133 h 1520395"/>
              <a:gd name="connsiteX4" fmla="*/ 2621902 w 2635237"/>
              <a:gd name="connsiteY4" fmla="*/ 1231038 h 1520395"/>
              <a:gd name="connsiteX5" fmla="*/ 2589789 w 2635237"/>
              <a:gd name="connsiteY5" fmla="*/ 1280727 h 1520395"/>
              <a:gd name="connsiteX6" fmla="*/ 2560125 w 2635237"/>
              <a:gd name="connsiteY6" fmla="*/ 1316559 h 1520395"/>
              <a:gd name="connsiteX7" fmla="*/ 2504608 w 2635237"/>
              <a:gd name="connsiteY7" fmla="*/ 1326356 h 1520395"/>
              <a:gd name="connsiteX8" fmla="*/ 2452357 w 2635237"/>
              <a:gd name="connsiteY8" fmla="*/ 1329622 h 1520395"/>
              <a:gd name="connsiteX9" fmla="*/ 2406637 w 2635237"/>
              <a:gd name="connsiteY9" fmla="*/ 1329622 h 1520395"/>
              <a:gd name="connsiteX10" fmla="*/ 2351120 w 2635237"/>
              <a:gd name="connsiteY10" fmla="*/ 1342685 h 1520395"/>
              <a:gd name="connsiteX11" fmla="*/ 2302497 w 2635237"/>
              <a:gd name="connsiteY11" fmla="*/ 1372348 h 1520395"/>
              <a:gd name="connsiteX12" fmla="*/ 2285805 w 2635237"/>
              <a:gd name="connsiteY12" fmla="*/ 1411265 h 1520395"/>
              <a:gd name="connsiteX13" fmla="*/ 2246617 w 2635237"/>
              <a:gd name="connsiteY13" fmla="*/ 1453719 h 1520395"/>
              <a:gd name="connsiteX14" fmla="*/ 2187834 w 2635237"/>
              <a:gd name="connsiteY14" fmla="*/ 1476579 h 1520395"/>
              <a:gd name="connsiteX15" fmla="*/ 2122520 w 2635237"/>
              <a:gd name="connsiteY15" fmla="*/ 1463516 h 1520395"/>
              <a:gd name="connsiteX16" fmla="*/ 2053940 w 2635237"/>
              <a:gd name="connsiteY16" fmla="*/ 1466782 h 1520395"/>
              <a:gd name="connsiteX17" fmla="*/ 2011485 w 2635237"/>
              <a:gd name="connsiteY17" fmla="*/ 1479845 h 1520395"/>
              <a:gd name="connsiteX18" fmla="*/ 1975562 w 2635237"/>
              <a:gd name="connsiteY18" fmla="*/ 1499439 h 1520395"/>
              <a:gd name="connsiteX19" fmla="*/ 1933017 w 2635237"/>
              <a:gd name="connsiteY19" fmla="*/ 1515677 h 1520395"/>
              <a:gd name="connsiteX20" fmla="*/ 1880675 w 2635237"/>
              <a:gd name="connsiteY20" fmla="*/ 1519305 h 1520395"/>
              <a:gd name="connsiteX21" fmla="*/ 1802480 w 2635237"/>
              <a:gd name="connsiteY21" fmla="*/ 1498827 h 1520395"/>
              <a:gd name="connsiteX22" fmla="*/ 1733900 w 2635237"/>
              <a:gd name="connsiteY22" fmla="*/ 1447187 h 1520395"/>
              <a:gd name="connsiteX23" fmla="*/ 1671851 w 2635237"/>
              <a:gd name="connsiteY23" fmla="*/ 1404733 h 1520395"/>
              <a:gd name="connsiteX24" fmla="*/ 1587010 w 2635237"/>
              <a:gd name="connsiteY24" fmla="*/ 1365817 h 1520395"/>
              <a:gd name="connsiteX25" fmla="*/ 1479174 w 2635237"/>
              <a:gd name="connsiteY25" fmla="*/ 1355747 h 1520395"/>
              <a:gd name="connsiteX26" fmla="*/ 1400797 w 2635237"/>
              <a:gd name="connsiteY26" fmla="*/ 1355747 h 1520395"/>
              <a:gd name="connsiteX27" fmla="*/ 1309357 w 2635237"/>
              <a:gd name="connsiteY27" fmla="*/ 1342685 h 1520395"/>
              <a:gd name="connsiteX28" fmla="*/ 1227714 w 2635237"/>
              <a:gd name="connsiteY28" fmla="*/ 1329622 h 1520395"/>
              <a:gd name="connsiteX29" fmla="*/ 1105386 w 2635237"/>
              <a:gd name="connsiteY29" fmla="*/ 1295195 h 1520395"/>
              <a:gd name="connsiteX30" fmla="*/ 969722 w 2635237"/>
              <a:gd name="connsiteY30" fmla="*/ 1257776 h 1520395"/>
              <a:gd name="connsiteX31" fmla="*/ 856920 w 2635237"/>
              <a:gd name="connsiteY31" fmla="*/ 1221581 h 1520395"/>
              <a:gd name="connsiteX32" fmla="*/ 754185 w 2635237"/>
              <a:gd name="connsiteY32" fmla="*/ 1189196 h 1520395"/>
              <a:gd name="connsiteX33" fmla="*/ 662745 w 2635237"/>
              <a:gd name="connsiteY33" fmla="*/ 1159805 h 1520395"/>
              <a:gd name="connsiteX34" fmla="*/ 560351 w 2635237"/>
              <a:gd name="connsiteY34" fmla="*/ 1134291 h 1520395"/>
              <a:gd name="connsiteX35" fmla="*/ 457005 w 2635237"/>
              <a:gd name="connsiteY35" fmla="*/ 1123882 h 1520395"/>
              <a:gd name="connsiteX36" fmla="*/ 378628 w 2635237"/>
              <a:gd name="connsiteY36" fmla="*/ 1117350 h 1520395"/>
              <a:gd name="connsiteX37" fmla="*/ 251877 w 2635237"/>
              <a:gd name="connsiteY37" fmla="*/ 1082312 h 1520395"/>
              <a:gd name="connsiteX38" fmla="*/ 176154 w 2635237"/>
              <a:gd name="connsiteY38" fmla="*/ 1044007 h 1520395"/>
              <a:gd name="connsiteX39" fmla="*/ 104648 w 2635237"/>
              <a:gd name="connsiteY39" fmla="*/ 975496 h 1520395"/>
              <a:gd name="connsiteX40" fmla="*/ 60017 w 2635237"/>
              <a:gd name="connsiteY40" fmla="*/ 916985 h 1520395"/>
              <a:gd name="connsiteX41" fmla="*/ 23821 w 2635237"/>
              <a:gd name="connsiteY41" fmla="*/ 827927 h 1520395"/>
              <a:gd name="connsiteX42" fmla="*/ 2458 w 2635237"/>
              <a:gd name="connsiteY42" fmla="*/ 728730 h 1520395"/>
              <a:gd name="connsiteX43" fmla="*/ 10215 w 2635237"/>
              <a:gd name="connsiteY43" fmla="*/ 617696 h 1520395"/>
              <a:gd name="connsiteX44" fmla="*/ 57431 w 2635237"/>
              <a:gd name="connsiteY44" fmla="*/ 510472 h 1520395"/>
              <a:gd name="connsiteX45" fmla="*/ 113493 w 2635237"/>
              <a:gd name="connsiteY45" fmla="*/ 454410 h 1520395"/>
              <a:gd name="connsiteX46" fmla="*/ 221874 w 2635237"/>
              <a:gd name="connsiteY46" fmla="*/ 376033 h 1520395"/>
              <a:gd name="connsiteX47" fmla="*/ 368831 w 2635237"/>
              <a:gd name="connsiteY47" fmla="*/ 307453 h 1520395"/>
              <a:gd name="connsiteX48" fmla="*/ 525585 w 2635237"/>
              <a:gd name="connsiteY48" fmla="*/ 261733 h 1520395"/>
              <a:gd name="connsiteX49" fmla="*/ 649682 w 2635237"/>
              <a:gd name="connsiteY49" fmla="*/ 229689 h 1520395"/>
              <a:gd name="connsiteX50" fmla="*/ 795755 w 2635237"/>
              <a:gd name="connsiteY50" fmla="*/ 194649 h 1520395"/>
              <a:gd name="connsiteX51" fmla="*/ 953394 w 2635237"/>
              <a:gd name="connsiteY51" fmla="*/ 160496 h 1520395"/>
              <a:gd name="connsiteX52" fmla="*/ 1144982 w 2635237"/>
              <a:gd name="connsiteY52" fmla="*/ 109674 h 1520395"/>
              <a:gd name="connsiteX53" fmla="*/ 1397531 w 2635237"/>
              <a:gd name="connsiteY53" fmla="*/ 42930 h 1520395"/>
              <a:gd name="connsiteX54" fmla="*/ 1547754 w 2635237"/>
              <a:gd name="connsiteY54" fmla="*/ 12043 h 1520395"/>
              <a:gd name="connsiteX55" fmla="*/ 1657042 w 2635237"/>
              <a:gd name="connsiteY55" fmla="*/ 567 h 1520395"/>
              <a:gd name="connsiteX56" fmla="*/ 1769822 w 2635237"/>
              <a:gd name="connsiteY56" fmla="*/ 13267 h 1520395"/>
              <a:gd name="connsiteX57" fmla="*/ 1876163 w 2635237"/>
              <a:gd name="connsiteY57" fmla="*/ 65518 h 1520395"/>
              <a:gd name="connsiteX58" fmla="*/ 1975903 w 2635237"/>
              <a:gd name="connsiteY58" fmla="*/ 144780 h 1520395"/>
              <a:gd name="connsiteX59" fmla="*/ 2070881 w 2635237"/>
              <a:gd name="connsiteY59" fmla="*/ 222545 h 1520395"/>
              <a:gd name="connsiteX60" fmla="*/ 2155177 w 2635237"/>
              <a:gd name="connsiteY60" fmla="*/ 287859 h 1520395"/>
              <a:gd name="connsiteX61" fmla="*/ 2191100 w 2635237"/>
              <a:gd name="connsiteY61" fmla="*/ 333579 h 1520395"/>
              <a:gd name="connsiteX62" fmla="*/ 2210331 w 2635237"/>
              <a:gd name="connsiteY62" fmla="*/ 392090 h 1520395"/>
              <a:gd name="connsiteX63" fmla="*/ 2165155 w 2635237"/>
              <a:gd name="connsiteY63" fmla="*/ 463663 h 1520395"/>
              <a:gd name="connsiteX64" fmla="*/ 2062240 w 2635237"/>
              <a:gd name="connsiteY64" fmla="*/ 493327 h 1520395"/>
              <a:gd name="connsiteX65" fmla="*/ 1937259 w 2635237"/>
              <a:gd name="connsiteY65" fmla="*/ 495096 h 1520395"/>
              <a:gd name="connsiteX66" fmla="*/ 1857997 w 2635237"/>
              <a:gd name="connsiteY66" fmla="*/ 483802 h 1520395"/>
              <a:gd name="connsiteX67" fmla="*/ 1711040 w 2635237"/>
              <a:gd name="connsiteY67" fmla="*/ 460942 h 1520395"/>
              <a:gd name="connsiteX68" fmla="*/ 1570614 w 2635237"/>
              <a:gd name="connsiteY68" fmla="*/ 434816 h 1520395"/>
              <a:gd name="connsiteX69" fmla="*/ 1439985 w 2635237"/>
              <a:gd name="connsiteY69" fmla="*/ 415222 h 1520395"/>
              <a:gd name="connsiteX70" fmla="*/ 1325685 w 2635237"/>
              <a:gd name="connsiteY70" fmla="*/ 418487 h 1520395"/>
              <a:gd name="connsiteX71" fmla="*/ 1225061 w 2635237"/>
              <a:gd name="connsiteY71" fmla="*/ 443728 h 1520395"/>
              <a:gd name="connsiteX72" fmla="*/ 1139540 w 2635237"/>
              <a:gd name="connsiteY72" fmla="*/ 474005 h 1520395"/>
              <a:gd name="connsiteX73" fmla="*/ 1024695 w 2635237"/>
              <a:gd name="connsiteY73" fmla="*/ 519725 h 1520395"/>
              <a:gd name="connsiteX74" fmla="*/ 924002 w 2635237"/>
              <a:gd name="connsiteY74" fmla="*/ 556531 h 1520395"/>
              <a:gd name="connsiteX75" fmla="*/ 773168 w 2635237"/>
              <a:gd name="connsiteY75" fmla="*/ 579120 h 1520395"/>
              <a:gd name="connsiteX76" fmla="*/ 658051 w 2635237"/>
              <a:gd name="connsiteY76" fmla="*/ 581251 h 1520395"/>
              <a:gd name="connsiteX77" fmla="*/ 526220 w 2635237"/>
              <a:gd name="connsiteY77" fmla="*/ 582136 h 1520395"/>
              <a:gd name="connsiteX78" fmla="*/ 408110 w 2635237"/>
              <a:gd name="connsiteY78" fmla="*/ 571363 h 1520395"/>
              <a:gd name="connsiteX79" fmla="*/ 305535 w 2635237"/>
              <a:gd name="connsiteY79" fmla="*/ 559707 h 1520395"/>
              <a:gd name="connsiteX80" fmla="*/ 172888 w 2635237"/>
              <a:gd name="connsiteY80" fmla="*/ 549116 h 1520395"/>
              <a:gd name="connsiteX0" fmla="*/ 2635237 w 2635237"/>
              <a:gd name="connsiteY0" fmla="*/ 1016113 h 1521087"/>
              <a:gd name="connsiteX1" fmla="*/ 2625621 w 2635237"/>
              <a:gd name="connsiteY1" fmla="*/ 1071630 h 1521087"/>
              <a:gd name="connsiteX2" fmla="*/ 2626936 w 2635237"/>
              <a:gd name="connsiteY2" fmla="*/ 1129529 h 1521087"/>
              <a:gd name="connsiteX3" fmla="*/ 2625440 w 2635237"/>
              <a:gd name="connsiteY3" fmla="*/ 1176133 h 1521087"/>
              <a:gd name="connsiteX4" fmla="*/ 2621902 w 2635237"/>
              <a:gd name="connsiteY4" fmla="*/ 1231038 h 1521087"/>
              <a:gd name="connsiteX5" fmla="*/ 2589789 w 2635237"/>
              <a:gd name="connsiteY5" fmla="*/ 1280727 h 1521087"/>
              <a:gd name="connsiteX6" fmla="*/ 2560125 w 2635237"/>
              <a:gd name="connsiteY6" fmla="*/ 1316559 h 1521087"/>
              <a:gd name="connsiteX7" fmla="*/ 2504608 w 2635237"/>
              <a:gd name="connsiteY7" fmla="*/ 1326356 h 1521087"/>
              <a:gd name="connsiteX8" fmla="*/ 2452357 w 2635237"/>
              <a:gd name="connsiteY8" fmla="*/ 1329622 h 1521087"/>
              <a:gd name="connsiteX9" fmla="*/ 2406637 w 2635237"/>
              <a:gd name="connsiteY9" fmla="*/ 1329622 h 1521087"/>
              <a:gd name="connsiteX10" fmla="*/ 2351120 w 2635237"/>
              <a:gd name="connsiteY10" fmla="*/ 1342685 h 1521087"/>
              <a:gd name="connsiteX11" fmla="*/ 2302497 w 2635237"/>
              <a:gd name="connsiteY11" fmla="*/ 1372348 h 1521087"/>
              <a:gd name="connsiteX12" fmla="*/ 2285805 w 2635237"/>
              <a:gd name="connsiteY12" fmla="*/ 1411265 h 1521087"/>
              <a:gd name="connsiteX13" fmla="*/ 2246617 w 2635237"/>
              <a:gd name="connsiteY13" fmla="*/ 1453719 h 1521087"/>
              <a:gd name="connsiteX14" fmla="*/ 2187834 w 2635237"/>
              <a:gd name="connsiteY14" fmla="*/ 1476579 h 1521087"/>
              <a:gd name="connsiteX15" fmla="*/ 2122520 w 2635237"/>
              <a:gd name="connsiteY15" fmla="*/ 1463516 h 1521087"/>
              <a:gd name="connsiteX16" fmla="*/ 2053940 w 2635237"/>
              <a:gd name="connsiteY16" fmla="*/ 1466782 h 1521087"/>
              <a:gd name="connsiteX17" fmla="*/ 2011485 w 2635237"/>
              <a:gd name="connsiteY17" fmla="*/ 1479845 h 1521087"/>
              <a:gd name="connsiteX18" fmla="*/ 1975562 w 2635237"/>
              <a:gd name="connsiteY18" fmla="*/ 1499439 h 1521087"/>
              <a:gd name="connsiteX19" fmla="*/ 1933017 w 2635237"/>
              <a:gd name="connsiteY19" fmla="*/ 1515677 h 1521087"/>
              <a:gd name="connsiteX20" fmla="*/ 1880675 w 2635237"/>
              <a:gd name="connsiteY20" fmla="*/ 1519305 h 1521087"/>
              <a:gd name="connsiteX21" fmla="*/ 1802480 w 2635237"/>
              <a:gd name="connsiteY21" fmla="*/ 1489302 h 1521087"/>
              <a:gd name="connsiteX22" fmla="*/ 1733900 w 2635237"/>
              <a:gd name="connsiteY22" fmla="*/ 1447187 h 1521087"/>
              <a:gd name="connsiteX23" fmla="*/ 1671851 w 2635237"/>
              <a:gd name="connsiteY23" fmla="*/ 1404733 h 1521087"/>
              <a:gd name="connsiteX24" fmla="*/ 1587010 w 2635237"/>
              <a:gd name="connsiteY24" fmla="*/ 1365817 h 1521087"/>
              <a:gd name="connsiteX25" fmla="*/ 1479174 w 2635237"/>
              <a:gd name="connsiteY25" fmla="*/ 1355747 h 1521087"/>
              <a:gd name="connsiteX26" fmla="*/ 1400797 w 2635237"/>
              <a:gd name="connsiteY26" fmla="*/ 1355747 h 1521087"/>
              <a:gd name="connsiteX27" fmla="*/ 1309357 w 2635237"/>
              <a:gd name="connsiteY27" fmla="*/ 1342685 h 1521087"/>
              <a:gd name="connsiteX28" fmla="*/ 1227714 w 2635237"/>
              <a:gd name="connsiteY28" fmla="*/ 1329622 h 1521087"/>
              <a:gd name="connsiteX29" fmla="*/ 1105386 w 2635237"/>
              <a:gd name="connsiteY29" fmla="*/ 1295195 h 1521087"/>
              <a:gd name="connsiteX30" fmla="*/ 969722 w 2635237"/>
              <a:gd name="connsiteY30" fmla="*/ 1257776 h 1521087"/>
              <a:gd name="connsiteX31" fmla="*/ 856920 w 2635237"/>
              <a:gd name="connsiteY31" fmla="*/ 1221581 h 1521087"/>
              <a:gd name="connsiteX32" fmla="*/ 754185 w 2635237"/>
              <a:gd name="connsiteY32" fmla="*/ 1189196 h 1521087"/>
              <a:gd name="connsiteX33" fmla="*/ 662745 w 2635237"/>
              <a:gd name="connsiteY33" fmla="*/ 1159805 h 1521087"/>
              <a:gd name="connsiteX34" fmla="*/ 560351 w 2635237"/>
              <a:gd name="connsiteY34" fmla="*/ 1134291 h 1521087"/>
              <a:gd name="connsiteX35" fmla="*/ 457005 w 2635237"/>
              <a:gd name="connsiteY35" fmla="*/ 1123882 h 1521087"/>
              <a:gd name="connsiteX36" fmla="*/ 378628 w 2635237"/>
              <a:gd name="connsiteY36" fmla="*/ 1117350 h 1521087"/>
              <a:gd name="connsiteX37" fmla="*/ 251877 w 2635237"/>
              <a:gd name="connsiteY37" fmla="*/ 1082312 h 1521087"/>
              <a:gd name="connsiteX38" fmla="*/ 176154 w 2635237"/>
              <a:gd name="connsiteY38" fmla="*/ 1044007 h 1521087"/>
              <a:gd name="connsiteX39" fmla="*/ 104648 w 2635237"/>
              <a:gd name="connsiteY39" fmla="*/ 975496 h 1521087"/>
              <a:gd name="connsiteX40" fmla="*/ 60017 w 2635237"/>
              <a:gd name="connsiteY40" fmla="*/ 916985 h 1521087"/>
              <a:gd name="connsiteX41" fmla="*/ 23821 w 2635237"/>
              <a:gd name="connsiteY41" fmla="*/ 827927 h 1521087"/>
              <a:gd name="connsiteX42" fmla="*/ 2458 w 2635237"/>
              <a:gd name="connsiteY42" fmla="*/ 728730 h 1521087"/>
              <a:gd name="connsiteX43" fmla="*/ 10215 w 2635237"/>
              <a:gd name="connsiteY43" fmla="*/ 617696 h 1521087"/>
              <a:gd name="connsiteX44" fmla="*/ 57431 w 2635237"/>
              <a:gd name="connsiteY44" fmla="*/ 510472 h 1521087"/>
              <a:gd name="connsiteX45" fmla="*/ 113493 w 2635237"/>
              <a:gd name="connsiteY45" fmla="*/ 454410 h 1521087"/>
              <a:gd name="connsiteX46" fmla="*/ 221874 w 2635237"/>
              <a:gd name="connsiteY46" fmla="*/ 376033 h 1521087"/>
              <a:gd name="connsiteX47" fmla="*/ 368831 w 2635237"/>
              <a:gd name="connsiteY47" fmla="*/ 307453 h 1521087"/>
              <a:gd name="connsiteX48" fmla="*/ 525585 w 2635237"/>
              <a:gd name="connsiteY48" fmla="*/ 261733 h 1521087"/>
              <a:gd name="connsiteX49" fmla="*/ 649682 w 2635237"/>
              <a:gd name="connsiteY49" fmla="*/ 229689 h 1521087"/>
              <a:gd name="connsiteX50" fmla="*/ 795755 w 2635237"/>
              <a:gd name="connsiteY50" fmla="*/ 194649 h 1521087"/>
              <a:gd name="connsiteX51" fmla="*/ 953394 w 2635237"/>
              <a:gd name="connsiteY51" fmla="*/ 160496 h 1521087"/>
              <a:gd name="connsiteX52" fmla="*/ 1144982 w 2635237"/>
              <a:gd name="connsiteY52" fmla="*/ 109674 h 1521087"/>
              <a:gd name="connsiteX53" fmla="*/ 1397531 w 2635237"/>
              <a:gd name="connsiteY53" fmla="*/ 42930 h 1521087"/>
              <a:gd name="connsiteX54" fmla="*/ 1547754 w 2635237"/>
              <a:gd name="connsiteY54" fmla="*/ 12043 h 1521087"/>
              <a:gd name="connsiteX55" fmla="*/ 1657042 w 2635237"/>
              <a:gd name="connsiteY55" fmla="*/ 567 h 1521087"/>
              <a:gd name="connsiteX56" fmla="*/ 1769822 w 2635237"/>
              <a:gd name="connsiteY56" fmla="*/ 13267 h 1521087"/>
              <a:gd name="connsiteX57" fmla="*/ 1876163 w 2635237"/>
              <a:gd name="connsiteY57" fmla="*/ 65518 h 1521087"/>
              <a:gd name="connsiteX58" fmla="*/ 1975903 w 2635237"/>
              <a:gd name="connsiteY58" fmla="*/ 144780 h 1521087"/>
              <a:gd name="connsiteX59" fmla="*/ 2070881 w 2635237"/>
              <a:gd name="connsiteY59" fmla="*/ 222545 h 1521087"/>
              <a:gd name="connsiteX60" fmla="*/ 2155177 w 2635237"/>
              <a:gd name="connsiteY60" fmla="*/ 287859 h 1521087"/>
              <a:gd name="connsiteX61" fmla="*/ 2191100 w 2635237"/>
              <a:gd name="connsiteY61" fmla="*/ 333579 h 1521087"/>
              <a:gd name="connsiteX62" fmla="*/ 2210331 w 2635237"/>
              <a:gd name="connsiteY62" fmla="*/ 392090 h 1521087"/>
              <a:gd name="connsiteX63" fmla="*/ 2165155 w 2635237"/>
              <a:gd name="connsiteY63" fmla="*/ 463663 h 1521087"/>
              <a:gd name="connsiteX64" fmla="*/ 2062240 w 2635237"/>
              <a:gd name="connsiteY64" fmla="*/ 493327 h 1521087"/>
              <a:gd name="connsiteX65" fmla="*/ 1937259 w 2635237"/>
              <a:gd name="connsiteY65" fmla="*/ 495096 h 1521087"/>
              <a:gd name="connsiteX66" fmla="*/ 1857997 w 2635237"/>
              <a:gd name="connsiteY66" fmla="*/ 483802 h 1521087"/>
              <a:gd name="connsiteX67" fmla="*/ 1711040 w 2635237"/>
              <a:gd name="connsiteY67" fmla="*/ 460942 h 1521087"/>
              <a:gd name="connsiteX68" fmla="*/ 1570614 w 2635237"/>
              <a:gd name="connsiteY68" fmla="*/ 434816 h 1521087"/>
              <a:gd name="connsiteX69" fmla="*/ 1439985 w 2635237"/>
              <a:gd name="connsiteY69" fmla="*/ 415222 h 1521087"/>
              <a:gd name="connsiteX70" fmla="*/ 1325685 w 2635237"/>
              <a:gd name="connsiteY70" fmla="*/ 418487 h 1521087"/>
              <a:gd name="connsiteX71" fmla="*/ 1225061 w 2635237"/>
              <a:gd name="connsiteY71" fmla="*/ 443728 h 1521087"/>
              <a:gd name="connsiteX72" fmla="*/ 1139540 w 2635237"/>
              <a:gd name="connsiteY72" fmla="*/ 474005 h 1521087"/>
              <a:gd name="connsiteX73" fmla="*/ 1024695 w 2635237"/>
              <a:gd name="connsiteY73" fmla="*/ 519725 h 1521087"/>
              <a:gd name="connsiteX74" fmla="*/ 924002 w 2635237"/>
              <a:gd name="connsiteY74" fmla="*/ 556531 h 1521087"/>
              <a:gd name="connsiteX75" fmla="*/ 773168 w 2635237"/>
              <a:gd name="connsiteY75" fmla="*/ 579120 h 1521087"/>
              <a:gd name="connsiteX76" fmla="*/ 658051 w 2635237"/>
              <a:gd name="connsiteY76" fmla="*/ 581251 h 1521087"/>
              <a:gd name="connsiteX77" fmla="*/ 526220 w 2635237"/>
              <a:gd name="connsiteY77" fmla="*/ 582136 h 1521087"/>
              <a:gd name="connsiteX78" fmla="*/ 408110 w 2635237"/>
              <a:gd name="connsiteY78" fmla="*/ 571363 h 1521087"/>
              <a:gd name="connsiteX79" fmla="*/ 305535 w 2635237"/>
              <a:gd name="connsiteY79" fmla="*/ 559707 h 1521087"/>
              <a:gd name="connsiteX80" fmla="*/ 172888 w 2635237"/>
              <a:gd name="connsiteY80" fmla="*/ 549116 h 1521087"/>
              <a:gd name="connsiteX0" fmla="*/ 2635237 w 2635237"/>
              <a:gd name="connsiteY0" fmla="*/ 1016113 h 1521087"/>
              <a:gd name="connsiteX1" fmla="*/ 2625621 w 2635237"/>
              <a:gd name="connsiteY1" fmla="*/ 1071630 h 1521087"/>
              <a:gd name="connsiteX2" fmla="*/ 2626936 w 2635237"/>
              <a:gd name="connsiteY2" fmla="*/ 1129529 h 1521087"/>
              <a:gd name="connsiteX3" fmla="*/ 2625440 w 2635237"/>
              <a:gd name="connsiteY3" fmla="*/ 1176133 h 1521087"/>
              <a:gd name="connsiteX4" fmla="*/ 2621902 w 2635237"/>
              <a:gd name="connsiteY4" fmla="*/ 1231038 h 1521087"/>
              <a:gd name="connsiteX5" fmla="*/ 2589789 w 2635237"/>
              <a:gd name="connsiteY5" fmla="*/ 1280727 h 1521087"/>
              <a:gd name="connsiteX6" fmla="*/ 2560125 w 2635237"/>
              <a:gd name="connsiteY6" fmla="*/ 1316559 h 1521087"/>
              <a:gd name="connsiteX7" fmla="*/ 2504608 w 2635237"/>
              <a:gd name="connsiteY7" fmla="*/ 1326356 h 1521087"/>
              <a:gd name="connsiteX8" fmla="*/ 2452357 w 2635237"/>
              <a:gd name="connsiteY8" fmla="*/ 1329622 h 1521087"/>
              <a:gd name="connsiteX9" fmla="*/ 2406637 w 2635237"/>
              <a:gd name="connsiteY9" fmla="*/ 1329622 h 1521087"/>
              <a:gd name="connsiteX10" fmla="*/ 2351120 w 2635237"/>
              <a:gd name="connsiteY10" fmla="*/ 1342685 h 1521087"/>
              <a:gd name="connsiteX11" fmla="*/ 2302497 w 2635237"/>
              <a:gd name="connsiteY11" fmla="*/ 1372348 h 1521087"/>
              <a:gd name="connsiteX12" fmla="*/ 2285805 w 2635237"/>
              <a:gd name="connsiteY12" fmla="*/ 1411265 h 1521087"/>
              <a:gd name="connsiteX13" fmla="*/ 2246617 w 2635237"/>
              <a:gd name="connsiteY13" fmla="*/ 1453719 h 1521087"/>
              <a:gd name="connsiteX14" fmla="*/ 2187834 w 2635237"/>
              <a:gd name="connsiteY14" fmla="*/ 1476579 h 1521087"/>
              <a:gd name="connsiteX15" fmla="*/ 2122520 w 2635237"/>
              <a:gd name="connsiteY15" fmla="*/ 1463516 h 1521087"/>
              <a:gd name="connsiteX16" fmla="*/ 2053940 w 2635237"/>
              <a:gd name="connsiteY16" fmla="*/ 1466782 h 1521087"/>
              <a:gd name="connsiteX17" fmla="*/ 2011485 w 2635237"/>
              <a:gd name="connsiteY17" fmla="*/ 1479845 h 1521087"/>
              <a:gd name="connsiteX18" fmla="*/ 1975562 w 2635237"/>
              <a:gd name="connsiteY18" fmla="*/ 1499439 h 1521087"/>
              <a:gd name="connsiteX19" fmla="*/ 1933017 w 2635237"/>
              <a:gd name="connsiteY19" fmla="*/ 1515677 h 1521087"/>
              <a:gd name="connsiteX20" fmla="*/ 1880675 w 2635237"/>
              <a:gd name="connsiteY20" fmla="*/ 1519305 h 1521087"/>
              <a:gd name="connsiteX21" fmla="*/ 1802480 w 2635237"/>
              <a:gd name="connsiteY21" fmla="*/ 1489302 h 1521087"/>
              <a:gd name="connsiteX22" fmla="*/ 1733900 w 2635237"/>
              <a:gd name="connsiteY22" fmla="*/ 1447187 h 1521087"/>
              <a:gd name="connsiteX23" fmla="*/ 1671851 w 2635237"/>
              <a:gd name="connsiteY23" fmla="*/ 1404733 h 1521087"/>
              <a:gd name="connsiteX24" fmla="*/ 1587010 w 2635237"/>
              <a:gd name="connsiteY24" fmla="*/ 1365817 h 1521087"/>
              <a:gd name="connsiteX25" fmla="*/ 1479174 w 2635237"/>
              <a:gd name="connsiteY25" fmla="*/ 1355747 h 1521087"/>
              <a:gd name="connsiteX26" fmla="*/ 1400797 w 2635237"/>
              <a:gd name="connsiteY26" fmla="*/ 1355747 h 1521087"/>
              <a:gd name="connsiteX27" fmla="*/ 1309357 w 2635237"/>
              <a:gd name="connsiteY27" fmla="*/ 1342685 h 1521087"/>
              <a:gd name="connsiteX28" fmla="*/ 1227714 w 2635237"/>
              <a:gd name="connsiteY28" fmla="*/ 1329622 h 1521087"/>
              <a:gd name="connsiteX29" fmla="*/ 1105386 w 2635237"/>
              <a:gd name="connsiteY29" fmla="*/ 1295195 h 1521087"/>
              <a:gd name="connsiteX30" fmla="*/ 969722 w 2635237"/>
              <a:gd name="connsiteY30" fmla="*/ 1257776 h 1521087"/>
              <a:gd name="connsiteX31" fmla="*/ 856920 w 2635237"/>
              <a:gd name="connsiteY31" fmla="*/ 1221581 h 1521087"/>
              <a:gd name="connsiteX32" fmla="*/ 754185 w 2635237"/>
              <a:gd name="connsiteY32" fmla="*/ 1189196 h 1521087"/>
              <a:gd name="connsiteX33" fmla="*/ 662745 w 2635237"/>
              <a:gd name="connsiteY33" fmla="*/ 1159805 h 1521087"/>
              <a:gd name="connsiteX34" fmla="*/ 560351 w 2635237"/>
              <a:gd name="connsiteY34" fmla="*/ 1134291 h 1521087"/>
              <a:gd name="connsiteX35" fmla="*/ 457005 w 2635237"/>
              <a:gd name="connsiteY35" fmla="*/ 1123882 h 1521087"/>
              <a:gd name="connsiteX36" fmla="*/ 378628 w 2635237"/>
              <a:gd name="connsiteY36" fmla="*/ 1117350 h 1521087"/>
              <a:gd name="connsiteX37" fmla="*/ 251877 w 2635237"/>
              <a:gd name="connsiteY37" fmla="*/ 1082312 h 1521087"/>
              <a:gd name="connsiteX38" fmla="*/ 176154 w 2635237"/>
              <a:gd name="connsiteY38" fmla="*/ 1044007 h 1521087"/>
              <a:gd name="connsiteX39" fmla="*/ 104648 w 2635237"/>
              <a:gd name="connsiteY39" fmla="*/ 975496 h 1521087"/>
              <a:gd name="connsiteX40" fmla="*/ 60017 w 2635237"/>
              <a:gd name="connsiteY40" fmla="*/ 916985 h 1521087"/>
              <a:gd name="connsiteX41" fmla="*/ 23821 w 2635237"/>
              <a:gd name="connsiteY41" fmla="*/ 827927 h 1521087"/>
              <a:gd name="connsiteX42" fmla="*/ 2458 w 2635237"/>
              <a:gd name="connsiteY42" fmla="*/ 728730 h 1521087"/>
              <a:gd name="connsiteX43" fmla="*/ 10215 w 2635237"/>
              <a:gd name="connsiteY43" fmla="*/ 617696 h 1521087"/>
              <a:gd name="connsiteX44" fmla="*/ 57431 w 2635237"/>
              <a:gd name="connsiteY44" fmla="*/ 510472 h 1521087"/>
              <a:gd name="connsiteX45" fmla="*/ 113493 w 2635237"/>
              <a:gd name="connsiteY45" fmla="*/ 454410 h 1521087"/>
              <a:gd name="connsiteX46" fmla="*/ 221874 w 2635237"/>
              <a:gd name="connsiteY46" fmla="*/ 376033 h 1521087"/>
              <a:gd name="connsiteX47" fmla="*/ 368831 w 2635237"/>
              <a:gd name="connsiteY47" fmla="*/ 307453 h 1521087"/>
              <a:gd name="connsiteX48" fmla="*/ 525585 w 2635237"/>
              <a:gd name="connsiteY48" fmla="*/ 261733 h 1521087"/>
              <a:gd name="connsiteX49" fmla="*/ 649682 w 2635237"/>
              <a:gd name="connsiteY49" fmla="*/ 229689 h 1521087"/>
              <a:gd name="connsiteX50" fmla="*/ 795755 w 2635237"/>
              <a:gd name="connsiteY50" fmla="*/ 194649 h 1521087"/>
              <a:gd name="connsiteX51" fmla="*/ 953394 w 2635237"/>
              <a:gd name="connsiteY51" fmla="*/ 160496 h 1521087"/>
              <a:gd name="connsiteX52" fmla="*/ 1144982 w 2635237"/>
              <a:gd name="connsiteY52" fmla="*/ 109674 h 1521087"/>
              <a:gd name="connsiteX53" fmla="*/ 1397531 w 2635237"/>
              <a:gd name="connsiteY53" fmla="*/ 42930 h 1521087"/>
              <a:gd name="connsiteX54" fmla="*/ 1547754 w 2635237"/>
              <a:gd name="connsiteY54" fmla="*/ 12043 h 1521087"/>
              <a:gd name="connsiteX55" fmla="*/ 1657042 w 2635237"/>
              <a:gd name="connsiteY55" fmla="*/ 567 h 1521087"/>
              <a:gd name="connsiteX56" fmla="*/ 1769822 w 2635237"/>
              <a:gd name="connsiteY56" fmla="*/ 13267 h 1521087"/>
              <a:gd name="connsiteX57" fmla="*/ 1876163 w 2635237"/>
              <a:gd name="connsiteY57" fmla="*/ 65518 h 1521087"/>
              <a:gd name="connsiteX58" fmla="*/ 1975903 w 2635237"/>
              <a:gd name="connsiteY58" fmla="*/ 144780 h 1521087"/>
              <a:gd name="connsiteX59" fmla="*/ 2070881 w 2635237"/>
              <a:gd name="connsiteY59" fmla="*/ 222545 h 1521087"/>
              <a:gd name="connsiteX60" fmla="*/ 2155177 w 2635237"/>
              <a:gd name="connsiteY60" fmla="*/ 287859 h 1521087"/>
              <a:gd name="connsiteX61" fmla="*/ 2191100 w 2635237"/>
              <a:gd name="connsiteY61" fmla="*/ 333579 h 1521087"/>
              <a:gd name="connsiteX62" fmla="*/ 2210331 w 2635237"/>
              <a:gd name="connsiteY62" fmla="*/ 392090 h 1521087"/>
              <a:gd name="connsiteX63" fmla="*/ 2165155 w 2635237"/>
              <a:gd name="connsiteY63" fmla="*/ 463663 h 1521087"/>
              <a:gd name="connsiteX64" fmla="*/ 2062240 w 2635237"/>
              <a:gd name="connsiteY64" fmla="*/ 493327 h 1521087"/>
              <a:gd name="connsiteX65" fmla="*/ 1937259 w 2635237"/>
              <a:gd name="connsiteY65" fmla="*/ 495096 h 1521087"/>
              <a:gd name="connsiteX66" fmla="*/ 1857997 w 2635237"/>
              <a:gd name="connsiteY66" fmla="*/ 483802 h 1521087"/>
              <a:gd name="connsiteX67" fmla="*/ 1711040 w 2635237"/>
              <a:gd name="connsiteY67" fmla="*/ 460942 h 1521087"/>
              <a:gd name="connsiteX68" fmla="*/ 1570614 w 2635237"/>
              <a:gd name="connsiteY68" fmla="*/ 434816 h 1521087"/>
              <a:gd name="connsiteX69" fmla="*/ 1439985 w 2635237"/>
              <a:gd name="connsiteY69" fmla="*/ 415222 h 1521087"/>
              <a:gd name="connsiteX70" fmla="*/ 1325685 w 2635237"/>
              <a:gd name="connsiteY70" fmla="*/ 418487 h 1521087"/>
              <a:gd name="connsiteX71" fmla="*/ 1225061 w 2635237"/>
              <a:gd name="connsiteY71" fmla="*/ 443728 h 1521087"/>
              <a:gd name="connsiteX72" fmla="*/ 1139540 w 2635237"/>
              <a:gd name="connsiteY72" fmla="*/ 474005 h 1521087"/>
              <a:gd name="connsiteX73" fmla="*/ 1024695 w 2635237"/>
              <a:gd name="connsiteY73" fmla="*/ 519725 h 1521087"/>
              <a:gd name="connsiteX74" fmla="*/ 924002 w 2635237"/>
              <a:gd name="connsiteY74" fmla="*/ 556531 h 1521087"/>
              <a:gd name="connsiteX75" fmla="*/ 773168 w 2635237"/>
              <a:gd name="connsiteY75" fmla="*/ 579120 h 1521087"/>
              <a:gd name="connsiteX76" fmla="*/ 658051 w 2635237"/>
              <a:gd name="connsiteY76" fmla="*/ 581251 h 1521087"/>
              <a:gd name="connsiteX77" fmla="*/ 526220 w 2635237"/>
              <a:gd name="connsiteY77" fmla="*/ 582136 h 1521087"/>
              <a:gd name="connsiteX78" fmla="*/ 408110 w 2635237"/>
              <a:gd name="connsiteY78" fmla="*/ 571363 h 1521087"/>
              <a:gd name="connsiteX79" fmla="*/ 305535 w 2635237"/>
              <a:gd name="connsiteY79" fmla="*/ 559707 h 1521087"/>
              <a:gd name="connsiteX80" fmla="*/ 172888 w 2635237"/>
              <a:gd name="connsiteY80" fmla="*/ 549116 h 1521087"/>
              <a:gd name="connsiteX0" fmla="*/ 2635237 w 2635237"/>
              <a:gd name="connsiteY0" fmla="*/ 1016113 h 1521087"/>
              <a:gd name="connsiteX1" fmla="*/ 2625621 w 2635237"/>
              <a:gd name="connsiteY1" fmla="*/ 1071630 h 1521087"/>
              <a:gd name="connsiteX2" fmla="*/ 2626936 w 2635237"/>
              <a:gd name="connsiteY2" fmla="*/ 1129529 h 1521087"/>
              <a:gd name="connsiteX3" fmla="*/ 2625440 w 2635237"/>
              <a:gd name="connsiteY3" fmla="*/ 1176133 h 1521087"/>
              <a:gd name="connsiteX4" fmla="*/ 2621902 w 2635237"/>
              <a:gd name="connsiteY4" fmla="*/ 1231038 h 1521087"/>
              <a:gd name="connsiteX5" fmla="*/ 2589789 w 2635237"/>
              <a:gd name="connsiteY5" fmla="*/ 1280727 h 1521087"/>
              <a:gd name="connsiteX6" fmla="*/ 2560125 w 2635237"/>
              <a:gd name="connsiteY6" fmla="*/ 1316559 h 1521087"/>
              <a:gd name="connsiteX7" fmla="*/ 2504608 w 2635237"/>
              <a:gd name="connsiteY7" fmla="*/ 1326356 h 1521087"/>
              <a:gd name="connsiteX8" fmla="*/ 2452357 w 2635237"/>
              <a:gd name="connsiteY8" fmla="*/ 1329622 h 1521087"/>
              <a:gd name="connsiteX9" fmla="*/ 2406637 w 2635237"/>
              <a:gd name="connsiteY9" fmla="*/ 1329622 h 1521087"/>
              <a:gd name="connsiteX10" fmla="*/ 2351120 w 2635237"/>
              <a:gd name="connsiteY10" fmla="*/ 1342685 h 1521087"/>
              <a:gd name="connsiteX11" fmla="*/ 2302497 w 2635237"/>
              <a:gd name="connsiteY11" fmla="*/ 1372348 h 1521087"/>
              <a:gd name="connsiteX12" fmla="*/ 2285805 w 2635237"/>
              <a:gd name="connsiteY12" fmla="*/ 1411265 h 1521087"/>
              <a:gd name="connsiteX13" fmla="*/ 2246617 w 2635237"/>
              <a:gd name="connsiteY13" fmla="*/ 1453719 h 1521087"/>
              <a:gd name="connsiteX14" fmla="*/ 2187834 w 2635237"/>
              <a:gd name="connsiteY14" fmla="*/ 1476579 h 1521087"/>
              <a:gd name="connsiteX15" fmla="*/ 2122520 w 2635237"/>
              <a:gd name="connsiteY15" fmla="*/ 1463516 h 1521087"/>
              <a:gd name="connsiteX16" fmla="*/ 2053940 w 2635237"/>
              <a:gd name="connsiteY16" fmla="*/ 1466782 h 1521087"/>
              <a:gd name="connsiteX17" fmla="*/ 2011485 w 2635237"/>
              <a:gd name="connsiteY17" fmla="*/ 1479845 h 1521087"/>
              <a:gd name="connsiteX18" fmla="*/ 1975562 w 2635237"/>
              <a:gd name="connsiteY18" fmla="*/ 1499439 h 1521087"/>
              <a:gd name="connsiteX19" fmla="*/ 1933017 w 2635237"/>
              <a:gd name="connsiteY19" fmla="*/ 1515677 h 1521087"/>
              <a:gd name="connsiteX20" fmla="*/ 1880675 w 2635237"/>
              <a:gd name="connsiteY20" fmla="*/ 1519305 h 1521087"/>
              <a:gd name="connsiteX21" fmla="*/ 1802480 w 2635237"/>
              <a:gd name="connsiteY21" fmla="*/ 1489302 h 1521087"/>
              <a:gd name="connsiteX22" fmla="*/ 1733900 w 2635237"/>
              <a:gd name="connsiteY22" fmla="*/ 1447187 h 1521087"/>
              <a:gd name="connsiteX23" fmla="*/ 1671851 w 2635237"/>
              <a:gd name="connsiteY23" fmla="*/ 1404733 h 1521087"/>
              <a:gd name="connsiteX24" fmla="*/ 1587010 w 2635237"/>
              <a:gd name="connsiteY24" fmla="*/ 1365817 h 1521087"/>
              <a:gd name="connsiteX25" fmla="*/ 1479174 w 2635237"/>
              <a:gd name="connsiteY25" fmla="*/ 1355747 h 1521087"/>
              <a:gd name="connsiteX26" fmla="*/ 1400797 w 2635237"/>
              <a:gd name="connsiteY26" fmla="*/ 1355747 h 1521087"/>
              <a:gd name="connsiteX27" fmla="*/ 1309357 w 2635237"/>
              <a:gd name="connsiteY27" fmla="*/ 1342685 h 1521087"/>
              <a:gd name="connsiteX28" fmla="*/ 1227714 w 2635237"/>
              <a:gd name="connsiteY28" fmla="*/ 1329622 h 1521087"/>
              <a:gd name="connsiteX29" fmla="*/ 1105386 w 2635237"/>
              <a:gd name="connsiteY29" fmla="*/ 1295195 h 1521087"/>
              <a:gd name="connsiteX30" fmla="*/ 969722 w 2635237"/>
              <a:gd name="connsiteY30" fmla="*/ 1257776 h 1521087"/>
              <a:gd name="connsiteX31" fmla="*/ 856920 w 2635237"/>
              <a:gd name="connsiteY31" fmla="*/ 1221581 h 1521087"/>
              <a:gd name="connsiteX32" fmla="*/ 754185 w 2635237"/>
              <a:gd name="connsiteY32" fmla="*/ 1189196 h 1521087"/>
              <a:gd name="connsiteX33" fmla="*/ 662745 w 2635237"/>
              <a:gd name="connsiteY33" fmla="*/ 1159805 h 1521087"/>
              <a:gd name="connsiteX34" fmla="*/ 560351 w 2635237"/>
              <a:gd name="connsiteY34" fmla="*/ 1134291 h 1521087"/>
              <a:gd name="connsiteX35" fmla="*/ 457005 w 2635237"/>
              <a:gd name="connsiteY35" fmla="*/ 1123882 h 1521087"/>
              <a:gd name="connsiteX36" fmla="*/ 378628 w 2635237"/>
              <a:gd name="connsiteY36" fmla="*/ 1117350 h 1521087"/>
              <a:gd name="connsiteX37" fmla="*/ 251877 w 2635237"/>
              <a:gd name="connsiteY37" fmla="*/ 1082312 h 1521087"/>
              <a:gd name="connsiteX38" fmla="*/ 176154 w 2635237"/>
              <a:gd name="connsiteY38" fmla="*/ 1044007 h 1521087"/>
              <a:gd name="connsiteX39" fmla="*/ 104648 w 2635237"/>
              <a:gd name="connsiteY39" fmla="*/ 975496 h 1521087"/>
              <a:gd name="connsiteX40" fmla="*/ 60017 w 2635237"/>
              <a:gd name="connsiteY40" fmla="*/ 916985 h 1521087"/>
              <a:gd name="connsiteX41" fmla="*/ 23821 w 2635237"/>
              <a:gd name="connsiteY41" fmla="*/ 827927 h 1521087"/>
              <a:gd name="connsiteX42" fmla="*/ 2458 w 2635237"/>
              <a:gd name="connsiteY42" fmla="*/ 728730 h 1521087"/>
              <a:gd name="connsiteX43" fmla="*/ 10215 w 2635237"/>
              <a:gd name="connsiteY43" fmla="*/ 617696 h 1521087"/>
              <a:gd name="connsiteX44" fmla="*/ 57431 w 2635237"/>
              <a:gd name="connsiteY44" fmla="*/ 510472 h 1521087"/>
              <a:gd name="connsiteX45" fmla="*/ 113493 w 2635237"/>
              <a:gd name="connsiteY45" fmla="*/ 454410 h 1521087"/>
              <a:gd name="connsiteX46" fmla="*/ 221874 w 2635237"/>
              <a:gd name="connsiteY46" fmla="*/ 376033 h 1521087"/>
              <a:gd name="connsiteX47" fmla="*/ 368831 w 2635237"/>
              <a:gd name="connsiteY47" fmla="*/ 307453 h 1521087"/>
              <a:gd name="connsiteX48" fmla="*/ 525585 w 2635237"/>
              <a:gd name="connsiteY48" fmla="*/ 261733 h 1521087"/>
              <a:gd name="connsiteX49" fmla="*/ 649682 w 2635237"/>
              <a:gd name="connsiteY49" fmla="*/ 229689 h 1521087"/>
              <a:gd name="connsiteX50" fmla="*/ 795755 w 2635237"/>
              <a:gd name="connsiteY50" fmla="*/ 194649 h 1521087"/>
              <a:gd name="connsiteX51" fmla="*/ 953394 w 2635237"/>
              <a:gd name="connsiteY51" fmla="*/ 160496 h 1521087"/>
              <a:gd name="connsiteX52" fmla="*/ 1144982 w 2635237"/>
              <a:gd name="connsiteY52" fmla="*/ 109674 h 1521087"/>
              <a:gd name="connsiteX53" fmla="*/ 1397531 w 2635237"/>
              <a:gd name="connsiteY53" fmla="*/ 42930 h 1521087"/>
              <a:gd name="connsiteX54" fmla="*/ 1547754 w 2635237"/>
              <a:gd name="connsiteY54" fmla="*/ 12043 h 1521087"/>
              <a:gd name="connsiteX55" fmla="*/ 1657042 w 2635237"/>
              <a:gd name="connsiteY55" fmla="*/ 567 h 1521087"/>
              <a:gd name="connsiteX56" fmla="*/ 1769822 w 2635237"/>
              <a:gd name="connsiteY56" fmla="*/ 13267 h 1521087"/>
              <a:gd name="connsiteX57" fmla="*/ 1876163 w 2635237"/>
              <a:gd name="connsiteY57" fmla="*/ 65518 h 1521087"/>
              <a:gd name="connsiteX58" fmla="*/ 1975903 w 2635237"/>
              <a:gd name="connsiteY58" fmla="*/ 144780 h 1521087"/>
              <a:gd name="connsiteX59" fmla="*/ 2070881 w 2635237"/>
              <a:gd name="connsiteY59" fmla="*/ 222545 h 1521087"/>
              <a:gd name="connsiteX60" fmla="*/ 2155177 w 2635237"/>
              <a:gd name="connsiteY60" fmla="*/ 287859 h 1521087"/>
              <a:gd name="connsiteX61" fmla="*/ 2191100 w 2635237"/>
              <a:gd name="connsiteY61" fmla="*/ 333579 h 1521087"/>
              <a:gd name="connsiteX62" fmla="*/ 2210331 w 2635237"/>
              <a:gd name="connsiteY62" fmla="*/ 392090 h 1521087"/>
              <a:gd name="connsiteX63" fmla="*/ 2165155 w 2635237"/>
              <a:gd name="connsiteY63" fmla="*/ 463663 h 1521087"/>
              <a:gd name="connsiteX64" fmla="*/ 2062240 w 2635237"/>
              <a:gd name="connsiteY64" fmla="*/ 493327 h 1521087"/>
              <a:gd name="connsiteX65" fmla="*/ 1937259 w 2635237"/>
              <a:gd name="connsiteY65" fmla="*/ 495096 h 1521087"/>
              <a:gd name="connsiteX66" fmla="*/ 1857997 w 2635237"/>
              <a:gd name="connsiteY66" fmla="*/ 483802 h 1521087"/>
              <a:gd name="connsiteX67" fmla="*/ 1711040 w 2635237"/>
              <a:gd name="connsiteY67" fmla="*/ 460942 h 1521087"/>
              <a:gd name="connsiteX68" fmla="*/ 1570614 w 2635237"/>
              <a:gd name="connsiteY68" fmla="*/ 434816 h 1521087"/>
              <a:gd name="connsiteX69" fmla="*/ 1439985 w 2635237"/>
              <a:gd name="connsiteY69" fmla="*/ 415222 h 1521087"/>
              <a:gd name="connsiteX70" fmla="*/ 1325685 w 2635237"/>
              <a:gd name="connsiteY70" fmla="*/ 418487 h 1521087"/>
              <a:gd name="connsiteX71" fmla="*/ 1225061 w 2635237"/>
              <a:gd name="connsiteY71" fmla="*/ 443728 h 1521087"/>
              <a:gd name="connsiteX72" fmla="*/ 1139540 w 2635237"/>
              <a:gd name="connsiteY72" fmla="*/ 474005 h 1521087"/>
              <a:gd name="connsiteX73" fmla="*/ 1024695 w 2635237"/>
              <a:gd name="connsiteY73" fmla="*/ 519725 h 1521087"/>
              <a:gd name="connsiteX74" fmla="*/ 924002 w 2635237"/>
              <a:gd name="connsiteY74" fmla="*/ 556531 h 1521087"/>
              <a:gd name="connsiteX75" fmla="*/ 773168 w 2635237"/>
              <a:gd name="connsiteY75" fmla="*/ 579120 h 1521087"/>
              <a:gd name="connsiteX76" fmla="*/ 658051 w 2635237"/>
              <a:gd name="connsiteY76" fmla="*/ 581251 h 1521087"/>
              <a:gd name="connsiteX77" fmla="*/ 526220 w 2635237"/>
              <a:gd name="connsiteY77" fmla="*/ 582136 h 1521087"/>
              <a:gd name="connsiteX78" fmla="*/ 408110 w 2635237"/>
              <a:gd name="connsiteY78" fmla="*/ 571363 h 1521087"/>
              <a:gd name="connsiteX79" fmla="*/ 305535 w 2635237"/>
              <a:gd name="connsiteY79" fmla="*/ 559707 h 1521087"/>
              <a:gd name="connsiteX80" fmla="*/ 172888 w 2635237"/>
              <a:gd name="connsiteY80" fmla="*/ 549116 h 1521087"/>
              <a:gd name="connsiteX0" fmla="*/ 2635237 w 2635237"/>
              <a:gd name="connsiteY0" fmla="*/ 1016113 h 1521087"/>
              <a:gd name="connsiteX1" fmla="*/ 2625621 w 2635237"/>
              <a:gd name="connsiteY1" fmla="*/ 1071630 h 1521087"/>
              <a:gd name="connsiteX2" fmla="*/ 2626936 w 2635237"/>
              <a:gd name="connsiteY2" fmla="*/ 1129529 h 1521087"/>
              <a:gd name="connsiteX3" fmla="*/ 2625440 w 2635237"/>
              <a:gd name="connsiteY3" fmla="*/ 1176133 h 1521087"/>
              <a:gd name="connsiteX4" fmla="*/ 2621902 w 2635237"/>
              <a:gd name="connsiteY4" fmla="*/ 1231038 h 1521087"/>
              <a:gd name="connsiteX5" fmla="*/ 2589789 w 2635237"/>
              <a:gd name="connsiteY5" fmla="*/ 1280727 h 1521087"/>
              <a:gd name="connsiteX6" fmla="*/ 2560125 w 2635237"/>
              <a:gd name="connsiteY6" fmla="*/ 1316559 h 1521087"/>
              <a:gd name="connsiteX7" fmla="*/ 2504608 w 2635237"/>
              <a:gd name="connsiteY7" fmla="*/ 1326356 h 1521087"/>
              <a:gd name="connsiteX8" fmla="*/ 2452357 w 2635237"/>
              <a:gd name="connsiteY8" fmla="*/ 1329622 h 1521087"/>
              <a:gd name="connsiteX9" fmla="*/ 2406637 w 2635237"/>
              <a:gd name="connsiteY9" fmla="*/ 1329622 h 1521087"/>
              <a:gd name="connsiteX10" fmla="*/ 2351120 w 2635237"/>
              <a:gd name="connsiteY10" fmla="*/ 1342685 h 1521087"/>
              <a:gd name="connsiteX11" fmla="*/ 2302497 w 2635237"/>
              <a:gd name="connsiteY11" fmla="*/ 1372348 h 1521087"/>
              <a:gd name="connsiteX12" fmla="*/ 2285805 w 2635237"/>
              <a:gd name="connsiteY12" fmla="*/ 1411265 h 1521087"/>
              <a:gd name="connsiteX13" fmla="*/ 2246617 w 2635237"/>
              <a:gd name="connsiteY13" fmla="*/ 1453719 h 1521087"/>
              <a:gd name="connsiteX14" fmla="*/ 2187834 w 2635237"/>
              <a:gd name="connsiteY14" fmla="*/ 1476579 h 1521087"/>
              <a:gd name="connsiteX15" fmla="*/ 2122520 w 2635237"/>
              <a:gd name="connsiteY15" fmla="*/ 1463516 h 1521087"/>
              <a:gd name="connsiteX16" fmla="*/ 2053940 w 2635237"/>
              <a:gd name="connsiteY16" fmla="*/ 1466782 h 1521087"/>
              <a:gd name="connsiteX17" fmla="*/ 2011485 w 2635237"/>
              <a:gd name="connsiteY17" fmla="*/ 1479845 h 1521087"/>
              <a:gd name="connsiteX18" fmla="*/ 1975562 w 2635237"/>
              <a:gd name="connsiteY18" fmla="*/ 1499439 h 1521087"/>
              <a:gd name="connsiteX19" fmla="*/ 1933017 w 2635237"/>
              <a:gd name="connsiteY19" fmla="*/ 1515677 h 1521087"/>
              <a:gd name="connsiteX20" fmla="*/ 1880675 w 2635237"/>
              <a:gd name="connsiteY20" fmla="*/ 1519305 h 1521087"/>
              <a:gd name="connsiteX21" fmla="*/ 1802480 w 2635237"/>
              <a:gd name="connsiteY21" fmla="*/ 1489302 h 1521087"/>
              <a:gd name="connsiteX22" fmla="*/ 1733900 w 2635237"/>
              <a:gd name="connsiteY22" fmla="*/ 1447187 h 1521087"/>
              <a:gd name="connsiteX23" fmla="*/ 1671851 w 2635237"/>
              <a:gd name="connsiteY23" fmla="*/ 1404733 h 1521087"/>
              <a:gd name="connsiteX24" fmla="*/ 1587010 w 2635237"/>
              <a:gd name="connsiteY24" fmla="*/ 1365817 h 1521087"/>
              <a:gd name="connsiteX25" fmla="*/ 1479174 w 2635237"/>
              <a:gd name="connsiteY25" fmla="*/ 1355747 h 1521087"/>
              <a:gd name="connsiteX26" fmla="*/ 1400797 w 2635237"/>
              <a:gd name="connsiteY26" fmla="*/ 1355747 h 1521087"/>
              <a:gd name="connsiteX27" fmla="*/ 1309357 w 2635237"/>
              <a:gd name="connsiteY27" fmla="*/ 1342685 h 1521087"/>
              <a:gd name="connsiteX28" fmla="*/ 1227714 w 2635237"/>
              <a:gd name="connsiteY28" fmla="*/ 1329622 h 1521087"/>
              <a:gd name="connsiteX29" fmla="*/ 1105386 w 2635237"/>
              <a:gd name="connsiteY29" fmla="*/ 1295195 h 1521087"/>
              <a:gd name="connsiteX30" fmla="*/ 969722 w 2635237"/>
              <a:gd name="connsiteY30" fmla="*/ 1257776 h 1521087"/>
              <a:gd name="connsiteX31" fmla="*/ 856920 w 2635237"/>
              <a:gd name="connsiteY31" fmla="*/ 1221581 h 1521087"/>
              <a:gd name="connsiteX32" fmla="*/ 754185 w 2635237"/>
              <a:gd name="connsiteY32" fmla="*/ 1189196 h 1521087"/>
              <a:gd name="connsiteX33" fmla="*/ 662745 w 2635237"/>
              <a:gd name="connsiteY33" fmla="*/ 1159805 h 1521087"/>
              <a:gd name="connsiteX34" fmla="*/ 560351 w 2635237"/>
              <a:gd name="connsiteY34" fmla="*/ 1134291 h 1521087"/>
              <a:gd name="connsiteX35" fmla="*/ 457005 w 2635237"/>
              <a:gd name="connsiteY35" fmla="*/ 1123882 h 1521087"/>
              <a:gd name="connsiteX36" fmla="*/ 378628 w 2635237"/>
              <a:gd name="connsiteY36" fmla="*/ 1117350 h 1521087"/>
              <a:gd name="connsiteX37" fmla="*/ 251877 w 2635237"/>
              <a:gd name="connsiteY37" fmla="*/ 1082312 h 1521087"/>
              <a:gd name="connsiteX38" fmla="*/ 176154 w 2635237"/>
              <a:gd name="connsiteY38" fmla="*/ 1044007 h 1521087"/>
              <a:gd name="connsiteX39" fmla="*/ 104648 w 2635237"/>
              <a:gd name="connsiteY39" fmla="*/ 975496 h 1521087"/>
              <a:gd name="connsiteX40" fmla="*/ 60017 w 2635237"/>
              <a:gd name="connsiteY40" fmla="*/ 916985 h 1521087"/>
              <a:gd name="connsiteX41" fmla="*/ 23821 w 2635237"/>
              <a:gd name="connsiteY41" fmla="*/ 827927 h 1521087"/>
              <a:gd name="connsiteX42" fmla="*/ 2458 w 2635237"/>
              <a:gd name="connsiteY42" fmla="*/ 728730 h 1521087"/>
              <a:gd name="connsiteX43" fmla="*/ 10215 w 2635237"/>
              <a:gd name="connsiteY43" fmla="*/ 617696 h 1521087"/>
              <a:gd name="connsiteX44" fmla="*/ 57431 w 2635237"/>
              <a:gd name="connsiteY44" fmla="*/ 510472 h 1521087"/>
              <a:gd name="connsiteX45" fmla="*/ 113493 w 2635237"/>
              <a:gd name="connsiteY45" fmla="*/ 454410 h 1521087"/>
              <a:gd name="connsiteX46" fmla="*/ 221874 w 2635237"/>
              <a:gd name="connsiteY46" fmla="*/ 376033 h 1521087"/>
              <a:gd name="connsiteX47" fmla="*/ 368831 w 2635237"/>
              <a:gd name="connsiteY47" fmla="*/ 307453 h 1521087"/>
              <a:gd name="connsiteX48" fmla="*/ 525585 w 2635237"/>
              <a:gd name="connsiteY48" fmla="*/ 261733 h 1521087"/>
              <a:gd name="connsiteX49" fmla="*/ 649682 w 2635237"/>
              <a:gd name="connsiteY49" fmla="*/ 229689 h 1521087"/>
              <a:gd name="connsiteX50" fmla="*/ 795755 w 2635237"/>
              <a:gd name="connsiteY50" fmla="*/ 194649 h 1521087"/>
              <a:gd name="connsiteX51" fmla="*/ 953394 w 2635237"/>
              <a:gd name="connsiteY51" fmla="*/ 160496 h 1521087"/>
              <a:gd name="connsiteX52" fmla="*/ 1144982 w 2635237"/>
              <a:gd name="connsiteY52" fmla="*/ 109674 h 1521087"/>
              <a:gd name="connsiteX53" fmla="*/ 1397531 w 2635237"/>
              <a:gd name="connsiteY53" fmla="*/ 42930 h 1521087"/>
              <a:gd name="connsiteX54" fmla="*/ 1547754 w 2635237"/>
              <a:gd name="connsiteY54" fmla="*/ 12043 h 1521087"/>
              <a:gd name="connsiteX55" fmla="*/ 1657042 w 2635237"/>
              <a:gd name="connsiteY55" fmla="*/ 567 h 1521087"/>
              <a:gd name="connsiteX56" fmla="*/ 1769822 w 2635237"/>
              <a:gd name="connsiteY56" fmla="*/ 13267 h 1521087"/>
              <a:gd name="connsiteX57" fmla="*/ 1876163 w 2635237"/>
              <a:gd name="connsiteY57" fmla="*/ 65518 h 1521087"/>
              <a:gd name="connsiteX58" fmla="*/ 1975903 w 2635237"/>
              <a:gd name="connsiteY58" fmla="*/ 144780 h 1521087"/>
              <a:gd name="connsiteX59" fmla="*/ 2070881 w 2635237"/>
              <a:gd name="connsiteY59" fmla="*/ 222545 h 1521087"/>
              <a:gd name="connsiteX60" fmla="*/ 2155177 w 2635237"/>
              <a:gd name="connsiteY60" fmla="*/ 287859 h 1521087"/>
              <a:gd name="connsiteX61" fmla="*/ 2191100 w 2635237"/>
              <a:gd name="connsiteY61" fmla="*/ 333579 h 1521087"/>
              <a:gd name="connsiteX62" fmla="*/ 2210331 w 2635237"/>
              <a:gd name="connsiteY62" fmla="*/ 392090 h 1521087"/>
              <a:gd name="connsiteX63" fmla="*/ 2165155 w 2635237"/>
              <a:gd name="connsiteY63" fmla="*/ 463663 h 1521087"/>
              <a:gd name="connsiteX64" fmla="*/ 2062240 w 2635237"/>
              <a:gd name="connsiteY64" fmla="*/ 493327 h 1521087"/>
              <a:gd name="connsiteX65" fmla="*/ 1937259 w 2635237"/>
              <a:gd name="connsiteY65" fmla="*/ 495096 h 1521087"/>
              <a:gd name="connsiteX66" fmla="*/ 1857997 w 2635237"/>
              <a:gd name="connsiteY66" fmla="*/ 483802 h 1521087"/>
              <a:gd name="connsiteX67" fmla="*/ 1711040 w 2635237"/>
              <a:gd name="connsiteY67" fmla="*/ 460942 h 1521087"/>
              <a:gd name="connsiteX68" fmla="*/ 1570614 w 2635237"/>
              <a:gd name="connsiteY68" fmla="*/ 434816 h 1521087"/>
              <a:gd name="connsiteX69" fmla="*/ 1439985 w 2635237"/>
              <a:gd name="connsiteY69" fmla="*/ 415222 h 1521087"/>
              <a:gd name="connsiteX70" fmla="*/ 1325685 w 2635237"/>
              <a:gd name="connsiteY70" fmla="*/ 418487 h 1521087"/>
              <a:gd name="connsiteX71" fmla="*/ 1225061 w 2635237"/>
              <a:gd name="connsiteY71" fmla="*/ 443728 h 1521087"/>
              <a:gd name="connsiteX72" fmla="*/ 1139540 w 2635237"/>
              <a:gd name="connsiteY72" fmla="*/ 474005 h 1521087"/>
              <a:gd name="connsiteX73" fmla="*/ 1024695 w 2635237"/>
              <a:gd name="connsiteY73" fmla="*/ 519725 h 1521087"/>
              <a:gd name="connsiteX74" fmla="*/ 924002 w 2635237"/>
              <a:gd name="connsiteY74" fmla="*/ 556531 h 1521087"/>
              <a:gd name="connsiteX75" fmla="*/ 773168 w 2635237"/>
              <a:gd name="connsiteY75" fmla="*/ 579120 h 1521087"/>
              <a:gd name="connsiteX76" fmla="*/ 658051 w 2635237"/>
              <a:gd name="connsiteY76" fmla="*/ 581251 h 1521087"/>
              <a:gd name="connsiteX77" fmla="*/ 526220 w 2635237"/>
              <a:gd name="connsiteY77" fmla="*/ 582136 h 1521087"/>
              <a:gd name="connsiteX78" fmla="*/ 408110 w 2635237"/>
              <a:gd name="connsiteY78" fmla="*/ 571363 h 1521087"/>
              <a:gd name="connsiteX79" fmla="*/ 305535 w 2635237"/>
              <a:gd name="connsiteY79" fmla="*/ 559707 h 1521087"/>
              <a:gd name="connsiteX80" fmla="*/ 172888 w 2635237"/>
              <a:gd name="connsiteY80" fmla="*/ 549116 h 1521087"/>
              <a:gd name="connsiteX0" fmla="*/ 2635237 w 2635237"/>
              <a:gd name="connsiteY0" fmla="*/ 1016113 h 1521087"/>
              <a:gd name="connsiteX1" fmla="*/ 2625621 w 2635237"/>
              <a:gd name="connsiteY1" fmla="*/ 1071630 h 1521087"/>
              <a:gd name="connsiteX2" fmla="*/ 2626936 w 2635237"/>
              <a:gd name="connsiteY2" fmla="*/ 1129529 h 1521087"/>
              <a:gd name="connsiteX3" fmla="*/ 2625440 w 2635237"/>
              <a:gd name="connsiteY3" fmla="*/ 1176133 h 1521087"/>
              <a:gd name="connsiteX4" fmla="*/ 2621902 w 2635237"/>
              <a:gd name="connsiteY4" fmla="*/ 1231038 h 1521087"/>
              <a:gd name="connsiteX5" fmla="*/ 2589789 w 2635237"/>
              <a:gd name="connsiteY5" fmla="*/ 1280727 h 1521087"/>
              <a:gd name="connsiteX6" fmla="*/ 2560125 w 2635237"/>
              <a:gd name="connsiteY6" fmla="*/ 1316559 h 1521087"/>
              <a:gd name="connsiteX7" fmla="*/ 2504608 w 2635237"/>
              <a:gd name="connsiteY7" fmla="*/ 1326356 h 1521087"/>
              <a:gd name="connsiteX8" fmla="*/ 2452357 w 2635237"/>
              <a:gd name="connsiteY8" fmla="*/ 1329622 h 1521087"/>
              <a:gd name="connsiteX9" fmla="*/ 2406637 w 2635237"/>
              <a:gd name="connsiteY9" fmla="*/ 1329622 h 1521087"/>
              <a:gd name="connsiteX10" fmla="*/ 2351120 w 2635237"/>
              <a:gd name="connsiteY10" fmla="*/ 1342685 h 1521087"/>
              <a:gd name="connsiteX11" fmla="*/ 2302497 w 2635237"/>
              <a:gd name="connsiteY11" fmla="*/ 1372348 h 1521087"/>
              <a:gd name="connsiteX12" fmla="*/ 2285805 w 2635237"/>
              <a:gd name="connsiteY12" fmla="*/ 1411265 h 1521087"/>
              <a:gd name="connsiteX13" fmla="*/ 2246617 w 2635237"/>
              <a:gd name="connsiteY13" fmla="*/ 1453719 h 1521087"/>
              <a:gd name="connsiteX14" fmla="*/ 2187834 w 2635237"/>
              <a:gd name="connsiteY14" fmla="*/ 1476579 h 1521087"/>
              <a:gd name="connsiteX15" fmla="*/ 2122520 w 2635237"/>
              <a:gd name="connsiteY15" fmla="*/ 1463516 h 1521087"/>
              <a:gd name="connsiteX16" fmla="*/ 2053940 w 2635237"/>
              <a:gd name="connsiteY16" fmla="*/ 1466782 h 1521087"/>
              <a:gd name="connsiteX17" fmla="*/ 2011485 w 2635237"/>
              <a:gd name="connsiteY17" fmla="*/ 1479845 h 1521087"/>
              <a:gd name="connsiteX18" fmla="*/ 1975562 w 2635237"/>
              <a:gd name="connsiteY18" fmla="*/ 1499439 h 1521087"/>
              <a:gd name="connsiteX19" fmla="*/ 1933017 w 2635237"/>
              <a:gd name="connsiteY19" fmla="*/ 1515677 h 1521087"/>
              <a:gd name="connsiteX20" fmla="*/ 1880675 w 2635237"/>
              <a:gd name="connsiteY20" fmla="*/ 1519305 h 1521087"/>
              <a:gd name="connsiteX21" fmla="*/ 1802480 w 2635237"/>
              <a:gd name="connsiteY21" fmla="*/ 1489302 h 1521087"/>
              <a:gd name="connsiteX22" fmla="*/ 1733900 w 2635237"/>
              <a:gd name="connsiteY22" fmla="*/ 1447187 h 1521087"/>
              <a:gd name="connsiteX23" fmla="*/ 1671851 w 2635237"/>
              <a:gd name="connsiteY23" fmla="*/ 1397590 h 1521087"/>
              <a:gd name="connsiteX24" fmla="*/ 1587010 w 2635237"/>
              <a:gd name="connsiteY24" fmla="*/ 1365817 h 1521087"/>
              <a:gd name="connsiteX25" fmla="*/ 1479174 w 2635237"/>
              <a:gd name="connsiteY25" fmla="*/ 1355747 h 1521087"/>
              <a:gd name="connsiteX26" fmla="*/ 1400797 w 2635237"/>
              <a:gd name="connsiteY26" fmla="*/ 1355747 h 1521087"/>
              <a:gd name="connsiteX27" fmla="*/ 1309357 w 2635237"/>
              <a:gd name="connsiteY27" fmla="*/ 1342685 h 1521087"/>
              <a:gd name="connsiteX28" fmla="*/ 1227714 w 2635237"/>
              <a:gd name="connsiteY28" fmla="*/ 1329622 h 1521087"/>
              <a:gd name="connsiteX29" fmla="*/ 1105386 w 2635237"/>
              <a:gd name="connsiteY29" fmla="*/ 1295195 h 1521087"/>
              <a:gd name="connsiteX30" fmla="*/ 969722 w 2635237"/>
              <a:gd name="connsiteY30" fmla="*/ 1257776 h 1521087"/>
              <a:gd name="connsiteX31" fmla="*/ 856920 w 2635237"/>
              <a:gd name="connsiteY31" fmla="*/ 1221581 h 1521087"/>
              <a:gd name="connsiteX32" fmla="*/ 754185 w 2635237"/>
              <a:gd name="connsiteY32" fmla="*/ 1189196 h 1521087"/>
              <a:gd name="connsiteX33" fmla="*/ 662745 w 2635237"/>
              <a:gd name="connsiteY33" fmla="*/ 1159805 h 1521087"/>
              <a:gd name="connsiteX34" fmla="*/ 560351 w 2635237"/>
              <a:gd name="connsiteY34" fmla="*/ 1134291 h 1521087"/>
              <a:gd name="connsiteX35" fmla="*/ 457005 w 2635237"/>
              <a:gd name="connsiteY35" fmla="*/ 1123882 h 1521087"/>
              <a:gd name="connsiteX36" fmla="*/ 378628 w 2635237"/>
              <a:gd name="connsiteY36" fmla="*/ 1117350 h 1521087"/>
              <a:gd name="connsiteX37" fmla="*/ 251877 w 2635237"/>
              <a:gd name="connsiteY37" fmla="*/ 1082312 h 1521087"/>
              <a:gd name="connsiteX38" fmla="*/ 176154 w 2635237"/>
              <a:gd name="connsiteY38" fmla="*/ 1044007 h 1521087"/>
              <a:gd name="connsiteX39" fmla="*/ 104648 w 2635237"/>
              <a:gd name="connsiteY39" fmla="*/ 975496 h 1521087"/>
              <a:gd name="connsiteX40" fmla="*/ 60017 w 2635237"/>
              <a:gd name="connsiteY40" fmla="*/ 916985 h 1521087"/>
              <a:gd name="connsiteX41" fmla="*/ 23821 w 2635237"/>
              <a:gd name="connsiteY41" fmla="*/ 827927 h 1521087"/>
              <a:gd name="connsiteX42" fmla="*/ 2458 w 2635237"/>
              <a:gd name="connsiteY42" fmla="*/ 728730 h 1521087"/>
              <a:gd name="connsiteX43" fmla="*/ 10215 w 2635237"/>
              <a:gd name="connsiteY43" fmla="*/ 617696 h 1521087"/>
              <a:gd name="connsiteX44" fmla="*/ 57431 w 2635237"/>
              <a:gd name="connsiteY44" fmla="*/ 510472 h 1521087"/>
              <a:gd name="connsiteX45" fmla="*/ 113493 w 2635237"/>
              <a:gd name="connsiteY45" fmla="*/ 454410 h 1521087"/>
              <a:gd name="connsiteX46" fmla="*/ 221874 w 2635237"/>
              <a:gd name="connsiteY46" fmla="*/ 376033 h 1521087"/>
              <a:gd name="connsiteX47" fmla="*/ 368831 w 2635237"/>
              <a:gd name="connsiteY47" fmla="*/ 307453 h 1521087"/>
              <a:gd name="connsiteX48" fmla="*/ 525585 w 2635237"/>
              <a:gd name="connsiteY48" fmla="*/ 261733 h 1521087"/>
              <a:gd name="connsiteX49" fmla="*/ 649682 w 2635237"/>
              <a:gd name="connsiteY49" fmla="*/ 229689 h 1521087"/>
              <a:gd name="connsiteX50" fmla="*/ 795755 w 2635237"/>
              <a:gd name="connsiteY50" fmla="*/ 194649 h 1521087"/>
              <a:gd name="connsiteX51" fmla="*/ 953394 w 2635237"/>
              <a:gd name="connsiteY51" fmla="*/ 160496 h 1521087"/>
              <a:gd name="connsiteX52" fmla="*/ 1144982 w 2635237"/>
              <a:gd name="connsiteY52" fmla="*/ 109674 h 1521087"/>
              <a:gd name="connsiteX53" fmla="*/ 1397531 w 2635237"/>
              <a:gd name="connsiteY53" fmla="*/ 42930 h 1521087"/>
              <a:gd name="connsiteX54" fmla="*/ 1547754 w 2635237"/>
              <a:gd name="connsiteY54" fmla="*/ 12043 h 1521087"/>
              <a:gd name="connsiteX55" fmla="*/ 1657042 w 2635237"/>
              <a:gd name="connsiteY55" fmla="*/ 567 h 1521087"/>
              <a:gd name="connsiteX56" fmla="*/ 1769822 w 2635237"/>
              <a:gd name="connsiteY56" fmla="*/ 13267 h 1521087"/>
              <a:gd name="connsiteX57" fmla="*/ 1876163 w 2635237"/>
              <a:gd name="connsiteY57" fmla="*/ 65518 h 1521087"/>
              <a:gd name="connsiteX58" fmla="*/ 1975903 w 2635237"/>
              <a:gd name="connsiteY58" fmla="*/ 144780 h 1521087"/>
              <a:gd name="connsiteX59" fmla="*/ 2070881 w 2635237"/>
              <a:gd name="connsiteY59" fmla="*/ 222545 h 1521087"/>
              <a:gd name="connsiteX60" fmla="*/ 2155177 w 2635237"/>
              <a:gd name="connsiteY60" fmla="*/ 287859 h 1521087"/>
              <a:gd name="connsiteX61" fmla="*/ 2191100 w 2635237"/>
              <a:gd name="connsiteY61" fmla="*/ 333579 h 1521087"/>
              <a:gd name="connsiteX62" fmla="*/ 2210331 w 2635237"/>
              <a:gd name="connsiteY62" fmla="*/ 392090 h 1521087"/>
              <a:gd name="connsiteX63" fmla="*/ 2165155 w 2635237"/>
              <a:gd name="connsiteY63" fmla="*/ 463663 h 1521087"/>
              <a:gd name="connsiteX64" fmla="*/ 2062240 w 2635237"/>
              <a:gd name="connsiteY64" fmla="*/ 493327 h 1521087"/>
              <a:gd name="connsiteX65" fmla="*/ 1937259 w 2635237"/>
              <a:gd name="connsiteY65" fmla="*/ 495096 h 1521087"/>
              <a:gd name="connsiteX66" fmla="*/ 1857997 w 2635237"/>
              <a:gd name="connsiteY66" fmla="*/ 483802 h 1521087"/>
              <a:gd name="connsiteX67" fmla="*/ 1711040 w 2635237"/>
              <a:gd name="connsiteY67" fmla="*/ 460942 h 1521087"/>
              <a:gd name="connsiteX68" fmla="*/ 1570614 w 2635237"/>
              <a:gd name="connsiteY68" fmla="*/ 434816 h 1521087"/>
              <a:gd name="connsiteX69" fmla="*/ 1439985 w 2635237"/>
              <a:gd name="connsiteY69" fmla="*/ 415222 h 1521087"/>
              <a:gd name="connsiteX70" fmla="*/ 1325685 w 2635237"/>
              <a:gd name="connsiteY70" fmla="*/ 418487 h 1521087"/>
              <a:gd name="connsiteX71" fmla="*/ 1225061 w 2635237"/>
              <a:gd name="connsiteY71" fmla="*/ 443728 h 1521087"/>
              <a:gd name="connsiteX72" fmla="*/ 1139540 w 2635237"/>
              <a:gd name="connsiteY72" fmla="*/ 474005 h 1521087"/>
              <a:gd name="connsiteX73" fmla="*/ 1024695 w 2635237"/>
              <a:gd name="connsiteY73" fmla="*/ 519725 h 1521087"/>
              <a:gd name="connsiteX74" fmla="*/ 924002 w 2635237"/>
              <a:gd name="connsiteY74" fmla="*/ 556531 h 1521087"/>
              <a:gd name="connsiteX75" fmla="*/ 773168 w 2635237"/>
              <a:gd name="connsiteY75" fmla="*/ 579120 h 1521087"/>
              <a:gd name="connsiteX76" fmla="*/ 658051 w 2635237"/>
              <a:gd name="connsiteY76" fmla="*/ 581251 h 1521087"/>
              <a:gd name="connsiteX77" fmla="*/ 526220 w 2635237"/>
              <a:gd name="connsiteY77" fmla="*/ 582136 h 1521087"/>
              <a:gd name="connsiteX78" fmla="*/ 408110 w 2635237"/>
              <a:gd name="connsiteY78" fmla="*/ 571363 h 1521087"/>
              <a:gd name="connsiteX79" fmla="*/ 305535 w 2635237"/>
              <a:gd name="connsiteY79" fmla="*/ 559707 h 1521087"/>
              <a:gd name="connsiteX80" fmla="*/ 172888 w 2635237"/>
              <a:gd name="connsiteY80" fmla="*/ 549116 h 1521087"/>
              <a:gd name="connsiteX0" fmla="*/ 2635237 w 2635237"/>
              <a:gd name="connsiteY0" fmla="*/ 1016113 h 1521087"/>
              <a:gd name="connsiteX1" fmla="*/ 2625621 w 2635237"/>
              <a:gd name="connsiteY1" fmla="*/ 1071630 h 1521087"/>
              <a:gd name="connsiteX2" fmla="*/ 2626936 w 2635237"/>
              <a:gd name="connsiteY2" fmla="*/ 1129529 h 1521087"/>
              <a:gd name="connsiteX3" fmla="*/ 2625440 w 2635237"/>
              <a:gd name="connsiteY3" fmla="*/ 1176133 h 1521087"/>
              <a:gd name="connsiteX4" fmla="*/ 2621902 w 2635237"/>
              <a:gd name="connsiteY4" fmla="*/ 1231038 h 1521087"/>
              <a:gd name="connsiteX5" fmla="*/ 2589789 w 2635237"/>
              <a:gd name="connsiteY5" fmla="*/ 1280727 h 1521087"/>
              <a:gd name="connsiteX6" fmla="*/ 2560125 w 2635237"/>
              <a:gd name="connsiteY6" fmla="*/ 1316559 h 1521087"/>
              <a:gd name="connsiteX7" fmla="*/ 2504608 w 2635237"/>
              <a:gd name="connsiteY7" fmla="*/ 1326356 h 1521087"/>
              <a:gd name="connsiteX8" fmla="*/ 2452357 w 2635237"/>
              <a:gd name="connsiteY8" fmla="*/ 1329622 h 1521087"/>
              <a:gd name="connsiteX9" fmla="*/ 2406637 w 2635237"/>
              <a:gd name="connsiteY9" fmla="*/ 1329622 h 1521087"/>
              <a:gd name="connsiteX10" fmla="*/ 2351120 w 2635237"/>
              <a:gd name="connsiteY10" fmla="*/ 1342685 h 1521087"/>
              <a:gd name="connsiteX11" fmla="*/ 2302497 w 2635237"/>
              <a:gd name="connsiteY11" fmla="*/ 1372348 h 1521087"/>
              <a:gd name="connsiteX12" fmla="*/ 2285805 w 2635237"/>
              <a:gd name="connsiteY12" fmla="*/ 1411265 h 1521087"/>
              <a:gd name="connsiteX13" fmla="*/ 2246617 w 2635237"/>
              <a:gd name="connsiteY13" fmla="*/ 1453719 h 1521087"/>
              <a:gd name="connsiteX14" fmla="*/ 2187834 w 2635237"/>
              <a:gd name="connsiteY14" fmla="*/ 1476579 h 1521087"/>
              <a:gd name="connsiteX15" fmla="*/ 2122520 w 2635237"/>
              <a:gd name="connsiteY15" fmla="*/ 1463516 h 1521087"/>
              <a:gd name="connsiteX16" fmla="*/ 2053940 w 2635237"/>
              <a:gd name="connsiteY16" fmla="*/ 1466782 h 1521087"/>
              <a:gd name="connsiteX17" fmla="*/ 2011485 w 2635237"/>
              <a:gd name="connsiteY17" fmla="*/ 1479845 h 1521087"/>
              <a:gd name="connsiteX18" fmla="*/ 1975562 w 2635237"/>
              <a:gd name="connsiteY18" fmla="*/ 1499439 h 1521087"/>
              <a:gd name="connsiteX19" fmla="*/ 1933017 w 2635237"/>
              <a:gd name="connsiteY19" fmla="*/ 1515677 h 1521087"/>
              <a:gd name="connsiteX20" fmla="*/ 1880675 w 2635237"/>
              <a:gd name="connsiteY20" fmla="*/ 1519305 h 1521087"/>
              <a:gd name="connsiteX21" fmla="*/ 1802480 w 2635237"/>
              <a:gd name="connsiteY21" fmla="*/ 1489302 h 1521087"/>
              <a:gd name="connsiteX22" fmla="*/ 1733900 w 2635237"/>
              <a:gd name="connsiteY22" fmla="*/ 1447187 h 1521087"/>
              <a:gd name="connsiteX23" fmla="*/ 1681376 w 2635237"/>
              <a:gd name="connsiteY23" fmla="*/ 1390446 h 1521087"/>
              <a:gd name="connsiteX24" fmla="*/ 1587010 w 2635237"/>
              <a:gd name="connsiteY24" fmla="*/ 1365817 h 1521087"/>
              <a:gd name="connsiteX25" fmla="*/ 1479174 w 2635237"/>
              <a:gd name="connsiteY25" fmla="*/ 1355747 h 1521087"/>
              <a:gd name="connsiteX26" fmla="*/ 1400797 w 2635237"/>
              <a:gd name="connsiteY26" fmla="*/ 1355747 h 1521087"/>
              <a:gd name="connsiteX27" fmla="*/ 1309357 w 2635237"/>
              <a:gd name="connsiteY27" fmla="*/ 1342685 h 1521087"/>
              <a:gd name="connsiteX28" fmla="*/ 1227714 w 2635237"/>
              <a:gd name="connsiteY28" fmla="*/ 1329622 h 1521087"/>
              <a:gd name="connsiteX29" fmla="*/ 1105386 w 2635237"/>
              <a:gd name="connsiteY29" fmla="*/ 1295195 h 1521087"/>
              <a:gd name="connsiteX30" fmla="*/ 969722 w 2635237"/>
              <a:gd name="connsiteY30" fmla="*/ 1257776 h 1521087"/>
              <a:gd name="connsiteX31" fmla="*/ 856920 w 2635237"/>
              <a:gd name="connsiteY31" fmla="*/ 1221581 h 1521087"/>
              <a:gd name="connsiteX32" fmla="*/ 754185 w 2635237"/>
              <a:gd name="connsiteY32" fmla="*/ 1189196 h 1521087"/>
              <a:gd name="connsiteX33" fmla="*/ 662745 w 2635237"/>
              <a:gd name="connsiteY33" fmla="*/ 1159805 h 1521087"/>
              <a:gd name="connsiteX34" fmla="*/ 560351 w 2635237"/>
              <a:gd name="connsiteY34" fmla="*/ 1134291 h 1521087"/>
              <a:gd name="connsiteX35" fmla="*/ 457005 w 2635237"/>
              <a:gd name="connsiteY35" fmla="*/ 1123882 h 1521087"/>
              <a:gd name="connsiteX36" fmla="*/ 378628 w 2635237"/>
              <a:gd name="connsiteY36" fmla="*/ 1117350 h 1521087"/>
              <a:gd name="connsiteX37" fmla="*/ 251877 w 2635237"/>
              <a:gd name="connsiteY37" fmla="*/ 1082312 h 1521087"/>
              <a:gd name="connsiteX38" fmla="*/ 176154 w 2635237"/>
              <a:gd name="connsiteY38" fmla="*/ 1044007 h 1521087"/>
              <a:gd name="connsiteX39" fmla="*/ 104648 w 2635237"/>
              <a:gd name="connsiteY39" fmla="*/ 975496 h 1521087"/>
              <a:gd name="connsiteX40" fmla="*/ 60017 w 2635237"/>
              <a:gd name="connsiteY40" fmla="*/ 916985 h 1521087"/>
              <a:gd name="connsiteX41" fmla="*/ 23821 w 2635237"/>
              <a:gd name="connsiteY41" fmla="*/ 827927 h 1521087"/>
              <a:gd name="connsiteX42" fmla="*/ 2458 w 2635237"/>
              <a:gd name="connsiteY42" fmla="*/ 728730 h 1521087"/>
              <a:gd name="connsiteX43" fmla="*/ 10215 w 2635237"/>
              <a:gd name="connsiteY43" fmla="*/ 617696 h 1521087"/>
              <a:gd name="connsiteX44" fmla="*/ 57431 w 2635237"/>
              <a:gd name="connsiteY44" fmla="*/ 510472 h 1521087"/>
              <a:gd name="connsiteX45" fmla="*/ 113493 w 2635237"/>
              <a:gd name="connsiteY45" fmla="*/ 454410 h 1521087"/>
              <a:gd name="connsiteX46" fmla="*/ 221874 w 2635237"/>
              <a:gd name="connsiteY46" fmla="*/ 376033 h 1521087"/>
              <a:gd name="connsiteX47" fmla="*/ 368831 w 2635237"/>
              <a:gd name="connsiteY47" fmla="*/ 307453 h 1521087"/>
              <a:gd name="connsiteX48" fmla="*/ 525585 w 2635237"/>
              <a:gd name="connsiteY48" fmla="*/ 261733 h 1521087"/>
              <a:gd name="connsiteX49" fmla="*/ 649682 w 2635237"/>
              <a:gd name="connsiteY49" fmla="*/ 229689 h 1521087"/>
              <a:gd name="connsiteX50" fmla="*/ 795755 w 2635237"/>
              <a:gd name="connsiteY50" fmla="*/ 194649 h 1521087"/>
              <a:gd name="connsiteX51" fmla="*/ 953394 w 2635237"/>
              <a:gd name="connsiteY51" fmla="*/ 160496 h 1521087"/>
              <a:gd name="connsiteX52" fmla="*/ 1144982 w 2635237"/>
              <a:gd name="connsiteY52" fmla="*/ 109674 h 1521087"/>
              <a:gd name="connsiteX53" fmla="*/ 1397531 w 2635237"/>
              <a:gd name="connsiteY53" fmla="*/ 42930 h 1521087"/>
              <a:gd name="connsiteX54" fmla="*/ 1547754 w 2635237"/>
              <a:gd name="connsiteY54" fmla="*/ 12043 h 1521087"/>
              <a:gd name="connsiteX55" fmla="*/ 1657042 w 2635237"/>
              <a:gd name="connsiteY55" fmla="*/ 567 h 1521087"/>
              <a:gd name="connsiteX56" fmla="*/ 1769822 w 2635237"/>
              <a:gd name="connsiteY56" fmla="*/ 13267 h 1521087"/>
              <a:gd name="connsiteX57" fmla="*/ 1876163 w 2635237"/>
              <a:gd name="connsiteY57" fmla="*/ 65518 h 1521087"/>
              <a:gd name="connsiteX58" fmla="*/ 1975903 w 2635237"/>
              <a:gd name="connsiteY58" fmla="*/ 144780 h 1521087"/>
              <a:gd name="connsiteX59" fmla="*/ 2070881 w 2635237"/>
              <a:gd name="connsiteY59" fmla="*/ 222545 h 1521087"/>
              <a:gd name="connsiteX60" fmla="*/ 2155177 w 2635237"/>
              <a:gd name="connsiteY60" fmla="*/ 287859 h 1521087"/>
              <a:gd name="connsiteX61" fmla="*/ 2191100 w 2635237"/>
              <a:gd name="connsiteY61" fmla="*/ 333579 h 1521087"/>
              <a:gd name="connsiteX62" fmla="*/ 2210331 w 2635237"/>
              <a:gd name="connsiteY62" fmla="*/ 392090 h 1521087"/>
              <a:gd name="connsiteX63" fmla="*/ 2165155 w 2635237"/>
              <a:gd name="connsiteY63" fmla="*/ 463663 h 1521087"/>
              <a:gd name="connsiteX64" fmla="*/ 2062240 w 2635237"/>
              <a:gd name="connsiteY64" fmla="*/ 493327 h 1521087"/>
              <a:gd name="connsiteX65" fmla="*/ 1937259 w 2635237"/>
              <a:gd name="connsiteY65" fmla="*/ 495096 h 1521087"/>
              <a:gd name="connsiteX66" fmla="*/ 1857997 w 2635237"/>
              <a:gd name="connsiteY66" fmla="*/ 483802 h 1521087"/>
              <a:gd name="connsiteX67" fmla="*/ 1711040 w 2635237"/>
              <a:gd name="connsiteY67" fmla="*/ 460942 h 1521087"/>
              <a:gd name="connsiteX68" fmla="*/ 1570614 w 2635237"/>
              <a:gd name="connsiteY68" fmla="*/ 434816 h 1521087"/>
              <a:gd name="connsiteX69" fmla="*/ 1439985 w 2635237"/>
              <a:gd name="connsiteY69" fmla="*/ 415222 h 1521087"/>
              <a:gd name="connsiteX70" fmla="*/ 1325685 w 2635237"/>
              <a:gd name="connsiteY70" fmla="*/ 418487 h 1521087"/>
              <a:gd name="connsiteX71" fmla="*/ 1225061 w 2635237"/>
              <a:gd name="connsiteY71" fmla="*/ 443728 h 1521087"/>
              <a:gd name="connsiteX72" fmla="*/ 1139540 w 2635237"/>
              <a:gd name="connsiteY72" fmla="*/ 474005 h 1521087"/>
              <a:gd name="connsiteX73" fmla="*/ 1024695 w 2635237"/>
              <a:gd name="connsiteY73" fmla="*/ 519725 h 1521087"/>
              <a:gd name="connsiteX74" fmla="*/ 924002 w 2635237"/>
              <a:gd name="connsiteY74" fmla="*/ 556531 h 1521087"/>
              <a:gd name="connsiteX75" fmla="*/ 773168 w 2635237"/>
              <a:gd name="connsiteY75" fmla="*/ 579120 h 1521087"/>
              <a:gd name="connsiteX76" fmla="*/ 658051 w 2635237"/>
              <a:gd name="connsiteY76" fmla="*/ 581251 h 1521087"/>
              <a:gd name="connsiteX77" fmla="*/ 526220 w 2635237"/>
              <a:gd name="connsiteY77" fmla="*/ 582136 h 1521087"/>
              <a:gd name="connsiteX78" fmla="*/ 408110 w 2635237"/>
              <a:gd name="connsiteY78" fmla="*/ 571363 h 1521087"/>
              <a:gd name="connsiteX79" fmla="*/ 305535 w 2635237"/>
              <a:gd name="connsiteY79" fmla="*/ 559707 h 1521087"/>
              <a:gd name="connsiteX80" fmla="*/ 172888 w 2635237"/>
              <a:gd name="connsiteY80" fmla="*/ 549116 h 1521087"/>
              <a:gd name="connsiteX0" fmla="*/ 2635237 w 2635237"/>
              <a:gd name="connsiteY0" fmla="*/ 1016113 h 1521087"/>
              <a:gd name="connsiteX1" fmla="*/ 2625621 w 2635237"/>
              <a:gd name="connsiteY1" fmla="*/ 1071630 h 1521087"/>
              <a:gd name="connsiteX2" fmla="*/ 2626936 w 2635237"/>
              <a:gd name="connsiteY2" fmla="*/ 1129529 h 1521087"/>
              <a:gd name="connsiteX3" fmla="*/ 2625440 w 2635237"/>
              <a:gd name="connsiteY3" fmla="*/ 1176133 h 1521087"/>
              <a:gd name="connsiteX4" fmla="*/ 2621902 w 2635237"/>
              <a:gd name="connsiteY4" fmla="*/ 1231038 h 1521087"/>
              <a:gd name="connsiteX5" fmla="*/ 2589789 w 2635237"/>
              <a:gd name="connsiteY5" fmla="*/ 1280727 h 1521087"/>
              <a:gd name="connsiteX6" fmla="*/ 2560125 w 2635237"/>
              <a:gd name="connsiteY6" fmla="*/ 1316559 h 1521087"/>
              <a:gd name="connsiteX7" fmla="*/ 2504608 w 2635237"/>
              <a:gd name="connsiteY7" fmla="*/ 1326356 h 1521087"/>
              <a:gd name="connsiteX8" fmla="*/ 2452357 w 2635237"/>
              <a:gd name="connsiteY8" fmla="*/ 1329622 h 1521087"/>
              <a:gd name="connsiteX9" fmla="*/ 2406637 w 2635237"/>
              <a:gd name="connsiteY9" fmla="*/ 1329622 h 1521087"/>
              <a:gd name="connsiteX10" fmla="*/ 2351120 w 2635237"/>
              <a:gd name="connsiteY10" fmla="*/ 1342685 h 1521087"/>
              <a:gd name="connsiteX11" fmla="*/ 2302497 w 2635237"/>
              <a:gd name="connsiteY11" fmla="*/ 1372348 h 1521087"/>
              <a:gd name="connsiteX12" fmla="*/ 2285805 w 2635237"/>
              <a:gd name="connsiteY12" fmla="*/ 1411265 h 1521087"/>
              <a:gd name="connsiteX13" fmla="*/ 2246617 w 2635237"/>
              <a:gd name="connsiteY13" fmla="*/ 1453719 h 1521087"/>
              <a:gd name="connsiteX14" fmla="*/ 2187834 w 2635237"/>
              <a:gd name="connsiteY14" fmla="*/ 1476579 h 1521087"/>
              <a:gd name="connsiteX15" fmla="*/ 2122520 w 2635237"/>
              <a:gd name="connsiteY15" fmla="*/ 1463516 h 1521087"/>
              <a:gd name="connsiteX16" fmla="*/ 2053940 w 2635237"/>
              <a:gd name="connsiteY16" fmla="*/ 1466782 h 1521087"/>
              <a:gd name="connsiteX17" fmla="*/ 2011485 w 2635237"/>
              <a:gd name="connsiteY17" fmla="*/ 1479845 h 1521087"/>
              <a:gd name="connsiteX18" fmla="*/ 1975562 w 2635237"/>
              <a:gd name="connsiteY18" fmla="*/ 1499439 h 1521087"/>
              <a:gd name="connsiteX19" fmla="*/ 1933017 w 2635237"/>
              <a:gd name="connsiteY19" fmla="*/ 1515677 h 1521087"/>
              <a:gd name="connsiteX20" fmla="*/ 1880675 w 2635237"/>
              <a:gd name="connsiteY20" fmla="*/ 1519305 h 1521087"/>
              <a:gd name="connsiteX21" fmla="*/ 1802480 w 2635237"/>
              <a:gd name="connsiteY21" fmla="*/ 1489302 h 1521087"/>
              <a:gd name="connsiteX22" fmla="*/ 1741044 w 2635237"/>
              <a:gd name="connsiteY22" fmla="*/ 1449568 h 1521087"/>
              <a:gd name="connsiteX23" fmla="*/ 1681376 w 2635237"/>
              <a:gd name="connsiteY23" fmla="*/ 1390446 h 1521087"/>
              <a:gd name="connsiteX24" fmla="*/ 1587010 w 2635237"/>
              <a:gd name="connsiteY24" fmla="*/ 1365817 h 1521087"/>
              <a:gd name="connsiteX25" fmla="*/ 1479174 w 2635237"/>
              <a:gd name="connsiteY25" fmla="*/ 1355747 h 1521087"/>
              <a:gd name="connsiteX26" fmla="*/ 1400797 w 2635237"/>
              <a:gd name="connsiteY26" fmla="*/ 1355747 h 1521087"/>
              <a:gd name="connsiteX27" fmla="*/ 1309357 w 2635237"/>
              <a:gd name="connsiteY27" fmla="*/ 1342685 h 1521087"/>
              <a:gd name="connsiteX28" fmla="*/ 1227714 w 2635237"/>
              <a:gd name="connsiteY28" fmla="*/ 1329622 h 1521087"/>
              <a:gd name="connsiteX29" fmla="*/ 1105386 w 2635237"/>
              <a:gd name="connsiteY29" fmla="*/ 1295195 h 1521087"/>
              <a:gd name="connsiteX30" fmla="*/ 969722 w 2635237"/>
              <a:gd name="connsiteY30" fmla="*/ 1257776 h 1521087"/>
              <a:gd name="connsiteX31" fmla="*/ 856920 w 2635237"/>
              <a:gd name="connsiteY31" fmla="*/ 1221581 h 1521087"/>
              <a:gd name="connsiteX32" fmla="*/ 754185 w 2635237"/>
              <a:gd name="connsiteY32" fmla="*/ 1189196 h 1521087"/>
              <a:gd name="connsiteX33" fmla="*/ 662745 w 2635237"/>
              <a:gd name="connsiteY33" fmla="*/ 1159805 h 1521087"/>
              <a:gd name="connsiteX34" fmla="*/ 560351 w 2635237"/>
              <a:gd name="connsiteY34" fmla="*/ 1134291 h 1521087"/>
              <a:gd name="connsiteX35" fmla="*/ 457005 w 2635237"/>
              <a:gd name="connsiteY35" fmla="*/ 1123882 h 1521087"/>
              <a:gd name="connsiteX36" fmla="*/ 378628 w 2635237"/>
              <a:gd name="connsiteY36" fmla="*/ 1117350 h 1521087"/>
              <a:gd name="connsiteX37" fmla="*/ 251877 w 2635237"/>
              <a:gd name="connsiteY37" fmla="*/ 1082312 h 1521087"/>
              <a:gd name="connsiteX38" fmla="*/ 176154 w 2635237"/>
              <a:gd name="connsiteY38" fmla="*/ 1044007 h 1521087"/>
              <a:gd name="connsiteX39" fmla="*/ 104648 w 2635237"/>
              <a:gd name="connsiteY39" fmla="*/ 975496 h 1521087"/>
              <a:gd name="connsiteX40" fmla="*/ 60017 w 2635237"/>
              <a:gd name="connsiteY40" fmla="*/ 916985 h 1521087"/>
              <a:gd name="connsiteX41" fmla="*/ 23821 w 2635237"/>
              <a:gd name="connsiteY41" fmla="*/ 827927 h 1521087"/>
              <a:gd name="connsiteX42" fmla="*/ 2458 w 2635237"/>
              <a:gd name="connsiteY42" fmla="*/ 728730 h 1521087"/>
              <a:gd name="connsiteX43" fmla="*/ 10215 w 2635237"/>
              <a:gd name="connsiteY43" fmla="*/ 617696 h 1521087"/>
              <a:gd name="connsiteX44" fmla="*/ 57431 w 2635237"/>
              <a:gd name="connsiteY44" fmla="*/ 510472 h 1521087"/>
              <a:gd name="connsiteX45" fmla="*/ 113493 w 2635237"/>
              <a:gd name="connsiteY45" fmla="*/ 454410 h 1521087"/>
              <a:gd name="connsiteX46" fmla="*/ 221874 w 2635237"/>
              <a:gd name="connsiteY46" fmla="*/ 376033 h 1521087"/>
              <a:gd name="connsiteX47" fmla="*/ 368831 w 2635237"/>
              <a:gd name="connsiteY47" fmla="*/ 307453 h 1521087"/>
              <a:gd name="connsiteX48" fmla="*/ 525585 w 2635237"/>
              <a:gd name="connsiteY48" fmla="*/ 261733 h 1521087"/>
              <a:gd name="connsiteX49" fmla="*/ 649682 w 2635237"/>
              <a:gd name="connsiteY49" fmla="*/ 229689 h 1521087"/>
              <a:gd name="connsiteX50" fmla="*/ 795755 w 2635237"/>
              <a:gd name="connsiteY50" fmla="*/ 194649 h 1521087"/>
              <a:gd name="connsiteX51" fmla="*/ 953394 w 2635237"/>
              <a:gd name="connsiteY51" fmla="*/ 160496 h 1521087"/>
              <a:gd name="connsiteX52" fmla="*/ 1144982 w 2635237"/>
              <a:gd name="connsiteY52" fmla="*/ 109674 h 1521087"/>
              <a:gd name="connsiteX53" fmla="*/ 1397531 w 2635237"/>
              <a:gd name="connsiteY53" fmla="*/ 42930 h 1521087"/>
              <a:gd name="connsiteX54" fmla="*/ 1547754 w 2635237"/>
              <a:gd name="connsiteY54" fmla="*/ 12043 h 1521087"/>
              <a:gd name="connsiteX55" fmla="*/ 1657042 w 2635237"/>
              <a:gd name="connsiteY55" fmla="*/ 567 h 1521087"/>
              <a:gd name="connsiteX56" fmla="*/ 1769822 w 2635237"/>
              <a:gd name="connsiteY56" fmla="*/ 13267 h 1521087"/>
              <a:gd name="connsiteX57" fmla="*/ 1876163 w 2635237"/>
              <a:gd name="connsiteY57" fmla="*/ 65518 h 1521087"/>
              <a:gd name="connsiteX58" fmla="*/ 1975903 w 2635237"/>
              <a:gd name="connsiteY58" fmla="*/ 144780 h 1521087"/>
              <a:gd name="connsiteX59" fmla="*/ 2070881 w 2635237"/>
              <a:gd name="connsiteY59" fmla="*/ 222545 h 1521087"/>
              <a:gd name="connsiteX60" fmla="*/ 2155177 w 2635237"/>
              <a:gd name="connsiteY60" fmla="*/ 287859 h 1521087"/>
              <a:gd name="connsiteX61" fmla="*/ 2191100 w 2635237"/>
              <a:gd name="connsiteY61" fmla="*/ 333579 h 1521087"/>
              <a:gd name="connsiteX62" fmla="*/ 2210331 w 2635237"/>
              <a:gd name="connsiteY62" fmla="*/ 392090 h 1521087"/>
              <a:gd name="connsiteX63" fmla="*/ 2165155 w 2635237"/>
              <a:gd name="connsiteY63" fmla="*/ 463663 h 1521087"/>
              <a:gd name="connsiteX64" fmla="*/ 2062240 w 2635237"/>
              <a:gd name="connsiteY64" fmla="*/ 493327 h 1521087"/>
              <a:gd name="connsiteX65" fmla="*/ 1937259 w 2635237"/>
              <a:gd name="connsiteY65" fmla="*/ 495096 h 1521087"/>
              <a:gd name="connsiteX66" fmla="*/ 1857997 w 2635237"/>
              <a:gd name="connsiteY66" fmla="*/ 483802 h 1521087"/>
              <a:gd name="connsiteX67" fmla="*/ 1711040 w 2635237"/>
              <a:gd name="connsiteY67" fmla="*/ 460942 h 1521087"/>
              <a:gd name="connsiteX68" fmla="*/ 1570614 w 2635237"/>
              <a:gd name="connsiteY68" fmla="*/ 434816 h 1521087"/>
              <a:gd name="connsiteX69" fmla="*/ 1439985 w 2635237"/>
              <a:gd name="connsiteY69" fmla="*/ 415222 h 1521087"/>
              <a:gd name="connsiteX70" fmla="*/ 1325685 w 2635237"/>
              <a:gd name="connsiteY70" fmla="*/ 418487 h 1521087"/>
              <a:gd name="connsiteX71" fmla="*/ 1225061 w 2635237"/>
              <a:gd name="connsiteY71" fmla="*/ 443728 h 1521087"/>
              <a:gd name="connsiteX72" fmla="*/ 1139540 w 2635237"/>
              <a:gd name="connsiteY72" fmla="*/ 474005 h 1521087"/>
              <a:gd name="connsiteX73" fmla="*/ 1024695 w 2635237"/>
              <a:gd name="connsiteY73" fmla="*/ 519725 h 1521087"/>
              <a:gd name="connsiteX74" fmla="*/ 924002 w 2635237"/>
              <a:gd name="connsiteY74" fmla="*/ 556531 h 1521087"/>
              <a:gd name="connsiteX75" fmla="*/ 773168 w 2635237"/>
              <a:gd name="connsiteY75" fmla="*/ 579120 h 1521087"/>
              <a:gd name="connsiteX76" fmla="*/ 658051 w 2635237"/>
              <a:gd name="connsiteY76" fmla="*/ 581251 h 1521087"/>
              <a:gd name="connsiteX77" fmla="*/ 526220 w 2635237"/>
              <a:gd name="connsiteY77" fmla="*/ 582136 h 1521087"/>
              <a:gd name="connsiteX78" fmla="*/ 408110 w 2635237"/>
              <a:gd name="connsiteY78" fmla="*/ 571363 h 1521087"/>
              <a:gd name="connsiteX79" fmla="*/ 305535 w 2635237"/>
              <a:gd name="connsiteY79" fmla="*/ 559707 h 1521087"/>
              <a:gd name="connsiteX80" fmla="*/ 172888 w 2635237"/>
              <a:gd name="connsiteY80" fmla="*/ 549116 h 1521087"/>
              <a:gd name="connsiteX0" fmla="*/ 2635237 w 2635237"/>
              <a:gd name="connsiteY0" fmla="*/ 1016113 h 1521087"/>
              <a:gd name="connsiteX1" fmla="*/ 2625621 w 2635237"/>
              <a:gd name="connsiteY1" fmla="*/ 1071630 h 1521087"/>
              <a:gd name="connsiteX2" fmla="*/ 2626936 w 2635237"/>
              <a:gd name="connsiteY2" fmla="*/ 1129529 h 1521087"/>
              <a:gd name="connsiteX3" fmla="*/ 2625440 w 2635237"/>
              <a:gd name="connsiteY3" fmla="*/ 1176133 h 1521087"/>
              <a:gd name="connsiteX4" fmla="*/ 2621902 w 2635237"/>
              <a:gd name="connsiteY4" fmla="*/ 1231038 h 1521087"/>
              <a:gd name="connsiteX5" fmla="*/ 2589789 w 2635237"/>
              <a:gd name="connsiteY5" fmla="*/ 1280727 h 1521087"/>
              <a:gd name="connsiteX6" fmla="*/ 2560125 w 2635237"/>
              <a:gd name="connsiteY6" fmla="*/ 1316559 h 1521087"/>
              <a:gd name="connsiteX7" fmla="*/ 2504608 w 2635237"/>
              <a:gd name="connsiteY7" fmla="*/ 1326356 h 1521087"/>
              <a:gd name="connsiteX8" fmla="*/ 2452357 w 2635237"/>
              <a:gd name="connsiteY8" fmla="*/ 1329622 h 1521087"/>
              <a:gd name="connsiteX9" fmla="*/ 2406637 w 2635237"/>
              <a:gd name="connsiteY9" fmla="*/ 1329622 h 1521087"/>
              <a:gd name="connsiteX10" fmla="*/ 2351120 w 2635237"/>
              <a:gd name="connsiteY10" fmla="*/ 1342685 h 1521087"/>
              <a:gd name="connsiteX11" fmla="*/ 2302497 w 2635237"/>
              <a:gd name="connsiteY11" fmla="*/ 1372348 h 1521087"/>
              <a:gd name="connsiteX12" fmla="*/ 2285805 w 2635237"/>
              <a:gd name="connsiteY12" fmla="*/ 1411265 h 1521087"/>
              <a:gd name="connsiteX13" fmla="*/ 2246617 w 2635237"/>
              <a:gd name="connsiteY13" fmla="*/ 1453719 h 1521087"/>
              <a:gd name="connsiteX14" fmla="*/ 2187834 w 2635237"/>
              <a:gd name="connsiteY14" fmla="*/ 1476579 h 1521087"/>
              <a:gd name="connsiteX15" fmla="*/ 2122520 w 2635237"/>
              <a:gd name="connsiteY15" fmla="*/ 1463516 h 1521087"/>
              <a:gd name="connsiteX16" fmla="*/ 2053940 w 2635237"/>
              <a:gd name="connsiteY16" fmla="*/ 1466782 h 1521087"/>
              <a:gd name="connsiteX17" fmla="*/ 2011485 w 2635237"/>
              <a:gd name="connsiteY17" fmla="*/ 1479845 h 1521087"/>
              <a:gd name="connsiteX18" fmla="*/ 1975562 w 2635237"/>
              <a:gd name="connsiteY18" fmla="*/ 1499439 h 1521087"/>
              <a:gd name="connsiteX19" fmla="*/ 1933017 w 2635237"/>
              <a:gd name="connsiteY19" fmla="*/ 1515677 h 1521087"/>
              <a:gd name="connsiteX20" fmla="*/ 1880675 w 2635237"/>
              <a:gd name="connsiteY20" fmla="*/ 1519305 h 1521087"/>
              <a:gd name="connsiteX21" fmla="*/ 1802480 w 2635237"/>
              <a:gd name="connsiteY21" fmla="*/ 1489302 h 1521087"/>
              <a:gd name="connsiteX22" fmla="*/ 1741044 w 2635237"/>
              <a:gd name="connsiteY22" fmla="*/ 1449568 h 1521087"/>
              <a:gd name="connsiteX23" fmla="*/ 1681376 w 2635237"/>
              <a:gd name="connsiteY23" fmla="*/ 1390446 h 1521087"/>
              <a:gd name="connsiteX24" fmla="*/ 1587010 w 2635237"/>
              <a:gd name="connsiteY24" fmla="*/ 1365817 h 1521087"/>
              <a:gd name="connsiteX25" fmla="*/ 1479174 w 2635237"/>
              <a:gd name="connsiteY25" fmla="*/ 1355747 h 1521087"/>
              <a:gd name="connsiteX26" fmla="*/ 1400797 w 2635237"/>
              <a:gd name="connsiteY26" fmla="*/ 1355747 h 1521087"/>
              <a:gd name="connsiteX27" fmla="*/ 1309357 w 2635237"/>
              <a:gd name="connsiteY27" fmla="*/ 1342685 h 1521087"/>
              <a:gd name="connsiteX28" fmla="*/ 1227714 w 2635237"/>
              <a:gd name="connsiteY28" fmla="*/ 1329622 h 1521087"/>
              <a:gd name="connsiteX29" fmla="*/ 1105386 w 2635237"/>
              <a:gd name="connsiteY29" fmla="*/ 1295195 h 1521087"/>
              <a:gd name="connsiteX30" fmla="*/ 969722 w 2635237"/>
              <a:gd name="connsiteY30" fmla="*/ 1257776 h 1521087"/>
              <a:gd name="connsiteX31" fmla="*/ 856920 w 2635237"/>
              <a:gd name="connsiteY31" fmla="*/ 1221581 h 1521087"/>
              <a:gd name="connsiteX32" fmla="*/ 754185 w 2635237"/>
              <a:gd name="connsiteY32" fmla="*/ 1189196 h 1521087"/>
              <a:gd name="connsiteX33" fmla="*/ 662745 w 2635237"/>
              <a:gd name="connsiteY33" fmla="*/ 1159805 h 1521087"/>
              <a:gd name="connsiteX34" fmla="*/ 560351 w 2635237"/>
              <a:gd name="connsiteY34" fmla="*/ 1134291 h 1521087"/>
              <a:gd name="connsiteX35" fmla="*/ 457005 w 2635237"/>
              <a:gd name="connsiteY35" fmla="*/ 1123882 h 1521087"/>
              <a:gd name="connsiteX36" fmla="*/ 378628 w 2635237"/>
              <a:gd name="connsiteY36" fmla="*/ 1117350 h 1521087"/>
              <a:gd name="connsiteX37" fmla="*/ 251877 w 2635237"/>
              <a:gd name="connsiteY37" fmla="*/ 1082312 h 1521087"/>
              <a:gd name="connsiteX38" fmla="*/ 176154 w 2635237"/>
              <a:gd name="connsiteY38" fmla="*/ 1044007 h 1521087"/>
              <a:gd name="connsiteX39" fmla="*/ 104648 w 2635237"/>
              <a:gd name="connsiteY39" fmla="*/ 975496 h 1521087"/>
              <a:gd name="connsiteX40" fmla="*/ 60017 w 2635237"/>
              <a:gd name="connsiteY40" fmla="*/ 916985 h 1521087"/>
              <a:gd name="connsiteX41" fmla="*/ 23821 w 2635237"/>
              <a:gd name="connsiteY41" fmla="*/ 827927 h 1521087"/>
              <a:gd name="connsiteX42" fmla="*/ 2458 w 2635237"/>
              <a:gd name="connsiteY42" fmla="*/ 728730 h 1521087"/>
              <a:gd name="connsiteX43" fmla="*/ 10215 w 2635237"/>
              <a:gd name="connsiteY43" fmla="*/ 617696 h 1521087"/>
              <a:gd name="connsiteX44" fmla="*/ 57431 w 2635237"/>
              <a:gd name="connsiteY44" fmla="*/ 510472 h 1521087"/>
              <a:gd name="connsiteX45" fmla="*/ 113493 w 2635237"/>
              <a:gd name="connsiteY45" fmla="*/ 454410 h 1521087"/>
              <a:gd name="connsiteX46" fmla="*/ 221874 w 2635237"/>
              <a:gd name="connsiteY46" fmla="*/ 376033 h 1521087"/>
              <a:gd name="connsiteX47" fmla="*/ 368831 w 2635237"/>
              <a:gd name="connsiteY47" fmla="*/ 307453 h 1521087"/>
              <a:gd name="connsiteX48" fmla="*/ 525585 w 2635237"/>
              <a:gd name="connsiteY48" fmla="*/ 261733 h 1521087"/>
              <a:gd name="connsiteX49" fmla="*/ 649682 w 2635237"/>
              <a:gd name="connsiteY49" fmla="*/ 229689 h 1521087"/>
              <a:gd name="connsiteX50" fmla="*/ 795755 w 2635237"/>
              <a:gd name="connsiteY50" fmla="*/ 194649 h 1521087"/>
              <a:gd name="connsiteX51" fmla="*/ 953394 w 2635237"/>
              <a:gd name="connsiteY51" fmla="*/ 160496 h 1521087"/>
              <a:gd name="connsiteX52" fmla="*/ 1144982 w 2635237"/>
              <a:gd name="connsiteY52" fmla="*/ 109674 h 1521087"/>
              <a:gd name="connsiteX53" fmla="*/ 1397531 w 2635237"/>
              <a:gd name="connsiteY53" fmla="*/ 42930 h 1521087"/>
              <a:gd name="connsiteX54" fmla="*/ 1547754 w 2635237"/>
              <a:gd name="connsiteY54" fmla="*/ 12043 h 1521087"/>
              <a:gd name="connsiteX55" fmla="*/ 1657042 w 2635237"/>
              <a:gd name="connsiteY55" fmla="*/ 567 h 1521087"/>
              <a:gd name="connsiteX56" fmla="*/ 1769822 w 2635237"/>
              <a:gd name="connsiteY56" fmla="*/ 13267 h 1521087"/>
              <a:gd name="connsiteX57" fmla="*/ 1876163 w 2635237"/>
              <a:gd name="connsiteY57" fmla="*/ 65518 h 1521087"/>
              <a:gd name="connsiteX58" fmla="*/ 1975903 w 2635237"/>
              <a:gd name="connsiteY58" fmla="*/ 144780 h 1521087"/>
              <a:gd name="connsiteX59" fmla="*/ 2070881 w 2635237"/>
              <a:gd name="connsiteY59" fmla="*/ 222545 h 1521087"/>
              <a:gd name="connsiteX60" fmla="*/ 2155177 w 2635237"/>
              <a:gd name="connsiteY60" fmla="*/ 287859 h 1521087"/>
              <a:gd name="connsiteX61" fmla="*/ 2191100 w 2635237"/>
              <a:gd name="connsiteY61" fmla="*/ 333579 h 1521087"/>
              <a:gd name="connsiteX62" fmla="*/ 2210331 w 2635237"/>
              <a:gd name="connsiteY62" fmla="*/ 392090 h 1521087"/>
              <a:gd name="connsiteX63" fmla="*/ 2165155 w 2635237"/>
              <a:gd name="connsiteY63" fmla="*/ 463663 h 1521087"/>
              <a:gd name="connsiteX64" fmla="*/ 2062240 w 2635237"/>
              <a:gd name="connsiteY64" fmla="*/ 493327 h 1521087"/>
              <a:gd name="connsiteX65" fmla="*/ 1937259 w 2635237"/>
              <a:gd name="connsiteY65" fmla="*/ 495096 h 1521087"/>
              <a:gd name="connsiteX66" fmla="*/ 1857997 w 2635237"/>
              <a:gd name="connsiteY66" fmla="*/ 483802 h 1521087"/>
              <a:gd name="connsiteX67" fmla="*/ 1711040 w 2635237"/>
              <a:gd name="connsiteY67" fmla="*/ 460942 h 1521087"/>
              <a:gd name="connsiteX68" fmla="*/ 1570614 w 2635237"/>
              <a:gd name="connsiteY68" fmla="*/ 434816 h 1521087"/>
              <a:gd name="connsiteX69" fmla="*/ 1439985 w 2635237"/>
              <a:gd name="connsiteY69" fmla="*/ 415222 h 1521087"/>
              <a:gd name="connsiteX70" fmla="*/ 1325685 w 2635237"/>
              <a:gd name="connsiteY70" fmla="*/ 418487 h 1521087"/>
              <a:gd name="connsiteX71" fmla="*/ 1225061 w 2635237"/>
              <a:gd name="connsiteY71" fmla="*/ 443728 h 1521087"/>
              <a:gd name="connsiteX72" fmla="*/ 1139540 w 2635237"/>
              <a:gd name="connsiteY72" fmla="*/ 474005 h 1521087"/>
              <a:gd name="connsiteX73" fmla="*/ 1024695 w 2635237"/>
              <a:gd name="connsiteY73" fmla="*/ 519725 h 1521087"/>
              <a:gd name="connsiteX74" fmla="*/ 924002 w 2635237"/>
              <a:gd name="connsiteY74" fmla="*/ 556531 h 1521087"/>
              <a:gd name="connsiteX75" fmla="*/ 773168 w 2635237"/>
              <a:gd name="connsiteY75" fmla="*/ 579120 h 1521087"/>
              <a:gd name="connsiteX76" fmla="*/ 658051 w 2635237"/>
              <a:gd name="connsiteY76" fmla="*/ 581251 h 1521087"/>
              <a:gd name="connsiteX77" fmla="*/ 526220 w 2635237"/>
              <a:gd name="connsiteY77" fmla="*/ 582136 h 1521087"/>
              <a:gd name="connsiteX78" fmla="*/ 408110 w 2635237"/>
              <a:gd name="connsiteY78" fmla="*/ 571363 h 1521087"/>
              <a:gd name="connsiteX79" fmla="*/ 305535 w 2635237"/>
              <a:gd name="connsiteY79" fmla="*/ 559707 h 1521087"/>
              <a:gd name="connsiteX80" fmla="*/ 172888 w 2635237"/>
              <a:gd name="connsiteY80" fmla="*/ 549116 h 1521087"/>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87834 w 2635237"/>
              <a:gd name="connsiteY14" fmla="*/ 1476579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0446 h 1519229"/>
              <a:gd name="connsiteX24" fmla="*/ 1587010 w 2635237"/>
              <a:gd name="connsiteY24" fmla="*/ 1365817 h 1519229"/>
              <a:gd name="connsiteX25" fmla="*/ 1479174 w 2635237"/>
              <a:gd name="connsiteY25" fmla="*/ 1355747 h 1519229"/>
              <a:gd name="connsiteX26" fmla="*/ 1400797 w 2635237"/>
              <a:gd name="connsiteY26" fmla="*/ 1355747 h 1519229"/>
              <a:gd name="connsiteX27" fmla="*/ 1309357 w 2635237"/>
              <a:gd name="connsiteY27" fmla="*/ 1342685 h 1519229"/>
              <a:gd name="connsiteX28" fmla="*/ 1227714 w 2635237"/>
              <a:gd name="connsiteY28" fmla="*/ 1329622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0446 h 1519229"/>
              <a:gd name="connsiteX24" fmla="*/ 1587010 w 2635237"/>
              <a:gd name="connsiteY24" fmla="*/ 1365817 h 1519229"/>
              <a:gd name="connsiteX25" fmla="*/ 1479174 w 2635237"/>
              <a:gd name="connsiteY25" fmla="*/ 1355747 h 1519229"/>
              <a:gd name="connsiteX26" fmla="*/ 1400797 w 2635237"/>
              <a:gd name="connsiteY26" fmla="*/ 1355747 h 1519229"/>
              <a:gd name="connsiteX27" fmla="*/ 1309357 w 2635237"/>
              <a:gd name="connsiteY27" fmla="*/ 1342685 h 1519229"/>
              <a:gd name="connsiteX28" fmla="*/ 1227714 w 2635237"/>
              <a:gd name="connsiteY28" fmla="*/ 1329622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0446 h 1519229"/>
              <a:gd name="connsiteX24" fmla="*/ 1587010 w 2635237"/>
              <a:gd name="connsiteY24" fmla="*/ 1365817 h 1519229"/>
              <a:gd name="connsiteX25" fmla="*/ 1479174 w 2635237"/>
              <a:gd name="connsiteY25" fmla="*/ 1355747 h 1519229"/>
              <a:gd name="connsiteX26" fmla="*/ 1400797 w 2635237"/>
              <a:gd name="connsiteY26" fmla="*/ 1355747 h 1519229"/>
              <a:gd name="connsiteX27" fmla="*/ 1309357 w 2635237"/>
              <a:gd name="connsiteY27" fmla="*/ 1342685 h 1519229"/>
              <a:gd name="connsiteX28" fmla="*/ 1227714 w 2635237"/>
              <a:gd name="connsiteY28" fmla="*/ 1329622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0446 h 1519229"/>
              <a:gd name="connsiteX24" fmla="*/ 1587010 w 2635237"/>
              <a:gd name="connsiteY24" fmla="*/ 1365817 h 1519229"/>
              <a:gd name="connsiteX25" fmla="*/ 1476793 w 2635237"/>
              <a:gd name="connsiteY25" fmla="*/ 1348603 h 1519229"/>
              <a:gd name="connsiteX26" fmla="*/ 1400797 w 2635237"/>
              <a:gd name="connsiteY26" fmla="*/ 1355747 h 1519229"/>
              <a:gd name="connsiteX27" fmla="*/ 1309357 w 2635237"/>
              <a:gd name="connsiteY27" fmla="*/ 1342685 h 1519229"/>
              <a:gd name="connsiteX28" fmla="*/ 1227714 w 2635237"/>
              <a:gd name="connsiteY28" fmla="*/ 1329622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0446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09357 w 2635237"/>
              <a:gd name="connsiteY27" fmla="*/ 1342685 h 1519229"/>
              <a:gd name="connsiteX28" fmla="*/ 1227714 w 2635237"/>
              <a:gd name="connsiteY28" fmla="*/ 1329622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0446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14120 w 2635237"/>
              <a:gd name="connsiteY27" fmla="*/ 1340303 h 1519229"/>
              <a:gd name="connsiteX28" fmla="*/ 1227714 w 2635237"/>
              <a:gd name="connsiteY28" fmla="*/ 1329622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0446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14120 w 2635237"/>
              <a:gd name="connsiteY27" fmla="*/ 1340303 h 1519229"/>
              <a:gd name="connsiteX28" fmla="*/ 1225332 w 2635237"/>
              <a:gd name="connsiteY28" fmla="*/ 1327241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0446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14120 w 2635237"/>
              <a:gd name="connsiteY27" fmla="*/ 1340303 h 1519229"/>
              <a:gd name="connsiteX28" fmla="*/ 1225332 w 2635237"/>
              <a:gd name="connsiteY28" fmla="*/ 1327241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0446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14120 w 2635237"/>
              <a:gd name="connsiteY27" fmla="*/ 1340303 h 1519229"/>
              <a:gd name="connsiteX28" fmla="*/ 1225332 w 2635237"/>
              <a:gd name="connsiteY28" fmla="*/ 1327241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0446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14120 w 2635237"/>
              <a:gd name="connsiteY27" fmla="*/ 1340303 h 1519229"/>
              <a:gd name="connsiteX28" fmla="*/ 1225332 w 2635237"/>
              <a:gd name="connsiteY28" fmla="*/ 1327241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2827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14120 w 2635237"/>
              <a:gd name="connsiteY27" fmla="*/ 1340303 h 1519229"/>
              <a:gd name="connsiteX28" fmla="*/ 1225332 w 2635237"/>
              <a:gd name="connsiteY28" fmla="*/ 1327241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6154 w 2635237"/>
              <a:gd name="connsiteY38" fmla="*/ 1044007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2827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14120 w 2635237"/>
              <a:gd name="connsiteY27" fmla="*/ 1340303 h 1519229"/>
              <a:gd name="connsiteX28" fmla="*/ 1225332 w 2635237"/>
              <a:gd name="connsiteY28" fmla="*/ 1327241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8535 w 2635237"/>
              <a:gd name="connsiteY38" fmla="*/ 1036864 h 1519229"/>
              <a:gd name="connsiteX39" fmla="*/ 104648 w 2635237"/>
              <a:gd name="connsiteY39" fmla="*/ 975496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2827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14120 w 2635237"/>
              <a:gd name="connsiteY27" fmla="*/ 1340303 h 1519229"/>
              <a:gd name="connsiteX28" fmla="*/ 1225332 w 2635237"/>
              <a:gd name="connsiteY28" fmla="*/ 1327241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8535 w 2635237"/>
              <a:gd name="connsiteY38" fmla="*/ 1036864 h 1519229"/>
              <a:gd name="connsiteX39" fmla="*/ 111792 w 2635237"/>
              <a:gd name="connsiteY39" fmla="*/ 968352 h 1519229"/>
              <a:gd name="connsiteX40" fmla="*/ 60017 w 2635237"/>
              <a:gd name="connsiteY40" fmla="*/ 916985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2827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14120 w 2635237"/>
              <a:gd name="connsiteY27" fmla="*/ 1340303 h 1519229"/>
              <a:gd name="connsiteX28" fmla="*/ 1225332 w 2635237"/>
              <a:gd name="connsiteY28" fmla="*/ 1327241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8535 w 2635237"/>
              <a:gd name="connsiteY38" fmla="*/ 1036864 h 1519229"/>
              <a:gd name="connsiteX39" fmla="*/ 111792 w 2635237"/>
              <a:gd name="connsiteY39" fmla="*/ 968352 h 1519229"/>
              <a:gd name="connsiteX40" fmla="*/ 71923 w 2635237"/>
              <a:gd name="connsiteY40" fmla="*/ 907460 h 1519229"/>
              <a:gd name="connsiteX41" fmla="*/ 23821 w 2635237"/>
              <a:gd name="connsiteY41" fmla="*/ 827927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35237 w 2635237"/>
              <a:gd name="connsiteY0" fmla="*/ 1016113 h 1519229"/>
              <a:gd name="connsiteX1" fmla="*/ 2625621 w 2635237"/>
              <a:gd name="connsiteY1" fmla="*/ 1071630 h 1519229"/>
              <a:gd name="connsiteX2" fmla="*/ 2626936 w 2635237"/>
              <a:gd name="connsiteY2" fmla="*/ 1129529 h 1519229"/>
              <a:gd name="connsiteX3" fmla="*/ 2625440 w 2635237"/>
              <a:gd name="connsiteY3" fmla="*/ 1176133 h 1519229"/>
              <a:gd name="connsiteX4" fmla="*/ 2621902 w 2635237"/>
              <a:gd name="connsiteY4" fmla="*/ 1231038 h 1519229"/>
              <a:gd name="connsiteX5" fmla="*/ 2589789 w 2635237"/>
              <a:gd name="connsiteY5" fmla="*/ 1280727 h 1519229"/>
              <a:gd name="connsiteX6" fmla="*/ 2560125 w 2635237"/>
              <a:gd name="connsiteY6" fmla="*/ 1316559 h 1519229"/>
              <a:gd name="connsiteX7" fmla="*/ 2504608 w 2635237"/>
              <a:gd name="connsiteY7" fmla="*/ 1326356 h 1519229"/>
              <a:gd name="connsiteX8" fmla="*/ 2452357 w 2635237"/>
              <a:gd name="connsiteY8" fmla="*/ 1329622 h 1519229"/>
              <a:gd name="connsiteX9" fmla="*/ 2406637 w 2635237"/>
              <a:gd name="connsiteY9" fmla="*/ 1329622 h 1519229"/>
              <a:gd name="connsiteX10" fmla="*/ 2351120 w 2635237"/>
              <a:gd name="connsiteY10" fmla="*/ 1342685 h 1519229"/>
              <a:gd name="connsiteX11" fmla="*/ 2302497 w 2635237"/>
              <a:gd name="connsiteY11" fmla="*/ 1372348 h 1519229"/>
              <a:gd name="connsiteX12" fmla="*/ 2285805 w 2635237"/>
              <a:gd name="connsiteY12" fmla="*/ 1411265 h 1519229"/>
              <a:gd name="connsiteX13" fmla="*/ 2246617 w 2635237"/>
              <a:gd name="connsiteY13" fmla="*/ 1453719 h 1519229"/>
              <a:gd name="connsiteX14" fmla="*/ 2190216 w 2635237"/>
              <a:gd name="connsiteY14" fmla="*/ 1471817 h 1519229"/>
              <a:gd name="connsiteX15" fmla="*/ 2122520 w 2635237"/>
              <a:gd name="connsiteY15" fmla="*/ 1463516 h 1519229"/>
              <a:gd name="connsiteX16" fmla="*/ 2053940 w 2635237"/>
              <a:gd name="connsiteY16" fmla="*/ 1466782 h 1519229"/>
              <a:gd name="connsiteX17" fmla="*/ 2011485 w 2635237"/>
              <a:gd name="connsiteY17" fmla="*/ 1479845 h 1519229"/>
              <a:gd name="connsiteX18" fmla="*/ 1975562 w 2635237"/>
              <a:gd name="connsiteY18" fmla="*/ 1499439 h 1519229"/>
              <a:gd name="connsiteX19" fmla="*/ 1933017 w 2635237"/>
              <a:gd name="connsiteY19" fmla="*/ 1515677 h 1519229"/>
              <a:gd name="connsiteX20" fmla="*/ 1890200 w 2635237"/>
              <a:gd name="connsiteY20" fmla="*/ 1516923 h 1519229"/>
              <a:gd name="connsiteX21" fmla="*/ 1802480 w 2635237"/>
              <a:gd name="connsiteY21" fmla="*/ 1489302 h 1519229"/>
              <a:gd name="connsiteX22" fmla="*/ 1741044 w 2635237"/>
              <a:gd name="connsiteY22" fmla="*/ 1449568 h 1519229"/>
              <a:gd name="connsiteX23" fmla="*/ 1681376 w 2635237"/>
              <a:gd name="connsiteY23" fmla="*/ 1392827 h 1519229"/>
              <a:gd name="connsiteX24" fmla="*/ 1587010 w 2635237"/>
              <a:gd name="connsiteY24" fmla="*/ 1365817 h 1519229"/>
              <a:gd name="connsiteX25" fmla="*/ 1476793 w 2635237"/>
              <a:gd name="connsiteY25" fmla="*/ 1348603 h 1519229"/>
              <a:gd name="connsiteX26" fmla="*/ 1396035 w 2635237"/>
              <a:gd name="connsiteY26" fmla="*/ 1346222 h 1519229"/>
              <a:gd name="connsiteX27" fmla="*/ 1314120 w 2635237"/>
              <a:gd name="connsiteY27" fmla="*/ 1340303 h 1519229"/>
              <a:gd name="connsiteX28" fmla="*/ 1225332 w 2635237"/>
              <a:gd name="connsiteY28" fmla="*/ 1327241 h 1519229"/>
              <a:gd name="connsiteX29" fmla="*/ 1105386 w 2635237"/>
              <a:gd name="connsiteY29" fmla="*/ 1295195 h 1519229"/>
              <a:gd name="connsiteX30" fmla="*/ 969722 w 2635237"/>
              <a:gd name="connsiteY30" fmla="*/ 1257776 h 1519229"/>
              <a:gd name="connsiteX31" fmla="*/ 856920 w 2635237"/>
              <a:gd name="connsiteY31" fmla="*/ 1221581 h 1519229"/>
              <a:gd name="connsiteX32" fmla="*/ 754185 w 2635237"/>
              <a:gd name="connsiteY32" fmla="*/ 1189196 h 1519229"/>
              <a:gd name="connsiteX33" fmla="*/ 662745 w 2635237"/>
              <a:gd name="connsiteY33" fmla="*/ 1159805 h 1519229"/>
              <a:gd name="connsiteX34" fmla="*/ 560351 w 2635237"/>
              <a:gd name="connsiteY34" fmla="*/ 1134291 h 1519229"/>
              <a:gd name="connsiteX35" fmla="*/ 457005 w 2635237"/>
              <a:gd name="connsiteY35" fmla="*/ 1123882 h 1519229"/>
              <a:gd name="connsiteX36" fmla="*/ 378628 w 2635237"/>
              <a:gd name="connsiteY36" fmla="*/ 1117350 h 1519229"/>
              <a:gd name="connsiteX37" fmla="*/ 251877 w 2635237"/>
              <a:gd name="connsiteY37" fmla="*/ 1082312 h 1519229"/>
              <a:gd name="connsiteX38" fmla="*/ 178535 w 2635237"/>
              <a:gd name="connsiteY38" fmla="*/ 1036864 h 1519229"/>
              <a:gd name="connsiteX39" fmla="*/ 111792 w 2635237"/>
              <a:gd name="connsiteY39" fmla="*/ 968352 h 1519229"/>
              <a:gd name="connsiteX40" fmla="*/ 71923 w 2635237"/>
              <a:gd name="connsiteY40" fmla="*/ 907460 h 1519229"/>
              <a:gd name="connsiteX41" fmla="*/ 30965 w 2635237"/>
              <a:gd name="connsiteY41" fmla="*/ 820784 h 1519229"/>
              <a:gd name="connsiteX42" fmla="*/ 2458 w 2635237"/>
              <a:gd name="connsiteY42" fmla="*/ 728730 h 1519229"/>
              <a:gd name="connsiteX43" fmla="*/ 10215 w 2635237"/>
              <a:gd name="connsiteY43" fmla="*/ 617696 h 1519229"/>
              <a:gd name="connsiteX44" fmla="*/ 57431 w 2635237"/>
              <a:gd name="connsiteY44" fmla="*/ 510472 h 1519229"/>
              <a:gd name="connsiteX45" fmla="*/ 113493 w 2635237"/>
              <a:gd name="connsiteY45" fmla="*/ 454410 h 1519229"/>
              <a:gd name="connsiteX46" fmla="*/ 221874 w 2635237"/>
              <a:gd name="connsiteY46" fmla="*/ 376033 h 1519229"/>
              <a:gd name="connsiteX47" fmla="*/ 368831 w 2635237"/>
              <a:gd name="connsiteY47" fmla="*/ 307453 h 1519229"/>
              <a:gd name="connsiteX48" fmla="*/ 525585 w 2635237"/>
              <a:gd name="connsiteY48" fmla="*/ 261733 h 1519229"/>
              <a:gd name="connsiteX49" fmla="*/ 649682 w 2635237"/>
              <a:gd name="connsiteY49" fmla="*/ 229689 h 1519229"/>
              <a:gd name="connsiteX50" fmla="*/ 795755 w 2635237"/>
              <a:gd name="connsiteY50" fmla="*/ 194649 h 1519229"/>
              <a:gd name="connsiteX51" fmla="*/ 953394 w 2635237"/>
              <a:gd name="connsiteY51" fmla="*/ 160496 h 1519229"/>
              <a:gd name="connsiteX52" fmla="*/ 1144982 w 2635237"/>
              <a:gd name="connsiteY52" fmla="*/ 109674 h 1519229"/>
              <a:gd name="connsiteX53" fmla="*/ 1397531 w 2635237"/>
              <a:gd name="connsiteY53" fmla="*/ 42930 h 1519229"/>
              <a:gd name="connsiteX54" fmla="*/ 1547754 w 2635237"/>
              <a:gd name="connsiteY54" fmla="*/ 12043 h 1519229"/>
              <a:gd name="connsiteX55" fmla="*/ 1657042 w 2635237"/>
              <a:gd name="connsiteY55" fmla="*/ 567 h 1519229"/>
              <a:gd name="connsiteX56" fmla="*/ 1769822 w 2635237"/>
              <a:gd name="connsiteY56" fmla="*/ 13267 h 1519229"/>
              <a:gd name="connsiteX57" fmla="*/ 1876163 w 2635237"/>
              <a:gd name="connsiteY57" fmla="*/ 65518 h 1519229"/>
              <a:gd name="connsiteX58" fmla="*/ 1975903 w 2635237"/>
              <a:gd name="connsiteY58" fmla="*/ 144780 h 1519229"/>
              <a:gd name="connsiteX59" fmla="*/ 2070881 w 2635237"/>
              <a:gd name="connsiteY59" fmla="*/ 222545 h 1519229"/>
              <a:gd name="connsiteX60" fmla="*/ 2155177 w 2635237"/>
              <a:gd name="connsiteY60" fmla="*/ 287859 h 1519229"/>
              <a:gd name="connsiteX61" fmla="*/ 2191100 w 2635237"/>
              <a:gd name="connsiteY61" fmla="*/ 333579 h 1519229"/>
              <a:gd name="connsiteX62" fmla="*/ 2210331 w 2635237"/>
              <a:gd name="connsiteY62" fmla="*/ 392090 h 1519229"/>
              <a:gd name="connsiteX63" fmla="*/ 2165155 w 2635237"/>
              <a:gd name="connsiteY63" fmla="*/ 463663 h 1519229"/>
              <a:gd name="connsiteX64" fmla="*/ 2062240 w 2635237"/>
              <a:gd name="connsiteY64" fmla="*/ 493327 h 1519229"/>
              <a:gd name="connsiteX65" fmla="*/ 1937259 w 2635237"/>
              <a:gd name="connsiteY65" fmla="*/ 495096 h 1519229"/>
              <a:gd name="connsiteX66" fmla="*/ 1857997 w 2635237"/>
              <a:gd name="connsiteY66" fmla="*/ 483802 h 1519229"/>
              <a:gd name="connsiteX67" fmla="*/ 1711040 w 2635237"/>
              <a:gd name="connsiteY67" fmla="*/ 460942 h 1519229"/>
              <a:gd name="connsiteX68" fmla="*/ 1570614 w 2635237"/>
              <a:gd name="connsiteY68" fmla="*/ 434816 h 1519229"/>
              <a:gd name="connsiteX69" fmla="*/ 1439985 w 2635237"/>
              <a:gd name="connsiteY69" fmla="*/ 415222 h 1519229"/>
              <a:gd name="connsiteX70" fmla="*/ 1325685 w 2635237"/>
              <a:gd name="connsiteY70" fmla="*/ 418487 h 1519229"/>
              <a:gd name="connsiteX71" fmla="*/ 1225061 w 2635237"/>
              <a:gd name="connsiteY71" fmla="*/ 443728 h 1519229"/>
              <a:gd name="connsiteX72" fmla="*/ 1139540 w 2635237"/>
              <a:gd name="connsiteY72" fmla="*/ 474005 h 1519229"/>
              <a:gd name="connsiteX73" fmla="*/ 1024695 w 2635237"/>
              <a:gd name="connsiteY73" fmla="*/ 519725 h 1519229"/>
              <a:gd name="connsiteX74" fmla="*/ 924002 w 2635237"/>
              <a:gd name="connsiteY74" fmla="*/ 556531 h 1519229"/>
              <a:gd name="connsiteX75" fmla="*/ 773168 w 2635237"/>
              <a:gd name="connsiteY75" fmla="*/ 579120 h 1519229"/>
              <a:gd name="connsiteX76" fmla="*/ 658051 w 2635237"/>
              <a:gd name="connsiteY76" fmla="*/ 581251 h 1519229"/>
              <a:gd name="connsiteX77" fmla="*/ 526220 w 2635237"/>
              <a:gd name="connsiteY77" fmla="*/ 582136 h 1519229"/>
              <a:gd name="connsiteX78" fmla="*/ 408110 w 2635237"/>
              <a:gd name="connsiteY78" fmla="*/ 571363 h 1519229"/>
              <a:gd name="connsiteX79" fmla="*/ 305535 w 2635237"/>
              <a:gd name="connsiteY79" fmla="*/ 559707 h 1519229"/>
              <a:gd name="connsiteX80" fmla="*/ 172888 w 2635237"/>
              <a:gd name="connsiteY80" fmla="*/ 549116 h 1519229"/>
              <a:gd name="connsiteX0" fmla="*/ 2627648 w 2627648"/>
              <a:gd name="connsiteY0" fmla="*/ 1016113 h 1519229"/>
              <a:gd name="connsiteX1" fmla="*/ 2618032 w 2627648"/>
              <a:gd name="connsiteY1" fmla="*/ 1071630 h 1519229"/>
              <a:gd name="connsiteX2" fmla="*/ 2619347 w 2627648"/>
              <a:gd name="connsiteY2" fmla="*/ 1129529 h 1519229"/>
              <a:gd name="connsiteX3" fmla="*/ 2617851 w 2627648"/>
              <a:gd name="connsiteY3" fmla="*/ 1176133 h 1519229"/>
              <a:gd name="connsiteX4" fmla="*/ 2614313 w 2627648"/>
              <a:gd name="connsiteY4" fmla="*/ 1231038 h 1519229"/>
              <a:gd name="connsiteX5" fmla="*/ 2582200 w 2627648"/>
              <a:gd name="connsiteY5" fmla="*/ 1280727 h 1519229"/>
              <a:gd name="connsiteX6" fmla="*/ 2552536 w 2627648"/>
              <a:gd name="connsiteY6" fmla="*/ 1316559 h 1519229"/>
              <a:gd name="connsiteX7" fmla="*/ 2497019 w 2627648"/>
              <a:gd name="connsiteY7" fmla="*/ 1326356 h 1519229"/>
              <a:gd name="connsiteX8" fmla="*/ 2444768 w 2627648"/>
              <a:gd name="connsiteY8" fmla="*/ 1329622 h 1519229"/>
              <a:gd name="connsiteX9" fmla="*/ 2399048 w 2627648"/>
              <a:gd name="connsiteY9" fmla="*/ 1329622 h 1519229"/>
              <a:gd name="connsiteX10" fmla="*/ 2343531 w 2627648"/>
              <a:gd name="connsiteY10" fmla="*/ 1342685 h 1519229"/>
              <a:gd name="connsiteX11" fmla="*/ 2294908 w 2627648"/>
              <a:gd name="connsiteY11" fmla="*/ 1372348 h 1519229"/>
              <a:gd name="connsiteX12" fmla="*/ 2278216 w 2627648"/>
              <a:gd name="connsiteY12" fmla="*/ 1411265 h 1519229"/>
              <a:gd name="connsiteX13" fmla="*/ 2239028 w 2627648"/>
              <a:gd name="connsiteY13" fmla="*/ 1453719 h 1519229"/>
              <a:gd name="connsiteX14" fmla="*/ 2182627 w 2627648"/>
              <a:gd name="connsiteY14" fmla="*/ 1471817 h 1519229"/>
              <a:gd name="connsiteX15" fmla="*/ 2114931 w 2627648"/>
              <a:gd name="connsiteY15" fmla="*/ 1463516 h 1519229"/>
              <a:gd name="connsiteX16" fmla="*/ 2046351 w 2627648"/>
              <a:gd name="connsiteY16" fmla="*/ 1466782 h 1519229"/>
              <a:gd name="connsiteX17" fmla="*/ 2003896 w 2627648"/>
              <a:gd name="connsiteY17" fmla="*/ 1479845 h 1519229"/>
              <a:gd name="connsiteX18" fmla="*/ 1967973 w 2627648"/>
              <a:gd name="connsiteY18" fmla="*/ 1499439 h 1519229"/>
              <a:gd name="connsiteX19" fmla="*/ 1925428 w 2627648"/>
              <a:gd name="connsiteY19" fmla="*/ 1515677 h 1519229"/>
              <a:gd name="connsiteX20" fmla="*/ 1882611 w 2627648"/>
              <a:gd name="connsiteY20" fmla="*/ 1516923 h 1519229"/>
              <a:gd name="connsiteX21" fmla="*/ 1794891 w 2627648"/>
              <a:gd name="connsiteY21" fmla="*/ 1489302 h 1519229"/>
              <a:gd name="connsiteX22" fmla="*/ 1733455 w 2627648"/>
              <a:gd name="connsiteY22" fmla="*/ 1449568 h 1519229"/>
              <a:gd name="connsiteX23" fmla="*/ 1673787 w 2627648"/>
              <a:gd name="connsiteY23" fmla="*/ 1392827 h 1519229"/>
              <a:gd name="connsiteX24" fmla="*/ 1579421 w 2627648"/>
              <a:gd name="connsiteY24" fmla="*/ 1365817 h 1519229"/>
              <a:gd name="connsiteX25" fmla="*/ 1469204 w 2627648"/>
              <a:gd name="connsiteY25" fmla="*/ 1348603 h 1519229"/>
              <a:gd name="connsiteX26" fmla="*/ 1388446 w 2627648"/>
              <a:gd name="connsiteY26" fmla="*/ 1346222 h 1519229"/>
              <a:gd name="connsiteX27" fmla="*/ 1306531 w 2627648"/>
              <a:gd name="connsiteY27" fmla="*/ 1340303 h 1519229"/>
              <a:gd name="connsiteX28" fmla="*/ 1217743 w 2627648"/>
              <a:gd name="connsiteY28" fmla="*/ 1327241 h 1519229"/>
              <a:gd name="connsiteX29" fmla="*/ 1097797 w 2627648"/>
              <a:gd name="connsiteY29" fmla="*/ 1295195 h 1519229"/>
              <a:gd name="connsiteX30" fmla="*/ 962133 w 2627648"/>
              <a:gd name="connsiteY30" fmla="*/ 1257776 h 1519229"/>
              <a:gd name="connsiteX31" fmla="*/ 849331 w 2627648"/>
              <a:gd name="connsiteY31" fmla="*/ 1221581 h 1519229"/>
              <a:gd name="connsiteX32" fmla="*/ 746596 w 2627648"/>
              <a:gd name="connsiteY32" fmla="*/ 1189196 h 1519229"/>
              <a:gd name="connsiteX33" fmla="*/ 655156 w 2627648"/>
              <a:gd name="connsiteY33" fmla="*/ 1159805 h 1519229"/>
              <a:gd name="connsiteX34" fmla="*/ 552762 w 2627648"/>
              <a:gd name="connsiteY34" fmla="*/ 1134291 h 1519229"/>
              <a:gd name="connsiteX35" fmla="*/ 449416 w 2627648"/>
              <a:gd name="connsiteY35" fmla="*/ 1123882 h 1519229"/>
              <a:gd name="connsiteX36" fmla="*/ 371039 w 2627648"/>
              <a:gd name="connsiteY36" fmla="*/ 1117350 h 1519229"/>
              <a:gd name="connsiteX37" fmla="*/ 244288 w 2627648"/>
              <a:gd name="connsiteY37" fmla="*/ 1082312 h 1519229"/>
              <a:gd name="connsiteX38" fmla="*/ 170946 w 2627648"/>
              <a:gd name="connsiteY38" fmla="*/ 1036864 h 1519229"/>
              <a:gd name="connsiteX39" fmla="*/ 104203 w 2627648"/>
              <a:gd name="connsiteY39" fmla="*/ 968352 h 1519229"/>
              <a:gd name="connsiteX40" fmla="*/ 64334 w 2627648"/>
              <a:gd name="connsiteY40" fmla="*/ 907460 h 1519229"/>
              <a:gd name="connsiteX41" fmla="*/ 23376 w 2627648"/>
              <a:gd name="connsiteY41" fmla="*/ 820784 h 1519229"/>
              <a:gd name="connsiteX42" fmla="*/ 9157 w 2627648"/>
              <a:gd name="connsiteY42" fmla="*/ 716824 h 1519229"/>
              <a:gd name="connsiteX43" fmla="*/ 2626 w 2627648"/>
              <a:gd name="connsiteY43" fmla="*/ 617696 h 1519229"/>
              <a:gd name="connsiteX44" fmla="*/ 49842 w 2627648"/>
              <a:gd name="connsiteY44" fmla="*/ 510472 h 1519229"/>
              <a:gd name="connsiteX45" fmla="*/ 105904 w 2627648"/>
              <a:gd name="connsiteY45" fmla="*/ 454410 h 1519229"/>
              <a:gd name="connsiteX46" fmla="*/ 214285 w 2627648"/>
              <a:gd name="connsiteY46" fmla="*/ 376033 h 1519229"/>
              <a:gd name="connsiteX47" fmla="*/ 361242 w 2627648"/>
              <a:gd name="connsiteY47" fmla="*/ 307453 h 1519229"/>
              <a:gd name="connsiteX48" fmla="*/ 517996 w 2627648"/>
              <a:gd name="connsiteY48" fmla="*/ 261733 h 1519229"/>
              <a:gd name="connsiteX49" fmla="*/ 642093 w 2627648"/>
              <a:gd name="connsiteY49" fmla="*/ 229689 h 1519229"/>
              <a:gd name="connsiteX50" fmla="*/ 788166 w 2627648"/>
              <a:gd name="connsiteY50" fmla="*/ 194649 h 1519229"/>
              <a:gd name="connsiteX51" fmla="*/ 945805 w 2627648"/>
              <a:gd name="connsiteY51" fmla="*/ 160496 h 1519229"/>
              <a:gd name="connsiteX52" fmla="*/ 1137393 w 2627648"/>
              <a:gd name="connsiteY52" fmla="*/ 109674 h 1519229"/>
              <a:gd name="connsiteX53" fmla="*/ 1389942 w 2627648"/>
              <a:gd name="connsiteY53" fmla="*/ 42930 h 1519229"/>
              <a:gd name="connsiteX54" fmla="*/ 1540165 w 2627648"/>
              <a:gd name="connsiteY54" fmla="*/ 12043 h 1519229"/>
              <a:gd name="connsiteX55" fmla="*/ 1649453 w 2627648"/>
              <a:gd name="connsiteY55" fmla="*/ 567 h 1519229"/>
              <a:gd name="connsiteX56" fmla="*/ 1762233 w 2627648"/>
              <a:gd name="connsiteY56" fmla="*/ 13267 h 1519229"/>
              <a:gd name="connsiteX57" fmla="*/ 1868574 w 2627648"/>
              <a:gd name="connsiteY57" fmla="*/ 65518 h 1519229"/>
              <a:gd name="connsiteX58" fmla="*/ 1968314 w 2627648"/>
              <a:gd name="connsiteY58" fmla="*/ 144780 h 1519229"/>
              <a:gd name="connsiteX59" fmla="*/ 2063292 w 2627648"/>
              <a:gd name="connsiteY59" fmla="*/ 222545 h 1519229"/>
              <a:gd name="connsiteX60" fmla="*/ 2147588 w 2627648"/>
              <a:gd name="connsiteY60" fmla="*/ 287859 h 1519229"/>
              <a:gd name="connsiteX61" fmla="*/ 2183511 w 2627648"/>
              <a:gd name="connsiteY61" fmla="*/ 333579 h 1519229"/>
              <a:gd name="connsiteX62" fmla="*/ 2202742 w 2627648"/>
              <a:gd name="connsiteY62" fmla="*/ 392090 h 1519229"/>
              <a:gd name="connsiteX63" fmla="*/ 2157566 w 2627648"/>
              <a:gd name="connsiteY63" fmla="*/ 463663 h 1519229"/>
              <a:gd name="connsiteX64" fmla="*/ 2054651 w 2627648"/>
              <a:gd name="connsiteY64" fmla="*/ 493327 h 1519229"/>
              <a:gd name="connsiteX65" fmla="*/ 1929670 w 2627648"/>
              <a:gd name="connsiteY65" fmla="*/ 495096 h 1519229"/>
              <a:gd name="connsiteX66" fmla="*/ 1850408 w 2627648"/>
              <a:gd name="connsiteY66" fmla="*/ 483802 h 1519229"/>
              <a:gd name="connsiteX67" fmla="*/ 1703451 w 2627648"/>
              <a:gd name="connsiteY67" fmla="*/ 460942 h 1519229"/>
              <a:gd name="connsiteX68" fmla="*/ 1563025 w 2627648"/>
              <a:gd name="connsiteY68" fmla="*/ 434816 h 1519229"/>
              <a:gd name="connsiteX69" fmla="*/ 1432396 w 2627648"/>
              <a:gd name="connsiteY69" fmla="*/ 415222 h 1519229"/>
              <a:gd name="connsiteX70" fmla="*/ 1318096 w 2627648"/>
              <a:gd name="connsiteY70" fmla="*/ 418487 h 1519229"/>
              <a:gd name="connsiteX71" fmla="*/ 1217472 w 2627648"/>
              <a:gd name="connsiteY71" fmla="*/ 443728 h 1519229"/>
              <a:gd name="connsiteX72" fmla="*/ 1131951 w 2627648"/>
              <a:gd name="connsiteY72" fmla="*/ 474005 h 1519229"/>
              <a:gd name="connsiteX73" fmla="*/ 1017106 w 2627648"/>
              <a:gd name="connsiteY73" fmla="*/ 519725 h 1519229"/>
              <a:gd name="connsiteX74" fmla="*/ 916413 w 2627648"/>
              <a:gd name="connsiteY74" fmla="*/ 556531 h 1519229"/>
              <a:gd name="connsiteX75" fmla="*/ 765579 w 2627648"/>
              <a:gd name="connsiteY75" fmla="*/ 579120 h 1519229"/>
              <a:gd name="connsiteX76" fmla="*/ 650462 w 2627648"/>
              <a:gd name="connsiteY76" fmla="*/ 581251 h 1519229"/>
              <a:gd name="connsiteX77" fmla="*/ 518631 w 2627648"/>
              <a:gd name="connsiteY77" fmla="*/ 582136 h 1519229"/>
              <a:gd name="connsiteX78" fmla="*/ 400521 w 2627648"/>
              <a:gd name="connsiteY78" fmla="*/ 571363 h 1519229"/>
              <a:gd name="connsiteX79" fmla="*/ 297946 w 2627648"/>
              <a:gd name="connsiteY79" fmla="*/ 559707 h 1519229"/>
              <a:gd name="connsiteX80" fmla="*/ 165299 w 2627648"/>
              <a:gd name="connsiteY80" fmla="*/ 549116 h 1519229"/>
              <a:gd name="connsiteX0" fmla="*/ 2635236 w 2635236"/>
              <a:gd name="connsiteY0" fmla="*/ 1016113 h 1519229"/>
              <a:gd name="connsiteX1" fmla="*/ 2625620 w 2635236"/>
              <a:gd name="connsiteY1" fmla="*/ 1071630 h 1519229"/>
              <a:gd name="connsiteX2" fmla="*/ 2626935 w 2635236"/>
              <a:gd name="connsiteY2" fmla="*/ 1129529 h 1519229"/>
              <a:gd name="connsiteX3" fmla="*/ 2625439 w 2635236"/>
              <a:gd name="connsiteY3" fmla="*/ 1176133 h 1519229"/>
              <a:gd name="connsiteX4" fmla="*/ 2621901 w 2635236"/>
              <a:gd name="connsiteY4" fmla="*/ 1231038 h 1519229"/>
              <a:gd name="connsiteX5" fmla="*/ 2589788 w 2635236"/>
              <a:gd name="connsiteY5" fmla="*/ 1280727 h 1519229"/>
              <a:gd name="connsiteX6" fmla="*/ 2560124 w 2635236"/>
              <a:gd name="connsiteY6" fmla="*/ 1316559 h 1519229"/>
              <a:gd name="connsiteX7" fmla="*/ 2504607 w 2635236"/>
              <a:gd name="connsiteY7" fmla="*/ 1326356 h 1519229"/>
              <a:gd name="connsiteX8" fmla="*/ 2452356 w 2635236"/>
              <a:gd name="connsiteY8" fmla="*/ 1329622 h 1519229"/>
              <a:gd name="connsiteX9" fmla="*/ 2406636 w 2635236"/>
              <a:gd name="connsiteY9" fmla="*/ 1329622 h 1519229"/>
              <a:gd name="connsiteX10" fmla="*/ 2351119 w 2635236"/>
              <a:gd name="connsiteY10" fmla="*/ 1342685 h 1519229"/>
              <a:gd name="connsiteX11" fmla="*/ 2302496 w 2635236"/>
              <a:gd name="connsiteY11" fmla="*/ 1372348 h 1519229"/>
              <a:gd name="connsiteX12" fmla="*/ 2285804 w 2635236"/>
              <a:gd name="connsiteY12" fmla="*/ 1411265 h 1519229"/>
              <a:gd name="connsiteX13" fmla="*/ 2246616 w 2635236"/>
              <a:gd name="connsiteY13" fmla="*/ 1453719 h 1519229"/>
              <a:gd name="connsiteX14" fmla="*/ 2190215 w 2635236"/>
              <a:gd name="connsiteY14" fmla="*/ 1471817 h 1519229"/>
              <a:gd name="connsiteX15" fmla="*/ 2122519 w 2635236"/>
              <a:gd name="connsiteY15" fmla="*/ 1463516 h 1519229"/>
              <a:gd name="connsiteX16" fmla="*/ 2053939 w 2635236"/>
              <a:gd name="connsiteY16" fmla="*/ 1466782 h 1519229"/>
              <a:gd name="connsiteX17" fmla="*/ 2011484 w 2635236"/>
              <a:gd name="connsiteY17" fmla="*/ 1479845 h 1519229"/>
              <a:gd name="connsiteX18" fmla="*/ 1975561 w 2635236"/>
              <a:gd name="connsiteY18" fmla="*/ 1499439 h 1519229"/>
              <a:gd name="connsiteX19" fmla="*/ 1933016 w 2635236"/>
              <a:gd name="connsiteY19" fmla="*/ 1515677 h 1519229"/>
              <a:gd name="connsiteX20" fmla="*/ 1890199 w 2635236"/>
              <a:gd name="connsiteY20" fmla="*/ 1516923 h 1519229"/>
              <a:gd name="connsiteX21" fmla="*/ 1802479 w 2635236"/>
              <a:gd name="connsiteY21" fmla="*/ 1489302 h 1519229"/>
              <a:gd name="connsiteX22" fmla="*/ 1741043 w 2635236"/>
              <a:gd name="connsiteY22" fmla="*/ 1449568 h 1519229"/>
              <a:gd name="connsiteX23" fmla="*/ 1681375 w 2635236"/>
              <a:gd name="connsiteY23" fmla="*/ 1392827 h 1519229"/>
              <a:gd name="connsiteX24" fmla="*/ 1587009 w 2635236"/>
              <a:gd name="connsiteY24" fmla="*/ 1365817 h 1519229"/>
              <a:gd name="connsiteX25" fmla="*/ 1476792 w 2635236"/>
              <a:gd name="connsiteY25" fmla="*/ 1348603 h 1519229"/>
              <a:gd name="connsiteX26" fmla="*/ 1396034 w 2635236"/>
              <a:gd name="connsiteY26" fmla="*/ 1346222 h 1519229"/>
              <a:gd name="connsiteX27" fmla="*/ 1314119 w 2635236"/>
              <a:gd name="connsiteY27" fmla="*/ 1340303 h 1519229"/>
              <a:gd name="connsiteX28" fmla="*/ 1225331 w 2635236"/>
              <a:gd name="connsiteY28" fmla="*/ 1327241 h 1519229"/>
              <a:gd name="connsiteX29" fmla="*/ 1105385 w 2635236"/>
              <a:gd name="connsiteY29" fmla="*/ 1295195 h 1519229"/>
              <a:gd name="connsiteX30" fmla="*/ 969721 w 2635236"/>
              <a:gd name="connsiteY30" fmla="*/ 1257776 h 1519229"/>
              <a:gd name="connsiteX31" fmla="*/ 856919 w 2635236"/>
              <a:gd name="connsiteY31" fmla="*/ 1221581 h 1519229"/>
              <a:gd name="connsiteX32" fmla="*/ 754184 w 2635236"/>
              <a:gd name="connsiteY32" fmla="*/ 1189196 h 1519229"/>
              <a:gd name="connsiteX33" fmla="*/ 662744 w 2635236"/>
              <a:gd name="connsiteY33" fmla="*/ 1159805 h 1519229"/>
              <a:gd name="connsiteX34" fmla="*/ 560350 w 2635236"/>
              <a:gd name="connsiteY34" fmla="*/ 1134291 h 1519229"/>
              <a:gd name="connsiteX35" fmla="*/ 457004 w 2635236"/>
              <a:gd name="connsiteY35" fmla="*/ 1123882 h 1519229"/>
              <a:gd name="connsiteX36" fmla="*/ 378627 w 2635236"/>
              <a:gd name="connsiteY36" fmla="*/ 1117350 h 1519229"/>
              <a:gd name="connsiteX37" fmla="*/ 251876 w 2635236"/>
              <a:gd name="connsiteY37" fmla="*/ 1082312 h 1519229"/>
              <a:gd name="connsiteX38" fmla="*/ 178534 w 2635236"/>
              <a:gd name="connsiteY38" fmla="*/ 1036864 h 1519229"/>
              <a:gd name="connsiteX39" fmla="*/ 111791 w 2635236"/>
              <a:gd name="connsiteY39" fmla="*/ 968352 h 1519229"/>
              <a:gd name="connsiteX40" fmla="*/ 71922 w 2635236"/>
              <a:gd name="connsiteY40" fmla="*/ 907460 h 1519229"/>
              <a:gd name="connsiteX41" fmla="*/ 30964 w 2635236"/>
              <a:gd name="connsiteY41" fmla="*/ 820784 h 1519229"/>
              <a:gd name="connsiteX42" fmla="*/ 2458 w 2635236"/>
              <a:gd name="connsiteY42" fmla="*/ 721587 h 1519229"/>
              <a:gd name="connsiteX43" fmla="*/ 10214 w 2635236"/>
              <a:gd name="connsiteY43" fmla="*/ 617696 h 1519229"/>
              <a:gd name="connsiteX44" fmla="*/ 57430 w 2635236"/>
              <a:gd name="connsiteY44" fmla="*/ 510472 h 1519229"/>
              <a:gd name="connsiteX45" fmla="*/ 113492 w 2635236"/>
              <a:gd name="connsiteY45" fmla="*/ 454410 h 1519229"/>
              <a:gd name="connsiteX46" fmla="*/ 221873 w 2635236"/>
              <a:gd name="connsiteY46" fmla="*/ 376033 h 1519229"/>
              <a:gd name="connsiteX47" fmla="*/ 368830 w 2635236"/>
              <a:gd name="connsiteY47" fmla="*/ 307453 h 1519229"/>
              <a:gd name="connsiteX48" fmla="*/ 525584 w 2635236"/>
              <a:gd name="connsiteY48" fmla="*/ 261733 h 1519229"/>
              <a:gd name="connsiteX49" fmla="*/ 649681 w 2635236"/>
              <a:gd name="connsiteY49" fmla="*/ 229689 h 1519229"/>
              <a:gd name="connsiteX50" fmla="*/ 795754 w 2635236"/>
              <a:gd name="connsiteY50" fmla="*/ 194649 h 1519229"/>
              <a:gd name="connsiteX51" fmla="*/ 953393 w 2635236"/>
              <a:gd name="connsiteY51" fmla="*/ 160496 h 1519229"/>
              <a:gd name="connsiteX52" fmla="*/ 1144981 w 2635236"/>
              <a:gd name="connsiteY52" fmla="*/ 109674 h 1519229"/>
              <a:gd name="connsiteX53" fmla="*/ 1397530 w 2635236"/>
              <a:gd name="connsiteY53" fmla="*/ 42930 h 1519229"/>
              <a:gd name="connsiteX54" fmla="*/ 1547753 w 2635236"/>
              <a:gd name="connsiteY54" fmla="*/ 12043 h 1519229"/>
              <a:gd name="connsiteX55" fmla="*/ 1657041 w 2635236"/>
              <a:gd name="connsiteY55" fmla="*/ 567 h 1519229"/>
              <a:gd name="connsiteX56" fmla="*/ 1769821 w 2635236"/>
              <a:gd name="connsiteY56" fmla="*/ 13267 h 1519229"/>
              <a:gd name="connsiteX57" fmla="*/ 1876162 w 2635236"/>
              <a:gd name="connsiteY57" fmla="*/ 65518 h 1519229"/>
              <a:gd name="connsiteX58" fmla="*/ 1975902 w 2635236"/>
              <a:gd name="connsiteY58" fmla="*/ 144780 h 1519229"/>
              <a:gd name="connsiteX59" fmla="*/ 2070880 w 2635236"/>
              <a:gd name="connsiteY59" fmla="*/ 222545 h 1519229"/>
              <a:gd name="connsiteX60" fmla="*/ 2155176 w 2635236"/>
              <a:gd name="connsiteY60" fmla="*/ 287859 h 1519229"/>
              <a:gd name="connsiteX61" fmla="*/ 2191099 w 2635236"/>
              <a:gd name="connsiteY61" fmla="*/ 333579 h 1519229"/>
              <a:gd name="connsiteX62" fmla="*/ 2210330 w 2635236"/>
              <a:gd name="connsiteY62" fmla="*/ 392090 h 1519229"/>
              <a:gd name="connsiteX63" fmla="*/ 2165154 w 2635236"/>
              <a:gd name="connsiteY63" fmla="*/ 463663 h 1519229"/>
              <a:gd name="connsiteX64" fmla="*/ 2062239 w 2635236"/>
              <a:gd name="connsiteY64" fmla="*/ 493327 h 1519229"/>
              <a:gd name="connsiteX65" fmla="*/ 1937258 w 2635236"/>
              <a:gd name="connsiteY65" fmla="*/ 495096 h 1519229"/>
              <a:gd name="connsiteX66" fmla="*/ 1857996 w 2635236"/>
              <a:gd name="connsiteY66" fmla="*/ 483802 h 1519229"/>
              <a:gd name="connsiteX67" fmla="*/ 1711039 w 2635236"/>
              <a:gd name="connsiteY67" fmla="*/ 460942 h 1519229"/>
              <a:gd name="connsiteX68" fmla="*/ 1570613 w 2635236"/>
              <a:gd name="connsiteY68" fmla="*/ 434816 h 1519229"/>
              <a:gd name="connsiteX69" fmla="*/ 1439984 w 2635236"/>
              <a:gd name="connsiteY69" fmla="*/ 415222 h 1519229"/>
              <a:gd name="connsiteX70" fmla="*/ 1325684 w 2635236"/>
              <a:gd name="connsiteY70" fmla="*/ 418487 h 1519229"/>
              <a:gd name="connsiteX71" fmla="*/ 1225060 w 2635236"/>
              <a:gd name="connsiteY71" fmla="*/ 443728 h 1519229"/>
              <a:gd name="connsiteX72" fmla="*/ 1139539 w 2635236"/>
              <a:gd name="connsiteY72" fmla="*/ 474005 h 1519229"/>
              <a:gd name="connsiteX73" fmla="*/ 1024694 w 2635236"/>
              <a:gd name="connsiteY73" fmla="*/ 519725 h 1519229"/>
              <a:gd name="connsiteX74" fmla="*/ 924001 w 2635236"/>
              <a:gd name="connsiteY74" fmla="*/ 556531 h 1519229"/>
              <a:gd name="connsiteX75" fmla="*/ 773167 w 2635236"/>
              <a:gd name="connsiteY75" fmla="*/ 579120 h 1519229"/>
              <a:gd name="connsiteX76" fmla="*/ 658050 w 2635236"/>
              <a:gd name="connsiteY76" fmla="*/ 581251 h 1519229"/>
              <a:gd name="connsiteX77" fmla="*/ 526219 w 2635236"/>
              <a:gd name="connsiteY77" fmla="*/ 582136 h 1519229"/>
              <a:gd name="connsiteX78" fmla="*/ 408109 w 2635236"/>
              <a:gd name="connsiteY78" fmla="*/ 571363 h 1519229"/>
              <a:gd name="connsiteX79" fmla="*/ 305534 w 2635236"/>
              <a:gd name="connsiteY79" fmla="*/ 559707 h 1519229"/>
              <a:gd name="connsiteX80" fmla="*/ 172887 w 2635236"/>
              <a:gd name="connsiteY80" fmla="*/ 549116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19334 w 2629239"/>
              <a:gd name="connsiteY28" fmla="*/ 1327241 h 1519229"/>
              <a:gd name="connsiteX29" fmla="*/ 1099388 w 2629239"/>
              <a:gd name="connsiteY29" fmla="*/ 1295195 h 1519229"/>
              <a:gd name="connsiteX30" fmla="*/ 963724 w 2629239"/>
              <a:gd name="connsiteY30" fmla="*/ 1257776 h 1519229"/>
              <a:gd name="connsiteX31" fmla="*/ 850922 w 2629239"/>
              <a:gd name="connsiteY31" fmla="*/ 1221581 h 1519229"/>
              <a:gd name="connsiteX32" fmla="*/ 748187 w 2629239"/>
              <a:gd name="connsiteY32" fmla="*/ 1189196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43684 w 2629239"/>
              <a:gd name="connsiteY49" fmla="*/ 229689 h 1519229"/>
              <a:gd name="connsiteX50" fmla="*/ 789757 w 2629239"/>
              <a:gd name="connsiteY50" fmla="*/ 194649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6890 w 2629239"/>
              <a:gd name="connsiteY80" fmla="*/ 549116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19334 w 2629239"/>
              <a:gd name="connsiteY28" fmla="*/ 1327241 h 1519229"/>
              <a:gd name="connsiteX29" fmla="*/ 1099388 w 2629239"/>
              <a:gd name="connsiteY29" fmla="*/ 1295195 h 1519229"/>
              <a:gd name="connsiteX30" fmla="*/ 963724 w 2629239"/>
              <a:gd name="connsiteY30" fmla="*/ 1257776 h 1519229"/>
              <a:gd name="connsiteX31" fmla="*/ 850922 w 2629239"/>
              <a:gd name="connsiteY31" fmla="*/ 1216819 h 1519229"/>
              <a:gd name="connsiteX32" fmla="*/ 748187 w 2629239"/>
              <a:gd name="connsiteY32" fmla="*/ 1189196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43684 w 2629239"/>
              <a:gd name="connsiteY49" fmla="*/ 229689 h 1519229"/>
              <a:gd name="connsiteX50" fmla="*/ 789757 w 2629239"/>
              <a:gd name="connsiteY50" fmla="*/ 194649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6890 w 2629239"/>
              <a:gd name="connsiteY80" fmla="*/ 549116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19334 w 2629239"/>
              <a:gd name="connsiteY28" fmla="*/ 1327241 h 1519229"/>
              <a:gd name="connsiteX29" fmla="*/ 1099388 w 2629239"/>
              <a:gd name="connsiteY29" fmla="*/ 1295195 h 1519229"/>
              <a:gd name="connsiteX30" fmla="*/ 963724 w 2629239"/>
              <a:gd name="connsiteY30" fmla="*/ 1257776 h 1519229"/>
              <a:gd name="connsiteX31" fmla="*/ 850922 w 2629239"/>
              <a:gd name="connsiteY31" fmla="*/ 1216819 h 1519229"/>
              <a:gd name="connsiteX32" fmla="*/ 752949 w 2629239"/>
              <a:gd name="connsiteY32" fmla="*/ 1179671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43684 w 2629239"/>
              <a:gd name="connsiteY49" fmla="*/ 229689 h 1519229"/>
              <a:gd name="connsiteX50" fmla="*/ 789757 w 2629239"/>
              <a:gd name="connsiteY50" fmla="*/ 194649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6890 w 2629239"/>
              <a:gd name="connsiteY80" fmla="*/ 549116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19334 w 2629239"/>
              <a:gd name="connsiteY28" fmla="*/ 1327241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79671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43684 w 2629239"/>
              <a:gd name="connsiteY49" fmla="*/ 229689 h 1519229"/>
              <a:gd name="connsiteX50" fmla="*/ 789757 w 2629239"/>
              <a:gd name="connsiteY50" fmla="*/ 194649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6890 w 2629239"/>
              <a:gd name="connsiteY80" fmla="*/ 549116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19334 w 2629239"/>
              <a:gd name="connsiteY28" fmla="*/ 1327241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79671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43684 w 2629239"/>
              <a:gd name="connsiteY49" fmla="*/ 229689 h 1519229"/>
              <a:gd name="connsiteX50" fmla="*/ 789757 w 2629239"/>
              <a:gd name="connsiteY50" fmla="*/ 194649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6890 w 2629239"/>
              <a:gd name="connsiteY80" fmla="*/ 549116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19334 w 2629239"/>
              <a:gd name="connsiteY28" fmla="*/ 1327241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43684 w 2629239"/>
              <a:gd name="connsiteY49" fmla="*/ 229689 h 1519229"/>
              <a:gd name="connsiteX50" fmla="*/ 789757 w 2629239"/>
              <a:gd name="connsiteY50" fmla="*/ 194649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6890 w 2629239"/>
              <a:gd name="connsiteY80" fmla="*/ 549116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19334 w 2629239"/>
              <a:gd name="connsiteY28" fmla="*/ 1327241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43684 w 2629239"/>
              <a:gd name="connsiteY49" fmla="*/ 229689 h 1519229"/>
              <a:gd name="connsiteX50" fmla="*/ 789757 w 2629239"/>
              <a:gd name="connsiteY50" fmla="*/ 194649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41972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19334 w 2629239"/>
              <a:gd name="connsiteY28" fmla="*/ 1327241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789757 w 2629239"/>
              <a:gd name="connsiteY50" fmla="*/ 194649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41972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19334 w 2629239"/>
              <a:gd name="connsiteY28" fmla="*/ 1327241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41972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41972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3791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86172 w 2629239"/>
              <a:gd name="connsiteY5" fmla="*/ 1283108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90934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85102 w 2629239"/>
              <a:gd name="connsiteY61" fmla="*/ 333579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90934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49179 w 2629239"/>
              <a:gd name="connsiteY60" fmla="*/ 287859 h 1519229"/>
              <a:gd name="connsiteX61" fmla="*/ 2174062 w 2629239"/>
              <a:gd name="connsiteY61" fmla="*/ 333578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90934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64883 w 2629239"/>
              <a:gd name="connsiteY59" fmla="*/ 222545 h 1519229"/>
              <a:gd name="connsiteX60" fmla="*/ 2121579 w 2629239"/>
              <a:gd name="connsiteY60" fmla="*/ 287859 h 1519229"/>
              <a:gd name="connsiteX61" fmla="*/ 2174062 w 2629239"/>
              <a:gd name="connsiteY61" fmla="*/ 333578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90934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69905 w 2629239"/>
              <a:gd name="connsiteY58" fmla="*/ 144780 h 1519229"/>
              <a:gd name="connsiteX59" fmla="*/ 2048323 w 2629239"/>
              <a:gd name="connsiteY59" fmla="*/ 222546 h 1519229"/>
              <a:gd name="connsiteX60" fmla="*/ 2121579 w 2629239"/>
              <a:gd name="connsiteY60" fmla="*/ 287859 h 1519229"/>
              <a:gd name="connsiteX61" fmla="*/ 2174062 w 2629239"/>
              <a:gd name="connsiteY61" fmla="*/ 333578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90934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63824 w 2629239"/>
              <a:gd name="connsiteY56" fmla="*/ 13267 h 1519229"/>
              <a:gd name="connsiteX57" fmla="*/ 1870165 w 2629239"/>
              <a:gd name="connsiteY57" fmla="*/ 65518 h 1519229"/>
              <a:gd name="connsiteX58" fmla="*/ 1958866 w 2629239"/>
              <a:gd name="connsiteY58" fmla="*/ 144781 h 1519229"/>
              <a:gd name="connsiteX59" fmla="*/ 2048323 w 2629239"/>
              <a:gd name="connsiteY59" fmla="*/ 222546 h 1519229"/>
              <a:gd name="connsiteX60" fmla="*/ 2121579 w 2629239"/>
              <a:gd name="connsiteY60" fmla="*/ 287859 h 1519229"/>
              <a:gd name="connsiteX61" fmla="*/ 2174062 w 2629239"/>
              <a:gd name="connsiteY61" fmla="*/ 333578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113 h 1519229"/>
              <a:gd name="connsiteX1" fmla="*/ 2619623 w 2629239"/>
              <a:gd name="connsiteY1" fmla="*/ 1071630 h 1519229"/>
              <a:gd name="connsiteX2" fmla="*/ 2620938 w 2629239"/>
              <a:gd name="connsiteY2" fmla="*/ 1129529 h 1519229"/>
              <a:gd name="connsiteX3" fmla="*/ 2619442 w 2629239"/>
              <a:gd name="connsiteY3" fmla="*/ 1176133 h 1519229"/>
              <a:gd name="connsiteX4" fmla="*/ 2615904 w 2629239"/>
              <a:gd name="connsiteY4" fmla="*/ 1231038 h 1519229"/>
              <a:gd name="connsiteX5" fmla="*/ 2590934 w 2629239"/>
              <a:gd name="connsiteY5" fmla="*/ 1280727 h 1519229"/>
              <a:gd name="connsiteX6" fmla="*/ 2554127 w 2629239"/>
              <a:gd name="connsiteY6" fmla="*/ 1316559 h 1519229"/>
              <a:gd name="connsiteX7" fmla="*/ 2498610 w 2629239"/>
              <a:gd name="connsiteY7" fmla="*/ 1326356 h 1519229"/>
              <a:gd name="connsiteX8" fmla="*/ 2446359 w 2629239"/>
              <a:gd name="connsiteY8" fmla="*/ 1329622 h 1519229"/>
              <a:gd name="connsiteX9" fmla="*/ 2400639 w 2629239"/>
              <a:gd name="connsiteY9" fmla="*/ 1329622 h 1519229"/>
              <a:gd name="connsiteX10" fmla="*/ 2345122 w 2629239"/>
              <a:gd name="connsiteY10" fmla="*/ 1342685 h 1519229"/>
              <a:gd name="connsiteX11" fmla="*/ 2296499 w 2629239"/>
              <a:gd name="connsiteY11" fmla="*/ 1372348 h 1519229"/>
              <a:gd name="connsiteX12" fmla="*/ 2279807 w 2629239"/>
              <a:gd name="connsiteY12" fmla="*/ 1411265 h 1519229"/>
              <a:gd name="connsiteX13" fmla="*/ 2240619 w 2629239"/>
              <a:gd name="connsiteY13" fmla="*/ 1453719 h 1519229"/>
              <a:gd name="connsiteX14" fmla="*/ 2184218 w 2629239"/>
              <a:gd name="connsiteY14" fmla="*/ 1471817 h 1519229"/>
              <a:gd name="connsiteX15" fmla="*/ 2116522 w 2629239"/>
              <a:gd name="connsiteY15" fmla="*/ 1463516 h 1519229"/>
              <a:gd name="connsiteX16" fmla="*/ 2047942 w 2629239"/>
              <a:gd name="connsiteY16" fmla="*/ 1466782 h 1519229"/>
              <a:gd name="connsiteX17" fmla="*/ 2005487 w 2629239"/>
              <a:gd name="connsiteY17" fmla="*/ 1479845 h 1519229"/>
              <a:gd name="connsiteX18" fmla="*/ 1969564 w 2629239"/>
              <a:gd name="connsiteY18" fmla="*/ 1499439 h 1519229"/>
              <a:gd name="connsiteX19" fmla="*/ 1927019 w 2629239"/>
              <a:gd name="connsiteY19" fmla="*/ 1515677 h 1519229"/>
              <a:gd name="connsiteX20" fmla="*/ 1884202 w 2629239"/>
              <a:gd name="connsiteY20" fmla="*/ 1516923 h 1519229"/>
              <a:gd name="connsiteX21" fmla="*/ 1796482 w 2629239"/>
              <a:gd name="connsiteY21" fmla="*/ 1489302 h 1519229"/>
              <a:gd name="connsiteX22" fmla="*/ 1735046 w 2629239"/>
              <a:gd name="connsiteY22" fmla="*/ 1449568 h 1519229"/>
              <a:gd name="connsiteX23" fmla="*/ 1675378 w 2629239"/>
              <a:gd name="connsiteY23" fmla="*/ 1392827 h 1519229"/>
              <a:gd name="connsiteX24" fmla="*/ 1581012 w 2629239"/>
              <a:gd name="connsiteY24" fmla="*/ 1365817 h 1519229"/>
              <a:gd name="connsiteX25" fmla="*/ 1470795 w 2629239"/>
              <a:gd name="connsiteY25" fmla="*/ 1348603 h 1519229"/>
              <a:gd name="connsiteX26" fmla="*/ 1390037 w 2629239"/>
              <a:gd name="connsiteY26" fmla="*/ 1346222 h 1519229"/>
              <a:gd name="connsiteX27" fmla="*/ 1308122 w 2629239"/>
              <a:gd name="connsiteY27" fmla="*/ 1340303 h 1519229"/>
              <a:gd name="connsiteX28" fmla="*/ 1209809 w 2629239"/>
              <a:gd name="connsiteY28" fmla="*/ 1322479 h 1519229"/>
              <a:gd name="connsiteX29" fmla="*/ 1099388 w 2629239"/>
              <a:gd name="connsiteY29" fmla="*/ 1295195 h 1519229"/>
              <a:gd name="connsiteX30" fmla="*/ 963724 w 2629239"/>
              <a:gd name="connsiteY30" fmla="*/ 1253014 h 1519229"/>
              <a:gd name="connsiteX31" fmla="*/ 850922 w 2629239"/>
              <a:gd name="connsiteY31" fmla="*/ 1216819 h 1519229"/>
              <a:gd name="connsiteX32" fmla="*/ 752949 w 2629239"/>
              <a:gd name="connsiteY32" fmla="*/ 1184433 h 1519229"/>
              <a:gd name="connsiteX33" fmla="*/ 656747 w 2629239"/>
              <a:gd name="connsiteY33" fmla="*/ 1159805 h 1519229"/>
              <a:gd name="connsiteX34" fmla="*/ 554353 w 2629239"/>
              <a:gd name="connsiteY34" fmla="*/ 1134291 h 1519229"/>
              <a:gd name="connsiteX35" fmla="*/ 451007 w 2629239"/>
              <a:gd name="connsiteY35" fmla="*/ 1123882 h 1519229"/>
              <a:gd name="connsiteX36" fmla="*/ 372630 w 2629239"/>
              <a:gd name="connsiteY36" fmla="*/ 1117350 h 1519229"/>
              <a:gd name="connsiteX37" fmla="*/ 245879 w 2629239"/>
              <a:gd name="connsiteY37" fmla="*/ 1082312 h 1519229"/>
              <a:gd name="connsiteX38" fmla="*/ 172537 w 2629239"/>
              <a:gd name="connsiteY38" fmla="*/ 1036864 h 1519229"/>
              <a:gd name="connsiteX39" fmla="*/ 105794 w 2629239"/>
              <a:gd name="connsiteY39" fmla="*/ 968352 h 1519229"/>
              <a:gd name="connsiteX40" fmla="*/ 65925 w 2629239"/>
              <a:gd name="connsiteY40" fmla="*/ 907460 h 1519229"/>
              <a:gd name="connsiteX41" fmla="*/ 24967 w 2629239"/>
              <a:gd name="connsiteY41" fmla="*/ 820784 h 1519229"/>
              <a:gd name="connsiteX42" fmla="*/ 5986 w 2629239"/>
              <a:gd name="connsiteY42" fmla="*/ 721587 h 1519229"/>
              <a:gd name="connsiteX43" fmla="*/ 4217 w 2629239"/>
              <a:gd name="connsiteY43" fmla="*/ 617696 h 1519229"/>
              <a:gd name="connsiteX44" fmla="*/ 51433 w 2629239"/>
              <a:gd name="connsiteY44" fmla="*/ 510472 h 1519229"/>
              <a:gd name="connsiteX45" fmla="*/ 107495 w 2629239"/>
              <a:gd name="connsiteY45" fmla="*/ 454410 h 1519229"/>
              <a:gd name="connsiteX46" fmla="*/ 215876 w 2629239"/>
              <a:gd name="connsiteY46" fmla="*/ 376033 h 1519229"/>
              <a:gd name="connsiteX47" fmla="*/ 362833 w 2629239"/>
              <a:gd name="connsiteY47" fmla="*/ 307453 h 1519229"/>
              <a:gd name="connsiteX48" fmla="*/ 519587 w 2629239"/>
              <a:gd name="connsiteY48" fmla="*/ 261733 h 1519229"/>
              <a:gd name="connsiteX49" fmla="*/ 650828 w 2629239"/>
              <a:gd name="connsiteY49" fmla="*/ 222546 h 1519229"/>
              <a:gd name="connsiteX50" fmla="*/ 801664 w 2629239"/>
              <a:gd name="connsiteY50" fmla="*/ 185124 h 1519229"/>
              <a:gd name="connsiteX51" fmla="*/ 947396 w 2629239"/>
              <a:gd name="connsiteY51" fmla="*/ 160496 h 1519229"/>
              <a:gd name="connsiteX52" fmla="*/ 1138984 w 2629239"/>
              <a:gd name="connsiteY52" fmla="*/ 109674 h 1519229"/>
              <a:gd name="connsiteX53" fmla="*/ 1391533 w 2629239"/>
              <a:gd name="connsiteY53" fmla="*/ 42930 h 1519229"/>
              <a:gd name="connsiteX54" fmla="*/ 1541756 w 2629239"/>
              <a:gd name="connsiteY54" fmla="*/ 12043 h 1519229"/>
              <a:gd name="connsiteX55" fmla="*/ 1651044 w 2629239"/>
              <a:gd name="connsiteY55" fmla="*/ 567 h 1519229"/>
              <a:gd name="connsiteX56" fmla="*/ 1758305 w 2629239"/>
              <a:gd name="connsiteY56" fmla="*/ 13266 h 1519229"/>
              <a:gd name="connsiteX57" fmla="*/ 1870165 w 2629239"/>
              <a:gd name="connsiteY57" fmla="*/ 65518 h 1519229"/>
              <a:gd name="connsiteX58" fmla="*/ 1958866 w 2629239"/>
              <a:gd name="connsiteY58" fmla="*/ 144781 h 1519229"/>
              <a:gd name="connsiteX59" fmla="*/ 2048323 w 2629239"/>
              <a:gd name="connsiteY59" fmla="*/ 222546 h 1519229"/>
              <a:gd name="connsiteX60" fmla="*/ 2121579 w 2629239"/>
              <a:gd name="connsiteY60" fmla="*/ 287859 h 1519229"/>
              <a:gd name="connsiteX61" fmla="*/ 2174062 w 2629239"/>
              <a:gd name="connsiteY61" fmla="*/ 333578 h 1519229"/>
              <a:gd name="connsiteX62" fmla="*/ 2204333 w 2629239"/>
              <a:gd name="connsiteY62" fmla="*/ 392090 h 1519229"/>
              <a:gd name="connsiteX63" fmla="*/ 2159157 w 2629239"/>
              <a:gd name="connsiteY63" fmla="*/ 463663 h 1519229"/>
              <a:gd name="connsiteX64" fmla="*/ 2056242 w 2629239"/>
              <a:gd name="connsiteY64" fmla="*/ 493327 h 1519229"/>
              <a:gd name="connsiteX65" fmla="*/ 1931261 w 2629239"/>
              <a:gd name="connsiteY65" fmla="*/ 495096 h 1519229"/>
              <a:gd name="connsiteX66" fmla="*/ 1851999 w 2629239"/>
              <a:gd name="connsiteY66" fmla="*/ 483802 h 1519229"/>
              <a:gd name="connsiteX67" fmla="*/ 1705042 w 2629239"/>
              <a:gd name="connsiteY67" fmla="*/ 460942 h 1519229"/>
              <a:gd name="connsiteX68" fmla="*/ 1564616 w 2629239"/>
              <a:gd name="connsiteY68" fmla="*/ 434816 h 1519229"/>
              <a:gd name="connsiteX69" fmla="*/ 1433987 w 2629239"/>
              <a:gd name="connsiteY69" fmla="*/ 415222 h 1519229"/>
              <a:gd name="connsiteX70" fmla="*/ 1319687 w 2629239"/>
              <a:gd name="connsiteY70" fmla="*/ 418487 h 1519229"/>
              <a:gd name="connsiteX71" fmla="*/ 1219063 w 2629239"/>
              <a:gd name="connsiteY71" fmla="*/ 443728 h 1519229"/>
              <a:gd name="connsiteX72" fmla="*/ 1133542 w 2629239"/>
              <a:gd name="connsiteY72" fmla="*/ 474005 h 1519229"/>
              <a:gd name="connsiteX73" fmla="*/ 1018697 w 2629239"/>
              <a:gd name="connsiteY73" fmla="*/ 519725 h 1519229"/>
              <a:gd name="connsiteX74" fmla="*/ 918004 w 2629239"/>
              <a:gd name="connsiteY74" fmla="*/ 556531 h 1519229"/>
              <a:gd name="connsiteX75" fmla="*/ 767170 w 2629239"/>
              <a:gd name="connsiteY75" fmla="*/ 579120 h 1519229"/>
              <a:gd name="connsiteX76" fmla="*/ 652053 w 2629239"/>
              <a:gd name="connsiteY76" fmla="*/ 581251 h 1519229"/>
              <a:gd name="connsiteX77" fmla="*/ 520222 w 2629239"/>
              <a:gd name="connsiteY77" fmla="*/ 582136 h 1519229"/>
              <a:gd name="connsiteX78" fmla="*/ 402112 w 2629239"/>
              <a:gd name="connsiteY78" fmla="*/ 571363 h 1519229"/>
              <a:gd name="connsiteX79" fmla="*/ 299537 w 2629239"/>
              <a:gd name="connsiteY79" fmla="*/ 559707 h 1519229"/>
              <a:gd name="connsiteX80" fmla="*/ 169271 w 2629239"/>
              <a:gd name="connsiteY80" fmla="*/ 539591 h 1519229"/>
              <a:gd name="connsiteX0" fmla="*/ 2629239 w 2629239"/>
              <a:gd name="connsiteY0" fmla="*/ 1016285 h 1519401"/>
              <a:gd name="connsiteX1" fmla="*/ 2619623 w 2629239"/>
              <a:gd name="connsiteY1" fmla="*/ 1071802 h 1519401"/>
              <a:gd name="connsiteX2" fmla="*/ 2620938 w 2629239"/>
              <a:gd name="connsiteY2" fmla="*/ 1129701 h 1519401"/>
              <a:gd name="connsiteX3" fmla="*/ 2619442 w 2629239"/>
              <a:gd name="connsiteY3" fmla="*/ 1176305 h 1519401"/>
              <a:gd name="connsiteX4" fmla="*/ 2615904 w 2629239"/>
              <a:gd name="connsiteY4" fmla="*/ 1231210 h 1519401"/>
              <a:gd name="connsiteX5" fmla="*/ 2590934 w 2629239"/>
              <a:gd name="connsiteY5" fmla="*/ 1280899 h 1519401"/>
              <a:gd name="connsiteX6" fmla="*/ 2554127 w 2629239"/>
              <a:gd name="connsiteY6" fmla="*/ 1316731 h 1519401"/>
              <a:gd name="connsiteX7" fmla="*/ 2498610 w 2629239"/>
              <a:gd name="connsiteY7" fmla="*/ 1326528 h 1519401"/>
              <a:gd name="connsiteX8" fmla="*/ 2446359 w 2629239"/>
              <a:gd name="connsiteY8" fmla="*/ 1329794 h 1519401"/>
              <a:gd name="connsiteX9" fmla="*/ 2400639 w 2629239"/>
              <a:gd name="connsiteY9" fmla="*/ 1329794 h 1519401"/>
              <a:gd name="connsiteX10" fmla="*/ 2345122 w 2629239"/>
              <a:gd name="connsiteY10" fmla="*/ 1342857 h 1519401"/>
              <a:gd name="connsiteX11" fmla="*/ 2296499 w 2629239"/>
              <a:gd name="connsiteY11" fmla="*/ 1372520 h 1519401"/>
              <a:gd name="connsiteX12" fmla="*/ 2279807 w 2629239"/>
              <a:gd name="connsiteY12" fmla="*/ 1411437 h 1519401"/>
              <a:gd name="connsiteX13" fmla="*/ 2240619 w 2629239"/>
              <a:gd name="connsiteY13" fmla="*/ 1453891 h 1519401"/>
              <a:gd name="connsiteX14" fmla="*/ 2184218 w 2629239"/>
              <a:gd name="connsiteY14" fmla="*/ 1471989 h 1519401"/>
              <a:gd name="connsiteX15" fmla="*/ 2116522 w 2629239"/>
              <a:gd name="connsiteY15" fmla="*/ 1463688 h 1519401"/>
              <a:gd name="connsiteX16" fmla="*/ 2047942 w 2629239"/>
              <a:gd name="connsiteY16" fmla="*/ 1466954 h 1519401"/>
              <a:gd name="connsiteX17" fmla="*/ 2005487 w 2629239"/>
              <a:gd name="connsiteY17" fmla="*/ 1480017 h 1519401"/>
              <a:gd name="connsiteX18" fmla="*/ 1969564 w 2629239"/>
              <a:gd name="connsiteY18" fmla="*/ 1499611 h 1519401"/>
              <a:gd name="connsiteX19" fmla="*/ 1927019 w 2629239"/>
              <a:gd name="connsiteY19" fmla="*/ 1515849 h 1519401"/>
              <a:gd name="connsiteX20" fmla="*/ 1884202 w 2629239"/>
              <a:gd name="connsiteY20" fmla="*/ 1517095 h 1519401"/>
              <a:gd name="connsiteX21" fmla="*/ 1796482 w 2629239"/>
              <a:gd name="connsiteY21" fmla="*/ 1489474 h 1519401"/>
              <a:gd name="connsiteX22" fmla="*/ 1735046 w 2629239"/>
              <a:gd name="connsiteY22" fmla="*/ 1449740 h 1519401"/>
              <a:gd name="connsiteX23" fmla="*/ 1675378 w 2629239"/>
              <a:gd name="connsiteY23" fmla="*/ 1392999 h 1519401"/>
              <a:gd name="connsiteX24" fmla="*/ 1581012 w 2629239"/>
              <a:gd name="connsiteY24" fmla="*/ 1365989 h 1519401"/>
              <a:gd name="connsiteX25" fmla="*/ 1470795 w 2629239"/>
              <a:gd name="connsiteY25" fmla="*/ 1348775 h 1519401"/>
              <a:gd name="connsiteX26" fmla="*/ 1390037 w 2629239"/>
              <a:gd name="connsiteY26" fmla="*/ 1346394 h 1519401"/>
              <a:gd name="connsiteX27" fmla="*/ 1308122 w 2629239"/>
              <a:gd name="connsiteY27" fmla="*/ 1340475 h 1519401"/>
              <a:gd name="connsiteX28" fmla="*/ 1209809 w 2629239"/>
              <a:gd name="connsiteY28" fmla="*/ 1322651 h 1519401"/>
              <a:gd name="connsiteX29" fmla="*/ 1099388 w 2629239"/>
              <a:gd name="connsiteY29" fmla="*/ 1295367 h 1519401"/>
              <a:gd name="connsiteX30" fmla="*/ 963724 w 2629239"/>
              <a:gd name="connsiteY30" fmla="*/ 1253186 h 1519401"/>
              <a:gd name="connsiteX31" fmla="*/ 850922 w 2629239"/>
              <a:gd name="connsiteY31" fmla="*/ 1216991 h 1519401"/>
              <a:gd name="connsiteX32" fmla="*/ 752949 w 2629239"/>
              <a:gd name="connsiteY32" fmla="*/ 1184605 h 1519401"/>
              <a:gd name="connsiteX33" fmla="*/ 656747 w 2629239"/>
              <a:gd name="connsiteY33" fmla="*/ 1159977 h 1519401"/>
              <a:gd name="connsiteX34" fmla="*/ 554353 w 2629239"/>
              <a:gd name="connsiteY34" fmla="*/ 1134463 h 1519401"/>
              <a:gd name="connsiteX35" fmla="*/ 451007 w 2629239"/>
              <a:gd name="connsiteY35" fmla="*/ 1124054 h 1519401"/>
              <a:gd name="connsiteX36" fmla="*/ 372630 w 2629239"/>
              <a:gd name="connsiteY36" fmla="*/ 1117522 h 1519401"/>
              <a:gd name="connsiteX37" fmla="*/ 245879 w 2629239"/>
              <a:gd name="connsiteY37" fmla="*/ 1082484 h 1519401"/>
              <a:gd name="connsiteX38" fmla="*/ 172537 w 2629239"/>
              <a:gd name="connsiteY38" fmla="*/ 1037036 h 1519401"/>
              <a:gd name="connsiteX39" fmla="*/ 105794 w 2629239"/>
              <a:gd name="connsiteY39" fmla="*/ 968524 h 1519401"/>
              <a:gd name="connsiteX40" fmla="*/ 65925 w 2629239"/>
              <a:gd name="connsiteY40" fmla="*/ 907632 h 1519401"/>
              <a:gd name="connsiteX41" fmla="*/ 24967 w 2629239"/>
              <a:gd name="connsiteY41" fmla="*/ 820956 h 1519401"/>
              <a:gd name="connsiteX42" fmla="*/ 5986 w 2629239"/>
              <a:gd name="connsiteY42" fmla="*/ 721759 h 1519401"/>
              <a:gd name="connsiteX43" fmla="*/ 4217 w 2629239"/>
              <a:gd name="connsiteY43" fmla="*/ 617868 h 1519401"/>
              <a:gd name="connsiteX44" fmla="*/ 51433 w 2629239"/>
              <a:gd name="connsiteY44" fmla="*/ 510644 h 1519401"/>
              <a:gd name="connsiteX45" fmla="*/ 107495 w 2629239"/>
              <a:gd name="connsiteY45" fmla="*/ 454582 h 1519401"/>
              <a:gd name="connsiteX46" fmla="*/ 215876 w 2629239"/>
              <a:gd name="connsiteY46" fmla="*/ 376205 h 1519401"/>
              <a:gd name="connsiteX47" fmla="*/ 362833 w 2629239"/>
              <a:gd name="connsiteY47" fmla="*/ 307625 h 1519401"/>
              <a:gd name="connsiteX48" fmla="*/ 519587 w 2629239"/>
              <a:gd name="connsiteY48" fmla="*/ 261905 h 1519401"/>
              <a:gd name="connsiteX49" fmla="*/ 650828 w 2629239"/>
              <a:gd name="connsiteY49" fmla="*/ 222718 h 1519401"/>
              <a:gd name="connsiteX50" fmla="*/ 801664 w 2629239"/>
              <a:gd name="connsiteY50" fmla="*/ 185296 h 1519401"/>
              <a:gd name="connsiteX51" fmla="*/ 947396 w 2629239"/>
              <a:gd name="connsiteY51" fmla="*/ 160668 h 1519401"/>
              <a:gd name="connsiteX52" fmla="*/ 1138984 w 2629239"/>
              <a:gd name="connsiteY52" fmla="*/ 109846 h 1519401"/>
              <a:gd name="connsiteX53" fmla="*/ 1391533 w 2629239"/>
              <a:gd name="connsiteY53" fmla="*/ 43102 h 1519401"/>
              <a:gd name="connsiteX54" fmla="*/ 1541756 w 2629239"/>
              <a:gd name="connsiteY54" fmla="*/ 12215 h 1519401"/>
              <a:gd name="connsiteX55" fmla="*/ 1651044 w 2629239"/>
              <a:gd name="connsiteY55" fmla="*/ 739 h 1519401"/>
              <a:gd name="connsiteX56" fmla="*/ 1758305 w 2629239"/>
              <a:gd name="connsiteY56" fmla="*/ 13438 h 1519401"/>
              <a:gd name="connsiteX57" fmla="*/ 1859123 w 2629239"/>
              <a:gd name="connsiteY57" fmla="*/ 76901 h 1519401"/>
              <a:gd name="connsiteX58" fmla="*/ 1958866 w 2629239"/>
              <a:gd name="connsiteY58" fmla="*/ 144953 h 1519401"/>
              <a:gd name="connsiteX59" fmla="*/ 2048323 w 2629239"/>
              <a:gd name="connsiteY59" fmla="*/ 222718 h 1519401"/>
              <a:gd name="connsiteX60" fmla="*/ 2121579 w 2629239"/>
              <a:gd name="connsiteY60" fmla="*/ 288031 h 1519401"/>
              <a:gd name="connsiteX61" fmla="*/ 2174062 w 2629239"/>
              <a:gd name="connsiteY61" fmla="*/ 333750 h 1519401"/>
              <a:gd name="connsiteX62" fmla="*/ 2204333 w 2629239"/>
              <a:gd name="connsiteY62" fmla="*/ 392262 h 1519401"/>
              <a:gd name="connsiteX63" fmla="*/ 2159157 w 2629239"/>
              <a:gd name="connsiteY63" fmla="*/ 463835 h 1519401"/>
              <a:gd name="connsiteX64" fmla="*/ 2056242 w 2629239"/>
              <a:gd name="connsiteY64" fmla="*/ 493499 h 1519401"/>
              <a:gd name="connsiteX65" fmla="*/ 1931261 w 2629239"/>
              <a:gd name="connsiteY65" fmla="*/ 495268 h 1519401"/>
              <a:gd name="connsiteX66" fmla="*/ 1851999 w 2629239"/>
              <a:gd name="connsiteY66" fmla="*/ 483974 h 1519401"/>
              <a:gd name="connsiteX67" fmla="*/ 1705042 w 2629239"/>
              <a:gd name="connsiteY67" fmla="*/ 461114 h 1519401"/>
              <a:gd name="connsiteX68" fmla="*/ 1564616 w 2629239"/>
              <a:gd name="connsiteY68" fmla="*/ 434988 h 1519401"/>
              <a:gd name="connsiteX69" fmla="*/ 1433987 w 2629239"/>
              <a:gd name="connsiteY69" fmla="*/ 415394 h 1519401"/>
              <a:gd name="connsiteX70" fmla="*/ 1319687 w 2629239"/>
              <a:gd name="connsiteY70" fmla="*/ 418659 h 1519401"/>
              <a:gd name="connsiteX71" fmla="*/ 1219063 w 2629239"/>
              <a:gd name="connsiteY71" fmla="*/ 443900 h 1519401"/>
              <a:gd name="connsiteX72" fmla="*/ 1133542 w 2629239"/>
              <a:gd name="connsiteY72" fmla="*/ 474177 h 1519401"/>
              <a:gd name="connsiteX73" fmla="*/ 1018697 w 2629239"/>
              <a:gd name="connsiteY73" fmla="*/ 519897 h 1519401"/>
              <a:gd name="connsiteX74" fmla="*/ 918004 w 2629239"/>
              <a:gd name="connsiteY74" fmla="*/ 556703 h 1519401"/>
              <a:gd name="connsiteX75" fmla="*/ 767170 w 2629239"/>
              <a:gd name="connsiteY75" fmla="*/ 579292 h 1519401"/>
              <a:gd name="connsiteX76" fmla="*/ 652053 w 2629239"/>
              <a:gd name="connsiteY76" fmla="*/ 581423 h 1519401"/>
              <a:gd name="connsiteX77" fmla="*/ 520222 w 2629239"/>
              <a:gd name="connsiteY77" fmla="*/ 582308 h 1519401"/>
              <a:gd name="connsiteX78" fmla="*/ 402112 w 2629239"/>
              <a:gd name="connsiteY78" fmla="*/ 571535 h 1519401"/>
              <a:gd name="connsiteX79" fmla="*/ 299537 w 2629239"/>
              <a:gd name="connsiteY79" fmla="*/ 559879 h 1519401"/>
              <a:gd name="connsiteX80" fmla="*/ 169271 w 2629239"/>
              <a:gd name="connsiteY80" fmla="*/ 539763 h 1519401"/>
              <a:gd name="connsiteX0" fmla="*/ 2629239 w 2629239"/>
              <a:gd name="connsiteY0" fmla="*/ 1015718 h 1518834"/>
              <a:gd name="connsiteX1" fmla="*/ 2619623 w 2629239"/>
              <a:gd name="connsiteY1" fmla="*/ 1071235 h 1518834"/>
              <a:gd name="connsiteX2" fmla="*/ 2620938 w 2629239"/>
              <a:gd name="connsiteY2" fmla="*/ 1129134 h 1518834"/>
              <a:gd name="connsiteX3" fmla="*/ 2619442 w 2629239"/>
              <a:gd name="connsiteY3" fmla="*/ 1175738 h 1518834"/>
              <a:gd name="connsiteX4" fmla="*/ 2615904 w 2629239"/>
              <a:gd name="connsiteY4" fmla="*/ 1230643 h 1518834"/>
              <a:gd name="connsiteX5" fmla="*/ 2590934 w 2629239"/>
              <a:gd name="connsiteY5" fmla="*/ 1280332 h 1518834"/>
              <a:gd name="connsiteX6" fmla="*/ 2554127 w 2629239"/>
              <a:gd name="connsiteY6" fmla="*/ 1316164 h 1518834"/>
              <a:gd name="connsiteX7" fmla="*/ 2498610 w 2629239"/>
              <a:gd name="connsiteY7" fmla="*/ 1325961 h 1518834"/>
              <a:gd name="connsiteX8" fmla="*/ 2446359 w 2629239"/>
              <a:gd name="connsiteY8" fmla="*/ 1329227 h 1518834"/>
              <a:gd name="connsiteX9" fmla="*/ 2400639 w 2629239"/>
              <a:gd name="connsiteY9" fmla="*/ 1329227 h 1518834"/>
              <a:gd name="connsiteX10" fmla="*/ 2345122 w 2629239"/>
              <a:gd name="connsiteY10" fmla="*/ 1342290 h 1518834"/>
              <a:gd name="connsiteX11" fmla="*/ 2296499 w 2629239"/>
              <a:gd name="connsiteY11" fmla="*/ 1371953 h 1518834"/>
              <a:gd name="connsiteX12" fmla="*/ 2279807 w 2629239"/>
              <a:gd name="connsiteY12" fmla="*/ 1410870 h 1518834"/>
              <a:gd name="connsiteX13" fmla="*/ 2240619 w 2629239"/>
              <a:gd name="connsiteY13" fmla="*/ 1453324 h 1518834"/>
              <a:gd name="connsiteX14" fmla="*/ 2184218 w 2629239"/>
              <a:gd name="connsiteY14" fmla="*/ 1471422 h 1518834"/>
              <a:gd name="connsiteX15" fmla="*/ 2116522 w 2629239"/>
              <a:gd name="connsiteY15" fmla="*/ 1463121 h 1518834"/>
              <a:gd name="connsiteX16" fmla="*/ 2047942 w 2629239"/>
              <a:gd name="connsiteY16" fmla="*/ 1466387 h 1518834"/>
              <a:gd name="connsiteX17" fmla="*/ 2005487 w 2629239"/>
              <a:gd name="connsiteY17" fmla="*/ 1479450 h 1518834"/>
              <a:gd name="connsiteX18" fmla="*/ 1969564 w 2629239"/>
              <a:gd name="connsiteY18" fmla="*/ 1499044 h 1518834"/>
              <a:gd name="connsiteX19" fmla="*/ 1927019 w 2629239"/>
              <a:gd name="connsiteY19" fmla="*/ 1515282 h 1518834"/>
              <a:gd name="connsiteX20" fmla="*/ 1884202 w 2629239"/>
              <a:gd name="connsiteY20" fmla="*/ 1516528 h 1518834"/>
              <a:gd name="connsiteX21" fmla="*/ 1796482 w 2629239"/>
              <a:gd name="connsiteY21" fmla="*/ 1488907 h 1518834"/>
              <a:gd name="connsiteX22" fmla="*/ 1735046 w 2629239"/>
              <a:gd name="connsiteY22" fmla="*/ 1449173 h 1518834"/>
              <a:gd name="connsiteX23" fmla="*/ 1675378 w 2629239"/>
              <a:gd name="connsiteY23" fmla="*/ 1392432 h 1518834"/>
              <a:gd name="connsiteX24" fmla="*/ 1581012 w 2629239"/>
              <a:gd name="connsiteY24" fmla="*/ 1365422 h 1518834"/>
              <a:gd name="connsiteX25" fmla="*/ 1470795 w 2629239"/>
              <a:gd name="connsiteY25" fmla="*/ 1348208 h 1518834"/>
              <a:gd name="connsiteX26" fmla="*/ 1390037 w 2629239"/>
              <a:gd name="connsiteY26" fmla="*/ 1345827 h 1518834"/>
              <a:gd name="connsiteX27" fmla="*/ 1308122 w 2629239"/>
              <a:gd name="connsiteY27" fmla="*/ 1339908 h 1518834"/>
              <a:gd name="connsiteX28" fmla="*/ 1209809 w 2629239"/>
              <a:gd name="connsiteY28" fmla="*/ 1322084 h 1518834"/>
              <a:gd name="connsiteX29" fmla="*/ 1099388 w 2629239"/>
              <a:gd name="connsiteY29" fmla="*/ 1294800 h 1518834"/>
              <a:gd name="connsiteX30" fmla="*/ 963724 w 2629239"/>
              <a:gd name="connsiteY30" fmla="*/ 1252619 h 1518834"/>
              <a:gd name="connsiteX31" fmla="*/ 850922 w 2629239"/>
              <a:gd name="connsiteY31" fmla="*/ 1216424 h 1518834"/>
              <a:gd name="connsiteX32" fmla="*/ 752949 w 2629239"/>
              <a:gd name="connsiteY32" fmla="*/ 1184038 h 1518834"/>
              <a:gd name="connsiteX33" fmla="*/ 656747 w 2629239"/>
              <a:gd name="connsiteY33" fmla="*/ 1159410 h 1518834"/>
              <a:gd name="connsiteX34" fmla="*/ 554353 w 2629239"/>
              <a:gd name="connsiteY34" fmla="*/ 1133896 h 1518834"/>
              <a:gd name="connsiteX35" fmla="*/ 451007 w 2629239"/>
              <a:gd name="connsiteY35" fmla="*/ 1123487 h 1518834"/>
              <a:gd name="connsiteX36" fmla="*/ 372630 w 2629239"/>
              <a:gd name="connsiteY36" fmla="*/ 1116955 h 1518834"/>
              <a:gd name="connsiteX37" fmla="*/ 245879 w 2629239"/>
              <a:gd name="connsiteY37" fmla="*/ 1081917 h 1518834"/>
              <a:gd name="connsiteX38" fmla="*/ 172537 w 2629239"/>
              <a:gd name="connsiteY38" fmla="*/ 1036469 h 1518834"/>
              <a:gd name="connsiteX39" fmla="*/ 105794 w 2629239"/>
              <a:gd name="connsiteY39" fmla="*/ 967957 h 1518834"/>
              <a:gd name="connsiteX40" fmla="*/ 65925 w 2629239"/>
              <a:gd name="connsiteY40" fmla="*/ 907065 h 1518834"/>
              <a:gd name="connsiteX41" fmla="*/ 24967 w 2629239"/>
              <a:gd name="connsiteY41" fmla="*/ 820389 h 1518834"/>
              <a:gd name="connsiteX42" fmla="*/ 5986 w 2629239"/>
              <a:gd name="connsiteY42" fmla="*/ 721192 h 1518834"/>
              <a:gd name="connsiteX43" fmla="*/ 4217 w 2629239"/>
              <a:gd name="connsiteY43" fmla="*/ 617301 h 1518834"/>
              <a:gd name="connsiteX44" fmla="*/ 51433 w 2629239"/>
              <a:gd name="connsiteY44" fmla="*/ 510077 h 1518834"/>
              <a:gd name="connsiteX45" fmla="*/ 107495 w 2629239"/>
              <a:gd name="connsiteY45" fmla="*/ 454015 h 1518834"/>
              <a:gd name="connsiteX46" fmla="*/ 215876 w 2629239"/>
              <a:gd name="connsiteY46" fmla="*/ 375638 h 1518834"/>
              <a:gd name="connsiteX47" fmla="*/ 362833 w 2629239"/>
              <a:gd name="connsiteY47" fmla="*/ 307058 h 1518834"/>
              <a:gd name="connsiteX48" fmla="*/ 519587 w 2629239"/>
              <a:gd name="connsiteY48" fmla="*/ 261338 h 1518834"/>
              <a:gd name="connsiteX49" fmla="*/ 650828 w 2629239"/>
              <a:gd name="connsiteY49" fmla="*/ 222151 h 1518834"/>
              <a:gd name="connsiteX50" fmla="*/ 801664 w 2629239"/>
              <a:gd name="connsiteY50" fmla="*/ 184729 h 1518834"/>
              <a:gd name="connsiteX51" fmla="*/ 947396 w 2629239"/>
              <a:gd name="connsiteY51" fmla="*/ 160101 h 1518834"/>
              <a:gd name="connsiteX52" fmla="*/ 1138984 w 2629239"/>
              <a:gd name="connsiteY52" fmla="*/ 109279 h 1518834"/>
              <a:gd name="connsiteX53" fmla="*/ 1391533 w 2629239"/>
              <a:gd name="connsiteY53" fmla="*/ 42535 h 1518834"/>
              <a:gd name="connsiteX54" fmla="*/ 1541756 w 2629239"/>
              <a:gd name="connsiteY54" fmla="*/ 11648 h 1518834"/>
              <a:gd name="connsiteX55" fmla="*/ 1651044 w 2629239"/>
              <a:gd name="connsiteY55" fmla="*/ 172 h 1518834"/>
              <a:gd name="connsiteX56" fmla="*/ 1758305 w 2629239"/>
              <a:gd name="connsiteY56" fmla="*/ 29690 h 1518834"/>
              <a:gd name="connsiteX57" fmla="*/ 1859123 w 2629239"/>
              <a:gd name="connsiteY57" fmla="*/ 76334 h 1518834"/>
              <a:gd name="connsiteX58" fmla="*/ 1958866 w 2629239"/>
              <a:gd name="connsiteY58" fmla="*/ 144386 h 1518834"/>
              <a:gd name="connsiteX59" fmla="*/ 2048323 w 2629239"/>
              <a:gd name="connsiteY59" fmla="*/ 222151 h 1518834"/>
              <a:gd name="connsiteX60" fmla="*/ 2121579 w 2629239"/>
              <a:gd name="connsiteY60" fmla="*/ 287464 h 1518834"/>
              <a:gd name="connsiteX61" fmla="*/ 2174062 w 2629239"/>
              <a:gd name="connsiteY61" fmla="*/ 333183 h 1518834"/>
              <a:gd name="connsiteX62" fmla="*/ 2204333 w 2629239"/>
              <a:gd name="connsiteY62" fmla="*/ 391695 h 1518834"/>
              <a:gd name="connsiteX63" fmla="*/ 2159157 w 2629239"/>
              <a:gd name="connsiteY63" fmla="*/ 463268 h 1518834"/>
              <a:gd name="connsiteX64" fmla="*/ 2056242 w 2629239"/>
              <a:gd name="connsiteY64" fmla="*/ 492932 h 1518834"/>
              <a:gd name="connsiteX65" fmla="*/ 1931261 w 2629239"/>
              <a:gd name="connsiteY65" fmla="*/ 494701 h 1518834"/>
              <a:gd name="connsiteX66" fmla="*/ 1851999 w 2629239"/>
              <a:gd name="connsiteY66" fmla="*/ 483407 h 1518834"/>
              <a:gd name="connsiteX67" fmla="*/ 1705042 w 2629239"/>
              <a:gd name="connsiteY67" fmla="*/ 460547 h 1518834"/>
              <a:gd name="connsiteX68" fmla="*/ 1564616 w 2629239"/>
              <a:gd name="connsiteY68" fmla="*/ 434421 h 1518834"/>
              <a:gd name="connsiteX69" fmla="*/ 1433987 w 2629239"/>
              <a:gd name="connsiteY69" fmla="*/ 414827 h 1518834"/>
              <a:gd name="connsiteX70" fmla="*/ 1319687 w 2629239"/>
              <a:gd name="connsiteY70" fmla="*/ 418092 h 1518834"/>
              <a:gd name="connsiteX71" fmla="*/ 1219063 w 2629239"/>
              <a:gd name="connsiteY71" fmla="*/ 443333 h 1518834"/>
              <a:gd name="connsiteX72" fmla="*/ 1133542 w 2629239"/>
              <a:gd name="connsiteY72" fmla="*/ 473610 h 1518834"/>
              <a:gd name="connsiteX73" fmla="*/ 1018697 w 2629239"/>
              <a:gd name="connsiteY73" fmla="*/ 519330 h 1518834"/>
              <a:gd name="connsiteX74" fmla="*/ 918004 w 2629239"/>
              <a:gd name="connsiteY74" fmla="*/ 556136 h 1518834"/>
              <a:gd name="connsiteX75" fmla="*/ 767170 w 2629239"/>
              <a:gd name="connsiteY75" fmla="*/ 578725 h 1518834"/>
              <a:gd name="connsiteX76" fmla="*/ 652053 w 2629239"/>
              <a:gd name="connsiteY76" fmla="*/ 580856 h 1518834"/>
              <a:gd name="connsiteX77" fmla="*/ 520222 w 2629239"/>
              <a:gd name="connsiteY77" fmla="*/ 581741 h 1518834"/>
              <a:gd name="connsiteX78" fmla="*/ 402112 w 2629239"/>
              <a:gd name="connsiteY78" fmla="*/ 570968 h 1518834"/>
              <a:gd name="connsiteX79" fmla="*/ 299537 w 2629239"/>
              <a:gd name="connsiteY79" fmla="*/ 559312 h 1518834"/>
              <a:gd name="connsiteX80" fmla="*/ 169271 w 2629239"/>
              <a:gd name="connsiteY80" fmla="*/ 539196 h 1518834"/>
              <a:gd name="connsiteX0" fmla="*/ 2629239 w 2629239"/>
              <a:gd name="connsiteY0" fmla="*/ 1004646 h 1507762"/>
              <a:gd name="connsiteX1" fmla="*/ 2619623 w 2629239"/>
              <a:gd name="connsiteY1" fmla="*/ 1060163 h 1507762"/>
              <a:gd name="connsiteX2" fmla="*/ 2620938 w 2629239"/>
              <a:gd name="connsiteY2" fmla="*/ 1118062 h 1507762"/>
              <a:gd name="connsiteX3" fmla="*/ 2619442 w 2629239"/>
              <a:gd name="connsiteY3" fmla="*/ 1164666 h 1507762"/>
              <a:gd name="connsiteX4" fmla="*/ 2615904 w 2629239"/>
              <a:gd name="connsiteY4" fmla="*/ 1219571 h 1507762"/>
              <a:gd name="connsiteX5" fmla="*/ 2590934 w 2629239"/>
              <a:gd name="connsiteY5" fmla="*/ 1269260 h 1507762"/>
              <a:gd name="connsiteX6" fmla="*/ 2554127 w 2629239"/>
              <a:gd name="connsiteY6" fmla="*/ 1305092 h 1507762"/>
              <a:gd name="connsiteX7" fmla="*/ 2498610 w 2629239"/>
              <a:gd name="connsiteY7" fmla="*/ 1314889 h 1507762"/>
              <a:gd name="connsiteX8" fmla="*/ 2446359 w 2629239"/>
              <a:gd name="connsiteY8" fmla="*/ 1318155 h 1507762"/>
              <a:gd name="connsiteX9" fmla="*/ 2400639 w 2629239"/>
              <a:gd name="connsiteY9" fmla="*/ 1318155 h 1507762"/>
              <a:gd name="connsiteX10" fmla="*/ 2345122 w 2629239"/>
              <a:gd name="connsiteY10" fmla="*/ 1331218 h 1507762"/>
              <a:gd name="connsiteX11" fmla="*/ 2296499 w 2629239"/>
              <a:gd name="connsiteY11" fmla="*/ 1360881 h 1507762"/>
              <a:gd name="connsiteX12" fmla="*/ 2279807 w 2629239"/>
              <a:gd name="connsiteY12" fmla="*/ 1399798 h 1507762"/>
              <a:gd name="connsiteX13" fmla="*/ 2240619 w 2629239"/>
              <a:gd name="connsiteY13" fmla="*/ 1442252 h 1507762"/>
              <a:gd name="connsiteX14" fmla="*/ 2184218 w 2629239"/>
              <a:gd name="connsiteY14" fmla="*/ 1460350 h 1507762"/>
              <a:gd name="connsiteX15" fmla="*/ 2116522 w 2629239"/>
              <a:gd name="connsiteY15" fmla="*/ 1452049 h 1507762"/>
              <a:gd name="connsiteX16" fmla="*/ 2047942 w 2629239"/>
              <a:gd name="connsiteY16" fmla="*/ 1455315 h 1507762"/>
              <a:gd name="connsiteX17" fmla="*/ 2005487 w 2629239"/>
              <a:gd name="connsiteY17" fmla="*/ 1468378 h 1507762"/>
              <a:gd name="connsiteX18" fmla="*/ 1969564 w 2629239"/>
              <a:gd name="connsiteY18" fmla="*/ 1487972 h 1507762"/>
              <a:gd name="connsiteX19" fmla="*/ 1927019 w 2629239"/>
              <a:gd name="connsiteY19" fmla="*/ 1504210 h 1507762"/>
              <a:gd name="connsiteX20" fmla="*/ 1884202 w 2629239"/>
              <a:gd name="connsiteY20" fmla="*/ 1505456 h 1507762"/>
              <a:gd name="connsiteX21" fmla="*/ 1796482 w 2629239"/>
              <a:gd name="connsiteY21" fmla="*/ 1477835 h 1507762"/>
              <a:gd name="connsiteX22" fmla="*/ 1735046 w 2629239"/>
              <a:gd name="connsiteY22" fmla="*/ 1438101 h 1507762"/>
              <a:gd name="connsiteX23" fmla="*/ 1675378 w 2629239"/>
              <a:gd name="connsiteY23" fmla="*/ 1381360 h 1507762"/>
              <a:gd name="connsiteX24" fmla="*/ 1581012 w 2629239"/>
              <a:gd name="connsiteY24" fmla="*/ 1354350 h 1507762"/>
              <a:gd name="connsiteX25" fmla="*/ 1470795 w 2629239"/>
              <a:gd name="connsiteY25" fmla="*/ 1337136 h 1507762"/>
              <a:gd name="connsiteX26" fmla="*/ 1390037 w 2629239"/>
              <a:gd name="connsiteY26" fmla="*/ 1334755 h 1507762"/>
              <a:gd name="connsiteX27" fmla="*/ 1308122 w 2629239"/>
              <a:gd name="connsiteY27" fmla="*/ 1328836 h 1507762"/>
              <a:gd name="connsiteX28" fmla="*/ 1209809 w 2629239"/>
              <a:gd name="connsiteY28" fmla="*/ 1311012 h 1507762"/>
              <a:gd name="connsiteX29" fmla="*/ 1099388 w 2629239"/>
              <a:gd name="connsiteY29" fmla="*/ 1283728 h 1507762"/>
              <a:gd name="connsiteX30" fmla="*/ 963724 w 2629239"/>
              <a:gd name="connsiteY30" fmla="*/ 1241547 h 1507762"/>
              <a:gd name="connsiteX31" fmla="*/ 850922 w 2629239"/>
              <a:gd name="connsiteY31" fmla="*/ 1205352 h 1507762"/>
              <a:gd name="connsiteX32" fmla="*/ 752949 w 2629239"/>
              <a:gd name="connsiteY32" fmla="*/ 1172966 h 1507762"/>
              <a:gd name="connsiteX33" fmla="*/ 656747 w 2629239"/>
              <a:gd name="connsiteY33" fmla="*/ 1148338 h 1507762"/>
              <a:gd name="connsiteX34" fmla="*/ 554353 w 2629239"/>
              <a:gd name="connsiteY34" fmla="*/ 1122824 h 1507762"/>
              <a:gd name="connsiteX35" fmla="*/ 451007 w 2629239"/>
              <a:gd name="connsiteY35" fmla="*/ 1112415 h 1507762"/>
              <a:gd name="connsiteX36" fmla="*/ 372630 w 2629239"/>
              <a:gd name="connsiteY36" fmla="*/ 1105883 h 1507762"/>
              <a:gd name="connsiteX37" fmla="*/ 245879 w 2629239"/>
              <a:gd name="connsiteY37" fmla="*/ 1070845 h 1507762"/>
              <a:gd name="connsiteX38" fmla="*/ 172537 w 2629239"/>
              <a:gd name="connsiteY38" fmla="*/ 1025397 h 1507762"/>
              <a:gd name="connsiteX39" fmla="*/ 105794 w 2629239"/>
              <a:gd name="connsiteY39" fmla="*/ 956885 h 1507762"/>
              <a:gd name="connsiteX40" fmla="*/ 65925 w 2629239"/>
              <a:gd name="connsiteY40" fmla="*/ 895993 h 1507762"/>
              <a:gd name="connsiteX41" fmla="*/ 24967 w 2629239"/>
              <a:gd name="connsiteY41" fmla="*/ 809317 h 1507762"/>
              <a:gd name="connsiteX42" fmla="*/ 5986 w 2629239"/>
              <a:gd name="connsiteY42" fmla="*/ 710120 h 1507762"/>
              <a:gd name="connsiteX43" fmla="*/ 4217 w 2629239"/>
              <a:gd name="connsiteY43" fmla="*/ 606229 h 1507762"/>
              <a:gd name="connsiteX44" fmla="*/ 51433 w 2629239"/>
              <a:gd name="connsiteY44" fmla="*/ 499005 h 1507762"/>
              <a:gd name="connsiteX45" fmla="*/ 107495 w 2629239"/>
              <a:gd name="connsiteY45" fmla="*/ 442943 h 1507762"/>
              <a:gd name="connsiteX46" fmla="*/ 215876 w 2629239"/>
              <a:gd name="connsiteY46" fmla="*/ 364566 h 1507762"/>
              <a:gd name="connsiteX47" fmla="*/ 362833 w 2629239"/>
              <a:gd name="connsiteY47" fmla="*/ 295986 h 1507762"/>
              <a:gd name="connsiteX48" fmla="*/ 519587 w 2629239"/>
              <a:gd name="connsiteY48" fmla="*/ 250266 h 1507762"/>
              <a:gd name="connsiteX49" fmla="*/ 650828 w 2629239"/>
              <a:gd name="connsiteY49" fmla="*/ 211079 h 1507762"/>
              <a:gd name="connsiteX50" fmla="*/ 801664 w 2629239"/>
              <a:gd name="connsiteY50" fmla="*/ 173657 h 1507762"/>
              <a:gd name="connsiteX51" fmla="*/ 947396 w 2629239"/>
              <a:gd name="connsiteY51" fmla="*/ 149029 h 1507762"/>
              <a:gd name="connsiteX52" fmla="*/ 1138984 w 2629239"/>
              <a:gd name="connsiteY52" fmla="*/ 98207 h 1507762"/>
              <a:gd name="connsiteX53" fmla="*/ 1391533 w 2629239"/>
              <a:gd name="connsiteY53" fmla="*/ 31463 h 1507762"/>
              <a:gd name="connsiteX54" fmla="*/ 1541756 w 2629239"/>
              <a:gd name="connsiteY54" fmla="*/ 576 h 1507762"/>
              <a:gd name="connsiteX55" fmla="*/ 1651044 w 2629239"/>
              <a:gd name="connsiteY55" fmla="*/ 311 h 1507762"/>
              <a:gd name="connsiteX56" fmla="*/ 1758305 w 2629239"/>
              <a:gd name="connsiteY56" fmla="*/ 18618 h 1507762"/>
              <a:gd name="connsiteX57" fmla="*/ 1859123 w 2629239"/>
              <a:gd name="connsiteY57" fmla="*/ 65262 h 1507762"/>
              <a:gd name="connsiteX58" fmla="*/ 1958866 w 2629239"/>
              <a:gd name="connsiteY58" fmla="*/ 133314 h 1507762"/>
              <a:gd name="connsiteX59" fmla="*/ 2048323 w 2629239"/>
              <a:gd name="connsiteY59" fmla="*/ 211079 h 1507762"/>
              <a:gd name="connsiteX60" fmla="*/ 2121579 w 2629239"/>
              <a:gd name="connsiteY60" fmla="*/ 276392 h 1507762"/>
              <a:gd name="connsiteX61" fmla="*/ 2174062 w 2629239"/>
              <a:gd name="connsiteY61" fmla="*/ 322111 h 1507762"/>
              <a:gd name="connsiteX62" fmla="*/ 2204333 w 2629239"/>
              <a:gd name="connsiteY62" fmla="*/ 380623 h 1507762"/>
              <a:gd name="connsiteX63" fmla="*/ 2159157 w 2629239"/>
              <a:gd name="connsiteY63" fmla="*/ 452196 h 1507762"/>
              <a:gd name="connsiteX64" fmla="*/ 2056242 w 2629239"/>
              <a:gd name="connsiteY64" fmla="*/ 481860 h 1507762"/>
              <a:gd name="connsiteX65" fmla="*/ 1931261 w 2629239"/>
              <a:gd name="connsiteY65" fmla="*/ 483629 h 1507762"/>
              <a:gd name="connsiteX66" fmla="*/ 1851999 w 2629239"/>
              <a:gd name="connsiteY66" fmla="*/ 472335 h 1507762"/>
              <a:gd name="connsiteX67" fmla="*/ 1705042 w 2629239"/>
              <a:gd name="connsiteY67" fmla="*/ 449475 h 1507762"/>
              <a:gd name="connsiteX68" fmla="*/ 1564616 w 2629239"/>
              <a:gd name="connsiteY68" fmla="*/ 423349 h 1507762"/>
              <a:gd name="connsiteX69" fmla="*/ 1433987 w 2629239"/>
              <a:gd name="connsiteY69" fmla="*/ 403755 h 1507762"/>
              <a:gd name="connsiteX70" fmla="*/ 1319687 w 2629239"/>
              <a:gd name="connsiteY70" fmla="*/ 407020 h 1507762"/>
              <a:gd name="connsiteX71" fmla="*/ 1219063 w 2629239"/>
              <a:gd name="connsiteY71" fmla="*/ 432261 h 1507762"/>
              <a:gd name="connsiteX72" fmla="*/ 1133542 w 2629239"/>
              <a:gd name="connsiteY72" fmla="*/ 462538 h 1507762"/>
              <a:gd name="connsiteX73" fmla="*/ 1018697 w 2629239"/>
              <a:gd name="connsiteY73" fmla="*/ 508258 h 1507762"/>
              <a:gd name="connsiteX74" fmla="*/ 918004 w 2629239"/>
              <a:gd name="connsiteY74" fmla="*/ 545064 h 1507762"/>
              <a:gd name="connsiteX75" fmla="*/ 767170 w 2629239"/>
              <a:gd name="connsiteY75" fmla="*/ 567653 h 1507762"/>
              <a:gd name="connsiteX76" fmla="*/ 652053 w 2629239"/>
              <a:gd name="connsiteY76" fmla="*/ 569784 h 1507762"/>
              <a:gd name="connsiteX77" fmla="*/ 520222 w 2629239"/>
              <a:gd name="connsiteY77" fmla="*/ 570669 h 1507762"/>
              <a:gd name="connsiteX78" fmla="*/ 402112 w 2629239"/>
              <a:gd name="connsiteY78" fmla="*/ 559896 h 1507762"/>
              <a:gd name="connsiteX79" fmla="*/ 299537 w 2629239"/>
              <a:gd name="connsiteY79" fmla="*/ 548240 h 1507762"/>
              <a:gd name="connsiteX80" fmla="*/ 169271 w 2629239"/>
              <a:gd name="connsiteY80" fmla="*/ 528124 h 1507762"/>
              <a:gd name="connsiteX0" fmla="*/ 2629239 w 2629239"/>
              <a:gd name="connsiteY0" fmla="*/ 1007306 h 1510422"/>
              <a:gd name="connsiteX1" fmla="*/ 2619623 w 2629239"/>
              <a:gd name="connsiteY1" fmla="*/ 1062823 h 1510422"/>
              <a:gd name="connsiteX2" fmla="*/ 2620938 w 2629239"/>
              <a:gd name="connsiteY2" fmla="*/ 1120722 h 1510422"/>
              <a:gd name="connsiteX3" fmla="*/ 2619442 w 2629239"/>
              <a:gd name="connsiteY3" fmla="*/ 1167326 h 1510422"/>
              <a:gd name="connsiteX4" fmla="*/ 2615904 w 2629239"/>
              <a:gd name="connsiteY4" fmla="*/ 1222231 h 1510422"/>
              <a:gd name="connsiteX5" fmla="*/ 2590934 w 2629239"/>
              <a:gd name="connsiteY5" fmla="*/ 1271920 h 1510422"/>
              <a:gd name="connsiteX6" fmla="*/ 2554127 w 2629239"/>
              <a:gd name="connsiteY6" fmla="*/ 1307752 h 1510422"/>
              <a:gd name="connsiteX7" fmla="*/ 2498610 w 2629239"/>
              <a:gd name="connsiteY7" fmla="*/ 1317549 h 1510422"/>
              <a:gd name="connsiteX8" fmla="*/ 2446359 w 2629239"/>
              <a:gd name="connsiteY8" fmla="*/ 1320815 h 1510422"/>
              <a:gd name="connsiteX9" fmla="*/ 2400639 w 2629239"/>
              <a:gd name="connsiteY9" fmla="*/ 1320815 h 1510422"/>
              <a:gd name="connsiteX10" fmla="*/ 2345122 w 2629239"/>
              <a:gd name="connsiteY10" fmla="*/ 1333878 h 1510422"/>
              <a:gd name="connsiteX11" fmla="*/ 2296499 w 2629239"/>
              <a:gd name="connsiteY11" fmla="*/ 1363541 h 1510422"/>
              <a:gd name="connsiteX12" fmla="*/ 2279807 w 2629239"/>
              <a:gd name="connsiteY12" fmla="*/ 1402458 h 1510422"/>
              <a:gd name="connsiteX13" fmla="*/ 2240619 w 2629239"/>
              <a:gd name="connsiteY13" fmla="*/ 1444912 h 1510422"/>
              <a:gd name="connsiteX14" fmla="*/ 2184218 w 2629239"/>
              <a:gd name="connsiteY14" fmla="*/ 1463010 h 1510422"/>
              <a:gd name="connsiteX15" fmla="*/ 2116522 w 2629239"/>
              <a:gd name="connsiteY15" fmla="*/ 1454709 h 1510422"/>
              <a:gd name="connsiteX16" fmla="*/ 2047942 w 2629239"/>
              <a:gd name="connsiteY16" fmla="*/ 1457975 h 1510422"/>
              <a:gd name="connsiteX17" fmla="*/ 2005487 w 2629239"/>
              <a:gd name="connsiteY17" fmla="*/ 1471038 h 1510422"/>
              <a:gd name="connsiteX18" fmla="*/ 1969564 w 2629239"/>
              <a:gd name="connsiteY18" fmla="*/ 1490632 h 1510422"/>
              <a:gd name="connsiteX19" fmla="*/ 1927019 w 2629239"/>
              <a:gd name="connsiteY19" fmla="*/ 1506870 h 1510422"/>
              <a:gd name="connsiteX20" fmla="*/ 1884202 w 2629239"/>
              <a:gd name="connsiteY20" fmla="*/ 1508116 h 1510422"/>
              <a:gd name="connsiteX21" fmla="*/ 1796482 w 2629239"/>
              <a:gd name="connsiteY21" fmla="*/ 1480495 h 1510422"/>
              <a:gd name="connsiteX22" fmla="*/ 1735046 w 2629239"/>
              <a:gd name="connsiteY22" fmla="*/ 1440761 h 1510422"/>
              <a:gd name="connsiteX23" fmla="*/ 1675378 w 2629239"/>
              <a:gd name="connsiteY23" fmla="*/ 1384020 h 1510422"/>
              <a:gd name="connsiteX24" fmla="*/ 1581012 w 2629239"/>
              <a:gd name="connsiteY24" fmla="*/ 1357010 h 1510422"/>
              <a:gd name="connsiteX25" fmla="*/ 1470795 w 2629239"/>
              <a:gd name="connsiteY25" fmla="*/ 1339796 h 1510422"/>
              <a:gd name="connsiteX26" fmla="*/ 1390037 w 2629239"/>
              <a:gd name="connsiteY26" fmla="*/ 1337415 h 1510422"/>
              <a:gd name="connsiteX27" fmla="*/ 1308122 w 2629239"/>
              <a:gd name="connsiteY27" fmla="*/ 1331496 h 1510422"/>
              <a:gd name="connsiteX28" fmla="*/ 1209809 w 2629239"/>
              <a:gd name="connsiteY28" fmla="*/ 1313672 h 1510422"/>
              <a:gd name="connsiteX29" fmla="*/ 1099388 w 2629239"/>
              <a:gd name="connsiteY29" fmla="*/ 1286388 h 1510422"/>
              <a:gd name="connsiteX30" fmla="*/ 963724 w 2629239"/>
              <a:gd name="connsiteY30" fmla="*/ 1244207 h 1510422"/>
              <a:gd name="connsiteX31" fmla="*/ 850922 w 2629239"/>
              <a:gd name="connsiteY31" fmla="*/ 1208012 h 1510422"/>
              <a:gd name="connsiteX32" fmla="*/ 752949 w 2629239"/>
              <a:gd name="connsiteY32" fmla="*/ 1175626 h 1510422"/>
              <a:gd name="connsiteX33" fmla="*/ 656747 w 2629239"/>
              <a:gd name="connsiteY33" fmla="*/ 1150998 h 1510422"/>
              <a:gd name="connsiteX34" fmla="*/ 554353 w 2629239"/>
              <a:gd name="connsiteY34" fmla="*/ 1125484 h 1510422"/>
              <a:gd name="connsiteX35" fmla="*/ 451007 w 2629239"/>
              <a:gd name="connsiteY35" fmla="*/ 1115075 h 1510422"/>
              <a:gd name="connsiteX36" fmla="*/ 372630 w 2629239"/>
              <a:gd name="connsiteY36" fmla="*/ 1108543 h 1510422"/>
              <a:gd name="connsiteX37" fmla="*/ 245879 w 2629239"/>
              <a:gd name="connsiteY37" fmla="*/ 1073505 h 1510422"/>
              <a:gd name="connsiteX38" fmla="*/ 172537 w 2629239"/>
              <a:gd name="connsiteY38" fmla="*/ 1028057 h 1510422"/>
              <a:gd name="connsiteX39" fmla="*/ 105794 w 2629239"/>
              <a:gd name="connsiteY39" fmla="*/ 959545 h 1510422"/>
              <a:gd name="connsiteX40" fmla="*/ 65925 w 2629239"/>
              <a:gd name="connsiteY40" fmla="*/ 898653 h 1510422"/>
              <a:gd name="connsiteX41" fmla="*/ 24967 w 2629239"/>
              <a:gd name="connsiteY41" fmla="*/ 811977 h 1510422"/>
              <a:gd name="connsiteX42" fmla="*/ 5986 w 2629239"/>
              <a:gd name="connsiteY42" fmla="*/ 712780 h 1510422"/>
              <a:gd name="connsiteX43" fmla="*/ 4217 w 2629239"/>
              <a:gd name="connsiteY43" fmla="*/ 608889 h 1510422"/>
              <a:gd name="connsiteX44" fmla="*/ 51433 w 2629239"/>
              <a:gd name="connsiteY44" fmla="*/ 501665 h 1510422"/>
              <a:gd name="connsiteX45" fmla="*/ 107495 w 2629239"/>
              <a:gd name="connsiteY45" fmla="*/ 445603 h 1510422"/>
              <a:gd name="connsiteX46" fmla="*/ 215876 w 2629239"/>
              <a:gd name="connsiteY46" fmla="*/ 367226 h 1510422"/>
              <a:gd name="connsiteX47" fmla="*/ 362833 w 2629239"/>
              <a:gd name="connsiteY47" fmla="*/ 298646 h 1510422"/>
              <a:gd name="connsiteX48" fmla="*/ 519587 w 2629239"/>
              <a:gd name="connsiteY48" fmla="*/ 252926 h 1510422"/>
              <a:gd name="connsiteX49" fmla="*/ 650828 w 2629239"/>
              <a:gd name="connsiteY49" fmla="*/ 213739 h 1510422"/>
              <a:gd name="connsiteX50" fmla="*/ 801664 w 2629239"/>
              <a:gd name="connsiteY50" fmla="*/ 176317 h 1510422"/>
              <a:gd name="connsiteX51" fmla="*/ 947396 w 2629239"/>
              <a:gd name="connsiteY51" fmla="*/ 151689 h 1510422"/>
              <a:gd name="connsiteX52" fmla="*/ 1138984 w 2629239"/>
              <a:gd name="connsiteY52" fmla="*/ 100867 h 1510422"/>
              <a:gd name="connsiteX53" fmla="*/ 1391533 w 2629239"/>
              <a:gd name="connsiteY53" fmla="*/ 34123 h 1510422"/>
              <a:gd name="connsiteX54" fmla="*/ 1541756 w 2629239"/>
              <a:gd name="connsiteY54" fmla="*/ 3236 h 1510422"/>
              <a:gd name="connsiteX55" fmla="*/ 1651044 w 2629239"/>
              <a:gd name="connsiteY55" fmla="*/ 2971 h 1510422"/>
              <a:gd name="connsiteX56" fmla="*/ 1758305 w 2629239"/>
              <a:gd name="connsiteY56" fmla="*/ 21278 h 1510422"/>
              <a:gd name="connsiteX57" fmla="*/ 1859123 w 2629239"/>
              <a:gd name="connsiteY57" fmla="*/ 67922 h 1510422"/>
              <a:gd name="connsiteX58" fmla="*/ 1958866 w 2629239"/>
              <a:gd name="connsiteY58" fmla="*/ 135974 h 1510422"/>
              <a:gd name="connsiteX59" fmla="*/ 2048323 w 2629239"/>
              <a:gd name="connsiteY59" fmla="*/ 213739 h 1510422"/>
              <a:gd name="connsiteX60" fmla="*/ 2121579 w 2629239"/>
              <a:gd name="connsiteY60" fmla="*/ 279052 h 1510422"/>
              <a:gd name="connsiteX61" fmla="*/ 2174062 w 2629239"/>
              <a:gd name="connsiteY61" fmla="*/ 324771 h 1510422"/>
              <a:gd name="connsiteX62" fmla="*/ 2204333 w 2629239"/>
              <a:gd name="connsiteY62" fmla="*/ 383283 h 1510422"/>
              <a:gd name="connsiteX63" fmla="*/ 2159157 w 2629239"/>
              <a:gd name="connsiteY63" fmla="*/ 454856 h 1510422"/>
              <a:gd name="connsiteX64" fmla="*/ 2056242 w 2629239"/>
              <a:gd name="connsiteY64" fmla="*/ 484520 h 1510422"/>
              <a:gd name="connsiteX65" fmla="*/ 1931261 w 2629239"/>
              <a:gd name="connsiteY65" fmla="*/ 486289 h 1510422"/>
              <a:gd name="connsiteX66" fmla="*/ 1851999 w 2629239"/>
              <a:gd name="connsiteY66" fmla="*/ 474995 h 1510422"/>
              <a:gd name="connsiteX67" fmla="*/ 1705042 w 2629239"/>
              <a:gd name="connsiteY67" fmla="*/ 452135 h 1510422"/>
              <a:gd name="connsiteX68" fmla="*/ 1564616 w 2629239"/>
              <a:gd name="connsiteY68" fmla="*/ 426009 h 1510422"/>
              <a:gd name="connsiteX69" fmla="*/ 1433987 w 2629239"/>
              <a:gd name="connsiteY69" fmla="*/ 406415 h 1510422"/>
              <a:gd name="connsiteX70" fmla="*/ 1319687 w 2629239"/>
              <a:gd name="connsiteY70" fmla="*/ 409680 h 1510422"/>
              <a:gd name="connsiteX71" fmla="*/ 1219063 w 2629239"/>
              <a:gd name="connsiteY71" fmla="*/ 434921 h 1510422"/>
              <a:gd name="connsiteX72" fmla="*/ 1133542 w 2629239"/>
              <a:gd name="connsiteY72" fmla="*/ 465198 h 1510422"/>
              <a:gd name="connsiteX73" fmla="*/ 1018697 w 2629239"/>
              <a:gd name="connsiteY73" fmla="*/ 510918 h 1510422"/>
              <a:gd name="connsiteX74" fmla="*/ 918004 w 2629239"/>
              <a:gd name="connsiteY74" fmla="*/ 547724 h 1510422"/>
              <a:gd name="connsiteX75" fmla="*/ 767170 w 2629239"/>
              <a:gd name="connsiteY75" fmla="*/ 570313 h 1510422"/>
              <a:gd name="connsiteX76" fmla="*/ 652053 w 2629239"/>
              <a:gd name="connsiteY76" fmla="*/ 572444 h 1510422"/>
              <a:gd name="connsiteX77" fmla="*/ 520222 w 2629239"/>
              <a:gd name="connsiteY77" fmla="*/ 573329 h 1510422"/>
              <a:gd name="connsiteX78" fmla="*/ 402112 w 2629239"/>
              <a:gd name="connsiteY78" fmla="*/ 562556 h 1510422"/>
              <a:gd name="connsiteX79" fmla="*/ 299537 w 2629239"/>
              <a:gd name="connsiteY79" fmla="*/ 550900 h 1510422"/>
              <a:gd name="connsiteX80" fmla="*/ 169271 w 2629239"/>
              <a:gd name="connsiteY80" fmla="*/ 530784 h 1510422"/>
              <a:gd name="connsiteX0" fmla="*/ 2629239 w 2629239"/>
              <a:gd name="connsiteY0" fmla="*/ 1011021 h 1514137"/>
              <a:gd name="connsiteX1" fmla="*/ 2619623 w 2629239"/>
              <a:gd name="connsiteY1" fmla="*/ 1066538 h 1514137"/>
              <a:gd name="connsiteX2" fmla="*/ 2620938 w 2629239"/>
              <a:gd name="connsiteY2" fmla="*/ 1124437 h 1514137"/>
              <a:gd name="connsiteX3" fmla="*/ 2619442 w 2629239"/>
              <a:gd name="connsiteY3" fmla="*/ 1171041 h 1514137"/>
              <a:gd name="connsiteX4" fmla="*/ 2615904 w 2629239"/>
              <a:gd name="connsiteY4" fmla="*/ 1225946 h 1514137"/>
              <a:gd name="connsiteX5" fmla="*/ 2590934 w 2629239"/>
              <a:gd name="connsiteY5" fmla="*/ 1275635 h 1514137"/>
              <a:gd name="connsiteX6" fmla="*/ 2554127 w 2629239"/>
              <a:gd name="connsiteY6" fmla="*/ 1311467 h 1514137"/>
              <a:gd name="connsiteX7" fmla="*/ 2498610 w 2629239"/>
              <a:gd name="connsiteY7" fmla="*/ 1321264 h 1514137"/>
              <a:gd name="connsiteX8" fmla="*/ 2446359 w 2629239"/>
              <a:gd name="connsiteY8" fmla="*/ 1324530 h 1514137"/>
              <a:gd name="connsiteX9" fmla="*/ 2400639 w 2629239"/>
              <a:gd name="connsiteY9" fmla="*/ 1324530 h 1514137"/>
              <a:gd name="connsiteX10" fmla="*/ 2345122 w 2629239"/>
              <a:gd name="connsiteY10" fmla="*/ 1337593 h 1514137"/>
              <a:gd name="connsiteX11" fmla="*/ 2296499 w 2629239"/>
              <a:gd name="connsiteY11" fmla="*/ 1367256 h 1514137"/>
              <a:gd name="connsiteX12" fmla="*/ 2279807 w 2629239"/>
              <a:gd name="connsiteY12" fmla="*/ 1406173 h 1514137"/>
              <a:gd name="connsiteX13" fmla="*/ 2240619 w 2629239"/>
              <a:gd name="connsiteY13" fmla="*/ 1448627 h 1514137"/>
              <a:gd name="connsiteX14" fmla="*/ 2184218 w 2629239"/>
              <a:gd name="connsiteY14" fmla="*/ 1466725 h 1514137"/>
              <a:gd name="connsiteX15" fmla="*/ 2116522 w 2629239"/>
              <a:gd name="connsiteY15" fmla="*/ 1458424 h 1514137"/>
              <a:gd name="connsiteX16" fmla="*/ 2047942 w 2629239"/>
              <a:gd name="connsiteY16" fmla="*/ 1461690 h 1514137"/>
              <a:gd name="connsiteX17" fmla="*/ 2005487 w 2629239"/>
              <a:gd name="connsiteY17" fmla="*/ 1474753 h 1514137"/>
              <a:gd name="connsiteX18" fmla="*/ 1969564 w 2629239"/>
              <a:gd name="connsiteY18" fmla="*/ 1494347 h 1514137"/>
              <a:gd name="connsiteX19" fmla="*/ 1927019 w 2629239"/>
              <a:gd name="connsiteY19" fmla="*/ 1510585 h 1514137"/>
              <a:gd name="connsiteX20" fmla="*/ 1884202 w 2629239"/>
              <a:gd name="connsiteY20" fmla="*/ 1511831 h 1514137"/>
              <a:gd name="connsiteX21" fmla="*/ 1796482 w 2629239"/>
              <a:gd name="connsiteY21" fmla="*/ 1484210 h 1514137"/>
              <a:gd name="connsiteX22" fmla="*/ 1735046 w 2629239"/>
              <a:gd name="connsiteY22" fmla="*/ 1444476 h 1514137"/>
              <a:gd name="connsiteX23" fmla="*/ 1675378 w 2629239"/>
              <a:gd name="connsiteY23" fmla="*/ 1387735 h 1514137"/>
              <a:gd name="connsiteX24" fmla="*/ 1581012 w 2629239"/>
              <a:gd name="connsiteY24" fmla="*/ 1360725 h 1514137"/>
              <a:gd name="connsiteX25" fmla="*/ 1470795 w 2629239"/>
              <a:gd name="connsiteY25" fmla="*/ 1343511 h 1514137"/>
              <a:gd name="connsiteX26" fmla="*/ 1390037 w 2629239"/>
              <a:gd name="connsiteY26" fmla="*/ 1341130 h 1514137"/>
              <a:gd name="connsiteX27" fmla="*/ 1308122 w 2629239"/>
              <a:gd name="connsiteY27" fmla="*/ 1335211 h 1514137"/>
              <a:gd name="connsiteX28" fmla="*/ 1209809 w 2629239"/>
              <a:gd name="connsiteY28" fmla="*/ 1317387 h 1514137"/>
              <a:gd name="connsiteX29" fmla="*/ 1099388 w 2629239"/>
              <a:gd name="connsiteY29" fmla="*/ 1290103 h 1514137"/>
              <a:gd name="connsiteX30" fmla="*/ 963724 w 2629239"/>
              <a:gd name="connsiteY30" fmla="*/ 1247922 h 1514137"/>
              <a:gd name="connsiteX31" fmla="*/ 850922 w 2629239"/>
              <a:gd name="connsiteY31" fmla="*/ 1211727 h 1514137"/>
              <a:gd name="connsiteX32" fmla="*/ 752949 w 2629239"/>
              <a:gd name="connsiteY32" fmla="*/ 1179341 h 1514137"/>
              <a:gd name="connsiteX33" fmla="*/ 656747 w 2629239"/>
              <a:gd name="connsiteY33" fmla="*/ 1154713 h 1514137"/>
              <a:gd name="connsiteX34" fmla="*/ 554353 w 2629239"/>
              <a:gd name="connsiteY34" fmla="*/ 1129199 h 1514137"/>
              <a:gd name="connsiteX35" fmla="*/ 451007 w 2629239"/>
              <a:gd name="connsiteY35" fmla="*/ 1118790 h 1514137"/>
              <a:gd name="connsiteX36" fmla="*/ 372630 w 2629239"/>
              <a:gd name="connsiteY36" fmla="*/ 1112258 h 1514137"/>
              <a:gd name="connsiteX37" fmla="*/ 245879 w 2629239"/>
              <a:gd name="connsiteY37" fmla="*/ 1077220 h 1514137"/>
              <a:gd name="connsiteX38" fmla="*/ 172537 w 2629239"/>
              <a:gd name="connsiteY38" fmla="*/ 1031772 h 1514137"/>
              <a:gd name="connsiteX39" fmla="*/ 105794 w 2629239"/>
              <a:gd name="connsiteY39" fmla="*/ 963260 h 1514137"/>
              <a:gd name="connsiteX40" fmla="*/ 65925 w 2629239"/>
              <a:gd name="connsiteY40" fmla="*/ 902368 h 1514137"/>
              <a:gd name="connsiteX41" fmla="*/ 24967 w 2629239"/>
              <a:gd name="connsiteY41" fmla="*/ 815692 h 1514137"/>
              <a:gd name="connsiteX42" fmla="*/ 5986 w 2629239"/>
              <a:gd name="connsiteY42" fmla="*/ 716495 h 1514137"/>
              <a:gd name="connsiteX43" fmla="*/ 4217 w 2629239"/>
              <a:gd name="connsiteY43" fmla="*/ 612604 h 1514137"/>
              <a:gd name="connsiteX44" fmla="*/ 51433 w 2629239"/>
              <a:gd name="connsiteY44" fmla="*/ 505380 h 1514137"/>
              <a:gd name="connsiteX45" fmla="*/ 107495 w 2629239"/>
              <a:gd name="connsiteY45" fmla="*/ 449318 h 1514137"/>
              <a:gd name="connsiteX46" fmla="*/ 215876 w 2629239"/>
              <a:gd name="connsiteY46" fmla="*/ 370941 h 1514137"/>
              <a:gd name="connsiteX47" fmla="*/ 362833 w 2629239"/>
              <a:gd name="connsiteY47" fmla="*/ 302361 h 1514137"/>
              <a:gd name="connsiteX48" fmla="*/ 519587 w 2629239"/>
              <a:gd name="connsiteY48" fmla="*/ 256641 h 1514137"/>
              <a:gd name="connsiteX49" fmla="*/ 650828 w 2629239"/>
              <a:gd name="connsiteY49" fmla="*/ 217454 h 1514137"/>
              <a:gd name="connsiteX50" fmla="*/ 801664 w 2629239"/>
              <a:gd name="connsiteY50" fmla="*/ 180032 h 1514137"/>
              <a:gd name="connsiteX51" fmla="*/ 947396 w 2629239"/>
              <a:gd name="connsiteY51" fmla="*/ 155404 h 1514137"/>
              <a:gd name="connsiteX52" fmla="*/ 1138984 w 2629239"/>
              <a:gd name="connsiteY52" fmla="*/ 104582 h 1514137"/>
              <a:gd name="connsiteX53" fmla="*/ 1391533 w 2629239"/>
              <a:gd name="connsiteY53" fmla="*/ 37838 h 1514137"/>
              <a:gd name="connsiteX54" fmla="*/ 1541756 w 2629239"/>
              <a:gd name="connsiteY54" fmla="*/ 6951 h 1514137"/>
              <a:gd name="connsiteX55" fmla="*/ 1651044 w 2629239"/>
              <a:gd name="connsiteY55" fmla="*/ 1081 h 1514137"/>
              <a:gd name="connsiteX56" fmla="*/ 1758305 w 2629239"/>
              <a:gd name="connsiteY56" fmla="*/ 24993 h 1514137"/>
              <a:gd name="connsiteX57" fmla="*/ 1859123 w 2629239"/>
              <a:gd name="connsiteY57" fmla="*/ 71637 h 1514137"/>
              <a:gd name="connsiteX58" fmla="*/ 1958866 w 2629239"/>
              <a:gd name="connsiteY58" fmla="*/ 139689 h 1514137"/>
              <a:gd name="connsiteX59" fmla="*/ 2048323 w 2629239"/>
              <a:gd name="connsiteY59" fmla="*/ 217454 h 1514137"/>
              <a:gd name="connsiteX60" fmla="*/ 2121579 w 2629239"/>
              <a:gd name="connsiteY60" fmla="*/ 282767 h 1514137"/>
              <a:gd name="connsiteX61" fmla="*/ 2174062 w 2629239"/>
              <a:gd name="connsiteY61" fmla="*/ 328486 h 1514137"/>
              <a:gd name="connsiteX62" fmla="*/ 2204333 w 2629239"/>
              <a:gd name="connsiteY62" fmla="*/ 386998 h 1514137"/>
              <a:gd name="connsiteX63" fmla="*/ 2159157 w 2629239"/>
              <a:gd name="connsiteY63" fmla="*/ 458571 h 1514137"/>
              <a:gd name="connsiteX64" fmla="*/ 2056242 w 2629239"/>
              <a:gd name="connsiteY64" fmla="*/ 488235 h 1514137"/>
              <a:gd name="connsiteX65" fmla="*/ 1931261 w 2629239"/>
              <a:gd name="connsiteY65" fmla="*/ 490004 h 1514137"/>
              <a:gd name="connsiteX66" fmla="*/ 1851999 w 2629239"/>
              <a:gd name="connsiteY66" fmla="*/ 478710 h 1514137"/>
              <a:gd name="connsiteX67" fmla="*/ 1705042 w 2629239"/>
              <a:gd name="connsiteY67" fmla="*/ 455850 h 1514137"/>
              <a:gd name="connsiteX68" fmla="*/ 1564616 w 2629239"/>
              <a:gd name="connsiteY68" fmla="*/ 429724 h 1514137"/>
              <a:gd name="connsiteX69" fmla="*/ 1433987 w 2629239"/>
              <a:gd name="connsiteY69" fmla="*/ 410130 h 1514137"/>
              <a:gd name="connsiteX70" fmla="*/ 1319687 w 2629239"/>
              <a:gd name="connsiteY70" fmla="*/ 413395 h 1514137"/>
              <a:gd name="connsiteX71" fmla="*/ 1219063 w 2629239"/>
              <a:gd name="connsiteY71" fmla="*/ 438636 h 1514137"/>
              <a:gd name="connsiteX72" fmla="*/ 1133542 w 2629239"/>
              <a:gd name="connsiteY72" fmla="*/ 468913 h 1514137"/>
              <a:gd name="connsiteX73" fmla="*/ 1018697 w 2629239"/>
              <a:gd name="connsiteY73" fmla="*/ 514633 h 1514137"/>
              <a:gd name="connsiteX74" fmla="*/ 918004 w 2629239"/>
              <a:gd name="connsiteY74" fmla="*/ 551439 h 1514137"/>
              <a:gd name="connsiteX75" fmla="*/ 767170 w 2629239"/>
              <a:gd name="connsiteY75" fmla="*/ 574028 h 1514137"/>
              <a:gd name="connsiteX76" fmla="*/ 652053 w 2629239"/>
              <a:gd name="connsiteY76" fmla="*/ 576159 h 1514137"/>
              <a:gd name="connsiteX77" fmla="*/ 520222 w 2629239"/>
              <a:gd name="connsiteY77" fmla="*/ 577044 h 1514137"/>
              <a:gd name="connsiteX78" fmla="*/ 402112 w 2629239"/>
              <a:gd name="connsiteY78" fmla="*/ 566271 h 1514137"/>
              <a:gd name="connsiteX79" fmla="*/ 299537 w 2629239"/>
              <a:gd name="connsiteY79" fmla="*/ 554615 h 1514137"/>
              <a:gd name="connsiteX80" fmla="*/ 169271 w 2629239"/>
              <a:gd name="connsiteY80" fmla="*/ 534499 h 1514137"/>
              <a:gd name="connsiteX0" fmla="*/ 2629239 w 2629239"/>
              <a:gd name="connsiteY0" fmla="*/ 1010265 h 1513381"/>
              <a:gd name="connsiteX1" fmla="*/ 2619623 w 2629239"/>
              <a:gd name="connsiteY1" fmla="*/ 1065782 h 1513381"/>
              <a:gd name="connsiteX2" fmla="*/ 2620938 w 2629239"/>
              <a:gd name="connsiteY2" fmla="*/ 1123681 h 1513381"/>
              <a:gd name="connsiteX3" fmla="*/ 2619442 w 2629239"/>
              <a:gd name="connsiteY3" fmla="*/ 1170285 h 1513381"/>
              <a:gd name="connsiteX4" fmla="*/ 2615904 w 2629239"/>
              <a:gd name="connsiteY4" fmla="*/ 1225190 h 1513381"/>
              <a:gd name="connsiteX5" fmla="*/ 2590934 w 2629239"/>
              <a:gd name="connsiteY5" fmla="*/ 1274879 h 1513381"/>
              <a:gd name="connsiteX6" fmla="*/ 2554127 w 2629239"/>
              <a:gd name="connsiteY6" fmla="*/ 1310711 h 1513381"/>
              <a:gd name="connsiteX7" fmla="*/ 2498610 w 2629239"/>
              <a:gd name="connsiteY7" fmla="*/ 1320508 h 1513381"/>
              <a:gd name="connsiteX8" fmla="*/ 2446359 w 2629239"/>
              <a:gd name="connsiteY8" fmla="*/ 1323774 h 1513381"/>
              <a:gd name="connsiteX9" fmla="*/ 2400639 w 2629239"/>
              <a:gd name="connsiteY9" fmla="*/ 1323774 h 1513381"/>
              <a:gd name="connsiteX10" fmla="*/ 2345122 w 2629239"/>
              <a:gd name="connsiteY10" fmla="*/ 1336837 h 1513381"/>
              <a:gd name="connsiteX11" fmla="*/ 2296499 w 2629239"/>
              <a:gd name="connsiteY11" fmla="*/ 1366500 h 1513381"/>
              <a:gd name="connsiteX12" fmla="*/ 2279807 w 2629239"/>
              <a:gd name="connsiteY12" fmla="*/ 1405417 h 1513381"/>
              <a:gd name="connsiteX13" fmla="*/ 2240619 w 2629239"/>
              <a:gd name="connsiteY13" fmla="*/ 1447871 h 1513381"/>
              <a:gd name="connsiteX14" fmla="*/ 2184218 w 2629239"/>
              <a:gd name="connsiteY14" fmla="*/ 1465969 h 1513381"/>
              <a:gd name="connsiteX15" fmla="*/ 2116522 w 2629239"/>
              <a:gd name="connsiteY15" fmla="*/ 1457668 h 1513381"/>
              <a:gd name="connsiteX16" fmla="*/ 2047942 w 2629239"/>
              <a:gd name="connsiteY16" fmla="*/ 1460934 h 1513381"/>
              <a:gd name="connsiteX17" fmla="*/ 2005487 w 2629239"/>
              <a:gd name="connsiteY17" fmla="*/ 1473997 h 1513381"/>
              <a:gd name="connsiteX18" fmla="*/ 1969564 w 2629239"/>
              <a:gd name="connsiteY18" fmla="*/ 1493591 h 1513381"/>
              <a:gd name="connsiteX19" fmla="*/ 1927019 w 2629239"/>
              <a:gd name="connsiteY19" fmla="*/ 1509829 h 1513381"/>
              <a:gd name="connsiteX20" fmla="*/ 1884202 w 2629239"/>
              <a:gd name="connsiteY20" fmla="*/ 1511075 h 1513381"/>
              <a:gd name="connsiteX21" fmla="*/ 1796482 w 2629239"/>
              <a:gd name="connsiteY21" fmla="*/ 1483454 h 1513381"/>
              <a:gd name="connsiteX22" fmla="*/ 1735046 w 2629239"/>
              <a:gd name="connsiteY22" fmla="*/ 1443720 h 1513381"/>
              <a:gd name="connsiteX23" fmla="*/ 1675378 w 2629239"/>
              <a:gd name="connsiteY23" fmla="*/ 1386979 h 1513381"/>
              <a:gd name="connsiteX24" fmla="*/ 1581012 w 2629239"/>
              <a:gd name="connsiteY24" fmla="*/ 1359969 h 1513381"/>
              <a:gd name="connsiteX25" fmla="*/ 1470795 w 2629239"/>
              <a:gd name="connsiteY25" fmla="*/ 1342755 h 1513381"/>
              <a:gd name="connsiteX26" fmla="*/ 1390037 w 2629239"/>
              <a:gd name="connsiteY26" fmla="*/ 1340374 h 1513381"/>
              <a:gd name="connsiteX27" fmla="*/ 1308122 w 2629239"/>
              <a:gd name="connsiteY27" fmla="*/ 1334455 h 1513381"/>
              <a:gd name="connsiteX28" fmla="*/ 1209809 w 2629239"/>
              <a:gd name="connsiteY28" fmla="*/ 1316631 h 1513381"/>
              <a:gd name="connsiteX29" fmla="*/ 1099388 w 2629239"/>
              <a:gd name="connsiteY29" fmla="*/ 1289347 h 1513381"/>
              <a:gd name="connsiteX30" fmla="*/ 963724 w 2629239"/>
              <a:gd name="connsiteY30" fmla="*/ 1247166 h 1513381"/>
              <a:gd name="connsiteX31" fmla="*/ 850922 w 2629239"/>
              <a:gd name="connsiteY31" fmla="*/ 1210971 h 1513381"/>
              <a:gd name="connsiteX32" fmla="*/ 752949 w 2629239"/>
              <a:gd name="connsiteY32" fmla="*/ 1178585 h 1513381"/>
              <a:gd name="connsiteX33" fmla="*/ 656747 w 2629239"/>
              <a:gd name="connsiteY33" fmla="*/ 1153957 h 1513381"/>
              <a:gd name="connsiteX34" fmla="*/ 554353 w 2629239"/>
              <a:gd name="connsiteY34" fmla="*/ 1128443 h 1513381"/>
              <a:gd name="connsiteX35" fmla="*/ 451007 w 2629239"/>
              <a:gd name="connsiteY35" fmla="*/ 1118034 h 1513381"/>
              <a:gd name="connsiteX36" fmla="*/ 372630 w 2629239"/>
              <a:gd name="connsiteY36" fmla="*/ 1111502 h 1513381"/>
              <a:gd name="connsiteX37" fmla="*/ 245879 w 2629239"/>
              <a:gd name="connsiteY37" fmla="*/ 1076464 h 1513381"/>
              <a:gd name="connsiteX38" fmla="*/ 172537 w 2629239"/>
              <a:gd name="connsiteY38" fmla="*/ 1031016 h 1513381"/>
              <a:gd name="connsiteX39" fmla="*/ 105794 w 2629239"/>
              <a:gd name="connsiteY39" fmla="*/ 962504 h 1513381"/>
              <a:gd name="connsiteX40" fmla="*/ 65925 w 2629239"/>
              <a:gd name="connsiteY40" fmla="*/ 901612 h 1513381"/>
              <a:gd name="connsiteX41" fmla="*/ 24967 w 2629239"/>
              <a:gd name="connsiteY41" fmla="*/ 814936 h 1513381"/>
              <a:gd name="connsiteX42" fmla="*/ 5986 w 2629239"/>
              <a:gd name="connsiteY42" fmla="*/ 715739 h 1513381"/>
              <a:gd name="connsiteX43" fmla="*/ 4217 w 2629239"/>
              <a:gd name="connsiteY43" fmla="*/ 611848 h 1513381"/>
              <a:gd name="connsiteX44" fmla="*/ 51433 w 2629239"/>
              <a:gd name="connsiteY44" fmla="*/ 504624 h 1513381"/>
              <a:gd name="connsiteX45" fmla="*/ 107495 w 2629239"/>
              <a:gd name="connsiteY45" fmla="*/ 448562 h 1513381"/>
              <a:gd name="connsiteX46" fmla="*/ 215876 w 2629239"/>
              <a:gd name="connsiteY46" fmla="*/ 370185 h 1513381"/>
              <a:gd name="connsiteX47" fmla="*/ 362833 w 2629239"/>
              <a:gd name="connsiteY47" fmla="*/ 301605 h 1513381"/>
              <a:gd name="connsiteX48" fmla="*/ 519587 w 2629239"/>
              <a:gd name="connsiteY48" fmla="*/ 255885 h 1513381"/>
              <a:gd name="connsiteX49" fmla="*/ 650828 w 2629239"/>
              <a:gd name="connsiteY49" fmla="*/ 216698 h 1513381"/>
              <a:gd name="connsiteX50" fmla="*/ 801664 w 2629239"/>
              <a:gd name="connsiteY50" fmla="*/ 179276 h 1513381"/>
              <a:gd name="connsiteX51" fmla="*/ 947396 w 2629239"/>
              <a:gd name="connsiteY51" fmla="*/ 154648 h 1513381"/>
              <a:gd name="connsiteX52" fmla="*/ 1138984 w 2629239"/>
              <a:gd name="connsiteY52" fmla="*/ 103826 h 1513381"/>
              <a:gd name="connsiteX53" fmla="*/ 1391533 w 2629239"/>
              <a:gd name="connsiteY53" fmla="*/ 37082 h 1513381"/>
              <a:gd name="connsiteX54" fmla="*/ 1541756 w 2629239"/>
              <a:gd name="connsiteY54" fmla="*/ 6195 h 1513381"/>
              <a:gd name="connsiteX55" fmla="*/ 1651044 w 2629239"/>
              <a:gd name="connsiteY55" fmla="*/ 325 h 1513381"/>
              <a:gd name="connsiteX56" fmla="*/ 1752785 w 2629239"/>
              <a:gd name="connsiteY56" fmla="*/ 13023 h 1513381"/>
              <a:gd name="connsiteX57" fmla="*/ 1859123 w 2629239"/>
              <a:gd name="connsiteY57" fmla="*/ 70881 h 1513381"/>
              <a:gd name="connsiteX58" fmla="*/ 1958866 w 2629239"/>
              <a:gd name="connsiteY58" fmla="*/ 138933 h 1513381"/>
              <a:gd name="connsiteX59" fmla="*/ 2048323 w 2629239"/>
              <a:gd name="connsiteY59" fmla="*/ 216698 h 1513381"/>
              <a:gd name="connsiteX60" fmla="*/ 2121579 w 2629239"/>
              <a:gd name="connsiteY60" fmla="*/ 282011 h 1513381"/>
              <a:gd name="connsiteX61" fmla="*/ 2174062 w 2629239"/>
              <a:gd name="connsiteY61" fmla="*/ 327730 h 1513381"/>
              <a:gd name="connsiteX62" fmla="*/ 2204333 w 2629239"/>
              <a:gd name="connsiteY62" fmla="*/ 386242 h 1513381"/>
              <a:gd name="connsiteX63" fmla="*/ 2159157 w 2629239"/>
              <a:gd name="connsiteY63" fmla="*/ 457815 h 1513381"/>
              <a:gd name="connsiteX64" fmla="*/ 2056242 w 2629239"/>
              <a:gd name="connsiteY64" fmla="*/ 487479 h 1513381"/>
              <a:gd name="connsiteX65" fmla="*/ 1931261 w 2629239"/>
              <a:gd name="connsiteY65" fmla="*/ 489248 h 1513381"/>
              <a:gd name="connsiteX66" fmla="*/ 1851999 w 2629239"/>
              <a:gd name="connsiteY66" fmla="*/ 477954 h 1513381"/>
              <a:gd name="connsiteX67" fmla="*/ 1705042 w 2629239"/>
              <a:gd name="connsiteY67" fmla="*/ 455094 h 1513381"/>
              <a:gd name="connsiteX68" fmla="*/ 1564616 w 2629239"/>
              <a:gd name="connsiteY68" fmla="*/ 428968 h 1513381"/>
              <a:gd name="connsiteX69" fmla="*/ 1433987 w 2629239"/>
              <a:gd name="connsiteY69" fmla="*/ 409374 h 1513381"/>
              <a:gd name="connsiteX70" fmla="*/ 1319687 w 2629239"/>
              <a:gd name="connsiteY70" fmla="*/ 412639 h 1513381"/>
              <a:gd name="connsiteX71" fmla="*/ 1219063 w 2629239"/>
              <a:gd name="connsiteY71" fmla="*/ 437880 h 1513381"/>
              <a:gd name="connsiteX72" fmla="*/ 1133542 w 2629239"/>
              <a:gd name="connsiteY72" fmla="*/ 468157 h 1513381"/>
              <a:gd name="connsiteX73" fmla="*/ 1018697 w 2629239"/>
              <a:gd name="connsiteY73" fmla="*/ 513877 h 1513381"/>
              <a:gd name="connsiteX74" fmla="*/ 918004 w 2629239"/>
              <a:gd name="connsiteY74" fmla="*/ 550683 h 1513381"/>
              <a:gd name="connsiteX75" fmla="*/ 767170 w 2629239"/>
              <a:gd name="connsiteY75" fmla="*/ 573272 h 1513381"/>
              <a:gd name="connsiteX76" fmla="*/ 652053 w 2629239"/>
              <a:gd name="connsiteY76" fmla="*/ 575403 h 1513381"/>
              <a:gd name="connsiteX77" fmla="*/ 520222 w 2629239"/>
              <a:gd name="connsiteY77" fmla="*/ 576288 h 1513381"/>
              <a:gd name="connsiteX78" fmla="*/ 402112 w 2629239"/>
              <a:gd name="connsiteY78" fmla="*/ 565515 h 1513381"/>
              <a:gd name="connsiteX79" fmla="*/ 299537 w 2629239"/>
              <a:gd name="connsiteY79" fmla="*/ 553859 h 1513381"/>
              <a:gd name="connsiteX80" fmla="*/ 169271 w 2629239"/>
              <a:gd name="connsiteY80" fmla="*/ 533743 h 1513381"/>
              <a:gd name="connsiteX0" fmla="*/ 2629239 w 2629239"/>
              <a:gd name="connsiteY0" fmla="*/ 1010265 h 1513381"/>
              <a:gd name="connsiteX1" fmla="*/ 2619623 w 2629239"/>
              <a:gd name="connsiteY1" fmla="*/ 1065782 h 1513381"/>
              <a:gd name="connsiteX2" fmla="*/ 2620938 w 2629239"/>
              <a:gd name="connsiteY2" fmla="*/ 1123681 h 1513381"/>
              <a:gd name="connsiteX3" fmla="*/ 2619442 w 2629239"/>
              <a:gd name="connsiteY3" fmla="*/ 1170285 h 1513381"/>
              <a:gd name="connsiteX4" fmla="*/ 2615904 w 2629239"/>
              <a:gd name="connsiteY4" fmla="*/ 1225190 h 1513381"/>
              <a:gd name="connsiteX5" fmla="*/ 2590934 w 2629239"/>
              <a:gd name="connsiteY5" fmla="*/ 1274879 h 1513381"/>
              <a:gd name="connsiteX6" fmla="*/ 2554127 w 2629239"/>
              <a:gd name="connsiteY6" fmla="*/ 1310711 h 1513381"/>
              <a:gd name="connsiteX7" fmla="*/ 2498610 w 2629239"/>
              <a:gd name="connsiteY7" fmla="*/ 1320508 h 1513381"/>
              <a:gd name="connsiteX8" fmla="*/ 2446359 w 2629239"/>
              <a:gd name="connsiteY8" fmla="*/ 1323774 h 1513381"/>
              <a:gd name="connsiteX9" fmla="*/ 2400639 w 2629239"/>
              <a:gd name="connsiteY9" fmla="*/ 1323774 h 1513381"/>
              <a:gd name="connsiteX10" fmla="*/ 2345122 w 2629239"/>
              <a:gd name="connsiteY10" fmla="*/ 1336837 h 1513381"/>
              <a:gd name="connsiteX11" fmla="*/ 2296499 w 2629239"/>
              <a:gd name="connsiteY11" fmla="*/ 1366500 h 1513381"/>
              <a:gd name="connsiteX12" fmla="*/ 2279807 w 2629239"/>
              <a:gd name="connsiteY12" fmla="*/ 1405417 h 1513381"/>
              <a:gd name="connsiteX13" fmla="*/ 2240619 w 2629239"/>
              <a:gd name="connsiteY13" fmla="*/ 1447871 h 1513381"/>
              <a:gd name="connsiteX14" fmla="*/ 2184218 w 2629239"/>
              <a:gd name="connsiteY14" fmla="*/ 1465969 h 1513381"/>
              <a:gd name="connsiteX15" fmla="*/ 2116522 w 2629239"/>
              <a:gd name="connsiteY15" fmla="*/ 1457668 h 1513381"/>
              <a:gd name="connsiteX16" fmla="*/ 2047942 w 2629239"/>
              <a:gd name="connsiteY16" fmla="*/ 1460934 h 1513381"/>
              <a:gd name="connsiteX17" fmla="*/ 2005487 w 2629239"/>
              <a:gd name="connsiteY17" fmla="*/ 1473997 h 1513381"/>
              <a:gd name="connsiteX18" fmla="*/ 1969564 w 2629239"/>
              <a:gd name="connsiteY18" fmla="*/ 1493591 h 1513381"/>
              <a:gd name="connsiteX19" fmla="*/ 1927019 w 2629239"/>
              <a:gd name="connsiteY19" fmla="*/ 1509829 h 1513381"/>
              <a:gd name="connsiteX20" fmla="*/ 1884202 w 2629239"/>
              <a:gd name="connsiteY20" fmla="*/ 1511075 h 1513381"/>
              <a:gd name="connsiteX21" fmla="*/ 1796482 w 2629239"/>
              <a:gd name="connsiteY21" fmla="*/ 1483454 h 1513381"/>
              <a:gd name="connsiteX22" fmla="*/ 1735046 w 2629239"/>
              <a:gd name="connsiteY22" fmla="*/ 1443720 h 1513381"/>
              <a:gd name="connsiteX23" fmla="*/ 1675378 w 2629239"/>
              <a:gd name="connsiteY23" fmla="*/ 1386979 h 1513381"/>
              <a:gd name="connsiteX24" fmla="*/ 1581012 w 2629239"/>
              <a:gd name="connsiteY24" fmla="*/ 1359969 h 1513381"/>
              <a:gd name="connsiteX25" fmla="*/ 1470795 w 2629239"/>
              <a:gd name="connsiteY25" fmla="*/ 1342755 h 1513381"/>
              <a:gd name="connsiteX26" fmla="*/ 1390037 w 2629239"/>
              <a:gd name="connsiteY26" fmla="*/ 1340374 h 1513381"/>
              <a:gd name="connsiteX27" fmla="*/ 1308122 w 2629239"/>
              <a:gd name="connsiteY27" fmla="*/ 1334455 h 1513381"/>
              <a:gd name="connsiteX28" fmla="*/ 1209809 w 2629239"/>
              <a:gd name="connsiteY28" fmla="*/ 1316631 h 1513381"/>
              <a:gd name="connsiteX29" fmla="*/ 1099388 w 2629239"/>
              <a:gd name="connsiteY29" fmla="*/ 1289347 h 1513381"/>
              <a:gd name="connsiteX30" fmla="*/ 963724 w 2629239"/>
              <a:gd name="connsiteY30" fmla="*/ 1247166 h 1513381"/>
              <a:gd name="connsiteX31" fmla="*/ 850922 w 2629239"/>
              <a:gd name="connsiteY31" fmla="*/ 1210971 h 1513381"/>
              <a:gd name="connsiteX32" fmla="*/ 752949 w 2629239"/>
              <a:gd name="connsiteY32" fmla="*/ 1178585 h 1513381"/>
              <a:gd name="connsiteX33" fmla="*/ 656747 w 2629239"/>
              <a:gd name="connsiteY33" fmla="*/ 1153957 h 1513381"/>
              <a:gd name="connsiteX34" fmla="*/ 554353 w 2629239"/>
              <a:gd name="connsiteY34" fmla="*/ 1128443 h 1513381"/>
              <a:gd name="connsiteX35" fmla="*/ 451007 w 2629239"/>
              <a:gd name="connsiteY35" fmla="*/ 1118034 h 1513381"/>
              <a:gd name="connsiteX36" fmla="*/ 372630 w 2629239"/>
              <a:gd name="connsiteY36" fmla="*/ 1111502 h 1513381"/>
              <a:gd name="connsiteX37" fmla="*/ 245879 w 2629239"/>
              <a:gd name="connsiteY37" fmla="*/ 1076464 h 1513381"/>
              <a:gd name="connsiteX38" fmla="*/ 172537 w 2629239"/>
              <a:gd name="connsiteY38" fmla="*/ 1031016 h 1513381"/>
              <a:gd name="connsiteX39" fmla="*/ 105794 w 2629239"/>
              <a:gd name="connsiteY39" fmla="*/ 962504 h 1513381"/>
              <a:gd name="connsiteX40" fmla="*/ 65925 w 2629239"/>
              <a:gd name="connsiteY40" fmla="*/ 901612 h 1513381"/>
              <a:gd name="connsiteX41" fmla="*/ 24967 w 2629239"/>
              <a:gd name="connsiteY41" fmla="*/ 814936 h 1513381"/>
              <a:gd name="connsiteX42" fmla="*/ 5986 w 2629239"/>
              <a:gd name="connsiteY42" fmla="*/ 715739 h 1513381"/>
              <a:gd name="connsiteX43" fmla="*/ 4217 w 2629239"/>
              <a:gd name="connsiteY43" fmla="*/ 611848 h 1513381"/>
              <a:gd name="connsiteX44" fmla="*/ 51433 w 2629239"/>
              <a:gd name="connsiteY44" fmla="*/ 504624 h 1513381"/>
              <a:gd name="connsiteX45" fmla="*/ 107495 w 2629239"/>
              <a:gd name="connsiteY45" fmla="*/ 448562 h 1513381"/>
              <a:gd name="connsiteX46" fmla="*/ 215876 w 2629239"/>
              <a:gd name="connsiteY46" fmla="*/ 370185 h 1513381"/>
              <a:gd name="connsiteX47" fmla="*/ 362833 w 2629239"/>
              <a:gd name="connsiteY47" fmla="*/ 301605 h 1513381"/>
              <a:gd name="connsiteX48" fmla="*/ 519587 w 2629239"/>
              <a:gd name="connsiteY48" fmla="*/ 255885 h 1513381"/>
              <a:gd name="connsiteX49" fmla="*/ 650828 w 2629239"/>
              <a:gd name="connsiteY49" fmla="*/ 216698 h 1513381"/>
              <a:gd name="connsiteX50" fmla="*/ 801664 w 2629239"/>
              <a:gd name="connsiteY50" fmla="*/ 179276 h 1513381"/>
              <a:gd name="connsiteX51" fmla="*/ 947396 w 2629239"/>
              <a:gd name="connsiteY51" fmla="*/ 154648 h 1513381"/>
              <a:gd name="connsiteX52" fmla="*/ 1138984 w 2629239"/>
              <a:gd name="connsiteY52" fmla="*/ 103826 h 1513381"/>
              <a:gd name="connsiteX53" fmla="*/ 1391533 w 2629239"/>
              <a:gd name="connsiteY53" fmla="*/ 37082 h 1513381"/>
              <a:gd name="connsiteX54" fmla="*/ 1541756 w 2629239"/>
              <a:gd name="connsiteY54" fmla="*/ 6195 h 1513381"/>
              <a:gd name="connsiteX55" fmla="*/ 1651044 w 2629239"/>
              <a:gd name="connsiteY55" fmla="*/ 325 h 1513381"/>
              <a:gd name="connsiteX56" fmla="*/ 1752785 w 2629239"/>
              <a:gd name="connsiteY56" fmla="*/ 13024 h 1513381"/>
              <a:gd name="connsiteX57" fmla="*/ 1859123 w 2629239"/>
              <a:gd name="connsiteY57" fmla="*/ 70881 h 1513381"/>
              <a:gd name="connsiteX58" fmla="*/ 1958866 w 2629239"/>
              <a:gd name="connsiteY58" fmla="*/ 138933 h 1513381"/>
              <a:gd name="connsiteX59" fmla="*/ 2048323 w 2629239"/>
              <a:gd name="connsiteY59" fmla="*/ 216698 h 1513381"/>
              <a:gd name="connsiteX60" fmla="*/ 2121579 w 2629239"/>
              <a:gd name="connsiteY60" fmla="*/ 282011 h 1513381"/>
              <a:gd name="connsiteX61" fmla="*/ 2174062 w 2629239"/>
              <a:gd name="connsiteY61" fmla="*/ 327730 h 1513381"/>
              <a:gd name="connsiteX62" fmla="*/ 2204333 w 2629239"/>
              <a:gd name="connsiteY62" fmla="*/ 386242 h 1513381"/>
              <a:gd name="connsiteX63" fmla="*/ 2159157 w 2629239"/>
              <a:gd name="connsiteY63" fmla="*/ 457815 h 1513381"/>
              <a:gd name="connsiteX64" fmla="*/ 2056242 w 2629239"/>
              <a:gd name="connsiteY64" fmla="*/ 487479 h 1513381"/>
              <a:gd name="connsiteX65" fmla="*/ 1931261 w 2629239"/>
              <a:gd name="connsiteY65" fmla="*/ 489248 h 1513381"/>
              <a:gd name="connsiteX66" fmla="*/ 1851999 w 2629239"/>
              <a:gd name="connsiteY66" fmla="*/ 477954 h 1513381"/>
              <a:gd name="connsiteX67" fmla="*/ 1705042 w 2629239"/>
              <a:gd name="connsiteY67" fmla="*/ 455094 h 1513381"/>
              <a:gd name="connsiteX68" fmla="*/ 1564616 w 2629239"/>
              <a:gd name="connsiteY68" fmla="*/ 428968 h 1513381"/>
              <a:gd name="connsiteX69" fmla="*/ 1433987 w 2629239"/>
              <a:gd name="connsiteY69" fmla="*/ 409374 h 1513381"/>
              <a:gd name="connsiteX70" fmla="*/ 1319687 w 2629239"/>
              <a:gd name="connsiteY70" fmla="*/ 412639 h 1513381"/>
              <a:gd name="connsiteX71" fmla="*/ 1219063 w 2629239"/>
              <a:gd name="connsiteY71" fmla="*/ 437880 h 1513381"/>
              <a:gd name="connsiteX72" fmla="*/ 1133542 w 2629239"/>
              <a:gd name="connsiteY72" fmla="*/ 468157 h 1513381"/>
              <a:gd name="connsiteX73" fmla="*/ 1018697 w 2629239"/>
              <a:gd name="connsiteY73" fmla="*/ 513877 h 1513381"/>
              <a:gd name="connsiteX74" fmla="*/ 918004 w 2629239"/>
              <a:gd name="connsiteY74" fmla="*/ 550683 h 1513381"/>
              <a:gd name="connsiteX75" fmla="*/ 767170 w 2629239"/>
              <a:gd name="connsiteY75" fmla="*/ 573272 h 1513381"/>
              <a:gd name="connsiteX76" fmla="*/ 652053 w 2629239"/>
              <a:gd name="connsiteY76" fmla="*/ 575403 h 1513381"/>
              <a:gd name="connsiteX77" fmla="*/ 520222 w 2629239"/>
              <a:gd name="connsiteY77" fmla="*/ 576288 h 1513381"/>
              <a:gd name="connsiteX78" fmla="*/ 402112 w 2629239"/>
              <a:gd name="connsiteY78" fmla="*/ 565515 h 1513381"/>
              <a:gd name="connsiteX79" fmla="*/ 299537 w 2629239"/>
              <a:gd name="connsiteY79" fmla="*/ 553859 h 1513381"/>
              <a:gd name="connsiteX80" fmla="*/ 169271 w 2629239"/>
              <a:gd name="connsiteY80" fmla="*/ 533743 h 1513381"/>
              <a:gd name="connsiteX0" fmla="*/ 2629239 w 2629239"/>
              <a:gd name="connsiteY0" fmla="*/ 1010265 h 1513381"/>
              <a:gd name="connsiteX1" fmla="*/ 2619623 w 2629239"/>
              <a:gd name="connsiteY1" fmla="*/ 1065782 h 1513381"/>
              <a:gd name="connsiteX2" fmla="*/ 2620938 w 2629239"/>
              <a:gd name="connsiteY2" fmla="*/ 1123681 h 1513381"/>
              <a:gd name="connsiteX3" fmla="*/ 2619442 w 2629239"/>
              <a:gd name="connsiteY3" fmla="*/ 1170285 h 1513381"/>
              <a:gd name="connsiteX4" fmla="*/ 2615904 w 2629239"/>
              <a:gd name="connsiteY4" fmla="*/ 1225190 h 1513381"/>
              <a:gd name="connsiteX5" fmla="*/ 2590934 w 2629239"/>
              <a:gd name="connsiteY5" fmla="*/ 1274879 h 1513381"/>
              <a:gd name="connsiteX6" fmla="*/ 2554127 w 2629239"/>
              <a:gd name="connsiteY6" fmla="*/ 1310711 h 1513381"/>
              <a:gd name="connsiteX7" fmla="*/ 2498610 w 2629239"/>
              <a:gd name="connsiteY7" fmla="*/ 1320508 h 1513381"/>
              <a:gd name="connsiteX8" fmla="*/ 2446359 w 2629239"/>
              <a:gd name="connsiteY8" fmla="*/ 1323774 h 1513381"/>
              <a:gd name="connsiteX9" fmla="*/ 2400639 w 2629239"/>
              <a:gd name="connsiteY9" fmla="*/ 1323774 h 1513381"/>
              <a:gd name="connsiteX10" fmla="*/ 2345122 w 2629239"/>
              <a:gd name="connsiteY10" fmla="*/ 1336837 h 1513381"/>
              <a:gd name="connsiteX11" fmla="*/ 2296499 w 2629239"/>
              <a:gd name="connsiteY11" fmla="*/ 1366500 h 1513381"/>
              <a:gd name="connsiteX12" fmla="*/ 2279807 w 2629239"/>
              <a:gd name="connsiteY12" fmla="*/ 1405417 h 1513381"/>
              <a:gd name="connsiteX13" fmla="*/ 2240619 w 2629239"/>
              <a:gd name="connsiteY13" fmla="*/ 1447871 h 1513381"/>
              <a:gd name="connsiteX14" fmla="*/ 2184218 w 2629239"/>
              <a:gd name="connsiteY14" fmla="*/ 1465969 h 1513381"/>
              <a:gd name="connsiteX15" fmla="*/ 2116522 w 2629239"/>
              <a:gd name="connsiteY15" fmla="*/ 1457668 h 1513381"/>
              <a:gd name="connsiteX16" fmla="*/ 2047942 w 2629239"/>
              <a:gd name="connsiteY16" fmla="*/ 1460934 h 1513381"/>
              <a:gd name="connsiteX17" fmla="*/ 2005487 w 2629239"/>
              <a:gd name="connsiteY17" fmla="*/ 1473997 h 1513381"/>
              <a:gd name="connsiteX18" fmla="*/ 1969564 w 2629239"/>
              <a:gd name="connsiteY18" fmla="*/ 1493591 h 1513381"/>
              <a:gd name="connsiteX19" fmla="*/ 1927019 w 2629239"/>
              <a:gd name="connsiteY19" fmla="*/ 1509829 h 1513381"/>
              <a:gd name="connsiteX20" fmla="*/ 1884202 w 2629239"/>
              <a:gd name="connsiteY20" fmla="*/ 1511075 h 1513381"/>
              <a:gd name="connsiteX21" fmla="*/ 1796482 w 2629239"/>
              <a:gd name="connsiteY21" fmla="*/ 1483454 h 1513381"/>
              <a:gd name="connsiteX22" fmla="*/ 1735046 w 2629239"/>
              <a:gd name="connsiteY22" fmla="*/ 1443720 h 1513381"/>
              <a:gd name="connsiteX23" fmla="*/ 1675378 w 2629239"/>
              <a:gd name="connsiteY23" fmla="*/ 1386979 h 1513381"/>
              <a:gd name="connsiteX24" fmla="*/ 1581012 w 2629239"/>
              <a:gd name="connsiteY24" fmla="*/ 1359969 h 1513381"/>
              <a:gd name="connsiteX25" fmla="*/ 1470795 w 2629239"/>
              <a:gd name="connsiteY25" fmla="*/ 1342755 h 1513381"/>
              <a:gd name="connsiteX26" fmla="*/ 1390037 w 2629239"/>
              <a:gd name="connsiteY26" fmla="*/ 1340374 h 1513381"/>
              <a:gd name="connsiteX27" fmla="*/ 1308122 w 2629239"/>
              <a:gd name="connsiteY27" fmla="*/ 1334455 h 1513381"/>
              <a:gd name="connsiteX28" fmla="*/ 1209809 w 2629239"/>
              <a:gd name="connsiteY28" fmla="*/ 1316631 h 1513381"/>
              <a:gd name="connsiteX29" fmla="*/ 1099388 w 2629239"/>
              <a:gd name="connsiteY29" fmla="*/ 1289347 h 1513381"/>
              <a:gd name="connsiteX30" fmla="*/ 963724 w 2629239"/>
              <a:gd name="connsiteY30" fmla="*/ 1247166 h 1513381"/>
              <a:gd name="connsiteX31" fmla="*/ 850922 w 2629239"/>
              <a:gd name="connsiteY31" fmla="*/ 1210971 h 1513381"/>
              <a:gd name="connsiteX32" fmla="*/ 752949 w 2629239"/>
              <a:gd name="connsiteY32" fmla="*/ 1178585 h 1513381"/>
              <a:gd name="connsiteX33" fmla="*/ 656747 w 2629239"/>
              <a:gd name="connsiteY33" fmla="*/ 1153957 h 1513381"/>
              <a:gd name="connsiteX34" fmla="*/ 554353 w 2629239"/>
              <a:gd name="connsiteY34" fmla="*/ 1128443 h 1513381"/>
              <a:gd name="connsiteX35" fmla="*/ 451007 w 2629239"/>
              <a:gd name="connsiteY35" fmla="*/ 1118034 h 1513381"/>
              <a:gd name="connsiteX36" fmla="*/ 372630 w 2629239"/>
              <a:gd name="connsiteY36" fmla="*/ 1111502 h 1513381"/>
              <a:gd name="connsiteX37" fmla="*/ 245879 w 2629239"/>
              <a:gd name="connsiteY37" fmla="*/ 1076464 h 1513381"/>
              <a:gd name="connsiteX38" fmla="*/ 172537 w 2629239"/>
              <a:gd name="connsiteY38" fmla="*/ 1031016 h 1513381"/>
              <a:gd name="connsiteX39" fmla="*/ 105794 w 2629239"/>
              <a:gd name="connsiteY39" fmla="*/ 962504 h 1513381"/>
              <a:gd name="connsiteX40" fmla="*/ 65925 w 2629239"/>
              <a:gd name="connsiteY40" fmla="*/ 901612 h 1513381"/>
              <a:gd name="connsiteX41" fmla="*/ 24967 w 2629239"/>
              <a:gd name="connsiteY41" fmla="*/ 814936 h 1513381"/>
              <a:gd name="connsiteX42" fmla="*/ 5986 w 2629239"/>
              <a:gd name="connsiteY42" fmla="*/ 715739 h 1513381"/>
              <a:gd name="connsiteX43" fmla="*/ 4217 w 2629239"/>
              <a:gd name="connsiteY43" fmla="*/ 611848 h 1513381"/>
              <a:gd name="connsiteX44" fmla="*/ 51433 w 2629239"/>
              <a:gd name="connsiteY44" fmla="*/ 504624 h 1513381"/>
              <a:gd name="connsiteX45" fmla="*/ 107495 w 2629239"/>
              <a:gd name="connsiteY45" fmla="*/ 448562 h 1513381"/>
              <a:gd name="connsiteX46" fmla="*/ 215876 w 2629239"/>
              <a:gd name="connsiteY46" fmla="*/ 370185 h 1513381"/>
              <a:gd name="connsiteX47" fmla="*/ 362833 w 2629239"/>
              <a:gd name="connsiteY47" fmla="*/ 301605 h 1513381"/>
              <a:gd name="connsiteX48" fmla="*/ 519587 w 2629239"/>
              <a:gd name="connsiteY48" fmla="*/ 255885 h 1513381"/>
              <a:gd name="connsiteX49" fmla="*/ 650828 w 2629239"/>
              <a:gd name="connsiteY49" fmla="*/ 216698 h 1513381"/>
              <a:gd name="connsiteX50" fmla="*/ 801664 w 2629239"/>
              <a:gd name="connsiteY50" fmla="*/ 179276 h 1513381"/>
              <a:gd name="connsiteX51" fmla="*/ 947396 w 2629239"/>
              <a:gd name="connsiteY51" fmla="*/ 154648 h 1513381"/>
              <a:gd name="connsiteX52" fmla="*/ 1138984 w 2629239"/>
              <a:gd name="connsiteY52" fmla="*/ 103826 h 1513381"/>
              <a:gd name="connsiteX53" fmla="*/ 1391533 w 2629239"/>
              <a:gd name="connsiteY53" fmla="*/ 37082 h 1513381"/>
              <a:gd name="connsiteX54" fmla="*/ 1541756 w 2629239"/>
              <a:gd name="connsiteY54" fmla="*/ 6195 h 1513381"/>
              <a:gd name="connsiteX55" fmla="*/ 1651044 w 2629239"/>
              <a:gd name="connsiteY55" fmla="*/ 325 h 1513381"/>
              <a:gd name="connsiteX56" fmla="*/ 1752785 w 2629239"/>
              <a:gd name="connsiteY56" fmla="*/ 13024 h 1513381"/>
              <a:gd name="connsiteX57" fmla="*/ 1859123 w 2629239"/>
              <a:gd name="connsiteY57" fmla="*/ 70881 h 1513381"/>
              <a:gd name="connsiteX58" fmla="*/ 1958866 w 2629239"/>
              <a:gd name="connsiteY58" fmla="*/ 138933 h 1513381"/>
              <a:gd name="connsiteX59" fmla="*/ 2048323 w 2629239"/>
              <a:gd name="connsiteY59" fmla="*/ 216698 h 1513381"/>
              <a:gd name="connsiteX60" fmla="*/ 2121579 w 2629239"/>
              <a:gd name="connsiteY60" fmla="*/ 282011 h 1513381"/>
              <a:gd name="connsiteX61" fmla="*/ 2174062 w 2629239"/>
              <a:gd name="connsiteY61" fmla="*/ 327730 h 1513381"/>
              <a:gd name="connsiteX62" fmla="*/ 2204333 w 2629239"/>
              <a:gd name="connsiteY62" fmla="*/ 386242 h 1513381"/>
              <a:gd name="connsiteX63" fmla="*/ 2159157 w 2629239"/>
              <a:gd name="connsiteY63" fmla="*/ 457815 h 1513381"/>
              <a:gd name="connsiteX64" fmla="*/ 2056242 w 2629239"/>
              <a:gd name="connsiteY64" fmla="*/ 487479 h 1513381"/>
              <a:gd name="connsiteX65" fmla="*/ 1931261 w 2629239"/>
              <a:gd name="connsiteY65" fmla="*/ 489248 h 1513381"/>
              <a:gd name="connsiteX66" fmla="*/ 1851999 w 2629239"/>
              <a:gd name="connsiteY66" fmla="*/ 477954 h 1513381"/>
              <a:gd name="connsiteX67" fmla="*/ 1705042 w 2629239"/>
              <a:gd name="connsiteY67" fmla="*/ 455094 h 1513381"/>
              <a:gd name="connsiteX68" fmla="*/ 1564616 w 2629239"/>
              <a:gd name="connsiteY68" fmla="*/ 428968 h 1513381"/>
              <a:gd name="connsiteX69" fmla="*/ 1433987 w 2629239"/>
              <a:gd name="connsiteY69" fmla="*/ 409374 h 1513381"/>
              <a:gd name="connsiteX70" fmla="*/ 1319687 w 2629239"/>
              <a:gd name="connsiteY70" fmla="*/ 412639 h 1513381"/>
              <a:gd name="connsiteX71" fmla="*/ 1219063 w 2629239"/>
              <a:gd name="connsiteY71" fmla="*/ 437880 h 1513381"/>
              <a:gd name="connsiteX72" fmla="*/ 1133542 w 2629239"/>
              <a:gd name="connsiteY72" fmla="*/ 468157 h 1513381"/>
              <a:gd name="connsiteX73" fmla="*/ 1018697 w 2629239"/>
              <a:gd name="connsiteY73" fmla="*/ 513877 h 1513381"/>
              <a:gd name="connsiteX74" fmla="*/ 918004 w 2629239"/>
              <a:gd name="connsiteY74" fmla="*/ 550683 h 1513381"/>
              <a:gd name="connsiteX75" fmla="*/ 767170 w 2629239"/>
              <a:gd name="connsiteY75" fmla="*/ 573272 h 1513381"/>
              <a:gd name="connsiteX76" fmla="*/ 652053 w 2629239"/>
              <a:gd name="connsiteY76" fmla="*/ 575403 h 1513381"/>
              <a:gd name="connsiteX77" fmla="*/ 520222 w 2629239"/>
              <a:gd name="connsiteY77" fmla="*/ 576288 h 1513381"/>
              <a:gd name="connsiteX78" fmla="*/ 402112 w 2629239"/>
              <a:gd name="connsiteY78" fmla="*/ 565515 h 1513381"/>
              <a:gd name="connsiteX79" fmla="*/ 299537 w 2629239"/>
              <a:gd name="connsiteY79" fmla="*/ 553859 h 1513381"/>
              <a:gd name="connsiteX80" fmla="*/ 169271 w 2629239"/>
              <a:gd name="connsiteY80" fmla="*/ 533743 h 1513381"/>
              <a:gd name="connsiteX0" fmla="*/ 2629239 w 2629239"/>
              <a:gd name="connsiteY0" fmla="*/ 1010265 h 1513381"/>
              <a:gd name="connsiteX1" fmla="*/ 2619623 w 2629239"/>
              <a:gd name="connsiteY1" fmla="*/ 1065782 h 1513381"/>
              <a:gd name="connsiteX2" fmla="*/ 2620938 w 2629239"/>
              <a:gd name="connsiteY2" fmla="*/ 1123681 h 1513381"/>
              <a:gd name="connsiteX3" fmla="*/ 2619442 w 2629239"/>
              <a:gd name="connsiteY3" fmla="*/ 1170285 h 1513381"/>
              <a:gd name="connsiteX4" fmla="*/ 2615904 w 2629239"/>
              <a:gd name="connsiteY4" fmla="*/ 1225190 h 1513381"/>
              <a:gd name="connsiteX5" fmla="*/ 2590934 w 2629239"/>
              <a:gd name="connsiteY5" fmla="*/ 1274879 h 1513381"/>
              <a:gd name="connsiteX6" fmla="*/ 2554127 w 2629239"/>
              <a:gd name="connsiteY6" fmla="*/ 1310711 h 1513381"/>
              <a:gd name="connsiteX7" fmla="*/ 2498610 w 2629239"/>
              <a:gd name="connsiteY7" fmla="*/ 1320508 h 1513381"/>
              <a:gd name="connsiteX8" fmla="*/ 2446359 w 2629239"/>
              <a:gd name="connsiteY8" fmla="*/ 1323774 h 1513381"/>
              <a:gd name="connsiteX9" fmla="*/ 2400639 w 2629239"/>
              <a:gd name="connsiteY9" fmla="*/ 1323774 h 1513381"/>
              <a:gd name="connsiteX10" fmla="*/ 2345122 w 2629239"/>
              <a:gd name="connsiteY10" fmla="*/ 1336837 h 1513381"/>
              <a:gd name="connsiteX11" fmla="*/ 2296499 w 2629239"/>
              <a:gd name="connsiteY11" fmla="*/ 1366500 h 1513381"/>
              <a:gd name="connsiteX12" fmla="*/ 2279807 w 2629239"/>
              <a:gd name="connsiteY12" fmla="*/ 1405417 h 1513381"/>
              <a:gd name="connsiteX13" fmla="*/ 2240619 w 2629239"/>
              <a:gd name="connsiteY13" fmla="*/ 1447871 h 1513381"/>
              <a:gd name="connsiteX14" fmla="*/ 2184218 w 2629239"/>
              <a:gd name="connsiteY14" fmla="*/ 1465969 h 1513381"/>
              <a:gd name="connsiteX15" fmla="*/ 2116522 w 2629239"/>
              <a:gd name="connsiteY15" fmla="*/ 1457668 h 1513381"/>
              <a:gd name="connsiteX16" fmla="*/ 2047942 w 2629239"/>
              <a:gd name="connsiteY16" fmla="*/ 1460934 h 1513381"/>
              <a:gd name="connsiteX17" fmla="*/ 2005487 w 2629239"/>
              <a:gd name="connsiteY17" fmla="*/ 1473997 h 1513381"/>
              <a:gd name="connsiteX18" fmla="*/ 1969564 w 2629239"/>
              <a:gd name="connsiteY18" fmla="*/ 1493591 h 1513381"/>
              <a:gd name="connsiteX19" fmla="*/ 1927019 w 2629239"/>
              <a:gd name="connsiteY19" fmla="*/ 1509829 h 1513381"/>
              <a:gd name="connsiteX20" fmla="*/ 1884202 w 2629239"/>
              <a:gd name="connsiteY20" fmla="*/ 1511075 h 1513381"/>
              <a:gd name="connsiteX21" fmla="*/ 1796482 w 2629239"/>
              <a:gd name="connsiteY21" fmla="*/ 1483454 h 1513381"/>
              <a:gd name="connsiteX22" fmla="*/ 1735046 w 2629239"/>
              <a:gd name="connsiteY22" fmla="*/ 1443720 h 1513381"/>
              <a:gd name="connsiteX23" fmla="*/ 1675378 w 2629239"/>
              <a:gd name="connsiteY23" fmla="*/ 1386979 h 1513381"/>
              <a:gd name="connsiteX24" fmla="*/ 1581012 w 2629239"/>
              <a:gd name="connsiteY24" fmla="*/ 1359969 h 1513381"/>
              <a:gd name="connsiteX25" fmla="*/ 1470795 w 2629239"/>
              <a:gd name="connsiteY25" fmla="*/ 1342755 h 1513381"/>
              <a:gd name="connsiteX26" fmla="*/ 1390037 w 2629239"/>
              <a:gd name="connsiteY26" fmla="*/ 1340374 h 1513381"/>
              <a:gd name="connsiteX27" fmla="*/ 1308122 w 2629239"/>
              <a:gd name="connsiteY27" fmla="*/ 1334455 h 1513381"/>
              <a:gd name="connsiteX28" fmla="*/ 1209809 w 2629239"/>
              <a:gd name="connsiteY28" fmla="*/ 1316631 h 1513381"/>
              <a:gd name="connsiteX29" fmla="*/ 1099388 w 2629239"/>
              <a:gd name="connsiteY29" fmla="*/ 1289347 h 1513381"/>
              <a:gd name="connsiteX30" fmla="*/ 963724 w 2629239"/>
              <a:gd name="connsiteY30" fmla="*/ 1247166 h 1513381"/>
              <a:gd name="connsiteX31" fmla="*/ 850922 w 2629239"/>
              <a:gd name="connsiteY31" fmla="*/ 1210971 h 1513381"/>
              <a:gd name="connsiteX32" fmla="*/ 752949 w 2629239"/>
              <a:gd name="connsiteY32" fmla="*/ 1178585 h 1513381"/>
              <a:gd name="connsiteX33" fmla="*/ 656747 w 2629239"/>
              <a:gd name="connsiteY33" fmla="*/ 1153957 h 1513381"/>
              <a:gd name="connsiteX34" fmla="*/ 554353 w 2629239"/>
              <a:gd name="connsiteY34" fmla="*/ 1128443 h 1513381"/>
              <a:gd name="connsiteX35" fmla="*/ 451007 w 2629239"/>
              <a:gd name="connsiteY35" fmla="*/ 1118034 h 1513381"/>
              <a:gd name="connsiteX36" fmla="*/ 372630 w 2629239"/>
              <a:gd name="connsiteY36" fmla="*/ 1111502 h 1513381"/>
              <a:gd name="connsiteX37" fmla="*/ 245879 w 2629239"/>
              <a:gd name="connsiteY37" fmla="*/ 1076464 h 1513381"/>
              <a:gd name="connsiteX38" fmla="*/ 172537 w 2629239"/>
              <a:gd name="connsiteY38" fmla="*/ 1031016 h 1513381"/>
              <a:gd name="connsiteX39" fmla="*/ 105794 w 2629239"/>
              <a:gd name="connsiteY39" fmla="*/ 962504 h 1513381"/>
              <a:gd name="connsiteX40" fmla="*/ 65925 w 2629239"/>
              <a:gd name="connsiteY40" fmla="*/ 901612 h 1513381"/>
              <a:gd name="connsiteX41" fmla="*/ 24967 w 2629239"/>
              <a:gd name="connsiteY41" fmla="*/ 814936 h 1513381"/>
              <a:gd name="connsiteX42" fmla="*/ 5986 w 2629239"/>
              <a:gd name="connsiteY42" fmla="*/ 715739 h 1513381"/>
              <a:gd name="connsiteX43" fmla="*/ 4217 w 2629239"/>
              <a:gd name="connsiteY43" fmla="*/ 611848 h 1513381"/>
              <a:gd name="connsiteX44" fmla="*/ 51433 w 2629239"/>
              <a:gd name="connsiteY44" fmla="*/ 504624 h 1513381"/>
              <a:gd name="connsiteX45" fmla="*/ 107495 w 2629239"/>
              <a:gd name="connsiteY45" fmla="*/ 448562 h 1513381"/>
              <a:gd name="connsiteX46" fmla="*/ 215876 w 2629239"/>
              <a:gd name="connsiteY46" fmla="*/ 370185 h 1513381"/>
              <a:gd name="connsiteX47" fmla="*/ 362833 w 2629239"/>
              <a:gd name="connsiteY47" fmla="*/ 301605 h 1513381"/>
              <a:gd name="connsiteX48" fmla="*/ 519587 w 2629239"/>
              <a:gd name="connsiteY48" fmla="*/ 255885 h 1513381"/>
              <a:gd name="connsiteX49" fmla="*/ 650828 w 2629239"/>
              <a:gd name="connsiteY49" fmla="*/ 216698 h 1513381"/>
              <a:gd name="connsiteX50" fmla="*/ 801664 w 2629239"/>
              <a:gd name="connsiteY50" fmla="*/ 179276 h 1513381"/>
              <a:gd name="connsiteX51" fmla="*/ 947396 w 2629239"/>
              <a:gd name="connsiteY51" fmla="*/ 154648 h 1513381"/>
              <a:gd name="connsiteX52" fmla="*/ 1138984 w 2629239"/>
              <a:gd name="connsiteY52" fmla="*/ 103826 h 1513381"/>
              <a:gd name="connsiteX53" fmla="*/ 1391533 w 2629239"/>
              <a:gd name="connsiteY53" fmla="*/ 37082 h 1513381"/>
              <a:gd name="connsiteX54" fmla="*/ 1541756 w 2629239"/>
              <a:gd name="connsiteY54" fmla="*/ 6195 h 1513381"/>
              <a:gd name="connsiteX55" fmla="*/ 1651044 w 2629239"/>
              <a:gd name="connsiteY55" fmla="*/ 325 h 1513381"/>
              <a:gd name="connsiteX56" fmla="*/ 1752785 w 2629239"/>
              <a:gd name="connsiteY56" fmla="*/ 13024 h 1513381"/>
              <a:gd name="connsiteX57" fmla="*/ 1859123 w 2629239"/>
              <a:gd name="connsiteY57" fmla="*/ 70881 h 1513381"/>
              <a:gd name="connsiteX58" fmla="*/ 1958866 w 2629239"/>
              <a:gd name="connsiteY58" fmla="*/ 138933 h 1513381"/>
              <a:gd name="connsiteX59" fmla="*/ 2048323 w 2629239"/>
              <a:gd name="connsiteY59" fmla="*/ 216698 h 1513381"/>
              <a:gd name="connsiteX60" fmla="*/ 2121579 w 2629239"/>
              <a:gd name="connsiteY60" fmla="*/ 282011 h 1513381"/>
              <a:gd name="connsiteX61" fmla="*/ 2174062 w 2629239"/>
              <a:gd name="connsiteY61" fmla="*/ 327730 h 1513381"/>
              <a:gd name="connsiteX62" fmla="*/ 2204333 w 2629239"/>
              <a:gd name="connsiteY62" fmla="*/ 386242 h 1513381"/>
              <a:gd name="connsiteX63" fmla="*/ 2159157 w 2629239"/>
              <a:gd name="connsiteY63" fmla="*/ 457815 h 1513381"/>
              <a:gd name="connsiteX64" fmla="*/ 2056242 w 2629239"/>
              <a:gd name="connsiteY64" fmla="*/ 493085 h 1513381"/>
              <a:gd name="connsiteX65" fmla="*/ 1931261 w 2629239"/>
              <a:gd name="connsiteY65" fmla="*/ 489248 h 1513381"/>
              <a:gd name="connsiteX66" fmla="*/ 1851999 w 2629239"/>
              <a:gd name="connsiteY66" fmla="*/ 477954 h 1513381"/>
              <a:gd name="connsiteX67" fmla="*/ 1705042 w 2629239"/>
              <a:gd name="connsiteY67" fmla="*/ 455094 h 1513381"/>
              <a:gd name="connsiteX68" fmla="*/ 1564616 w 2629239"/>
              <a:gd name="connsiteY68" fmla="*/ 428968 h 1513381"/>
              <a:gd name="connsiteX69" fmla="*/ 1433987 w 2629239"/>
              <a:gd name="connsiteY69" fmla="*/ 409374 h 1513381"/>
              <a:gd name="connsiteX70" fmla="*/ 1319687 w 2629239"/>
              <a:gd name="connsiteY70" fmla="*/ 412639 h 1513381"/>
              <a:gd name="connsiteX71" fmla="*/ 1219063 w 2629239"/>
              <a:gd name="connsiteY71" fmla="*/ 437880 h 1513381"/>
              <a:gd name="connsiteX72" fmla="*/ 1133542 w 2629239"/>
              <a:gd name="connsiteY72" fmla="*/ 468157 h 1513381"/>
              <a:gd name="connsiteX73" fmla="*/ 1018697 w 2629239"/>
              <a:gd name="connsiteY73" fmla="*/ 513877 h 1513381"/>
              <a:gd name="connsiteX74" fmla="*/ 918004 w 2629239"/>
              <a:gd name="connsiteY74" fmla="*/ 550683 h 1513381"/>
              <a:gd name="connsiteX75" fmla="*/ 767170 w 2629239"/>
              <a:gd name="connsiteY75" fmla="*/ 573272 h 1513381"/>
              <a:gd name="connsiteX76" fmla="*/ 652053 w 2629239"/>
              <a:gd name="connsiteY76" fmla="*/ 575403 h 1513381"/>
              <a:gd name="connsiteX77" fmla="*/ 520222 w 2629239"/>
              <a:gd name="connsiteY77" fmla="*/ 576288 h 1513381"/>
              <a:gd name="connsiteX78" fmla="*/ 402112 w 2629239"/>
              <a:gd name="connsiteY78" fmla="*/ 565515 h 1513381"/>
              <a:gd name="connsiteX79" fmla="*/ 299537 w 2629239"/>
              <a:gd name="connsiteY79" fmla="*/ 553859 h 1513381"/>
              <a:gd name="connsiteX80" fmla="*/ 169271 w 2629239"/>
              <a:gd name="connsiteY80" fmla="*/ 533743 h 1513381"/>
              <a:gd name="connsiteX0" fmla="*/ 2629239 w 2629239"/>
              <a:gd name="connsiteY0" fmla="*/ 1010265 h 1513381"/>
              <a:gd name="connsiteX1" fmla="*/ 2619623 w 2629239"/>
              <a:gd name="connsiteY1" fmla="*/ 1065782 h 1513381"/>
              <a:gd name="connsiteX2" fmla="*/ 2620938 w 2629239"/>
              <a:gd name="connsiteY2" fmla="*/ 1123681 h 1513381"/>
              <a:gd name="connsiteX3" fmla="*/ 2619442 w 2629239"/>
              <a:gd name="connsiteY3" fmla="*/ 1170285 h 1513381"/>
              <a:gd name="connsiteX4" fmla="*/ 2615904 w 2629239"/>
              <a:gd name="connsiteY4" fmla="*/ 1225190 h 1513381"/>
              <a:gd name="connsiteX5" fmla="*/ 2590934 w 2629239"/>
              <a:gd name="connsiteY5" fmla="*/ 1274879 h 1513381"/>
              <a:gd name="connsiteX6" fmla="*/ 2554127 w 2629239"/>
              <a:gd name="connsiteY6" fmla="*/ 1310711 h 1513381"/>
              <a:gd name="connsiteX7" fmla="*/ 2498610 w 2629239"/>
              <a:gd name="connsiteY7" fmla="*/ 1320508 h 1513381"/>
              <a:gd name="connsiteX8" fmla="*/ 2446359 w 2629239"/>
              <a:gd name="connsiteY8" fmla="*/ 1323774 h 1513381"/>
              <a:gd name="connsiteX9" fmla="*/ 2400639 w 2629239"/>
              <a:gd name="connsiteY9" fmla="*/ 1323774 h 1513381"/>
              <a:gd name="connsiteX10" fmla="*/ 2345122 w 2629239"/>
              <a:gd name="connsiteY10" fmla="*/ 1336837 h 1513381"/>
              <a:gd name="connsiteX11" fmla="*/ 2296499 w 2629239"/>
              <a:gd name="connsiteY11" fmla="*/ 1366500 h 1513381"/>
              <a:gd name="connsiteX12" fmla="*/ 2279807 w 2629239"/>
              <a:gd name="connsiteY12" fmla="*/ 1405417 h 1513381"/>
              <a:gd name="connsiteX13" fmla="*/ 2240619 w 2629239"/>
              <a:gd name="connsiteY13" fmla="*/ 1447871 h 1513381"/>
              <a:gd name="connsiteX14" fmla="*/ 2184218 w 2629239"/>
              <a:gd name="connsiteY14" fmla="*/ 1465969 h 1513381"/>
              <a:gd name="connsiteX15" fmla="*/ 2116522 w 2629239"/>
              <a:gd name="connsiteY15" fmla="*/ 1457668 h 1513381"/>
              <a:gd name="connsiteX16" fmla="*/ 2047942 w 2629239"/>
              <a:gd name="connsiteY16" fmla="*/ 1460934 h 1513381"/>
              <a:gd name="connsiteX17" fmla="*/ 2005487 w 2629239"/>
              <a:gd name="connsiteY17" fmla="*/ 1473997 h 1513381"/>
              <a:gd name="connsiteX18" fmla="*/ 1969564 w 2629239"/>
              <a:gd name="connsiteY18" fmla="*/ 1493591 h 1513381"/>
              <a:gd name="connsiteX19" fmla="*/ 1927019 w 2629239"/>
              <a:gd name="connsiteY19" fmla="*/ 1509829 h 1513381"/>
              <a:gd name="connsiteX20" fmla="*/ 1884202 w 2629239"/>
              <a:gd name="connsiteY20" fmla="*/ 1511075 h 1513381"/>
              <a:gd name="connsiteX21" fmla="*/ 1796482 w 2629239"/>
              <a:gd name="connsiteY21" fmla="*/ 1483454 h 1513381"/>
              <a:gd name="connsiteX22" fmla="*/ 1735046 w 2629239"/>
              <a:gd name="connsiteY22" fmla="*/ 1443720 h 1513381"/>
              <a:gd name="connsiteX23" fmla="*/ 1675378 w 2629239"/>
              <a:gd name="connsiteY23" fmla="*/ 1386979 h 1513381"/>
              <a:gd name="connsiteX24" fmla="*/ 1581012 w 2629239"/>
              <a:gd name="connsiteY24" fmla="*/ 1359969 h 1513381"/>
              <a:gd name="connsiteX25" fmla="*/ 1470795 w 2629239"/>
              <a:gd name="connsiteY25" fmla="*/ 1342755 h 1513381"/>
              <a:gd name="connsiteX26" fmla="*/ 1390037 w 2629239"/>
              <a:gd name="connsiteY26" fmla="*/ 1340374 h 1513381"/>
              <a:gd name="connsiteX27" fmla="*/ 1308122 w 2629239"/>
              <a:gd name="connsiteY27" fmla="*/ 1334455 h 1513381"/>
              <a:gd name="connsiteX28" fmla="*/ 1209809 w 2629239"/>
              <a:gd name="connsiteY28" fmla="*/ 1316631 h 1513381"/>
              <a:gd name="connsiteX29" fmla="*/ 1099388 w 2629239"/>
              <a:gd name="connsiteY29" fmla="*/ 1289347 h 1513381"/>
              <a:gd name="connsiteX30" fmla="*/ 963724 w 2629239"/>
              <a:gd name="connsiteY30" fmla="*/ 1247166 h 1513381"/>
              <a:gd name="connsiteX31" fmla="*/ 850922 w 2629239"/>
              <a:gd name="connsiteY31" fmla="*/ 1210971 h 1513381"/>
              <a:gd name="connsiteX32" fmla="*/ 752949 w 2629239"/>
              <a:gd name="connsiteY32" fmla="*/ 1178585 h 1513381"/>
              <a:gd name="connsiteX33" fmla="*/ 656747 w 2629239"/>
              <a:gd name="connsiteY33" fmla="*/ 1153957 h 1513381"/>
              <a:gd name="connsiteX34" fmla="*/ 554353 w 2629239"/>
              <a:gd name="connsiteY34" fmla="*/ 1128443 h 1513381"/>
              <a:gd name="connsiteX35" fmla="*/ 451007 w 2629239"/>
              <a:gd name="connsiteY35" fmla="*/ 1118034 h 1513381"/>
              <a:gd name="connsiteX36" fmla="*/ 372630 w 2629239"/>
              <a:gd name="connsiteY36" fmla="*/ 1111502 h 1513381"/>
              <a:gd name="connsiteX37" fmla="*/ 245879 w 2629239"/>
              <a:gd name="connsiteY37" fmla="*/ 1076464 h 1513381"/>
              <a:gd name="connsiteX38" fmla="*/ 172537 w 2629239"/>
              <a:gd name="connsiteY38" fmla="*/ 1031016 h 1513381"/>
              <a:gd name="connsiteX39" fmla="*/ 105794 w 2629239"/>
              <a:gd name="connsiteY39" fmla="*/ 962504 h 1513381"/>
              <a:gd name="connsiteX40" fmla="*/ 65925 w 2629239"/>
              <a:gd name="connsiteY40" fmla="*/ 901612 h 1513381"/>
              <a:gd name="connsiteX41" fmla="*/ 24967 w 2629239"/>
              <a:gd name="connsiteY41" fmla="*/ 814936 h 1513381"/>
              <a:gd name="connsiteX42" fmla="*/ 5986 w 2629239"/>
              <a:gd name="connsiteY42" fmla="*/ 715739 h 1513381"/>
              <a:gd name="connsiteX43" fmla="*/ 4217 w 2629239"/>
              <a:gd name="connsiteY43" fmla="*/ 611848 h 1513381"/>
              <a:gd name="connsiteX44" fmla="*/ 51433 w 2629239"/>
              <a:gd name="connsiteY44" fmla="*/ 504624 h 1513381"/>
              <a:gd name="connsiteX45" fmla="*/ 107495 w 2629239"/>
              <a:gd name="connsiteY45" fmla="*/ 448562 h 1513381"/>
              <a:gd name="connsiteX46" fmla="*/ 215876 w 2629239"/>
              <a:gd name="connsiteY46" fmla="*/ 370185 h 1513381"/>
              <a:gd name="connsiteX47" fmla="*/ 362833 w 2629239"/>
              <a:gd name="connsiteY47" fmla="*/ 301605 h 1513381"/>
              <a:gd name="connsiteX48" fmla="*/ 519587 w 2629239"/>
              <a:gd name="connsiteY48" fmla="*/ 255885 h 1513381"/>
              <a:gd name="connsiteX49" fmla="*/ 650828 w 2629239"/>
              <a:gd name="connsiteY49" fmla="*/ 216698 h 1513381"/>
              <a:gd name="connsiteX50" fmla="*/ 801664 w 2629239"/>
              <a:gd name="connsiteY50" fmla="*/ 179276 h 1513381"/>
              <a:gd name="connsiteX51" fmla="*/ 947396 w 2629239"/>
              <a:gd name="connsiteY51" fmla="*/ 154648 h 1513381"/>
              <a:gd name="connsiteX52" fmla="*/ 1138984 w 2629239"/>
              <a:gd name="connsiteY52" fmla="*/ 103826 h 1513381"/>
              <a:gd name="connsiteX53" fmla="*/ 1391533 w 2629239"/>
              <a:gd name="connsiteY53" fmla="*/ 37082 h 1513381"/>
              <a:gd name="connsiteX54" fmla="*/ 1541756 w 2629239"/>
              <a:gd name="connsiteY54" fmla="*/ 6195 h 1513381"/>
              <a:gd name="connsiteX55" fmla="*/ 1651044 w 2629239"/>
              <a:gd name="connsiteY55" fmla="*/ 325 h 1513381"/>
              <a:gd name="connsiteX56" fmla="*/ 1752785 w 2629239"/>
              <a:gd name="connsiteY56" fmla="*/ 13024 h 1513381"/>
              <a:gd name="connsiteX57" fmla="*/ 1859123 w 2629239"/>
              <a:gd name="connsiteY57" fmla="*/ 70881 h 1513381"/>
              <a:gd name="connsiteX58" fmla="*/ 1958866 w 2629239"/>
              <a:gd name="connsiteY58" fmla="*/ 138933 h 1513381"/>
              <a:gd name="connsiteX59" fmla="*/ 2048323 w 2629239"/>
              <a:gd name="connsiteY59" fmla="*/ 216698 h 1513381"/>
              <a:gd name="connsiteX60" fmla="*/ 2121579 w 2629239"/>
              <a:gd name="connsiteY60" fmla="*/ 282011 h 1513381"/>
              <a:gd name="connsiteX61" fmla="*/ 2174062 w 2629239"/>
              <a:gd name="connsiteY61" fmla="*/ 327730 h 1513381"/>
              <a:gd name="connsiteX62" fmla="*/ 2204333 w 2629239"/>
              <a:gd name="connsiteY62" fmla="*/ 386242 h 1513381"/>
              <a:gd name="connsiteX63" fmla="*/ 2159157 w 2629239"/>
              <a:gd name="connsiteY63" fmla="*/ 457815 h 1513381"/>
              <a:gd name="connsiteX64" fmla="*/ 2056242 w 2629239"/>
              <a:gd name="connsiteY64" fmla="*/ 493085 h 1513381"/>
              <a:gd name="connsiteX65" fmla="*/ 1931261 w 2629239"/>
              <a:gd name="connsiteY65" fmla="*/ 489248 h 1513381"/>
              <a:gd name="connsiteX66" fmla="*/ 1851999 w 2629239"/>
              <a:gd name="connsiteY66" fmla="*/ 477954 h 1513381"/>
              <a:gd name="connsiteX67" fmla="*/ 1705042 w 2629239"/>
              <a:gd name="connsiteY67" fmla="*/ 455094 h 1513381"/>
              <a:gd name="connsiteX68" fmla="*/ 1564616 w 2629239"/>
              <a:gd name="connsiteY68" fmla="*/ 428968 h 1513381"/>
              <a:gd name="connsiteX69" fmla="*/ 1433987 w 2629239"/>
              <a:gd name="connsiteY69" fmla="*/ 409374 h 1513381"/>
              <a:gd name="connsiteX70" fmla="*/ 1319687 w 2629239"/>
              <a:gd name="connsiteY70" fmla="*/ 412639 h 1513381"/>
              <a:gd name="connsiteX71" fmla="*/ 1219063 w 2629239"/>
              <a:gd name="connsiteY71" fmla="*/ 437880 h 1513381"/>
              <a:gd name="connsiteX72" fmla="*/ 1133542 w 2629239"/>
              <a:gd name="connsiteY72" fmla="*/ 468157 h 1513381"/>
              <a:gd name="connsiteX73" fmla="*/ 1018697 w 2629239"/>
              <a:gd name="connsiteY73" fmla="*/ 513877 h 1513381"/>
              <a:gd name="connsiteX74" fmla="*/ 918004 w 2629239"/>
              <a:gd name="connsiteY74" fmla="*/ 550683 h 1513381"/>
              <a:gd name="connsiteX75" fmla="*/ 767170 w 2629239"/>
              <a:gd name="connsiteY75" fmla="*/ 573272 h 1513381"/>
              <a:gd name="connsiteX76" fmla="*/ 652053 w 2629239"/>
              <a:gd name="connsiteY76" fmla="*/ 575403 h 1513381"/>
              <a:gd name="connsiteX77" fmla="*/ 520222 w 2629239"/>
              <a:gd name="connsiteY77" fmla="*/ 576288 h 1513381"/>
              <a:gd name="connsiteX78" fmla="*/ 402112 w 2629239"/>
              <a:gd name="connsiteY78" fmla="*/ 565515 h 1513381"/>
              <a:gd name="connsiteX79" fmla="*/ 299537 w 2629239"/>
              <a:gd name="connsiteY79" fmla="*/ 553859 h 1513381"/>
              <a:gd name="connsiteX80" fmla="*/ 169271 w 2629239"/>
              <a:gd name="connsiteY80" fmla="*/ 533743 h 1513381"/>
              <a:gd name="connsiteX0" fmla="*/ 2629239 w 2629239"/>
              <a:gd name="connsiteY0" fmla="*/ 1010265 h 1513381"/>
              <a:gd name="connsiteX1" fmla="*/ 2619623 w 2629239"/>
              <a:gd name="connsiteY1" fmla="*/ 1065782 h 1513381"/>
              <a:gd name="connsiteX2" fmla="*/ 2620938 w 2629239"/>
              <a:gd name="connsiteY2" fmla="*/ 1123681 h 1513381"/>
              <a:gd name="connsiteX3" fmla="*/ 2619442 w 2629239"/>
              <a:gd name="connsiteY3" fmla="*/ 1170285 h 1513381"/>
              <a:gd name="connsiteX4" fmla="*/ 2615904 w 2629239"/>
              <a:gd name="connsiteY4" fmla="*/ 1225190 h 1513381"/>
              <a:gd name="connsiteX5" fmla="*/ 2590934 w 2629239"/>
              <a:gd name="connsiteY5" fmla="*/ 1274879 h 1513381"/>
              <a:gd name="connsiteX6" fmla="*/ 2554127 w 2629239"/>
              <a:gd name="connsiteY6" fmla="*/ 1310711 h 1513381"/>
              <a:gd name="connsiteX7" fmla="*/ 2498610 w 2629239"/>
              <a:gd name="connsiteY7" fmla="*/ 1320508 h 1513381"/>
              <a:gd name="connsiteX8" fmla="*/ 2446359 w 2629239"/>
              <a:gd name="connsiteY8" fmla="*/ 1323774 h 1513381"/>
              <a:gd name="connsiteX9" fmla="*/ 2400639 w 2629239"/>
              <a:gd name="connsiteY9" fmla="*/ 1323774 h 1513381"/>
              <a:gd name="connsiteX10" fmla="*/ 2345122 w 2629239"/>
              <a:gd name="connsiteY10" fmla="*/ 1336837 h 1513381"/>
              <a:gd name="connsiteX11" fmla="*/ 2296499 w 2629239"/>
              <a:gd name="connsiteY11" fmla="*/ 1366500 h 1513381"/>
              <a:gd name="connsiteX12" fmla="*/ 2279807 w 2629239"/>
              <a:gd name="connsiteY12" fmla="*/ 1405417 h 1513381"/>
              <a:gd name="connsiteX13" fmla="*/ 2240619 w 2629239"/>
              <a:gd name="connsiteY13" fmla="*/ 1447871 h 1513381"/>
              <a:gd name="connsiteX14" fmla="*/ 2184218 w 2629239"/>
              <a:gd name="connsiteY14" fmla="*/ 1465969 h 1513381"/>
              <a:gd name="connsiteX15" fmla="*/ 2116522 w 2629239"/>
              <a:gd name="connsiteY15" fmla="*/ 1457668 h 1513381"/>
              <a:gd name="connsiteX16" fmla="*/ 2047942 w 2629239"/>
              <a:gd name="connsiteY16" fmla="*/ 1460934 h 1513381"/>
              <a:gd name="connsiteX17" fmla="*/ 2005487 w 2629239"/>
              <a:gd name="connsiteY17" fmla="*/ 1473997 h 1513381"/>
              <a:gd name="connsiteX18" fmla="*/ 1969564 w 2629239"/>
              <a:gd name="connsiteY18" fmla="*/ 1493591 h 1513381"/>
              <a:gd name="connsiteX19" fmla="*/ 1927019 w 2629239"/>
              <a:gd name="connsiteY19" fmla="*/ 1509829 h 1513381"/>
              <a:gd name="connsiteX20" fmla="*/ 1884202 w 2629239"/>
              <a:gd name="connsiteY20" fmla="*/ 1511075 h 1513381"/>
              <a:gd name="connsiteX21" fmla="*/ 1796482 w 2629239"/>
              <a:gd name="connsiteY21" fmla="*/ 1483454 h 1513381"/>
              <a:gd name="connsiteX22" fmla="*/ 1735046 w 2629239"/>
              <a:gd name="connsiteY22" fmla="*/ 1443720 h 1513381"/>
              <a:gd name="connsiteX23" fmla="*/ 1675378 w 2629239"/>
              <a:gd name="connsiteY23" fmla="*/ 1386979 h 1513381"/>
              <a:gd name="connsiteX24" fmla="*/ 1581012 w 2629239"/>
              <a:gd name="connsiteY24" fmla="*/ 1359969 h 1513381"/>
              <a:gd name="connsiteX25" fmla="*/ 1470795 w 2629239"/>
              <a:gd name="connsiteY25" fmla="*/ 1342755 h 1513381"/>
              <a:gd name="connsiteX26" fmla="*/ 1390037 w 2629239"/>
              <a:gd name="connsiteY26" fmla="*/ 1340374 h 1513381"/>
              <a:gd name="connsiteX27" fmla="*/ 1308122 w 2629239"/>
              <a:gd name="connsiteY27" fmla="*/ 1334455 h 1513381"/>
              <a:gd name="connsiteX28" fmla="*/ 1209809 w 2629239"/>
              <a:gd name="connsiteY28" fmla="*/ 1316631 h 1513381"/>
              <a:gd name="connsiteX29" fmla="*/ 1099388 w 2629239"/>
              <a:gd name="connsiteY29" fmla="*/ 1289347 h 1513381"/>
              <a:gd name="connsiteX30" fmla="*/ 963724 w 2629239"/>
              <a:gd name="connsiteY30" fmla="*/ 1247166 h 1513381"/>
              <a:gd name="connsiteX31" fmla="*/ 850922 w 2629239"/>
              <a:gd name="connsiteY31" fmla="*/ 1210971 h 1513381"/>
              <a:gd name="connsiteX32" fmla="*/ 752949 w 2629239"/>
              <a:gd name="connsiteY32" fmla="*/ 1178585 h 1513381"/>
              <a:gd name="connsiteX33" fmla="*/ 656747 w 2629239"/>
              <a:gd name="connsiteY33" fmla="*/ 1153957 h 1513381"/>
              <a:gd name="connsiteX34" fmla="*/ 554353 w 2629239"/>
              <a:gd name="connsiteY34" fmla="*/ 1128443 h 1513381"/>
              <a:gd name="connsiteX35" fmla="*/ 451007 w 2629239"/>
              <a:gd name="connsiteY35" fmla="*/ 1118034 h 1513381"/>
              <a:gd name="connsiteX36" fmla="*/ 372630 w 2629239"/>
              <a:gd name="connsiteY36" fmla="*/ 1111502 h 1513381"/>
              <a:gd name="connsiteX37" fmla="*/ 245879 w 2629239"/>
              <a:gd name="connsiteY37" fmla="*/ 1076464 h 1513381"/>
              <a:gd name="connsiteX38" fmla="*/ 172537 w 2629239"/>
              <a:gd name="connsiteY38" fmla="*/ 1031016 h 1513381"/>
              <a:gd name="connsiteX39" fmla="*/ 105794 w 2629239"/>
              <a:gd name="connsiteY39" fmla="*/ 962504 h 1513381"/>
              <a:gd name="connsiteX40" fmla="*/ 65925 w 2629239"/>
              <a:gd name="connsiteY40" fmla="*/ 901612 h 1513381"/>
              <a:gd name="connsiteX41" fmla="*/ 24967 w 2629239"/>
              <a:gd name="connsiteY41" fmla="*/ 814936 h 1513381"/>
              <a:gd name="connsiteX42" fmla="*/ 5986 w 2629239"/>
              <a:gd name="connsiteY42" fmla="*/ 715739 h 1513381"/>
              <a:gd name="connsiteX43" fmla="*/ 4217 w 2629239"/>
              <a:gd name="connsiteY43" fmla="*/ 611848 h 1513381"/>
              <a:gd name="connsiteX44" fmla="*/ 51433 w 2629239"/>
              <a:gd name="connsiteY44" fmla="*/ 504624 h 1513381"/>
              <a:gd name="connsiteX45" fmla="*/ 107495 w 2629239"/>
              <a:gd name="connsiteY45" fmla="*/ 448562 h 1513381"/>
              <a:gd name="connsiteX46" fmla="*/ 215876 w 2629239"/>
              <a:gd name="connsiteY46" fmla="*/ 370185 h 1513381"/>
              <a:gd name="connsiteX47" fmla="*/ 362833 w 2629239"/>
              <a:gd name="connsiteY47" fmla="*/ 301605 h 1513381"/>
              <a:gd name="connsiteX48" fmla="*/ 519587 w 2629239"/>
              <a:gd name="connsiteY48" fmla="*/ 255885 h 1513381"/>
              <a:gd name="connsiteX49" fmla="*/ 650828 w 2629239"/>
              <a:gd name="connsiteY49" fmla="*/ 216698 h 1513381"/>
              <a:gd name="connsiteX50" fmla="*/ 801664 w 2629239"/>
              <a:gd name="connsiteY50" fmla="*/ 179276 h 1513381"/>
              <a:gd name="connsiteX51" fmla="*/ 947396 w 2629239"/>
              <a:gd name="connsiteY51" fmla="*/ 154648 h 1513381"/>
              <a:gd name="connsiteX52" fmla="*/ 1138984 w 2629239"/>
              <a:gd name="connsiteY52" fmla="*/ 103826 h 1513381"/>
              <a:gd name="connsiteX53" fmla="*/ 1391533 w 2629239"/>
              <a:gd name="connsiteY53" fmla="*/ 37082 h 1513381"/>
              <a:gd name="connsiteX54" fmla="*/ 1541756 w 2629239"/>
              <a:gd name="connsiteY54" fmla="*/ 6195 h 1513381"/>
              <a:gd name="connsiteX55" fmla="*/ 1651044 w 2629239"/>
              <a:gd name="connsiteY55" fmla="*/ 325 h 1513381"/>
              <a:gd name="connsiteX56" fmla="*/ 1752785 w 2629239"/>
              <a:gd name="connsiteY56" fmla="*/ 13024 h 1513381"/>
              <a:gd name="connsiteX57" fmla="*/ 1859123 w 2629239"/>
              <a:gd name="connsiteY57" fmla="*/ 70881 h 1513381"/>
              <a:gd name="connsiteX58" fmla="*/ 1958866 w 2629239"/>
              <a:gd name="connsiteY58" fmla="*/ 138933 h 1513381"/>
              <a:gd name="connsiteX59" fmla="*/ 2048323 w 2629239"/>
              <a:gd name="connsiteY59" fmla="*/ 216698 h 1513381"/>
              <a:gd name="connsiteX60" fmla="*/ 2121579 w 2629239"/>
              <a:gd name="connsiteY60" fmla="*/ 282011 h 1513381"/>
              <a:gd name="connsiteX61" fmla="*/ 2174062 w 2629239"/>
              <a:gd name="connsiteY61" fmla="*/ 327730 h 1513381"/>
              <a:gd name="connsiteX62" fmla="*/ 2204333 w 2629239"/>
              <a:gd name="connsiteY62" fmla="*/ 386242 h 1513381"/>
              <a:gd name="connsiteX63" fmla="*/ 2159157 w 2629239"/>
              <a:gd name="connsiteY63" fmla="*/ 457815 h 1513381"/>
              <a:gd name="connsiteX64" fmla="*/ 2056242 w 2629239"/>
              <a:gd name="connsiteY64" fmla="*/ 493085 h 1513381"/>
              <a:gd name="connsiteX65" fmla="*/ 1931261 w 2629239"/>
              <a:gd name="connsiteY65" fmla="*/ 489248 h 1513381"/>
              <a:gd name="connsiteX66" fmla="*/ 1851999 w 2629239"/>
              <a:gd name="connsiteY66" fmla="*/ 477954 h 1513381"/>
              <a:gd name="connsiteX67" fmla="*/ 1705042 w 2629239"/>
              <a:gd name="connsiteY67" fmla="*/ 455094 h 1513381"/>
              <a:gd name="connsiteX68" fmla="*/ 1564616 w 2629239"/>
              <a:gd name="connsiteY68" fmla="*/ 428968 h 1513381"/>
              <a:gd name="connsiteX69" fmla="*/ 1433987 w 2629239"/>
              <a:gd name="connsiteY69" fmla="*/ 409374 h 1513381"/>
              <a:gd name="connsiteX70" fmla="*/ 1319687 w 2629239"/>
              <a:gd name="connsiteY70" fmla="*/ 412639 h 1513381"/>
              <a:gd name="connsiteX71" fmla="*/ 1219063 w 2629239"/>
              <a:gd name="connsiteY71" fmla="*/ 437880 h 1513381"/>
              <a:gd name="connsiteX72" fmla="*/ 1133542 w 2629239"/>
              <a:gd name="connsiteY72" fmla="*/ 468157 h 1513381"/>
              <a:gd name="connsiteX73" fmla="*/ 1018697 w 2629239"/>
              <a:gd name="connsiteY73" fmla="*/ 513877 h 1513381"/>
              <a:gd name="connsiteX74" fmla="*/ 918004 w 2629239"/>
              <a:gd name="connsiteY74" fmla="*/ 550683 h 1513381"/>
              <a:gd name="connsiteX75" fmla="*/ 767170 w 2629239"/>
              <a:gd name="connsiteY75" fmla="*/ 573272 h 1513381"/>
              <a:gd name="connsiteX76" fmla="*/ 652053 w 2629239"/>
              <a:gd name="connsiteY76" fmla="*/ 575403 h 1513381"/>
              <a:gd name="connsiteX77" fmla="*/ 520222 w 2629239"/>
              <a:gd name="connsiteY77" fmla="*/ 576288 h 1513381"/>
              <a:gd name="connsiteX78" fmla="*/ 402112 w 2629239"/>
              <a:gd name="connsiteY78" fmla="*/ 565515 h 1513381"/>
              <a:gd name="connsiteX79" fmla="*/ 299537 w 2629239"/>
              <a:gd name="connsiteY79" fmla="*/ 553859 h 1513381"/>
              <a:gd name="connsiteX80" fmla="*/ 169271 w 2629239"/>
              <a:gd name="connsiteY80" fmla="*/ 533743 h 1513381"/>
              <a:gd name="connsiteX0" fmla="*/ 2629239 w 2629239"/>
              <a:gd name="connsiteY0" fmla="*/ 1010265 h 1513381"/>
              <a:gd name="connsiteX1" fmla="*/ 2619623 w 2629239"/>
              <a:gd name="connsiteY1" fmla="*/ 1065782 h 1513381"/>
              <a:gd name="connsiteX2" fmla="*/ 2620938 w 2629239"/>
              <a:gd name="connsiteY2" fmla="*/ 1123681 h 1513381"/>
              <a:gd name="connsiteX3" fmla="*/ 2619442 w 2629239"/>
              <a:gd name="connsiteY3" fmla="*/ 1170285 h 1513381"/>
              <a:gd name="connsiteX4" fmla="*/ 2615904 w 2629239"/>
              <a:gd name="connsiteY4" fmla="*/ 1225190 h 1513381"/>
              <a:gd name="connsiteX5" fmla="*/ 2590934 w 2629239"/>
              <a:gd name="connsiteY5" fmla="*/ 1274879 h 1513381"/>
              <a:gd name="connsiteX6" fmla="*/ 2554127 w 2629239"/>
              <a:gd name="connsiteY6" fmla="*/ 1310711 h 1513381"/>
              <a:gd name="connsiteX7" fmla="*/ 2498610 w 2629239"/>
              <a:gd name="connsiteY7" fmla="*/ 1320508 h 1513381"/>
              <a:gd name="connsiteX8" fmla="*/ 2446359 w 2629239"/>
              <a:gd name="connsiteY8" fmla="*/ 1323774 h 1513381"/>
              <a:gd name="connsiteX9" fmla="*/ 2400639 w 2629239"/>
              <a:gd name="connsiteY9" fmla="*/ 1323774 h 1513381"/>
              <a:gd name="connsiteX10" fmla="*/ 2345122 w 2629239"/>
              <a:gd name="connsiteY10" fmla="*/ 1336837 h 1513381"/>
              <a:gd name="connsiteX11" fmla="*/ 2296499 w 2629239"/>
              <a:gd name="connsiteY11" fmla="*/ 1366500 h 1513381"/>
              <a:gd name="connsiteX12" fmla="*/ 2279807 w 2629239"/>
              <a:gd name="connsiteY12" fmla="*/ 1405417 h 1513381"/>
              <a:gd name="connsiteX13" fmla="*/ 2240619 w 2629239"/>
              <a:gd name="connsiteY13" fmla="*/ 1447871 h 1513381"/>
              <a:gd name="connsiteX14" fmla="*/ 2184218 w 2629239"/>
              <a:gd name="connsiteY14" fmla="*/ 1465969 h 1513381"/>
              <a:gd name="connsiteX15" fmla="*/ 2116522 w 2629239"/>
              <a:gd name="connsiteY15" fmla="*/ 1457668 h 1513381"/>
              <a:gd name="connsiteX16" fmla="*/ 2047942 w 2629239"/>
              <a:gd name="connsiteY16" fmla="*/ 1460934 h 1513381"/>
              <a:gd name="connsiteX17" fmla="*/ 2005487 w 2629239"/>
              <a:gd name="connsiteY17" fmla="*/ 1473997 h 1513381"/>
              <a:gd name="connsiteX18" fmla="*/ 1969564 w 2629239"/>
              <a:gd name="connsiteY18" fmla="*/ 1493591 h 1513381"/>
              <a:gd name="connsiteX19" fmla="*/ 1927019 w 2629239"/>
              <a:gd name="connsiteY19" fmla="*/ 1509829 h 1513381"/>
              <a:gd name="connsiteX20" fmla="*/ 1884202 w 2629239"/>
              <a:gd name="connsiteY20" fmla="*/ 1511075 h 1513381"/>
              <a:gd name="connsiteX21" fmla="*/ 1796482 w 2629239"/>
              <a:gd name="connsiteY21" fmla="*/ 1483454 h 1513381"/>
              <a:gd name="connsiteX22" fmla="*/ 1735046 w 2629239"/>
              <a:gd name="connsiteY22" fmla="*/ 1443720 h 1513381"/>
              <a:gd name="connsiteX23" fmla="*/ 1675378 w 2629239"/>
              <a:gd name="connsiteY23" fmla="*/ 1386979 h 1513381"/>
              <a:gd name="connsiteX24" fmla="*/ 1581012 w 2629239"/>
              <a:gd name="connsiteY24" fmla="*/ 1359969 h 1513381"/>
              <a:gd name="connsiteX25" fmla="*/ 1470795 w 2629239"/>
              <a:gd name="connsiteY25" fmla="*/ 1342755 h 1513381"/>
              <a:gd name="connsiteX26" fmla="*/ 1390037 w 2629239"/>
              <a:gd name="connsiteY26" fmla="*/ 1340374 h 1513381"/>
              <a:gd name="connsiteX27" fmla="*/ 1308122 w 2629239"/>
              <a:gd name="connsiteY27" fmla="*/ 1334455 h 1513381"/>
              <a:gd name="connsiteX28" fmla="*/ 1209809 w 2629239"/>
              <a:gd name="connsiteY28" fmla="*/ 1316631 h 1513381"/>
              <a:gd name="connsiteX29" fmla="*/ 1099388 w 2629239"/>
              <a:gd name="connsiteY29" fmla="*/ 1289347 h 1513381"/>
              <a:gd name="connsiteX30" fmla="*/ 963724 w 2629239"/>
              <a:gd name="connsiteY30" fmla="*/ 1247166 h 1513381"/>
              <a:gd name="connsiteX31" fmla="*/ 850922 w 2629239"/>
              <a:gd name="connsiteY31" fmla="*/ 1210971 h 1513381"/>
              <a:gd name="connsiteX32" fmla="*/ 752949 w 2629239"/>
              <a:gd name="connsiteY32" fmla="*/ 1178585 h 1513381"/>
              <a:gd name="connsiteX33" fmla="*/ 656747 w 2629239"/>
              <a:gd name="connsiteY33" fmla="*/ 1153957 h 1513381"/>
              <a:gd name="connsiteX34" fmla="*/ 554353 w 2629239"/>
              <a:gd name="connsiteY34" fmla="*/ 1128443 h 1513381"/>
              <a:gd name="connsiteX35" fmla="*/ 451007 w 2629239"/>
              <a:gd name="connsiteY35" fmla="*/ 1118034 h 1513381"/>
              <a:gd name="connsiteX36" fmla="*/ 372630 w 2629239"/>
              <a:gd name="connsiteY36" fmla="*/ 1111502 h 1513381"/>
              <a:gd name="connsiteX37" fmla="*/ 245879 w 2629239"/>
              <a:gd name="connsiteY37" fmla="*/ 1076464 h 1513381"/>
              <a:gd name="connsiteX38" fmla="*/ 172537 w 2629239"/>
              <a:gd name="connsiteY38" fmla="*/ 1031016 h 1513381"/>
              <a:gd name="connsiteX39" fmla="*/ 105794 w 2629239"/>
              <a:gd name="connsiteY39" fmla="*/ 962504 h 1513381"/>
              <a:gd name="connsiteX40" fmla="*/ 65925 w 2629239"/>
              <a:gd name="connsiteY40" fmla="*/ 901612 h 1513381"/>
              <a:gd name="connsiteX41" fmla="*/ 24967 w 2629239"/>
              <a:gd name="connsiteY41" fmla="*/ 814936 h 1513381"/>
              <a:gd name="connsiteX42" fmla="*/ 5986 w 2629239"/>
              <a:gd name="connsiteY42" fmla="*/ 715739 h 1513381"/>
              <a:gd name="connsiteX43" fmla="*/ 4217 w 2629239"/>
              <a:gd name="connsiteY43" fmla="*/ 611848 h 1513381"/>
              <a:gd name="connsiteX44" fmla="*/ 51433 w 2629239"/>
              <a:gd name="connsiteY44" fmla="*/ 504624 h 1513381"/>
              <a:gd name="connsiteX45" fmla="*/ 107495 w 2629239"/>
              <a:gd name="connsiteY45" fmla="*/ 448562 h 1513381"/>
              <a:gd name="connsiteX46" fmla="*/ 215876 w 2629239"/>
              <a:gd name="connsiteY46" fmla="*/ 370185 h 1513381"/>
              <a:gd name="connsiteX47" fmla="*/ 362833 w 2629239"/>
              <a:gd name="connsiteY47" fmla="*/ 301605 h 1513381"/>
              <a:gd name="connsiteX48" fmla="*/ 519587 w 2629239"/>
              <a:gd name="connsiteY48" fmla="*/ 255885 h 1513381"/>
              <a:gd name="connsiteX49" fmla="*/ 650828 w 2629239"/>
              <a:gd name="connsiteY49" fmla="*/ 216698 h 1513381"/>
              <a:gd name="connsiteX50" fmla="*/ 801664 w 2629239"/>
              <a:gd name="connsiteY50" fmla="*/ 179276 h 1513381"/>
              <a:gd name="connsiteX51" fmla="*/ 947396 w 2629239"/>
              <a:gd name="connsiteY51" fmla="*/ 154648 h 1513381"/>
              <a:gd name="connsiteX52" fmla="*/ 1138984 w 2629239"/>
              <a:gd name="connsiteY52" fmla="*/ 103826 h 1513381"/>
              <a:gd name="connsiteX53" fmla="*/ 1391533 w 2629239"/>
              <a:gd name="connsiteY53" fmla="*/ 37082 h 1513381"/>
              <a:gd name="connsiteX54" fmla="*/ 1541756 w 2629239"/>
              <a:gd name="connsiteY54" fmla="*/ 6195 h 1513381"/>
              <a:gd name="connsiteX55" fmla="*/ 1651044 w 2629239"/>
              <a:gd name="connsiteY55" fmla="*/ 325 h 1513381"/>
              <a:gd name="connsiteX56" fmla="*/ 1752785 w 2629239"/>
              <a:gd name="connsiteY56" fmla="*/ 13024 h 1513381"/>
              <a:gd name="connsiteX57" fmla="*/ 1859123 w 2629239"/>
              <a:gd name="connsiteY57" fmla="*/ 70881 h 1513381"/>
              <a:gd name="connsiteX58" fmla="*/ 1958866 w 2629239"/>
              <a:gd name="connsiteY58" fmla="*/ 138933 h 1513381"/>
              <a:gd name="connsiteX59" fmla="*/ 2048323 w 2629239"/>
              <a:gd name="connsiteY59" fmla="*/ 216698 h 1513381"/>
              <a:gd name="connsiteX60" fmla="*/ 2121579 w 2629239"/>
              <a:gd name="connsiteY60" fmla="*/ 259587 h 1513381"/>
              <a:gd name="connsiteX61" fmla="*/ 2174062 w 2629239"/>
              <a:gd name="connsiteY61" fmla="*/ 327730 h 1513381"/>
              <a:gd name="connsiteX62" fmla="*/ 2204333 w 2629239"/>
              <a:gd name="connsiteY62" fmla="*/ 386242 h 1513381"/>
              <a:gd name="connsiteX63" fmla="*/ 2159157 w 2629239"/>
              <a:gd name="connsiteY63" fmla="*/ 457815 h 1513381"/>
              <a:gd name="connsiteX64" fmla="*/ 2056242 w 2629239"/>
              <a:gd name="connsiteY64" fmla="*/ 493085 h 1513381"/>
              <a:gd name="connsiteX65" fmla="*/ 1931261 w 2629239"/>
              <a:gd name="connsiteY65" fmla="*/ 489248 h 1513381"/>
              <a:gd name="connsiteX66" fmla="*/ 1851999 w 2629239"/>
              <a:gd name="connsiteY66" fmla="*/ 477954 h 1513381"/>
              <a:gd name="connsiteX67" fmla="*/ 1705042 w 2629239"/>
              <a:gd name="connsiteY67" fmla="*/ 455094 h 1513381"/>
              <a:gd name="connsiteX68" fmla="*/ 1564616 w 2629239"/>
              <a:gd name="connsiteY68" fmla="*/ 428968 h 1513381"/>
              <a:gd name="connsiteX69" fmla="*/ 1433987 w 2629239"/>
              <a:gd name="connsiteY69" fmla="*/ 409374 h 1513381"/>
              <a:gd name="connsiteX70" fmla="*/ 1319687 w 2629239"/>
              <a:gd name="connsiteY70" fmla="*/ 412639 h 1513381"/>
              <a:gd name="connsiteX71" fmla="*/ 1219063 w 2629239"/>
              <a:gd name="connsiteY71" fmla="*/ 437880 h 1513381"/>
              <a:gd name="connsiteX72" fmla="*/ 1133542 w 2629239"/>
              <a:gd name="connsiteY72" fmla="*/ 468157 h 1513381"/>
              <a:gd name="connsiteX73" fmla="*/ 1018697 w 2629239"/>
              <a:gd name="connsiteY73" fmla="*/ 513877 h 1513381"/>
              <a:gd name="connsiteX74" fmla="*/ 918004 w 2629239"/>
              <a:gd name="connsiteY74" fmla="*/ 550683 h 1513381"/>
              <a:gd name="connsiteX75" fmla="*/ 767170 w 2629239"/>
              <a:gd name="connsiteY75" fmla="*/ 573272 h 1513381"/>
              <a:gd name="connsiteX76" fmla="*/ 652053 w 2629239"/>
              <a:gd name="connsiteY76" fmla="*/ 575403 h 1513381"/>
              <a:gd name="connsiteX77" fmla="*/ 520222 w 2629239"/>
              <a:gd name="connsiteY77" fmla="*/ 576288 h 1513381"/>
              <a:gd name="connsiteX78" fmla="*/ 402112 w 2629239"/>
              <a:gd name="connsiteY78" fmla="*/ 565515 h 1513381"/>
              <a:gd name="connsiteX79" fmla="*/ 299537 w 2629239"/>
              <a:gd name="connsiteY79" fmla="*/ 553859 h 1513381"/>
              <a:gd name="connsiteX80" fmla="*/ 169271 w 2629239"/>
              <a:gd name="connsiteY80" fmla="*/ 533743 h 1513381"/>
              <a:gd name="connsiteX0" fmla="*/ 2629239 w 2629239"/>
              <a:gd name="connsiteY0" fmla="*/ 1010265 h 1513381"/>
              <a:gd name="connsiteX1" fmla="*/ 2619623 w 2629239"/>
              <a:gd name="connsiteY1" fmla="*/ 1065782 h 1513381"/>
              <a:gd name="connsiteX2" fmla="*/ 2620938 w 2629239"/>
              <a:gd name="connsiteY2" fmla="*/ 1123681 h 1513381"/>
              <a:gd name="connsiteX3" fmla="*/ 2619442 w 2629239"/>
              <a:gd name="connsiteY3" fmla="*/ 1170285 h 1513381"/>
              <a:gd name="connsiteX4" fmla="*/ 2615904 w 2629239"/>
              <a:gd name="connsiteY4" fmla="*/ 1225190 h 1513381"/>
              <a:gd name="connsiteX5" fmla="*/ 2590934 w 2629239"/>
              <a:gd name="connsiteY5" fmla="*/ 1274879 h 1513381"/>
              <a:gd name="connsiteX6" fmla="*/ 2554127 w 2629239"/>
              <a:gd name="connsiteY6" fmla="*/ 1310711 h 1513381"/>
              <a:gd name="connsiteX7" fmla="*/ 2498610 w 2629239"/>
              <a:gd name="connsiteY7" fmla="*/ 1320508 h 1513381"/>
              <a:gd name="connsiteX8" fmla="*/ 2446359 w 2629239"/>
              <a:gd name="connsiteY8" fmla="*/ 1323774 h 1513381"/>
              <a:gd name="connsiteX9" fmla="*/ 2400639 w 2629239"/>
              <a:gd name="connsiteY9" fmla="*/ 1323774 h 1513381"/>
              <a:gd name="connsiteX10" fmla="*/ 2345122 w 2629239"/>
              <a:gd name="connsiteY10" fmla="*/ 1336837 h 1513381"/>
              <a:gd name="connsiteX11" fmla="*/ 2296499 w 2629239"/>
              <a:gd name="connsiteY11" fmla="*/ 1366500 h 1513381"/>
              <a:gd name="connsiteX12" fmla="*/ 2279807 w 2629239"/>
              <a:gd name="connsiteY12" fmla="*/ 1405417 h 1513381"/>
              <a:gd name="connsiteX13" fmla="*/ 2240619 w 2629239"/>
              <a:gd name="connsiteY13" fmla="*/ 1447871 h 1513381"/>
              <a:gd name="connsiteX14" fmla="*/ 2184218 w 2629239"/>
              <a:gd name="connsiteY14" fmla="*/ 1465969 h 1513381"/>
              <a:gd name="connsiteX15" fmla="*/ 2116522 w 2629239"/>
              <a:gd name="connsiteY15" fmla="*/ 1457668 h 1513381"/>
              <a:gd name="connsiteX16" fmla="*/ 2047942 w 2629239"/>
              <a:gd name="connsiteY16" fmla="*/ 1460934 h 1513381"/>
              <a:gd name="connsiteX17" fmla="*/ 2005487 w 2629239"/>
              <a:gd name="connsiteY17" fmla="*/ 1473997 h 1513381"/>
              <a:gd name="connsiteX18" fmla="*/ 1969564 w 2629239"/>
              <a:gd name="connsiteY18" fmla="*/ 1493591 h 1513381"/>
              <a:gd name="connsiteX19" fmla="*/ 1927019 w 2629239"/>
              <a:gd name="connsiteY19" fmla="*/ 1509829 h 1513381"/>
              <a:gd name="connsiteX20" fmla="*/ 1884202 w 2629239"/>
              <a:gd name="connsiteY20" fmla="*/ 1511075 h 1513381"/>
              <a:gd name="connsiteX21" fmla="*/ 1796482 w 2629239"/>
              <a:gd name="connsiteY21" fmla="*/ 1483454 h 1513381"/>
              <a:gd name="connsiteX22" fmla="*/ 1735046 w 2629239"/>
              <a:gd name="connsiteY22" fmla="*/ 1443720 h 1513381"/>
              <a:gd name="connsiteX23" fmla="*/ 1675378 w 2629239"/>
              <a:gd name="connsiteY23" fmla="*/ 1386979 h 1513381"/>
              <a:gd name="connsiteX24" fmla="*/ 1581012 w 2629239"/>
              <a:gd name="connsiteY24" fmla="*/ 1359969 h 1513381"/>
              <a:gd name="connsiteX25" fmla="*/ 1470795 w 2629239"/>
              <a:gd name="connsiteY25" fmla="*/ 1342755 h 1513381"/>
              <a:gd name="connsiteX26" fmla="*/ 1390037 w 2629239"/>
              <a:gd name="connsiteY26" fmla="*/ 1340374 h 1513381"/>
              <a:gd name="connsiteX27" fmla="*/ 1308122 w 2629239"/>
              <a:gd name="connsiteY27" fmla="*/ 1334455 h 1513381"/>
              <a:gd name="connsiteX28" fmla="*/ 1209809 w 2629239"/>
              <a:gd name="connsiteY28" fmla="*/ 1316631 h 1513381"/>
              <a:gd name="connsiteX29" fmla="*/ 1099388 w 2629239"/>
              <a:gd name="connsiteY29" fmla="*/ 1289347 h 1513381"/>
              <a:gd name="connsiteX30" fmla="*/ 963724 w 2629239"/>
              <a:gd name="connsiteY30" fmla="*/ 1247166 h 1513381"/>
              <a:gd name="connsiteX31" fmla="*/ 850922 w 2629239"/>
              <a:gd name="connsiteY31" fmla="*/ 1210971 h 1513381"/>
              <a:gd name="connsiteX32" fmla="*/ 752949 w 2629239"/>
              <a:gd name="connsiteY32" fmla="*/ 1178585 h 1513381"/>
              <a:gd name="connsiteX33" fmla="*/ 656747 w 2629239"/>
              <a:gd name="connsiteY33" fmla="*/ 1153957 h 1513381"/>
              <a:gd name="connsiteX34" fmla="*/ 554353 w 2629239"/>
              <a:gd name="connsiteY34" fmla="*/ 1128443 h 1513381"/>
              <a:gd name="connsiteX35" fmla="*/ 451007 w 2629239"/>
              <a:gd name="connsiteY35" fmla="*/ 1118034 h 1513381"/>
              <a:gd name="connsiteX36" fmla="*/ 372630 w 2629239"/>
              <a:gd name="connsiteY36" fmla="*/ 1111502 h 1513381"/>
              <a:gd name="connsiteX37" fmla="*/ 245879 w 2629239"/>
              <a:gd name="connsiteY37" fmla="*/ 1076464 h 1513381"/>
              <a:gd name="connsiteX38" fmla="*/ 172537 w 2629239"/>
              <a:gd name="connsiteY38" fmla="*/ 1031016 h 1513381"/>
              <a:gd name="connsiteX39" fmla="*/ 105794 w 2629239"/>
              <a:gd name="connsiteY39" fmla="*/ 962504 h 1513381"/>
              <a:gd name="connsiteX40" fmla="*/ 65925 w 2629239"/>
              <a:gd name="connsiteY40" fmla="*/ 901612 h 1513381"/>
              <a:gd name="connsiteX41" fmla="*/ 24967 w 2629239"/>
              <a:gd name="connsiteY41" fmla="*/ 814936 h 1513381"/>
              <a:gd name="connsiteX42" fmla="*/ 5986 w 2629239"/>
              <a:gd name="connsiteY42" fmla="*/ 715739 h 1513381"/>
              <a:gd name="connsiteX43" fmla="*/ 4217 w 2629239"/>
              <a:gd name="connsiteY43" fmla="*/ 611848 h 1513381"/>
              <a:gd name="connsiteX44" fmla="*/ 51433 w 2629239"/>
              <a:gd name="connsiteY44" fmla="*/ 504624 h 1513381"/>
              <a:gd name="connsiteX45" fmla="*/ 107495 w 2629239"/>
              <a:gd name="connsiteY45" fmla="*/ 448562 h 1513381"/>
              <a:gd name="connsiteX46" fmla="*/ 215876 w 2629239"/>
              <a:gd name="connsiteY46" fmla="*/ 370185 h 1513381"/>
              <a:gd name="connsiteX47" fmla="*/ 362833 w 2629239"/>
              <a:gd name="connsiteY47" fmla="*/ 301605 h 1513381"/>
              <a:gd name="connsiteX48" fmla="*/ 519587 w 2629239"/>
              <a:gd name="connsiteY48" fmla="*/ 255885 h 1513381"/>
              <a:gd name="connsiteX49" fmla="*/ 650828 w 2629239"/>
              <a:gd name="connsiteY49" fmla="*/ 216698 h 1513381"/>
              <a:gd name="connsiteX50" fmla="*/ 801664 w 2629239"/>
              <a:gd name="connsiteY50" fmla="*/ 179276 h 1513381"/>
              <a:gd name="connsiteX51" fmla="*/ 947396 w 2629239"/>
              <a:gd name="connsiteY51" fmla="*/ 154648 h 1513381"/>
              <a:gd name="connsiteX52" fmla="*/ 1138984 w 2629239"/>
              <a:gd name="connsiteY52" fmla="*/ 103826 h 1513381"/>
              <a:gd name="connsiteX53" fmla="*/ 1391533 w 2629239"/>
              <a:gd name="connsiteY53" fmla="*/ 37082 h 1513381"/>
              <a:gd name="connsiteX54" fmla="*/ 1541756 w 2629239"/>
              <a:gd name="connsiteY54" fmla="*/ 6195 h 1513381"/>
              <a:gd name="connsiteX55" fmla="*/ 1651044 w 2629239"/>
              <a:gd name="connsiteY55" fmla="*/ 325 h 1513381"/>
              <a:gd name="connsiteX56" fmla="*/ 1752785 w 2629239"/>
              <a:gd name="connsiteY56" fmla="*/ 13024 h 1513381"/>
              <a:gd name="connsiteX57" fmla="*/ 1859123 w 2629239"/>
              <a:gd name="connsiteY57" fmla="*/ 70881 h 1513381"/>
              <a:gd name="connsiteX58" fmla="*/ 1958866 w 2629239"/>
              <a:gd name="connsiteY58" fmla="*/ 138933 h 1513381"/>
              <a:gd name="connsiteX59" fmla="*/ 2048323 w 2629239"/>
              <a:gd name="connsiteY59" fmla="*/ 216698 h 1513381"/>
              <a:gd name="connsiteX60" fmla="*/ 2121579 w 2629239"/>
              <a:gd name="connsiteY60" fmla="*/ 270798 h 1513381"/>
              <a:gd name="connsiteX61" fmla="*/ 2174062 w 2629239"/>
              <a:gd name="connsiteY61" fmla="*/ 327730 h 1513381"/>
              <a:gd name="connsiteX62" fmla="*/ 2204333 w 2629239"/>
              <a:gd name="connsiteY62" fmla="*/ 386242 h 1513381"/>
              <a:gd name="connsiteX63" fmla="*/ 2159157 w 2629239"/>
              <a:gd name="connsiteY63" fmla="*/ 457815 h 1513381"/>
              <a:gd name="connsiteX64" fmla="*/ 2056242 w 2629239"/>
              <a:gd name="connsiteY64" fmla="*/ 493085 h 1513381"/>
              <a:gd name="connsiteX65" fmla="*/ 1931261 w 2629239"/>
              <a:gd name="connsiteY65" fmla="*/ 489248 h 1513381"/>
              <a:gd name="connsiteX66" fmla="*/ 1851999 w 2629239"/>
              <a:gd name="connsiteY66" fmla="*/ 477954 h 1513381"/>
              <a:gd name="connsiteX67" fmla="*/ 1705042 w 2629239"/>
              <a:gd name="connsiteY67" fmla="*/ 455094 h 1513381"/>
              <a:gd name="connsiteX68" fmla="*/ 1564616 w 2629239"/>
              <a:gd name="connsiteY68" fmla="*/ 428968 h 1513381"/>
              <a:gd name="connsiteX69" fmla="*/ 1433987 w 2629239"/>
              <a:gd name="connsiteY69" fmla="*/ 409374 h 1513381"/>
              <a:gd name="connsiteX70" fmla="*/ 1319687 w 2629239"/>
              <a:gd name="connsiteY70" fmla="*/ 412639 h 1513381"/>
              <a:gd name="connsiteX71" fmla="*/ 1219063 w 2629239"/>
              <a:gd name="connsiteY71" fmla="*/ 437880 h 1513381"/>
              <a:gd name="connsiteX72" fmla="*/ 1133542 w 2629239"/>
              <a:gd name="connsiteY72" fmla="*/ 468157 h 1513381"/>
              <a:gd name="connsiteX73" fmla="*/ 1018697 w 2629239"/>
              <a:gd name="connsiteY73" fmla="*/ 513877 h 1513381"/>
              <a:gd name="connsiteX74" fmla="*/ 918004 w 2629239"/>
              <a:gd name="connsiteY74" fmla="*/ 550683 h 1513381"/>
              <a:gd name="connsiteX75" fmla="*/ 767170 w 2629239"/>
              <a:gd name="connsiteY75" fmla="*/ 573272 h 1513381"/>
              <a:gd name="connsiteX76" fmla="*/ 652053 w 2629239"/>
              <a:gd name="connsiteY76" fmla="*/ 575403 h 1513381"/>
              <a:gd name="connsiteX77" fmla="*/ 520222 w 2629239"/>
              <a:gd name="connsiteY77" fmla="*/ 576288 h 1513381"/>
              <a:gd name="connsiteX78" fmla="*/ 402112 w 2629239"/>
              <a:gd name="connsiteY78" fmla="*/ 565515 h 1513381"/>
              <a:gd name="connsiteX79" fmla="*/ 299537 w 2629239"/>
              <a:gd name="connsiteY79" fmla="*/ 553859 h 1513381"/>
              <a:gd name="connsiteX80" fmla="*/ 169271 w 2629239"/>
              <a:gd name="connsiteY80" fmla="*/ 533743 h 1513381"/>
              <a:gd name="connsiteX0" fmla="*/ 2629239 w 2629239"/>
              <a:gd name="connsiteY0" fmla="*/ 1010265 h 1513381"/>
              <a:gd name="connsiteX1" fmla="*/ 2619623 w 2629239"/>
              <a:gd name="connsiteY1" fmla="*/ 1065782 h 1513381"/>
              <a:gd name="connsiteX2" fmla="*/ 2620938 w 2629239"/>
              <a:gd name="connsiteY2" fmla="*/ 1123681 h 1513381"/>
              <a:gd name="connsiteX3" fmla="*/ 2619442 w 2629239"/>
              <a:gd name="connsiteY3" fmla="*/ 1170285 h 1513381"/>
              <a:gd name="connsiteX4" fmla="*/ 2615904 w 2629239"/>
              <a:gd name="connsiteY4" fmla="*/ 1225190 h 1513381"/>
              <a:gd name="connsiteX5" fmla="*/ 2590934 w 2629239"/>
              <a:gd name="connsiteY5" fmla="*/ 1274879 h 1513381"/>
              <a:gd name="connsiteX6" fmla="*/ 2554127 w 2629239"/>
              <a:gd name="connsiteY6" fmla="*/ 1310711 h 1513381"/>
              <a:gd name="connsiteX7" fmla="*/ 2498610 w 2629239"/>
              <a:gd name="connsiteY7" fmla="*/ 1320508 h 1513381"/>
              <a:gd name="connsiteX8" fmla="*/ 2446359 w 2629239"/>
              <a:gd name="connsiteY8" fmla="*/ 1323774 h 1513381"/>
              <a:gd name="connsiteX9" fmla="*/ 2400639 w 2629239"/>
              <a:gd name="connsiteY9" fmla="*/ 1323774 h 1513381"/>
              <a:gd name="connsiteX10" fmla="*/ 2345122 w 2629239"/>
              <a:gd name="connsiteY10" fmla="*/ 1336837 h 1513381"/>
              <a:gd name="connsiteX11" fmla="*/ 2296499 w 2629239"/>
              <a:gd name="connsiteY11" fmla="*/ 1366500 h 1513381"/>
              <a:gd name="connsiteX12" fmla="*/ 2279807 w 2629239"/>
              <a:gd name="connsiteY12" fmla="*/ 1405417 h 1513381"/>
              <a:gd name="connsiteX13" fmla="*/ 2240619 w 2629239"/>
              <a:gd name="connsiteY13" fmla="*/ 1447871 h 1513381"/>
              <a:gd name="connsiteX14" fmla="*/ 2184218 w 2629239"/>
              <a:gd name="connsiteY14" fmla="*/ 1465969 h 1513381"/>
              <a:gd name="connsiteX15" fmla="*/ 2116522 w 2629239"/>
              <a:gd name="connsiteY15" fmla="*/ 1457668 h 1513381"/>
              <a:gd name="connsiteX16" fmla="*/ 2047942 w 2629239"/>
              <a:gd name="connsiteY16" fmla="*/ 1460934 h 1513381"/>
              <a:gd name="connsiteX17" fmla="*/ 2005487 w 2629239"/>
              <a:gd name="connsiteY17" fmla="*/ 1473997 h 1513381"/>
              <a:gd name="connsiteX18" fmla="*/ 1969564 w 2629239"/>
              <a:gd name="connsiteY18" fmla="*/ 1493591 h 1513381"/>
              <a:gd name="connsiteX19" fmla="*/ 1927019 w 2629239"/>
              <a:gd name="connsiteY19" fmla="*/ 1509829 h 1513381"/>
              <a:gd name="connsiteX20" fmla="*/ 1884202 w 2629239"/>
              <a:gd name="connsiteY20" fmla="*/ 1511075 h 1513381"/>
              <a:gd name="connsiteX21" fmla="*/ 1796482 w 2629239"/>
              <a:gd name="connsiteY21" fmla="*/ 1483454 h 1513381"/>
              <a:gd name="connsiteX22" fmla="*/ 1735046 w 2629239"/>
              <a:gd name="connsiteY22" fmla="*/ 1443720 h 1513381"/>
              <a:gd name="connsiteX23" fmla="*/ 1675378 w 2629239"/>
              <a:gd name="connsiteY23" fmla="*/ 1386979 h 1513381"/>
              <a:gd name="connsiteX24" fmla="*/ 1581012 w 2629239"/>
              <a:gd name="connsiteY24" fmla="*/ 1359969 h 1513381"/>
              <a:gd name="connsiteX25" fmla="*/ 1470795 w 2629239"/>
              <a:gd name="connsiteY25" fmla="*/ 1342755 h 1513381"/>
              <a:gd name="connsiteX26" fmla="*/ 1390037 w 2629239"/>
              <a:gd name="connsiteY26" fmla="*/ 1340374 h 1513381"/>
              <a:gd name="connsiteX27" fmla="*/ 1308122 w 2629239"/>
              <a:gd name="connsiteY27" fmla="*/ 1334455 h 1513381"/>
              <a:gd name="connsiteX28" fmla="*/ 1209809 w 2629239"/>
              <a:gd name="connsiteY28" fmla="*/ 1316631 h 1513381"/>
              <a:gd name="connsiteX29" fmla="*/ 1099388 w 2629239"/>
              <a:gd name="connsiteY29" fmla="*/ 1289347 h 1513381"/>
              <a:gd name="connsiteX30" fmla="*/ 963724 w 2629239"/>
              <a:gd name="connsiteY30" fmla="*/ 1247166 h 1513381"/>
              <a:gd name="connsiteX31" fmla="*/ 850922 w 2629239"/>
              <a:gd name="connsiteY31" fmla="*/ 1210971 h 1513381"/>
              <a:gd name="connsiteX32" fmla="*/ 752949 w 2629239"/>
              <a:gd name="connsiteY32" fmla="*/ 1178585 h 1513381"/>
              <a:gd name="connsiteX33" fmla="*/ 656747 w 2629239"/>
              <a:gd name="connsiteY33" fmla="*/ 1153957 h 1513381"/>
              <a:gd name="connsiteX34" fmla="*/ 554353 w 2629239"/>
              <a:gd name="connsiteY34" fmla="*/ 1128443 h 1513381"/>
              <a:gd name="connsiteX35" fmla="*/ 451007 w 2629239"/>
              <a:gd name="connsiteY35" fmla="*/ 1118034 h 1513381"/>
              <a:gd name="connsiteX36" fmla="*/ 372630 w 2629239"/>
              <a:gd name="connsiteY36" fmla="*/ 1111502 h 1513381"/>
              <a:gd name="connsiteX37" fmla="*/ 245879 w 2629239"/>
              <a:gd name="connsiteY37" fmla="*/ 1076464 h 1513381"/>
              <a:gd name="connsiteX38" fmla="*/ 172537 w 2629239"/>
              <a:gd name="connsiteY38" fmla="*/ 1031016 h 1513381"/>
              <a:gd name="connsiteX39" fmla="*/ 105794 w 2629239"/>
              <a:gd name="connsiteY39" fmla="*/ 962504 h 1513381"/>
              <a:gd name="connsiteX40" fmla="*/ 65925 w 2629239"/>
              <a:gd name="connsiteY40" fmla="*/ 901612 h 1513381"/>
              <a:gd name="connsiteX41" fmla="*/ 24967 w 2629239"/>
              <a:gd name="connsiteY41" fmla="*/ 814936 h 1513381"/>
              <a:gd name="connsiteX42" fmla="*/ 5986 w 2629239"/>
              <a:gd name="connsiteY42" fmla="*/ 715739 h 1513381"/>
              <a:gd name="connsiteX43" fmla="*/ 4217 w 2629239"/>
              <a:gd name="connsiteY43" fmla="*/ 611848 h 1513381"/>
              <a:gd name="connsiteX44" fmla="*/ 51433 w 2629239"/>
              <a:gd name="connsiteY44" fmla="*/ 504624 h 1513381"/>
              <a:gd name="connsiteX45" fmla="*/ 107495 w 2629239"/>
              <a:gd name="connsiteY45" fmla="*/ 448562 h 1513381"/>
              <a:gd name="connsiteX46" fmla="*/ 215876 w 2629239"/>
              <a:gd name="connsiteY46" fmla="*/ 370185 h 1513381"/>
              <a:gd name="connsiteX47" fmla="*/ 362833 w 2629239"/>
              <a:gd name="connsiteY47" fmla="*/ 301605 h 1513381"/>
              <a:gd name="connsiteX48" fmla="*/ 519587 w 2629239"/>
              <a:gd name="connsiteY48" fmla="*/ 255885 h 1513381"/>
              <a:gd name="connsiteX49" fmla="*/ 650828 w 2629239"/>
              <a:gd name="connsiteY49" fmla="*/ 216698 h 1513381"/>
              <a:gd name="connsiteX50" fmla="*/ 801664 w 2629239"/>
              <a:gd name="connsiteY50" fmla="*/ 179276 h 1513381"/>
              <a:gd name="connsiteX51" fmla="*/ 947396 w 2629239"/>
              <a:gd name="connsiteY51" fmla="*/ 154648 h 1513381"/>
              <a:gd name="connsiteX52" fmla="*/ 1138984 w 2629239"/>
              <a:gd name="connsiteY52" fmla="*/ 103826 h 1513381"/>
              <a:gd name="connsiteX53" fmla="*/ 1391533 w 2629239"/>
              <a:gd name="connsiteY53" fmla="*/ 37082 h 1513381"/>
              <a:gd name="connsiteX54" fmla="*/ 1541756 w 2629239"/>
              <a:gd name="connsiteY54" fmla="*/ 6195 h 1513381"/>
              <a:gd name="connsiteX55" fmla="*/ 1651044 w 2629239"/>
              <a:gd name="connsiteY55" fmla="*/ 325 h 1513381"/>
              <a:gd name="connsiteX56" fmla="*/ 1752785 w 2629239"/>
              <a:gd name="connsiteY56" fmla="*/ 13024 h 1513381"/>
              <a:gd name="connsiteX57" fmla="*/ 1859123 w 2629239"/>
              <a:gd name="connsiteY57" fmla="*/ 70881 h 1513381"/>
              <a:gd name="connsiteX58" fmla="*/ 1958866 w 2629239"/>
              <a:gd name="connsiteY58" fmla="*/ 138933 h 1513381"/>
              <a:gd name="connsiteX59" fmla="*/ 2048323 w 2629239"/>
              <a:gd name="connsiteY59" fmla="*/ 216698 h 1513381"/>
              <a:gd name="connsiteX60" fmla="*/ 2116057 w 2629239"/>
              <a:gd name="connsiteY60" fmla="*/ 270798 h 1513381"/>
              <a:gd name="connsiteX61" fmla="*/ 2174062 w 2629239"/>
              <a:gd name="connsiteY61" fmla="*/ 327730 h 1513381"/>
              <a:gd name="connsiteX62" fmla="*/ 2204333 w 2629239"/>
              <a:gd name="connsiteY62" fmla="*/ 386242 h 1513381"/>
              <a:gd name="connsiteX63" fmla="*/ 2159157 w 2629239"/>
              <a:gd name="connsiteY63" fmla="*/ 457815 h 1513381"/>
              <a:gd name="connsiteX64" fmla="*/ 2056242 w 2629239"/>
              <a:gd name="connsiteY64" fmla="*/ 493085 h 1513381"/>
              <a:gd name="connsiteX65" fmla="*/ 1931261 w 2629239"/>
              <a:gd name="connsiteY65" fmla="*/ 489248 h 1513381"/>
              <a:gd name="connsiteX66" fmla="*/ 1851999 w 2629239"/>
              <a:gd name="connsiteY66" fmla="*/ 477954 h 1513381"/>
              <a:gd name="connsiteX67" fmla="*/ 1705042 w 2629239"/>
              <a:gd name="connsiteY67" fmla="*/ 455094 h 1513381"/>
              <a:gd name="connsiteX68" fmla="*/ 1564616 w 2629239"/>
              <a:gd name="connsiteY68" fmla="*/ 428968 h 1513381"/>
              <a:gd name="connsiteX69" fmla="*/ 1433987 w 2629239"/>
              <a:gd name="connsiteY69" fmla="*/ 409374 h 1513381"/>
              <a:gd name="connsiteX70" fmla="*/ 1319687 w 2629239"/>
              <a:gd name="connsiteY70" fmla="*/ 412639 h 1513381"/>
              <a:gd name="connsiteX71" fmla="*/ 1219063 w 2629239"/>
              <a:gd name="connsiteY71" fmla="*/ 437880 h 1513381"/>
              <a:gd name="connsiteX72" fmla="*/ 1133542 w 2629239"/>
              <a:gd name="connsiteY72" fmla="*/ 468157 h 1513381"/>
              <a:gd name="connsiteX73" fmla="*/ 1018697 w 2629239"/>
              <a:gd name="connsiteY73" fmla="*/ 513877 h 1513381"/>
              <a:gd name="connsiteX74" fmla="*/ 918004 w 2629239"/>
              <a:gd name="connsiteY74" fmla="*/ 550683 h 1513381"/>
              <a:gd name="connsiteX75" fmla="*/ 767170 w 2629239"/>
              <a:gd name="connsiteY75" fmla="*/ 573272 h 1513381"/>
              <a:gd name="connsiteX76" fmla="*/ 652053 w 2629239"/>
              <a:gd name="connsiteY76" fmla="*/ 575403 h 1513381"/>
              <a:gd name="connsiteX77" fmla="*/ 520222 w 2629239"/>
              <a:gd name="connsiteY77" fmla="*/ 576288 h 1513381"/>
              <a:gd name="connsiteX78" fmla="*/ 402112 w 2629239"/>
              <a:gd name="connsiteY78" fmla="*/ 565515 h 1513381"/>
              <a:gd name="connsiteX79" fmla="*/ 299537 w 2629239"/>
              <a:gd name="connsiteY79" fmla="*/ 553859 h 1513381"/>
              <a:gd name="connsiteX80" fmla="*/ 169271 w 2629239"/>
              <a:gd name="connsiteY80" fmla="*/ 533743 h 1513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629239" h="1513381">
                <a:moveTo>
                  <a:pt x="2629239" y="1010265"/>
                </a:moveTo>
                <a:lnTo>
                  <a:pt x="2619623" y="1065782"/>
                </a:lnTo>
                <a:cubicBezTo>
                  <a:pt x="2617446" y="1084288"/>
                  <a:pt x="2620968" y="1106264"/>
                  <a:pt x="2620938" y="1123681"/>
                </a:cubicBezTo>
                <a:cubicBezTo>
                  <a:pt x="2620908" y="1141098"/>
                  <a:pt x="2621075" y="1151779"/>
                  <a:pt x="2619442" y="1170285"/>
                </a:cubicBezTo>
                <a:cubicBezTo>
                  <a:pt x="2618263" y="1188587"/>
                  <a:pt x="2620655" y="1207758"/>
                  <a:pt x="2615904" y="1225190"/>
                </a:cubicBezTo>
                <a:cubicBezTo>
                  <a:pt x="2611153" y="1242622"/>
                  <a:pt x="2601230" y="1260625"/>
                  <a:pt x="2590934" y="1274879"/>
                </a:cubicBezTo>
                <a:cubicBezTo>
                  <a:pt x="2580638" y="1289133"/>
                  <a:pt x="2569911" y="1303635"/>
                  <a:pt x="2554127" y="1310711"/>
                </a:cubicBezTo>
                <a:lnTo>
                  <a:pt x="2498610" y="1320508"/>
                </a:lnTo>
                <a:lnTo>
                  <a:pt x="2446359" y="1323774"/>
                </a:lnTo>
                <a:lnTo>
                  <a:pt x="2400639" y="1323774"/>
                </a:lnTo>
                <a:cubicBezTo>
                  <a:pt x="2383766" y="1325951"/>
                  <a:pt x="2362479" y="1329716"/>
                  <a:pt x="2345122" y="1336837"/>
                </a:cubicBezTo>
                <a:cubicBezTo>
                  <a:pt x="2327765" y="1343958"/>
                  <a:pt x="2307385" y="1355070"/>
                  <a:pt x="2296499" y="1366500"/>
                </a:cubicBezTo>
                <a:lnTo>
                  <a:pt x="2279807" y="1405417"/>
                </a:lnTo>
                <a:lnTo>
                  <a:pt x="2240619" y="1447871"/>
                </a:lnTo>
                <a:cubicBezTo>
                  <a:pt x="2224291" y="1458757"/>
                  <a:pt x="2204901" y="1464336"/>
                  <a:pt x="2184218" y="1465969"/>
                </a:cubicBezTo>
                <a:cubicBezTo>
                  <a:pt x="2163535" y="1467602"/>
                  <a:pt x="2138838" y="1459301"/>
                  <a:pt x="2116522" y="1457668"/>
                </a:cubicBezTo>
                <a:cubicBezTo>
                  <a:pt x="2093662" y="1458757"/>
                  <a:pt x="2077946" y="1452701"/>
                  <a:pt x="2047942" y="1460934"/>
                </a:cubicBezTo>
                <a:cubicBezTo>
                  <a:pt x="2017938" y="1469167"/>
                  <a:pt x="2018550" y="1468554"/>
                  <a:pt x="2005487" y="1473997"/>
                </a:cubicBezTo>
                <a:lnTo>
                  <a:pt x="1969564" y="1493591"/>
                </a:lnTo>
                <a:cubicBezTo>
                  <a:pt x="1956486" y="1499563"/>
                  <a:pt x="1941246" y="1506915"/>
                  <a:pt x="1927019" y="1509829"/>
                </a:cubicBezTo>
                <a:cubicBezTo>
                  <a:pt x="1912792" y="1512743"/>
                  <a:pt x="1905958" y="1515471"/>
                  <a:pt x="1884202" y="1511075"/>
                </a:cubicBezTo>
                <a:cubicBezTo>
                  <a:pt x="1862446" y="1506679"/>
                  <a:pt x="1821341" y="1494680"/>
                  <a:pt x="1796482" y="1483454"/>
                </a:cubicBezTo>
                <a:cubicBezTo>
                  <a:pt x="1771623" y="1472228"/>
                  <a:pt x="1755230" y="1459799"/>
                  <a:pt x="1735046" y="1443720"/>
                </a:cubicBezTo>
                <a:cubicBezTo>
                  <a:pt x="1714862" y="1427641"/>
                  <a:pt x="1701050" y="1400938"/>
                  <a:pt x="1675378" y="1386979"/>
                </a:cubicBezTo>
                <a:cubicBezTo>
                  <a:pt x="1649706" y="1373020"/>
                  <a:pt x="1615109" y="1367340"/>
                  <a:pt x="1581012" y="1359969"/>
                </a:cubicBezTo>
                <a:cubicBezTo>
                  <a:pt x="1546915" y="1352598"/>
                  <a:pt x="1502624" y="1346021"/>
                  <a:pt x="1470795" y="1342755"/>
                </a:cubicBezTo>
                <a:cubicBezTo>
                  <a:pt x="1438966" y="1339489"/>
                  <a:pt x="1418340" y="1342551"/>
                  <a:pt x="1390037" y="1340374"/>
                </a:cubicBezTo>
                <a:cubicBezTo>
                  <a:pt x="1361144" y="1339195"/>
                  <a:pt x="1338160" y="1338412"/>
                  <a:pt x="1308122" y="1334455"/>
                </a:cubicBezTo>
                <a:cubicBezTo>
                  <a:pt x="1278084" y="1330498"/>
                  <a:pt x="1244598" y="1324149"/>
                  <a:pt x="1209809" y="1316631"/>
                </a:cubicBezTo>
                <a:cubicBezTo>
                  <a:pt x="1175020" y="1309113"/>
                  <a:pt x="1142387" y="1301321"/>
                  <a:pt x="1099388" y="1289347"/>
                </a:cubicBezTo>
                <a:lnTo>
                  <a:pt x="963724" y="1247166"/>
                </a:lnTo>
                <a:lnTo>
                  <a:pt x="850922" y="1210971"/>
                </a:lnTo>
                <a:cubicBezTo>
                  <a:pt x="815793" y="1198747"/>
                  <a:pt x="785311" y="1188087"/>
                  <a:pt x="752949" y="1178585"/>
                </a:cubicBezTo>
                <a:cubicBezTo>
                  <a:pt x="720587" y="1169083"/>
                  <a:pt x="689846" y="1161520"/>
                  <a:pt x="656747" y="1153957"/>
                </a:cubicBezTo>
                <a:cubicBezTo>
                  <a:pt x="622457" y="1143616"/>
                  <a:pt x="588643" y="1134430"/>
                  <a:pt x="554353" y="1128443"/>
                </a:cubicBezTo>
                <a:cubicBezTo>
                  <a:pt x="520063" y="1122456"/>
                  <a:pt x="479310" y="1119667"/>
                  <a:pt x="451007" y="1118034"/>
                </a:cubicBezTo>
                <a:lnTo>
                  <a:pt x="372630" y="1111502"/>
                </a:lnTo>
                <a:cubicBezTo>
                  <a:pt x="346504" y="1109325"/>
                  <a:pt x="279228" y="1089878"/>
                  <a:pt x="245879" y="1076464"/>
                </a:cubicBezTo>
                <a:cubicBezTo>
                  <a:pt x="212530" y="1063050"/>
                  <a:pt x="195884" y="1050009"/>
                  <a:pt x="172537" y="1031016"/>
                </a:cubicBezTo>
                <a:cubicBezTo>
                  <a:pt x="149190" y="1012023"/>
                  <a:pt x="123563" y="984071"/>
                  <a:pt x="105794" y="962504"/>
                </a:cubicBezTo>
                <a:cubicBezTo>
                  <a:pt x="88025" y="940937"/>
                  <a:pt x="79396" y="926207"/>
                  <a:pt x="65925" y="901612"/>
                </a:cubicBezTo>
                <a:cubicBezTo>
                  <a:pt x="52454" y="877017"/>
                  <a:pt x="34957" y="845915"/>
                  <a:pt x="24967" y="814936"/>
                </a:cubicBezTo>
                <a:cubicBezTo>
                  <a:pt x="14977" y="783957"/>
                  <a:pt x="10726" y="748805"/>
                  <a:pt x="5986" y="715739"/>
                </a:cubicBezTo>
                <a:cubicBezTo>
                  <a:pt x="543" y="683082"/>
                  <a:pt x="-3357" y="647034"/>
                  <a:pt x="4217" y="611848"/>
                </a:cubicBezTo>
                <a:cubicBezTo>
                  <a:pt x="11792" y="576662"/>
                  <a:pt x="31839" y="531838"/>
                  <a:pt x="51433" y="504624"/>
                </a:cubicBezTo>
                <a:cubicBezTo>
                  <a:pt x="70120" y="485937"/>
                  <a:pt x="80088" y="470969"/>
                  <a:pt x="107495" y="448562"/>
                </a:cubicBezTo>
                <a:cubicBezTo>
                  <a:pt x="134902" y="426155"/>
                  <a:pt x="173320" y="394678"/>
                  <a:pt x="215876" y="370185"/>
                </a:cubicBezTo>
                <a:cubicBezTo>
                  <a:pt x="258432" y="345692"/>
                  <a:pt x="312215" y="320655"/>
                  <a:pt x="362833" y="301605"/>
                </a:cubicBezTo>
                <a:lnTo>
                  <a:pt x="519587" y="255885"/>
                </a:lnTo>
                <a:lnTo>
                  <a:pt x="650828" y="216698"/>
                </a:lnTo>
                <a:cubicBezTo>
                  <a:pt x="695459" y="204724"/>
                  <a:pt x="752236" y="189618"/>
                  <a:pt x="801664" y="179276"/>
                </a:cubicBezTo>
                <a:cubicBezTo>
                  <a:pt x="851092" y="168934"/>
                  <a:pt x="891176" y="167223"/>
                  <a:pt x="947396" y="154648"/>
                </a:cubicBezTo>
                <a:cubicBezTo>
                  <a:pt x="1003616" y="142073"/>
                  <a:pt x="1075121" y="120767"/>
                  <a:pt x="1138984" y="103826"/>
                </a:cubicBezTo>
                <a:lnTo>
                  <a:pt x="1391533" y="37082"/>
                </a:lnTo>
                <a:lnTo>
                  <a:pt x="1541756" y="6195"/>
                </a:lnTo>
                <a:cubicBezTo>
                  <a:pt x="1585008" y="1003"/>
                  <a:pt x="1615873" y="-813"/>
                  <a:pt x="1651044" y="325"/>
                </a:cubicBezTo>
                <a:cubicBezTo>
                  <a:pt x="1686215" y="1463"/>
                  <a:pt x="1718105" y="1265"/>
                  <a:pt x="1752785" y="13024"/>
                </a:cubicBezTo>
                <a:cubicBezTo>
                  <a:pt x="1787465" y="24783"/>
                  <a:pt x="1824776" y="49896"/>
                  <a:pt x="1859123" y="70881"/>
                </a:cubicBezTo>
                <a:cubicBezTo>
                  <a:pt x="1893470" y="91866"/>
                  <a:pt x="1929299" y="112512"/>
                  <a:pt x="1958866" y="138933"/>
                </a:cubicBezTo>
                <a:lnTo>
                  <a:pt x="2048323" y="216698"/>
                </a:lnTo>
                <a:cubicBezTo>
                  <a:pt x="2075442" y="240544"/>
                  <a:pt x="2095101" y="252293"/>
                  <a:pt x="2116057" y="270798"/>
                </a:cubicBezTo>
                <a:cubicBezTo>
                  <a:pt x="2137013" y="289303"/>
                  <a:pt x="2166986" y="311946"/>
                  <a:pt x="2174062" y="327730"/>
                </a:cubicBezTo>
                <a:cubicBezTo>
                  <a:pt x="2181138" y="343514"/>
                  <a:pt x="2206817" y="364561"/>
                  <a:pt x="2204333" y="386242"/>
                </a:cubicBezTo>
                <a:cubicBezTo>
                  <a:pt x="2201849" y="407923"/>
                  <a:pt x="2183839" y="440008"/>
                  <a:pt x="2159157" y="457815"/>
                </a:cubicBezTo>
                <a:cubicBezTo>
                  <a:pt x="2134475" y="475622"/>
                  <a:pt x="2094225" y="487846"/>
                  <a:pt x="2056242" y="493085"/>
                </a:cubicBezTo>
                <a:cubicBezTo>
                  <a:pt x="2018259" y="498324"/>
                  <a:pt x="1973715" y="487071"/>
                  <a:pt x="1931261" y="489248"/>
                </a:cubicBezTo>
                <a:lnTo>
                  <a:pt x="1851999" y="477954"/>
                </a:lnTo>
                <a:lnTo>
                  <a:pt x="1705042" y="455094"/>
                </a:lnTo>
                <a:lnTo>
                  <a:pt x="1564616" y="428968"/>
                </a:lnTo>
                <a:cubicBezTo>
                  <a:pt x="1519440" y="421348"/>
                  <a:pt x="1474808" y="412095"/>
                  <a:pt x="1433987" y="409374"/>
                </a:cubicBezTo>
                <a:cubicBezTo>
                  <a:pt x="1393166" y="406653"/>
                  <a:pt x="1355508" y="407888"/>
                  <a:pt x="1319687" y="412639"/>
                </a:cubicBezTo>
                <a:cubicBezTo>
                  <a:pt x="1283866" y="417390"/>
                  <a:pt x="1252604" y="429466"/>
                  <a:pt x="1219063" y="437880"/>
                </a:cubicBezTo>
                <a:cubicBezTo>
                  <a:pt x="1188039" y="447133"/>
                  <a:pt x="1166936" y="455491"/>
                  <a:pt x="1133542" y="468157"/>
                </a:cubicBezTo>
                <a:cubicBezTo>
                  <a:pt x="1100148" y="480823"/>
                  <a:pt x="1056979" y="498637"/>
                  <a:pt x="1018697" y="513877"/>
                </a:cubicBezTo>
                <a:cubicBezTo>
                  <a:pt x="982774" y="528028"/>
                  <a:pt x="959925" y="540784"/>
                  <a:pt x="918004" y="550683"/>
                </a:cubicBezTo>
                <a:cubicBezTo>
                  <a:pt x="876083" y="560582"/>
                  <a:pt x="815067" y="567829"/>
                  <a:pt x="767170" y="573272"/>
                </a:cubicBezTo>
                <a:lnTo>
                  <a:pt x="652053" y="575403"/>
                </a:lnTo>
                <a:cubicBezTo>
                  <a:pt x="608109" y="575698"/>
                  <a:pt x="561879" y="577936"/>
                  <a:pt x="520222" y="576288"/>
                </a:cubicBezTo>
                <a:cubicBezTo>
                  <a:pt x="478565" y="574640"/>
                  <a:pt x="444714" y="570312"/>
                  <a:pt x="402112" y="565515"/>
                </a:cubicBezTo>
                <a:cubicBezTo>
                  <a:pt x="367920" y="561630"/>
                  <a:pt x="338344" y="559154"/>
                  <a:pt x="299537" y="553859"/>
                </a:cubicBezTo>
                <a:cubicBezTo>
                  <a:pt x="260730" y="548564"/>
                  <a:pt x="213488" y="539654"/>
                  <a:pt x="169271" y="533743"/>
                </a:cubicBezTo>
              </a:path>
            </a:pathLst>
          </a:custGeom>
          <a:noFill/>
          <a:ln w="85725" cap="sq"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68997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551465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613" name="think-cell Slide" r:id="rId6" imgW="411" imgH="409" progId="TCLayout.ActiveDocument.1">
                  <p:embed/>
                </p:oleObj>
              </mc:Choice>
              <mc:Fallback>
                <p:oleObj name="think-cell Slide" r:id="rId6" imgW="411" imgH="409"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extBox 1"/>
          <p:cNvSpPr txBox="1"/>
          <p:nvPr/>
        </p:nvSpPr>
        <p:spPr>
          <a:xfrm>
            <a:off x="4329113" y="223284"/>
            <a:ext cx="7426112" cy="7977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800" dirty="0">
                <a:solidFill>
                  <a:schemeClr val="accent1">
                    <a:lumMod val="75000"/>
                    <a:lumOff val="25000"/>
                  </a:schemeClr>
                </a:solidFill>
              </a:rPr>
              <a:t>Microsoft employed the four chambers of the heart    </a:t>
            </a:r>
            <a:endParaRPr lang="en-US" sz="1400" dirty="0">
              <a:solidFill>
                <a:srgbClr val="FF0000"/>
              </a:solidFill>
            </a:endParaRPr>
          </a:p>
        </p:txBody>
      </p:sp>
      <p:grpSp>
        <p:nvGrpSpPr>
          <p:cNvPr id="3" name="Group 2"/>
          <p:cNvGrpSpPr/>
          <p:nvPr/>
        </p:nvGrpSpPr>
        <p:grpSpPr>
          <a:xfrm>
            <a:off x="940392" y="616934"/>
            <a:ext cx="1937438" cy="5493850"/>
            <a:chOff x="940392" y="616934"/>
            <a:chExt cx="1937438" cy="5493850"/>
          </a:xfrm>
        </p:grpSpPr>
        <p:pic>
          <p:nvPicPr>
            <p:cNvPr id="23" name="Picture 22"/>
            <p:cNvPicPr>
              <a:picLocks noChangeAspect="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940392" y="616934"/>
              <a:ext cx="1937438" cy="5493850"/>
            </a:xfrm>
            <a:prstGeom prst="rect">
              <a:avLst/>
            </a:prstGeom>
          </p:spPr>
        </p:pic>
        <p:sp>
          <p:nvSpPr>
            <p:cNvPr id="16" name="Freeform 15"/>
            <p:cNvSpPr/>
            <p:nvPr/>
          </p:nvSpPr>
          <p:spPr>
            <a:xfrm>
              <a:off x="1319402" y="2662097"/>
              <a:ext cx="186617" cy="2127724"/>
            </a:xfrm>
            <a:custGeom>
              <a:avLst/>
              <a:gdLst>
                <a:gd name="connsiteX0" fmla="*/ 532109 w 532109"/>
                <a:gd name="connsiteY0" fmla="*/ 335797 h 4990454"/>
                <a:gd name="connsiteX1" fmla="*/ 433953 w 532109"/>
                <a:gd name="connsiteY1" fmla="*/ 346129 h 4990454"/>
                <a:gd name="connsiteX2" fmla="*/ 315132 w 532109"/>
                <a:gd name="connsiteY2" fmla="*/ 351295 h 4990454"/>
                <a:gd name="connsiteX3" fmla="*/ 216976 w 532109"/>
                <a:gd name="connsiteY3" fmla="*/ 351295 h 4990454"/>
                <a:gd name="connsiteX4" fmla="*/ 175648 w 532109"/>
                <a:gd name="connsiteY4" fmla="*/ 340963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5132 w 532109"/>
                <a:gd name="connsiteY2" fmla="*/ 351295 h 4990454"/>
                <a:gd name="connsiteX3" fmla="*/ 216976 w 532109"/>
                <a:gd name="connsiteY3" fmla="*/ 351295 h 4990454"/>
                <a:gd name="connsiteX4" fmla="*/ 175648 w 532109"/>
                <a:gd name="connsiteY4" fmla="*/ 340963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16976 w 532109"/>
                <a:gd name="connsiteY3" fmla="*/ 351295 h 4990454"/>
                <a:gd name="connsiteX4" fmla="*/ 175648 w 532109"/>
                <a:gd name="connsiteY4" fmla="*/ 340963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09832 w 532109"/>
                <a:gd name="connsiteY3" fmla="*/ 363201 h 4990454"/>
                <a:gd name="connsiteX4" fmla="*/ 175648 w 532109"/>
                <a:gd name="connsiteY4" fmla="*/ 340963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09832 w 532109"/>
                <a:gd name="connsiteY3" fmla="*/ 363201 h 4990454"/>
                <a:gd name="connsiteX4" fmla="*/ 163742 w 532109"/>
                <a:gd name="connsiteY4" fmla="*/ 343345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09832 w 532109"/>
                <a:gd name="connsiteY3" fmla="*/ 363201 h 4990454"/>
                <a:gd name="connsiteX4" fmla="*/ 163742 w 532109"/>
                <a:gd name="connsiteY4" fmla="*/ 343345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3742 w 532109"/>
                <a:gd name="connsiteY4" fmla="*/ 343345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3742 w 532109"/>
                <a:gd name="connsiteY4" fmla="*/ 343345 h 4990454"/>
                <a:gd name="connsiteX5" fmla="*/ 113654 w 532109"/>
                <a:gd name="connsiteY5" fmla="*/ 315132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3742 w 532109"/>
                <a:gd name="connsiteY4" fmla="*/ 343345 h 4990454"/>
                <a:gd name="connsiteX5" fmla="*/ 108891 w 532109"/>
                <a:gd name="connsiteY5" fmla="*/ 324657 h 4990454"/>
                <a:gd name="connsiteX6" fmla="*/ 46495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3742 w 532109"/>
                <a:gd name="connsiteY4" fmla="*/ 343345 h 4990454"/>
                <a:gd name="connsiteX5" fmla="*/ 108891 w 532109"/>
                <a:gd name="connsiteY5" fmla="*/ 324657 h 4990454"/>
                <a:gd name="connsiteX6" fmla="*/ 36970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3742 w 532109"/>
                <a:gd name="connsiteY4" fmla="*/ 343345 h 4990454"/>
                <a:gd name="connsiteX5" fmla="*/ 108891 w 532109"/>
                <a:gd name="connsiteY5" fmla="*/ 324657 h 4990454"/>
                <a:gd name="connsiteX6" fmla="*/ 36970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3742 w 532109"/>
                <a:gd name="connsiteY4" fmla="*/ 343345 h 4990454"/>
                <a:gd name="connsiteX5" fmla="*/ 108891 w 532109"/>
                <a:gd name="connsiteY5" fmla="*/ 324657 h 4990454"/>
                <a:gd name="connsiteX6" fmla="*/ 36970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6123 w 532109"/>
                <a:gd name="connsiteY4" fmla="*/ 350488 h 4990454"/>
                <a:gd name="connsiteX5" fmla="*/ 108891 w 532109"/>
                <a:gd name="connsiteY5" fmla="*/ 324657 h 4990454"/>
                <a:gd name="connsiteX6" fmla="*/ 36970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6123 w 532109"/>
                <a:gd name="connsiteY4" fmla="*/ 350488 h 4990454"/>
                <a:gd name="connsiteX5" fmla="*/ 108891 w 532109"/>
                <a:gd name="connsiteY5" fmla="*/ 324657 h 4990454"/>
                <a:gd name="connsiteX6" fmla="*/ 36970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77492 w 532109"/>
                <a:gd name="connsiteY12" fmla="*/ 36163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35797 h 4990454"/>
                <a:gd name="connsiteX1" fmla="*/ 433953 w 532109"/>
                <a:gd name="connsiteY1" fmla="*/ 346129 h 4990454"/>
                <a:gd name="connsiteX2" fmla="*/ 310370 w 532109"/>
                <a:gd name="connsiteY2" fmla="*/ 365583 h 4990454"/>
                <a:gd name="connsiteX3" fmla="*/ 231264 w 532109"/>
                <a:gd name="connsiteY3" fmla="*/ 365582 h 4990454"/>
                <a:gd name="connsiteX4" fmla="*/ 166123 w 532109"/>
                <a:gd name="connsiteY4" fmla="*/ 350488 h 4990454"/>
                <a:gd name="connsiteX5" fmla="*/ 108891 w 532109"/>
                <a:gd name="connsiteY5" fmla="*/ 324657 h 4990454"/>
                <a:gd name="connsiteX6" fmla="*/ 36970 w 532109"/>
                <a:gd name="connsiteY6" fmla="*/ 253139 h 4990454"/>
                <a:gd name="connsiteX7" fmla="*/ 20665 w 532109"/>
                <a:gd name="connsiteY7" fmla="*/ 216976 h 4990454"/>
                <a:gd name="connsiteX8" fmla="*/ 0 w 532109"/>
                <a:gd name="connsiteY8" fmla="*/ 160149 h 4990454"/>
                <a:gd name="connsiteX9" fmla="*/ 0 w 532109"/>
                <a:gd name="connsiteY9" fmla="*/ 123987 h 4990454"/>
                <a:gd name="connsiteX10" fmla="*/ 15498 w 532109"/>
                <a:gd name="connsiteY10" fmla="*/ 77492 h 4990454"/>
                <a:gd name="connsiteX11" fmla="*/ 36163 w 532109"/>
                <a:gd name="connsiteY11" fmla="*/ 46495 h 4990454"/>
                <a:gd name="connsiteX12" fmla="*/ 84636 w 532109"/>
                <a:gd name="connsiteY12" fmla="*/ 9969 h 4990454"/>
                <a:gd name="connsiteX13" fmla="*/ 201478 w 532109"/>
                <a:gd name="connsiteY13" fmla="*/ 0 h 4990454"/>
                <a:gd name="connsiteX14" fmla="*/ 294468 w 532109"/>
                <a:gd name="connsiteY14" fmla="*/ 36163 h 4990454"/>
                <a:gd name="connsiteX15" fmla="*/ 361627 w 532109"/>
                <a:gd name="connsiteY15" fmla="*/ 87824 h 4990454"/>
                <a:gd name="connsiteX16" fmla="*/ 382292 w 532109"/>
                <a:gd name="connsiteY16" fmla="*/ 144651 h 4990454"/>
                <a:gd name="connsiteX17" fmla="*/ 402956 w 532109"/>
                <a:gd name="connsiteY17" fmla="*/ 222142 h 4990454"/>
                <a:gd name="connsiteX18" fmla="*/ 423621 w 532109"/>
                <a:gd name="connsiteY18" fmla="*/ 299634 h 4990454"/>
                <a:gd name="connsiteX19" fmla="*/ 423621 w 532109"/>
                <a:gd name="connsiteY19" fmla="*/ 402956 h 4990454"/>
                <a:gd name="connsiteX20" fmla="*/ 87824 w 532109"/>
                <a:gd name="connsiteY20" fmla="*/ 4990454 h 4990454"/>
                <a:gd name="connsiteX0" fmla="*/ 532109 w 532109"/>
                <a:gd name="connsiteY0" fmla="*/ 340451 h 4995108"/>
                <a:gd name="connsiteX1" fmla="*/ 433953 w 532109"/>
                <a:gd name="connsiteY1" fmla="*/ 350783 h 4995108"/>
                <a:gd name="connsiteX2" fmla="*/ 310370 w 532109"/>
                <a:gd name="connsiteY2" fmla="*/ 370237 h 4995108"/>
                <a:gd name="connsiteX3" fmla="*/ 231264 w 532109"/>
                <a:gd name="connsiteY3" fmla="*/ 370236 h 4995108"/>
                <a:gd name="connsiteX4" fmla="*/ 166123 w 532109"/>
                <a:gd name="connsiteY4" fmla="*/ 355142 h 4995108"/>
                <a:gd name="connsiteX5" fmla="*/ 108891 w 532109"/>
                <a:gd name="connsiteY5" fmla="*/ 329311 h 4995108"/>
                <a:gd name="connsiteX6" fmla="*/ 36970 w 532109"/>
                <a:gd name="connsiteY6" fmla="*/ 257793 h 4995108"/>
                <a:gd name="connsiteX7" fmla="*/ 20665 w 532109"/>
                <a:gd name="connsiteY7" fmla="*/ 221630 h 4995108"/>
                <a:gd name="connsiteX8" fmla="*/ 0 w 532109"/>
                <a:gd name="connsiteY8" fmla="*/ 164803 h 4995108"/>
                <a:gd name="connsiteX9" fmla="*/ 0 w 532109"/>
                <a:gd name="connsiteY9" fmla="*/ 128641 h 4995108"/>
                <a:gd name="connsiteX10" fmla="*/ 15498 w 532109"/>
                <a:gd name="connsiteY10" fmla="*/ 82146 h 4995108"/>
                <a:gd name="connsiteX11" fmla="*/ 36163 w 532109"/>
                <a:gd name="connsiteY11" fmla="*/ 51149 h 4995108"/>
                <a:gd name="connsiteX12" fmla="*/ 84636 w 532109"/>
                <a:gd name="connsiteY12" fmla="*/ 14623 h 4995108"/>
                <a:gd name="connsiteX13" fmla="*/ 201478 w 532109"/>
                <a:gd name="connsiteY13" fmla="*/ 4654 h 4995108"/>
                <a:gd name="connsiteX14" fmla="*/ 294468 w 532109"/>
                <a:gd name="connsiteY14" fmla="*/ 40817 h 4995108"/>
                <a:gd name="connsiteX15" fmla="*/ 361627 w 532109"/>
                <a:gd name="connsiteY15" fmla="*/ 92478 h 4995108"/>
                <a:gd name="connsiteX16" fmla="*/ 382292 w 532109"/>
                <a:gd name="connsiteY16" fmla="*/ 149305 h 4995108"/>
                <a:gd name="connsiteX17" fmla="*/ 402956 w 532109"/>
                <a:gd name="connsiteY17" fmla="*/ 226796 h 4995108"/>
                <a:gd name="connsiteX18" fmla="*/ 423621 w 532109"/>
                <a:gd name="connsiteY18" fmla="*/ 304288 h 4995108"/>
                <a:gd name="connsiteX19" fmla="*/ 423621 w 532109"/>
                <a:gd name="connsiteY19" fmla="*/ 407610 h 4995108"/>
                <a:gd name="connsiteX20" fmla="*/ 87824 w 532109"/>
                <a:gd name="connsiteY20" fmla="*/ 4995108 h 4995108"/>
                <a:gd name="connsiteX0" fmla="*/ 532109 w 532109"/>
                <a:gd name="connsiteY0" fmla="*/ 350997 h 5005654"/>
                <a:gd name="connsiteX1" fmla="*/ 433953 w 532109"/>
                <a:gd name="connsiteY1" fmla="*/ 361329 h 5005654"/>
                <a:gd name="connsiteX2" fmla="*/ 310370 w 532109"/>
                <a:gd name="connsiteY2" fmla="*/ 380783 h 5005654"/>
                <a:gd name="connsiteX3" fmla="*/ 231264 w 532109"/>
                <a:gd name="connsiteY3" fmla="*/ 380782 h 5005654"/>
                <a:gd name="connsiteX4" fmla="*/ 166123 w 532109"/>
                <a:gd name="connsiteY4" fmla="*/ 365688 h 5005654"/>
                <a:gd name="connsiteX5" fmla="*/ 108891 w 532109"/>
                <a:gd name="connsiteY5" fmla="*/ 339857 h 5005654"/>
                <a:gd name="connsiteX6" fmla="*/ 36970 w 532109"/>
                <a:gd name="connsiteY6" fmla="*/ 268339 h 5005654"/>
                <a:gd name="connsiteX7" fmla="*/ 20665 w 532109"/>
                <a:gd name="connsiteY7" fmla="*/ 232176 h 5005654"/>
                <a:gd name="connsiteX8" fmla="*/ 0 w 532109"/>
                <a:gd name="connsiteY8" fmla="*/ 175349 h 5005654"/>
                <a:gd name="connsiteX9" fmla="*/ 0 w 532109"/>
                <a:gd name="connsiteY9" fmla="*/ 139187 h 5005654"/>
                <a:gd name="connsiteX10" fmla="*/ 15498 w 532109"/>
                <a:gd name="connsiteY10" fmla="*/ 92692 h 5005654"/>
                <a:gd name="connsiteX11" fmla="*/ 36163 w 532109"/>
                <a:gd name="connsiteY11" fmla="*/ 61695 h 5005654"/>
                <a:gd name="connsiteX12" fmla="*/ 84636 w 532109"/>
                <a:gd name="connsiteY12" fmla="*/ 25169 h 5005654"/>
                <a:gd name="connsiteX13" fmla="*/ 211003 w 532109"/>
                <a:gd name="connsiteY13" fmla="*/ 3293 h 5005654"/>
                <a:gd name="connsiteX14" fmla="*/ 294468 w 532109"/>
                <a:gd name="connsiteY14" fmla="*/ 51363 h 5005654"/>
                <a:gd name="connsiteX15" fmla="*/ 361627 w 532109"/>
                <a:gd name="connsiteY15" fmla="*/ 103024 h 5005654"/>
                <a:gd name="connsiteX16" fmla="*/ 382292 w 532109"/>
                <a:gd name="connsiteY16" fmla="*/ 159851 h 5005654"/>
                <a:gd name="connsiteX17" fmla="*/ 402956 w 532109"/>
                <a:gd name="connsiteY17" fmla="*/ 237342 h 5005654"/>
                <a:gd name="connsiteX18" fmla="*/ 423621 w 532109"/>
                <a:gd name="connsiteY18" fmla="*/ 314834 h 5005654"/>
                <a:gd name="connsiteX19" fmla="*/ 423621 w 532109"/>
                <a:gd name="connsiteY19" fmla="*/ 418156 h 5005654"/>
                <a:gd name="connsiteX20" fmla="*/ 87824 w 532109"/>
                <a:gd name="connsiteY20" fmla="*/ 5005654 h 5005654"/>
                <a:gd name="connsiteX0" fmla="*/ 532109 w 532109"/>
                <a:gd name="connsiteY0" fmla="*/ 350997 h 5005654"/>
                <a:gd name="connsiteX1" fmla="*/ 433953 w 532109"/>
                <a:gd name="connsiteY1" fmla="*/ 361329 h 5005654"/>
                <a:gd name="connsiteX2" fmla="*/ 310370 w 532109"/>
                <a:gd name="connsiteY2" fmla="*/ 380783 h 5005654"/>
                <a:gd name="connsiteX3" fmla="*/ 231264 w 532109"/>
                <a:gd name="connsiteY3" fmla="*/ 380782 h 5005654"/>
                <a:gd name="connsiteX4" fmla="*/ 166123 w 532109"/>
                <a:gd name="connsiteY4" fmla="*/ 365688 h 5005654"/>
                <a:gd name="connsiteX5" fmla="*/ 108891 w 532109"/>
                <a:gd name="connsiteY5" fmla="*/ 339857 h 5005654"/>
                <a:gd name="connsiteX6" fmla="*/ 36970 w 532109"/>
                <a:gd name="connsiteY6" fmla="*/ 268339 h 5005654"/>
                <a:gd name="connsiteX7" fmla="*/ 20665 w 532109"/>
                <a:gd name="connsiteY7" fmla="*/ 232176 h 5005654"/>
                <a:gd name="connsiteX8" fmla="*/ 0 w 532109"/>
                <a:gd name="connsiteY8" fmla="*/ 175349 h 5005654"/>
                <a:gd name="connsiteX9" fmla="*/ 0 w 532109"/>
                <a:gd name="connsiteY9" fmla="*/ 139187 h 5005654"/>
                <a:gd name="connsiteX10" fmla="*/ 15498 w 532109"/>
                <a:gd name="connsiteY10" fmla="*/ 92692 h 5005654"/>
                <a:gd name="connsiteX11" fmla="*/ 36163 w 532109"/>
                <a:gd name="connsiteY11" fmla="*/ 61695 h 5005654"/>
                <a:gd name="connsiteX12" fmla="*/ 84636 w 532109"/>
                <a:gd name="connsiteY12" fmla="*/ 25169 h 5005654"/>
                <a:gd name="connsiteX13" fmla="*/ 211003 w 532109"/>
                <a:gd name="connsiteY13" fmla="*/ 3293 h 5005654"/>
                <a:gd name="connsiteX14" fmla="*/ 294468 w 532109"/>
                <a:gd name="connsiteY14" fmla="*/ 51363 h 5005654"/>
                <a:gd name="connsiteX15" fmla="*/ 361627 w 532109"/>
                <a:gd name="connsiteY15" fmla="*/ 103024 h 5005654"/>
                <a:gd name="connsiteX16" fmla="*/ 382292 w 532109"/>
                <a:gd name="connsiteY16" fmla="*/ 159851 h 5005654"/>
                <a:gd name="connsiteX17" fmla="*/ 402956 w 532109"/>
                <a:gd name="connsiteY17" fmla="*/ 237342 h 5005654"/>
                <a:gd name="connsiteX18" fmla="*/ 423621 w 532109"/>
                <a:gd name="connsiteY18" fmla="*/ 314834 h 5005654"/>
                <a:gd name="connsiteX19" fmla="*/ 423621 w 532109"/>
                <a:gd name="connsiteY19" fmla="*/ 418156 h 5005654"/>
                <a:gd name="connsiteX20" fmla="*/ 87824 w 532109"/>
                <a:gd name="connsiteY20" fmla="*/ 5005654 h 5005654"/>
                <a:gd name="connsiteX0" fmla="*/ 532109 w 532109"/>
                <a:gd name="connsiteY0" fmla="*/ 350997 h 5005654"/>
                <a:gd name="connsiteX1" fmla="*/ 433953 w 532109"/>
                <a:gd name="connsiteY1" fmla="*/ 361329 h 5005654"/>
                <a:gd name="connsiteX2" fmla="*/ 310370 w 532109"/>
                <a:gd name="connsiteY2" fmla="*/ 380783 h 5005654"/>
                <a:gd name="connsiteX3" fmla="*/ 231264 w 532109"/>
                <a:gd name="connsiteY3" fmla="*/ 380782 h 5005654"/>
                <a:gd name="connsiteX4" fmla="*/ 166123 w 532109"/>
                <a:gd name="connsiteY4" fmla="*/ 365688 h 5005654"/>
                <a:gd name="connsiteX5" fmla="*/ 108891 w 532109"/>
                <a:gd name="connsiteY5" fmla="*/ 339857 h 5005654"/>
                <a:gd name="connsiteX6" fmla="*/ 36970 w 532109"/>
                <a:gd name="connsiteY6" fmla="*/ 268339 h 5005654"/>
                <a:gd name="connsiteX7" fmla="*/ 20665 w 532109"/>
                <a:gd name="connsiteY7" fmla="*/ 232176 h 5005654"/>
                <a:gd name="connsiteX8" fmla="*/ 0 w 532109"/>
                <a:gd name="connsiteY8" fmla="*/ 175349 h 5005654"/>
                <a:gd name="connsiteX9" fmla="*/ 0 w 532109"/>
                <a:gd name="connsiteY9" fmla="*/ 139187 h 5005654"/>
                <a:gd name="connsiteX10" fmla="*/ 15498 w 532109"/>
                <a:gd name="connsiteY10" fmla="*/ 92692 h 5005654"/>
                <a:gd name="connsiteX11" fmla="*/ 36163 w 532109"/>
                <a:gd name="connsiteY11" fmla="*/ 61695 h 5005654"/>
                <a:gd name="connsiteX12" fmla="*/ 84636 w 532109"/>
                <a:gd name="connsiteY12" fmla="*/ 25169 h 5005654"/>
                <a:gd name="connsiteX13" fmla="*/ 211003 w 532109"/>
                <a:gd name="connsiteY13" fmla="*/ 3293 h 5005654"/>
                <a:gd name="connsiteX14" fmla="*/ 294468 w 532109"/>
                <a:gd name="connsiteY14" fmla="*/ 51363 h 5005654"/>
                <a:gd name="connsiteX15" fmla="*/ 361627 w 532109"/>
                <a:gd name="connsiteY15" fmla="*/ 103024 h 5005654"/>
                <a:gd name="connsiteX16" fmla="*/ 382292 w 532109"/>
                <a:gd name="connsiteY16" fmla="*/ 159851 h 5005654"/>
                <a:gd name="connsiteX17" fmla="*/ 402956 w 532109"/>
                <a:gd name="connsiteY17" fmla="*/ 237342 h 5005654"/>
                <a:gd name="connsiteX18" fmla="*/ 423621 w 532109"/>
                <a:gd name="connsiteY18" fmla="*/ 314834 h 5005654"/>
                <a:gd name="connsiteX19" fmla="*/ 423621 w 532109"/>
                <a:gd name="connsiteY19" fmla="*/ 418156 h 5005654"/>
                <a:gd name="connsiteX20" fmla="*/ 87824 w 532109"/>
                <a:gd name="connsiteY20" fmla="*/ 5005654 h 5005654"/>
                <a:gd name="connsiteX0" fmla="*/ 532109 w 532109"/>
                <a:gd name="connsiteY0" fmla="*/ 348533 h 5003190"/>
                <a:gd name="connsiteX1" fmla="*/ 433953 w 532109"/>
                <a:gd name="connsiteY1" fmla="*/ 358865 h 5003190"/>
                <a:gd name="connsiteX2" fmla="*/ 310370 w 532109"/>
                <a:gd name="connsiteY2" fmla="*/ 378319 h 5003190"/>
                <a:gd name="connsiteX3" fmla="*/ 231264 w 532109"/>
                <a:gd name="connsiteY3" fmla="*/ 378318 h 5003190"/>
                <a:gd name="connsiteX4" fmla="*/ 166123 w 532109"/>
                <a:gd name="connsiteY4" fmla="*/ 363224 h 5003190"/>
                <a:gd name="connsiteX5" fmla="*/ 108891 w 532109"/>
                <a:gd name="connsiteY5" fmla="*/ 337393 h 5003190"/>
                <a:gd name="connsiteX6" fmla="*/ 36970 w 532109"/>
                <a:gd name="connsiteY6" fmla="*/ 265875 h 5003190"/>
                <a:gd name="connsiteX7" fmla="*/ 20665 w 532109"/>
                <a:gd name="connsiteY7" fmla="*/ 229712 h 5003190"/>
                <a:gd name="connsiteX8" fmla="*/ 0 w 532109"/>
                <a:gd name="connsiteY8" fmla="*/ 172885 h 5003190"/>
                <a:gd name="connsiteX9" fmla="*/ 0 w 532109"/>
                <a:gd name="connsiteY9" fmla="*/ 136723 h 5003190"/>
                <a:gd name="connsiteX10" fmla="*/ 15498 w 532109"/>
                <a:gd name="connsiteY10" fmla="*/ 90228 h 5003190"/>
                <a:gd name="connsiteX11" fmla="*/ 36163 w 532109"/>
                <a:gd name="connsiteY11" fmla="*/ 59231 h 5003190"/>
                <a:gd name="connsiteX12" fmla="*/ 84636 w 532109"/>
                <a:gd name="connsiteY12" fmla="*/ 22705 h 5003190"/>
                <a:gd name="connsiteX13" fmla="*/ 211003 w 532109"/>
                <a:gd name="connsiteY13" fmla="*/ 829 h 5003190"/>
                <a:gd name="connsiteX14" fmla="*/ 311137 w 532109"/>
                <a:gd name="connsiteY14" fmla="*/ 51281 h 5003190"/>
                <a:gd name="connsiteX15" fmla="*/ 361627 w 532109"/>
                <a:gd name="connsiteY15" fmla="*/ 100560 h 5003190"/>
                <a:gd name="connsiteX16" fmla="*/ 382292 w 532109"/>
                <a:gd name="connsiteY16" fmla="*/ 157387 h 5003190"/>
                <a:gd name="connsiteX17" fmla="*/ 402956 w 532109"/>
                <a:gd name="connsiteY17" fmla="*/ 234878 h 5003190"/>
                <a:gd name="connsiteX18" fmla="*/ 423621 w 532109"/>
                <a:gd name="connsiteY18" fmla="*/ 312370 h 5003190"/>
                <a:gd name="connsiteX19" fmla="*/ 423621 w 532109"/>
                <a:gd name="connsiteY19" fmla="*/ 415692 h 5003190"/>
                <a:gd name="connsiteX20" fmla="*/ 87824 w 532109"/>
                <a:gd name="connsiteY20" fmla="*/ 5003190 h 5003190"/>
                <a:gd name="connsiteX0" fmla="*/ 532109 w 532109"/>
                <a:gd name="connsiteY0" fmla="*/ 348533 h 5003190"/>
                <a:gd name="connsiteX1" fmla="*/ 433953 w 532109"/>
                <a:gd name="connsiteY1" fmla="*/ 358865 h 5003190"/>
                <a:gd name="connsiteX2" fmla="*/ 310370 w 532109"/>
                <a:gd name="connsiteY2" fmla="*/ 378319 h 5003190"/>
                <a:gd name="connsiteX3" fmla="*/ 231264 w 532109"/>
                <a:gd name="connsiteY3" fmla="*/ 378318 h 5003190"/>
                <a:gd name="connsiteX4" fmla="*/ 166123 w 532109"/>
                <a:gd name="connsiteY4" fmla="*/ 363224 h 5003190"/>
                <a:gd name="connsiteX5" fmla="*/ 108891 w 532109"/>
                <a:gd name="connsiteY5" fmla="*/ 337393 h 5003190"/>
                <a:gd name="connsiteX6" fmla="*/ 36970 w 532109"/>
                <a:gd name="connsiteY6" fmla="*/ 265875 h 5003190"/>
                <a:gd name="connsiteX7" fmla="*/ 20665 w 532109"/>
                <a:gd name="connsiteY7" fmla="*/ 229712 h 5003190"/>
                <a:gd name="connsiteX8" fmla="*/ 0 w 532109"/>
                <a:gd name="connsiteY8" fmla="*/ 172885 h 5003190"/>
                <a:gd name="connsiteX9" fmla="*/ 0 w 532109"/>
                <a:gd name="connsiteY9" fmla="*/ 136723 h 5003190"/>
                <a:gd name="connsiteX10" fmla="*/ 15498 w 532109"/>
                <a:gd name="connsiteY10" fmla="*/ 90228 h 5003190"/>
                <a:gd name="connsiteX11" fmla="*/ 36163 w 532109"/>
                <a:gd name="connsiteY11" fmla="*/ 59231 h 5003190"/>
                <a:gd name="connsiteX12" fmla="*/ 84636 w 532109"/>
                <a:gd name="connsiteY12" fmla="*/ 22705 h 5003190"/>
                <a:gd name="connsiteX13" fmla="*/ 211003 w 532109"/>
                <a:gd name="connsiteY13" fmla="*/ 829 h 5003190"/>
                <a:gd name="connsiteX14" fmla="*/ 311137 w 532109"/>
                <a:gd name="connsiteY14" fmla="*/ 51281 h 5003190"/>
                <a:gd name="connsiteX15" fmla="*/ 361627 w 532109"/>
                <a:gd name="connsiteY15" fmla="*/ 100560 h 5003190"/>
                <a:gd name="connsiteX16" fmla="*/ 382292 w 532109"/>
                <a:gd name="connsiteY16" fmla="*/ 157387 h 5003190"/>
                <a:gd name="connsiteX17" fmla="*/ 402956 w 532109"/>
                <a:gd name="connsiteY17" fmla="*/ 234878 h 5003190"/>
                <a:gd name="connsiteX18" fmla="*/ 423621 w 532109"/>
                <a:gd name="connsiteY18" fmla="*/ 312370 h 5003190"/>
                <a:gd name="connsiteX19" fmla="*/ 423621 w 532109"/>
                <a:gd name="connsiteY19" fmla="*/ 415692 h 5003190"/>
                <a:gd name="connsiteX20" fmla="*/ 87824 w 532109"/>
                <a:gd name="connsiteY20" fmla="*/ 5003190 h 5003190"/>
                <a:gd name="connsiteX0" fmla="*/ 532109 w 532109"/>
                <a:gd name="connsiteY0" fmla="*/ 348533 h 5003190"/>
                <a:gd name="connsiteX1" fmla="*/ 433953 w 532109"/>
                <a:gd name="connsiteY1" fmla="*/ 358865 h 5003190"/>
                <a:gd name="connsiteX2" fmla="*/ 310370 w 532109"/>
                <a:gd name="connsiteY2" fmla="*/ 378319 h 5003190"/>
                <a:gd name="connsiteX3" fmla="*/ 231264 w 532109"/>
                <a:gd name="connsiteY3" fmla="*/ 378318 h 5003190"/>
                <a:gd name="connsiteX4" fmla="*/ 166123 w 532109"/>
                <a:gd name="connsiteY4" fmla="*/ 363224 h 5003190"/>
                <a:gd name="connsiteX5" fmla="*/ 108891 w 532109"/>
                <a:gd name="connsiteY5" fmla="*/ 337393 h 5003190"/>
                <a:gd name="connsiteX6" fmla="*/ 36970 w 532109"/>
                <a:gd name="connsiteY6" fmla="*/ 265875 h 5003190"/>
                <a:gd name="connsiteX7" fmla="*/ 20665 w 532109"/>
                <a:gd name="connsiteY7" fmla="*/ 229712 h 5003190"/>
                <a:gd name="connsiteX8" fmla="*/ 0 w 532109"/>
                <a:gd name="connsiteY8" fmla="*/ 172885 h 5003190"/>
                <a:gd name="connsiteX9" fmla="*/ 0 w 532109"/>
                <a:gd name="connsiteY9" fmla="*/ 136723 h 5003190"/>
                <a:gd name="connsiteX10" fmla="*/ 15498 w 532109"/>
                <a:gd name="connsiteY10" fmla="*/ 90228 h 5003190"/>
                <a:gd name="connsiteX11" fmla="*/ 36163 w 532109"/>
                <a:gd name="connsiteY11" fmla="*/ 59231 h 5003190"/>
                <a:gd name="connsiteX12" fmla="*/ 84636 w 532109"/>
                <a:gd name="connsiteY12" fmla="*/ 22705 h 5003190"/>
                <a:gd name="connsiteX13" fmla="*/ 211003 w 532109"/>
                <a:gd name="connsiteY13" fmla="*/ 829 h 5003190"/>
                <a:gd name="connsiteX14" fmla="*/ 311137 w 532109"/>
                <a:gd name="connsiteY14" fmla="*/ 51281 h 5003190"/>
                <a:gd name="connsiteX15" fmla="*/ 361627 w 532109"/>
                <a:gd name="connsiteY15" fmla="*/ 100560 h 5003190"/>
                <a:gd name="connsiteX16" fmla="*/ 382292 w 532109"/>
                <a:gd name="connsiteY16" fmla="*/ 157387 h 5003190"/>
                <a:gd name="connsiteX17" fmla="*/ 402956 w 532109"/>
                <a:gd name="connsiteY17" fmla="*/ 234878 h 5003190"/>
                <a:gd name="connsiteX18" fmla="*/ 423621 w 532109"/>
                <a:gd name="connsiteY18" fmla="*/ 312370 h 5003190"/>
                <a:gd name="connsiteX19" fmla="*/ 423621 w 532109"/>
                <a:gd name="connsiteY19" fmla="*/ 415692 h 5003190"/>
                <a:gd name="connsiteX20" fmla="*/ 87824 w 532109"/>
                <a:gd name="connsiteY20" fmla="*/ 5003190 h 5003190"/>
                <a:gd name="connsiteX0" fmla="*/ 532109 w 532109"/>
                <a:gd name="connsiteY0" fmla="*/ 348533 h 5003190"/>
                <a:gd name="connsiteX1" fmla="*/ 433953 w 532109"/>
                <a:gd name="connsiteY1" fmla="*/ 358865 h 5003190"/>
                <a:gd name="connsiteX2" fmla="*/ 310370 w 532109"/>
                <a:gd name="connsiteY2" fmla="*/ 378319 h 5003190"/>
                <a:gd name="connsiteX3" fmla="*/ 231264 w 532109"/>
                <a:gd name="connsiteY3" fmla="*/ 378318 h 5003190"/>
                <a:gd name="connsiteX4" fmla="*/ 166123 w 532109"/>
                <a:gd name="connsiteY4" fmla="*/ 363224 h 5003190"/>
                <a:gd name="connsiteX5" fmla="*/ 108891 w 532109"/>
                <a:gd name="connsiteY5" fmla="*/ 337393 h 5003190"/>
                <a:gd name="connsiteX6" fmla="*/ 36970 w 532109"/>
                <a:gd name="connsiteY6" fmla="*/ 265875 h 5003190"/>
                <a:gd name="connsiteX7" fmla="*/ 20665 w 532109"/>
                <a:gd name="connsiteY7" fmla="*/ 229712 h 5003190"/>
                <a:gd name="connsiteX8" fmla="*/ 0 w 532109"/>
                <a:gd name="connsiteY8" fmla="*/ 172885 h 5003190"/>
                <a:gd name="connsiteX9" fmla="*/ 0 w 532109"/>
                <a:gd name="connsiteY9" fmla="*/ 136723 h 5003190"/>
                <a:gd name="connsiteX10" fmla="*/ 15498 w 532109"/>
                <a:gd name="connsiteY10" fmla="*/ 90228 h 5003190"/>
                <a:gd name="connsiteX11" fmla="*/ 36163 w 532109"/>
                <a:gd name="connsiteY11" fmla="*/ 59231 h 5003190"/>
                <a:gd name="connsiteX12" fmla="*/ 84636 w 532109"/>
                <a:gd name="connsiteY12" fmla="*/ 22705 h 5003190"/>
                <a:gd name="connsiteX13" fmla="*/ 211003 w 532109"/>
                <a:gd name="connsiteY13" fmla="*/ 829 h 5003190"/>
                <a:gd name="connsiteX14" fmla="*/ 311137 w 532109"/>
                <a:gd name="connsiteY14" fmla="*/ 51281 h 5003190"/>
                <a:gd name="connsiteX15" fmla="*/ 361627 w 532109"/>
                <a:gd name="connsiteY15" fmla="*/ 100560 h 5003190"/>
                <a:gd name="connsiteX16" fmla="*/ 382292 w 532109"/>
                <a:gd name="connsiteY16" fmla="*/ 157387 h 5003190"/>
                <a:gd name="connsiteX17" fmla="*/ 402956 w 532109"/>
                <a:gd name="connsiteY17" fmla="*/ 234878 h 5003190"/>
                <a:gd name="connsiteX18" fmla="*/ 423621 w 532109"/>
                <a:gd name="connsiteY18" fmla="*/ 312370 h 5003190"/>
                <a:gd name="connsiteX19" fmla="*/ 423621 w 532109"/>
                <a:gd name="connsiteY19" fmla="*/ 415692 h 5003190"/>
                <a:gd name="connsiteX20" fmla="*/ 87824 w 532109"/>
                <a:gd name="connsiteY20" fmla="*/ 5003190 h 5003190"/>
                <a:gd name="connsiteX0" fmla="*/ 532109 w 532109"/>
                <a:gd name="connsiteY0" fmla="*/ 348533 h 5003190"/>
                <a:gd name="connsiteX1" fmla="*/ 433953 w 532109"/>
                <a:gd name="connsiteY1" fmla="*/ 358865 h 5003190"/>
                <a:gd name="connsiteX2" fmla="*/ 310370 w 532109"/>
                <a:gd name="connsiteY2" fmla="*/ 378319 h 5003190"/>
                <a:gd name="connsiteX3" fmla="*/ 231264 w 532109"/>
                <a:gd name="connsiteY3" fmla="*/ 378318 h 5003190"/>
                <a:gd name="connsiteX4" fmla="*/ 166123 w 532109"/>
                <a:gd name="connsiteY4" fmla="*/ 363224 h 5003190"/>
                <a:gd name="connsiteX5" fmla="*/ 108891 w 532109"/>
                <a:gd name="connsiteY5" fmla="*/ 337393 h 5003190"/>
                <a:gd name="connsiteX6" fmla="*/ 36970 w 532109"/>
                <a:gd name="connsiteY6" fmla="*/ 265875 h 5003190"/>
                <a:gd name="connsiteX7" fmla="*/ 20665 w 532109"/>
                <a:gd name="connsiteY7" fmla="*/ 229712 h 5003190"/>
                <a:gd name="connsiteX8" fmla="*/ 0 w 532109"/>
                <a:gd name="connsiteY8" fmla="*/ 172885 h 5003190"/>
                <a:gd name="connsiteX9" fmla="*/ 0 w 532109"/>
                <a:gd name="connsiteY9" fmla="*/ 136723 h 5003190"/>
                <a:gd name="connsiteX10" fmla="*/ 15498 w 532109"/>
                <a:gd name="connsiteY10" fmla="*/ 90228 h 5003190"/>
                <a:gd name="connsiteX11" fmla="*/ 36163 w 532109"/>
                <a:gd name="connsiteY11" fmla="*/ 59231 h 5003190"/>
                <a:gd name="connsiteX12" fmla="*/ 84636 w 532109"/>
                <a:gd name="connsiteY12" fmla="*/ 22705 h 5003190"/>
                <a:gd name="connsiteX13" fmla="*/ 211003 w 532109"/>
                <a:gd name="connsiteY13" fmla="*/ 829 h 5003190"/>
                <a:gd name="connsiteX14" fmla="*/ 311137 w 532109"/>
                <a:gd name="connsiteY14" fmla="*/ 51281 h 5003190"/>
                <a:gd name="connsiteX15" fmla="*/ 361627 w 532109"/>
                <a:gd name="connsiteY15" fmla="*/ 100560 h 5003190"/>
                <a:gd name="connsiteX16" fmla="*/ 396580 w 532109"/>
                <a:gd name="connsiteY16" fmla="*/ 162150 h 5003190"/>
                <a:gd name="connsiteX17" fmla="*/ 402956 w 532109"/>
                <a:gd name="connsiteY17" fmla="*/ 234878 h 5003190"/>
                <a:gd name="connsiteX18" fmla="*/ 423621 w 532109"/>
                <a:gd name="connsiteY18" fmla="*/ 312370 h 5003190"/>
                <a:gd name="connsiteX19" fmla="*/ 423621 w 532109"/>
                <a:gd name="connsiteY19" fmla="*/ 415692 h 5003190"/>
                <a:gd name="connsiteX20" fmla="*/ 87824 w 532109"/>
                <a:gd name="connsiteY20" fmla="*/ 5003190 h 5003190"/>
                <a:gd name="connsiteX0" fmla="*/ 532109 w 532109"/>
                <a:gd name="connsiteY0" fmla="*/ 348533 h 5003190"/>
                <a:gd name="connsiteX1" fmla="*/ 433953 w 532109"/>
                <a:gd name="connsiteY1" fmla="*/ 358865 h 5003190"/>
                <a:gd name="connsiteX2" fmla="*/ 310370 w 532109"/>
                <a:gd name="connsiteY2" fmla="*/ 378319 h 5003190"/>
                <a:gd name="connsiteX3" fmla="*/ 231264 w 532109"/>
                <a:gd name="connsiteY3" fmla="*/ 378318 h 5003190"/>
                <a:gd name="connsiteX4" fmla="*/ 166123 w 532109"/>
                <a:gd name="connsiteY4" fmla="*/ 363224 h 5003190"/>
                <a:gd name="connsiteX5" fmla="*/ 108891 w 532109"/>
                <a:gd name="connsiteY5" fmla="*/ 337393 h 5003190"/>
                <a:gd name="connsiteX6" fmla="*/ 36970 w 532109"/>
                <a:gd name="connsiteY6" fmla="*/ 265875 h 5003190"/>
                <a:gd name="connsiteX7" fmla="*/ 20665 w 532109"/>
                <a:gd name="connsiteY7" fmla="*/ 229712 h 5003190"/>
                <a:gd name="connsiteX8" fmla="*/ 0 w 532109"/>
                <a:gd name="connsiteY8" fmla="*/ 172885 h 5003190"/>
                <a:gd name="connsiteX9" fmla="*/ 0 w 532109"/>
                <a:gd name="connsiteY9" fmla="*/ 136723 h 5003190"/>
                <a:gd name="connsiteX10" fmla="*/ 15498 w 532109"/>
                <a:gd name="connsiteY10" fmla="*/ 90228 h 5003190"/>
                <a:gd name="connsiteX11" fmla="*/ 36163 w 532109"/>
                <a:gd name="connsiteY11" fmla="*/ 59231 h 5003190"/>
                <a:gd name="connsiteX12" fmla="*/ 84636 w 532109"/>
                <a:gd name="connsiteY12" fmla="*/ 22705 h 5003190"/>
                <a:gd name="connsiteX13" fmla="*/ 211003 w 532109"/>
                <a:gd name="connsiteY13" fmla="*/ 829 h 5003190"/>
                <a:gd name="connsiteX14" fmla="*/ 311137 w 532109"/>
                <a:gd name="connsiteY14" fmla="*/ 51281 h 5003190"/>
                <a:gd name="connsiteX15" fmla="*/ 361627 w 532109"/>
                <a:gd name="connsiteY15" fmla="*/ 100560 h 5003190"/>
                <a:gd name="connsiteX16" fmla="*/ 396580 w 532109"/>
                <a:gd name="connsiteY16" fmla="*/ 162150 h 5003190"/>
                <a:gd name="connsiteX17" fmla="*/ 414862 w 532109"/>
                <a:gd name="connsiteY17" fmla="*/ 234878 h 5003190"/>
                <a:gd name="connsiteX18" fmla="*/ 423621 w 532109"/>
                <a:gd name="connsiteY18" fmla="*/ 312370 h 5003190"/>
                <a:gd name="connsiteX19" fmla="*/ 423621 w 532109"/>
                <a:gd name="connsiteY19" fmla="*/ 415692 h 5003190"/>
                <a:gd name="connsiteX20" fmla="*/ 87824 w 532109"/>
                <a:gd name="connsiteY20" fmla="*/ 5003190 h 5003190"/>
                <a:gd name="connsiteX0" fmla="*/ 534380 w 534380"/>
                <a:gd name="connsiteY0" fmla="*/ 348533 h 5003190"/>
                <a:gd name="connsiteX1" fmla="*/ 436224 w 534380"/>
                <a:gd name="connsiteY1" fmla="*/ 358865 h 5003190"/>
                <a:gd name="connsiteX2" fmla="*/ 312641 w 534380"/>
                <a:gd name="connsiteY2" fmla="*/ 378319 h 5003190"/>
                <a:gd name="connsiteX3" fmla="*/ 233535 w 534380"/>
                <a:gd name="connsiteY3" fmla="*/ 378318 h 5003190"/>
                <a:gd name="connsiteX4" fmla="*/ 168394 w 534380"/>
                <a:gd name="connsiteY4" fmla="*/ 363224 h 5003190"/>
                <a:gd name="connsiteX5" fmla="*/ 111162 w 534380"/>
                <a:gd name="connsiteY5" fmla="*/ 337393 h 5003190"/>
                <a:gd name="connsiteX6" fmla="*/ 39241 w 534380"/>
                <a:gd name="connsiteY6" fmla="*/ 265875 h 5003190"/>
                <a:gd name="connsiteX7" fmla="*/ 22936 w 534380"/>
                <a:gd name="connsiteY7" fmla="*/ 229712 h 5003190"/>
                <a:gd name="connsiteX8" fmla="*/ 2271 w 534380"/>
                <a:gd name="connsiteY8" fmla="*/ 172885 h 5003190"/>
                <a:gd name="connsiteX9" fmla="*/ 2271 w 534380"/>
                <a:gd name="connsiteY9" fmla="*/ 136723 h 5003190"/>
                <a:gd name="connsiteX10" fmla="*/ 17769 w 534380"/>
                <a:gd name="connsiteY10" fmla="*/ 90228 h 5003190"/>
                <a:gd name="connsiteX11" fmla="*/ 38434 w 534380"/>
                <a:gd name="connsiteY11" fmla="*/ 59231 h 5003190"/>
                <a:gd name="connsiteX12" fmla="*/ 86907 w 534380"/>
                <a:gd name="connsiteY12" fmla="*/ 22705 h 5003190"/>
                <a:gd name="connsiteX13" fmla="*/ 213274 w 534380"/>
                <a:gd name="connsiteY13" fmla="*/ 829 h 5003190"/>
                <a:gd name="connsiteX14" fmla="*/ 313408 w 534380"/>
                <a:gd name="connsiteY14" fmla="*/ 51281 h 5003190"/>
                <a:gd name="connsiteX15" fmla="*/ 363898 w 534380"/>
                <a:gd name="connsiteY15" fmla="*/ 100560 h 5003190"/>
                <a:gd name="connsiteX16" fmla="*/ 398851 w 534380"/>
                <a:gd name="connsiteY16" fmla="*/ 162150 h 5003190"/>
                <a:gd name="connsiteX17" fmla="*/ 417133 w 534380"/>
                <a:gd name="connsiteY17" fmla="*/ 234878 h 5003190"/>
                <a:gd name="connsiteX18" fmla="*/ 425892 w 534380"/>
                <a:gd name="connsiteY18" fmla="*/ 312370 h 5003190"/>
                <a:gd name="connsiteX19" fmla="*/ 425892 w 534380"/>
                <a:gd name="connsiteY19" fmla="*/ 415692 h 5003190"/>
                <a:gd name="connsiteX20" fmla="*/ 90095 w 534380"/>
                <a:gd name="connsiteY20" fmla="*/ 5003190 h 5003190"/>
                <a:gd name="connsiteX0" fmla="*/ 534380 w 534380"/>
                <a:gd name="connsiteY0" fmla="*/ 348533 h 5003190"/>
                <a:gd name="connsiteX1" fmla="*/ 436224 w 534380"/>
                <a:gd name="connsiteY1" fmla="*/ 358865 h 5003190"/>
                <a:gd name="connsiteX2" fmla="*/ 312641 w 534380"/>
                <a:gd name="connsiteY2" fmla="*/ 378319 h 5003190"/>
                <a:gd name="connsiteX3" fmla="*/ 233535 w 534380"/>
                <a:gd name="connsiteY3" fmla="*/ 378318 h 5003190"/>
                <a:gd name="connsiteX4" fmla="*/ 168394 w 534380"/>
                <a:gd name="connsiteY4" fmla="*/ 363224 h 5003190"/>
                <a:gd name="connsiteX5" fmla="*/ 111162 w 534380"/>
                <a:gd name="connsiteY5" fmla="*/ 337393 h 5003190"/>
                <a:gd name="connsiteX6" fmla="*/ 39241 w 534380"/>
                <a:gd name="connsiteY6" fmla="*/ 265875 h 5003190"/>
                <a:gd name="connsiteX7" fmla="*/ 22936 w 534380"/>
                <a:gd name="connsiteY7" fmla="*/ 229712 h 5003190"/>
                <a:gd name="connsiteX8" fmla="*/ 2271 w 534380"/>
                <a:gd name="connsiteY8" fmla="*/ 177647 h 5003190"/>
                <a:gd name="connsiteX9" fmla="*/ 2271 w 534380"/>
                <a:gd name="connsiteY9" fmla="*/ 136723 h 5003190"/>
                <a:gd name="connsiteX10" fmla="*/ 17769 w 534380"/>
                <a:gd name="connsiteY10" fmla="*/ 90228 h 5003190"/>
                <a:gd name="connsiteX11" fmla="*/ 38434 w 534380"/>
                <a:gd name="connsiteY11" fmla="*/ 59231 h 5003190"/>
                <a:gd name="connsiteX12" fmla="*/ 86907 w 534380"/>
                <a:gd name="connsiteY12" fmla="*/ 22705 h 5003190"/>
                <a:gd name="connsiteX13" fmla="*/ 213274 w 534380"/>
                <a:gd name="connsiteY13" fmla="*/ 829 h 5003190"/>
                <a:gd name="connsiteX14" fmla="*/ 313408 w 534380"/>
                <a:gd name="connsiteY14" fmla="*/ 51281 h 5003190"/>
                <a:gd name="connsiteX15" fmla="*/ 363898 w 534380"/>
                <a:gd name="connsiteY15" fmla="*/ 100560 h 5003190"/>
                <a:gd name="connsiteX16" fmla="*/ 398851 w 534380"/>
                <a:gd name="connsiteY16" fmla="*/ 162150 h 5003190"/>
                <a:gd name="connsiteX17" fmla="*/ 417133 w 534380"/>
                <a:gd name="connsiteY17" fmla="*/ 234878 h 5003190"/>
                <a:gd name="connsiteX18" fmla="*/ 425892 w 534380"/>
                <a:gd name="connsiteY18" fmla="*/ 312370 h 5003190"/>
                <a:gd name="connsiteX19" fmla="*/ 425892 w 534380"/>
                <a:gd name="connsiteY19" fmla="*/ 415692 h 5003190"/>
                <a:gd name="connsiteX20" fmla="*/ 90095 w 534380"/>
                <a:gd name="connsiteY20" fmla="*/ 5003190 h 5003190"/>
                <a:gd name="connsiteX0" fmla="*/ 534072 w 534072"/>
                <a:gd name="connsiteY0" fmla="*/ 348533 h 5003190"/>
                <a:gd name="connsiteX1" fmla="*/ 435916 w 534072"/>
                <a:gd name="connsiteY1" fmla="*/ 358865 h 5003190"/>
                <a:gd name="connsiteX2" fmla="*/ 312333 w 534072"/>
                <a:gd name="connsiteY2" fmla="*/ 378319 h 5003190"/>
                <a:gd name="connsiteX3" fmla="*/ 233227 w 534072"/>
                <a:gd name="connsiteY3" fmla="*/ 378318 h 5003190"/>
                <a:gd name="connsiteX4" fmla="*/ 168086 w 534072"/>
                <a:gd name="connsiteY4" fmla="*/ 363224 h 5003190"/>
                <a:gd name="connsiteX5" fmla="*/ 110854 w 534072"/>
                <a:gd name="connsiteY5" fmla="*/ 337393 h 5003190"/>
                <a:gd name="connsiteX6" fmla="*/ 38933 w 534072"/>
                <a:gd name="connsiteY6" fmla="*/ 265875 h 5003190"/>
                <a:gd name="connsiteX7" fmla="*/ 17866 w 534072"/>
                <a:gd name="connsiteY7" fmla="*/ 229712 h 5003190"/>
                <a:gd name="connsiteX8" fmla="*/ 1963 w 534072"/>
                <a:gd name="connsiteY8" fmla="*/ 177647 h 5003190"/>
                <a:gd name="connsiteX9" fmla="*/ 1963 w 534072"/>
                <a:gd name="connsiteY9" fmla="*/ 136723 h 5003190"/>
                <a:gd name="connsiteX10" fmla="*/ 17461 w 534072"/>
                <a:gd name="connsiteY10" fmla="*/ 90228 h 5003190"/>
                <a:gd name="connsiteX11" fmla="*/ 38126 w 534072"/>
                <a:gd name="connsiteY11" fmla="*/ 59231 h 5003190"/>
                <a:gd name="connsiteX12" fmla="*/ 86599 w 534072"/>
                <a:gd name="connsiteY12" fmla="*/ 22705 h 5003190"/>
                <a:gd name="connsiteX13" fmla="*/ 212966 w 534072"/>
                <a:gd name="connsiteY13" fmla="*/ 829 h 5003190"/>
                <a:gd name="connsiteX14" fmla="*/ 313100 w 534072"/>
                <a:gd name="connsiteY14" fmla="*/ 51281 h 5003190"/>
                <a:gd name="connsiteX15" fmla="*/ 363590 w 534072"/>
                <a:gd name="connsiteY15" fmla="*/ 100560 h 5003190"/>
                <a:gd name="connsiteX16" fmla="*/ 398543 w 534072"/>
                <a:gd name="connsiteY16" fmla="*/ 162150 h 5003190"/>
                <a:gd name="connsiteX17" fmla="*/ 416825 w 534072"/>
                <a:gd name="connsiteY17" fmla="*/ 234878 h 5003190"/>
                <a:gd name="connsiteX18" fmla="*/ 425584 w 534072"/>
                <a:gd name="connsiteY18" fmla="*/ 312370 h 5003190"/>
                <a:gd name="connsiteX19" fmla="*/ 425584 w 534072"/>
                <a:gd name="connsiteY19" fmla="*/ 415692 h 5003190"/>
                <a:gd name="connsiteX20" fmla="*/ 89787 w 534072"/>
                <a:gd name="connsiteY20" fmla="*/ 5003190 h 5003190"/>
                <a:gd name="connsiteX0" fmla="*/ 534072 w 534072"/>
                <a:gd name="connsiteY0" fmla="*/ 348533 h 5003190"/>
                <a:gd name="connsiteX1" fmla="*/ 435916 w 534072"/>
                <a:gd name="connsiteY1" fmla="*/ 366009 h 5003190"/>
                <a:gd name="connsiteX2" fmla="*/ 312333 w 534072"/>
                <a:gd name="connsiteY2" fmla="*/ 378319 h 5003190"/>
                <a:gd name="connsiteX3" fmla="*/ 233227 w 534072"/>
                <a:gd name="connsiteY3" fmla="*/ 378318 h 5003190"/>
                <a:gd name="connsiteX4" fmla="*/ 168086 w 534072"/>
                <a:gd name="connsiteY4" fmla="*/ 363224 h 5003190"/>
                <a:gd name="connsiteX5" fmla="*/ 110854 w 534072"/>
                <a:gd name="connsiteY5" fmla="*/ 337393 h 5003190"/>
                <a:gd name="connsiteX6" fmla="*/ 38933 w 534072"/>
                <a:gd name="connsiteY6" fmla="*/ 265875 h 5003190"/>
                <a:gd name="connsiteX7" fmla="*/ 17866 w 534072"/>
                <a:gd name="connsiteY7" fmla="*/ 229712 h 5003190"/>
                <a:gd name="connsiteX8" fmla="*/ 1963 w 534072"/>
                <a:gd name="connsiteY8" fmla="*/ 177647 h 5003190"/>
                <a:gd name="connsiteX9" fmla="*/ 1963 w 534072"/>
                <a:gd name="connsiteY9" fmla="*/ 136723 h 5003190"/>
                <a:gd name="connsiteX10" fmla="*/ 17461 w 534072"/>
                <a:gd name="connsiteY10" fmla="*/ 90228 h 5003190"/>
                <a:gd name="connsiteX11" fmla="*/ 38126 w 534072"/>
                <a:gd name="connsiteY11" fmla="*/ 59231 h 5003190"/>
                <a:gd name="connsiteX12" fmla="*/ 86599 w 534072"/>
                <a:gd name="connsiteY12" fmla="*/ 22705 h 5003190"/>
                <a:gd name="connsiteX13" fmla="*/ 212966 w 534072"/>
                <a:gd name="connsiteY13" fmla="*/ 829 h 5003190"/>
                <a:gd name="connsiteX14" fmla="*/ 313100 w 534072"/>
                <a:gd name="connsiteY14" fmla="*/ 51281 h 5003190"/>
                <a:gd name="connsiteX15" fmla="*/ 363590 w 534072"/>
                <a:gd name="connsiteY15" fmla="*/ 100560 h 5003190"/>
                <a:gd name="connsiteX16" fmla="*/ 398543 w 534072"/>
                <a:gd name="connsiteY16" fmla="*/ 162150 h 5003190"/>
                <a:gd name="connsiteX17" fmla="*/ 416825 w 534072"/>
                <a:gd name="connsiteY17" fmla="*/ 234878 h 5003190"/>
                <a:gd name="connsiteX18" fmla="*/ 425584 w 534072"/>
                <a:gd name="connsiteY18" fmla="*/ 312370 h 5003190"/>
                <a:gd name="connsiteX19" fmla="*/ 425584 w 534072"/>
                <a:gd name="connsiteY19" fmla="*/ 415692 h 5003190"/>
                <a:gd name="connsiteX20" fmla="*/ 89787 w 534072"/>
                <a:gd name="connsiteY20" fmla="*/ 5003190 h 5003190"/>
                <a:gd name="connsiteX0" fmla="*/ 534072 w 534072"/>
                <a:gd name="connsiteY0" fmla="*/ 351939 h 5006596"/>
                <a:gd name="connsiteX1" fmla="*/ 435916 w 534072"/>
                <a:gd name="connsiteY1" fmla="*/ 369415 h 5006596"/>
                <a:gd name="connsiteX2" fmla="*/ 312333 w 534072"/>
                <a:gd name="connsiteY2" fmla="*/ 381725 h 5006596"/>
                <a:gd name="connsiteX3" fmla="*/ 233227 w 534072"/>
                <a:gd name="connsiteY3" fmla="*/ 381724 h 5006596"/>
                <a:gd name="connsiteX4" fmla="*/ 168086 w 534072"/>
                <a:gd name="connsiteY4" fmla="*/ 366630 h 5006596"/>
                <a:gd name="connsiteX5" fmla="*/ 110854 w 534072"/>
                <a:gd name="connsiteY5" fmla="*/ 340799 h 5006596"/>
                <a:gd name="connsiteX6" fmla="*/ 38933 w 534072"/>
                <a:gd name="connsiteY6" fmla="*/ 269281 h 5006596"/>
                <a:gd name="connsiteX7" fmla="*/ 17866 w 534072"/>
                <a:gd name="connsiteY7" fmla="*/ 233118 h 5006596"/>
                <a:gd name="connsiteX8" fmla="*/ 1963 w 534072"/>
                <a:gd name="connsiteY8" fmla="*/ 181053 h 5006596"/>
                <a:gd name="connsiteX9" fmla="*/ 1963 w 534072"/>
                <a:gd name="connsiteY9" fmla="*/ 140129 h 5006596"/>
                <a:gd name="connsiteX10" fmla="*/ 17461 w 534072"/>
                <a:gd name="connsiteY10" fmla="*/ 93634 h 5006596"/>
                <a:gd name="connsiteX11" fmla="*/ 38126 w 534072"/>
                <a:gd name="connsiteY11" fmla="*/ 62637 h 5006596"/>
                <a:gd name="connsiteX12" fmla="*/ 110412 w 534072"/>
                <a:gd name="connsiteY12" fmla="*/ 9442 h 5006596"/>
                <a:gd name="connsiteX13" fmla="*/ 212966 w 534072"/>
                <a:gd name="connsiteY13" fmla="*/ 4235 h 5006596"/>
                <a:gd name="connsiteX14" fmla="*/ 313100 w 534072"/>
                <a:gd name="connsiteY14" fmla="*/ 54687 h 5006596"/>
                <a:gd name="connsiteX15" fmla="*/ 363590 w 534072"/>
                <a:gd name="connsiteY15" fmla="*/ 103966 h 5006596"/>
                <a:gd name="connsiteX16" fmla="*/ 398543 w 534072"/>
                <a:gd name="connsiteY16" fmla="*/ 165556 h 5006596"/>
                <a:gd name="connsiteX17" fmla="*/ 416825 w 534072"/>
                <a:gd name="connsiteY17" fmla="*/ 238284 h 5006596"/>
                <a:gd name="connsiteX18" fmla="*/ 425584 w 534072"/>
                <a:gd name="connsiteY18" fmla="*/ 315776 h 5006596"/>
                <a:gd name="connsiteX19" fmla="*/ 425584 w 534072"/>
                <a:gd name="connsiteY19" fmla="*/ 419098 h 5006596"/>
                <a:gd name="connsiteX20" fmla="*/ 89787 w 534072"/>
                <a:gd name="connsiteY20" fmla="*/ 5006596 h 5006596"/>
                <a:gd name="connsiteX0" fmla="*/ 534072 w 534072"/>
                <a:gd name="connsiteY0" fmla="*/ 351939 h 5006596"/>
                <a:gd name="connsiteX1" fmla="*/ 435916 w 534072"/>
                <a:gd name="connsiteY1" fmla="*/ 369415 h 5006596"/>
                <a:gd name="connsiteX2" fmla="*/ 312333 w 534072"/>
                <a:gd name="connsiteY2" fmla="*/ 381725 h 5006596"/>
                <a:gd name="connsiteX3" fmla="*/ 233227 w 534072"/>
                <a:gd name="connsiteY3" fmla="*/ 381724 h 5006596"/>
                <a:gd name="connsiteX4" fmla="*/ 160942 w 534072"/>
                <a:gd name="connsiteY4" fmla="*/ 371392 h 5006596"/>
                <a:gd name="connsiteX5" fmla="*/ 110854 w 534072"/>
                <a:gd name="connsiteY5" fmla="*/ 340799 h 5006596"/>
                <a:gd name="connsiteX6" fmla="*/ 38933 w 534072"/>
                <a:gd name="connsiteY6" fmla="*/ 269281 h 5006596"/>
                <a:gd name="connsiteX7" fmla="*/ 17866 w 534072"/>
                <a:gd name="connsiteY7" fmla="*/ 233118 h 5006596"/>
                <a:gd name="connsiteX8" fmla="*/ 1963 w 534072"/>
                <a:gd name="connsiteY8" fmla="*/ 181053 h 5006596"/>
                <a:gd name="connsiteX9" fmla="*/ 1963 w 534072"/>
                <a:gd name="connsiteY9" fmla="*/ 140129 h 5006596"/>
                <a:gd name="connsiteX10" fmla="*/ 17461 w 534072"/>
                <a:gd name="connsiteY10" fmla="*/ 93634 h 5006596"/>
                <a:gd name="connsiteX11" fmla="*/ 38126 w 534072"/>
                <a:gd name="connsiteY11" fmla="*/ 62637 h 5006596"/>
                <a:gd name="connsiteX12" fmla="*/ 110412 w 534072"/>
                <a:gd name="connsiteY12" fmla="*/ 9442 h 5006596"/>
                <a:gd name="connsiteX13" fmla="*/ 212966 w 534072"/>
                <a:gd name="connsiteY13" fmla="*/ 4235 h 5006596"/>
                <a:gd name="connsiteX14" fmla="*/ 313100 w 534072"/>
                <a:gd name="connsiteY14" fmla="*/ 54687 h 5006596"/>
                <a:gd name="connsiteX15" fmla="*/ 363590 w 534072"/>
                <a:gd name="connsiteY15" fmla="*/ 103966 h 5006596"/>
                <a:gd name="connsiteX16" fmla="*/ 398543 w 534072"/>
                <a:gd name="connsiteY16" fmla="*/ 165556 h 5006596"/>
                <a:gd name="connsiteX17" fmla="*/ 416825 w 534072"/>
                <a:gd name="connsiteY17" fmla="*/ 238284 h 5006596"/>
                <a:gd name="connsiteX18" fmla="*/ 425584 w 534072"/>
                <a:gd name="connsiteY18" fmla="*/ 315776 h 5006596"/>
                <a:gd name="connsiteX19" fmla="*/ 425584 w 534072"/>
                <a:gd name="connsiteY19" fmla="*/ 419098 h 5006596"/>
                <a:gd name="connsiteX20" fmla="*/ 89787 w 534072"/>
                <a:gd name="connsiteY20" fmla="*/ 5006596 h 5006596"/>
                <a:gd name="connsiteX0" fmla="*/ 534072 w 534072"/>
                <a:gd name="connsiteY0" fmla="*/ 351939 h 5006596"/>
                <a:gd name="connsiteX1" fmla="*/ 435916 w 534072"/>
                <a:gd name="connsiteY1" fmla="*/ 369415 h 5006596"/>
                <a:gd name="connsiteX2" fmla="*/ 312333 w 534072"/>
                <a:gd name="connsiteY2" fmla="*/ 381725 h 5006596"/>
                <a:gd name="connsiteX3" fmla="*/ 233227 w 534072"/>
                <a:gd name="connsiteY3" fmla="*/ 381724 h 5006596"/>
                <a:gd name="connsiteX4" fmla="*/ 158561 w 534072"/>
                <a:gd name="connsiteY4" fmla="*/ 366629 h 5006596"/>
                <a:gd name="connsiteX5" fmla="*/ 110854 w 534072"/>
                <a:gd name="connsiteY5" fmla="*/ 340799 h 5006596"/>
                <a:gd name="connsiteX6" fmla="*/ 38933 w 534072"/>
                <a:gd name="connsiteY6" fmla="*/ 269281 h 5006596"/>
                <a:gd name="connsiteX7" fmla="*/ 17866 w 534072"/>
                <a:gd name="connsiteY7" fmla="*/ 233118 h 5006596"/>
                <a:gd name="connsiteX8" fmla="*/ 1963 w 534072"/>
                <a:gd name="connsiteY8" fmla="*/ 181053 h 5006596"/>
                <a:gd name="connsiteX9" fmla="*/ 1963 w 534072"/>
                <a:gd name="connsiteY9" fmla="*/ 140129 h 5006596"/>
                <a:gd name="connsiteX10" fmla="*/ 17461 w 534072"/>
                <a:gd name="connsiteY10" fmla="*/ 93634 h 5006596"/>
                <a:gd name="connsiteX11" fmla="*/ 38126 w 534072"/>
                <a:gd name="connsiteY11" fmla="*/ 62637 h 5006596"/>
                <a:gd name="connsiteX12" fmla="*/ 110412 w 534072"/>
                <a:gd name="connsiteY12" fmla="*/ 9442 h 5006596"/>
                <a:gd name="connsiteX13" fmla="*/ 212966 w 534072"/>
                <a:gd name="connsiteY13" fmla="*/ 4235 h 5006596"/>
                <a:gd name="connsiteX14" fmla="*/ 313100 w 534072"/>
                <a:gd name="connsiteY14" fmla="*/ 54687 h 5006596"/>
                <a:gd name="connsiteX15" fmla="*/ 363590 w 534072"/>
                <a:gd name="connsiteY15" fmla="*/ 103966 h 5006596"/>
                <a:gd name="connsiteX16" fmla="*/ 398543 w 534072"/>
                <a:gd name="connsiteY16" fmla="*/ 165556 h 5006596"/>
                <a:gd name="connsiteX17" fmla="*/ 416825 w 534072"/>
                <a:gd name="connsiteY17" fmla="*/ 238284 h 5006596"/>
                <a:gd name="connsiteX18" fmla="*/ 425584 w 534072"/>
                <a:gd name="connsiteY18" fmla="*/ 315776 h 5006596"/>
                <a:gd name="connsiteX19" fmla="*/ 425584 w 534072"/>
                <a:gd name="connsiteY19" fmla="*/ 419098 h 5006596"/>
                <a:gd name="connsiteX20" fmla="*/ 89787 w 534072"/>
                <a:gd name="connsiteY20" fmla="*/ 5006596 h 5006596"/>
                <a:gd name="connsiteX0" fmla="*/ 534072 w 534072"/>
                <a:gd name="connsiteY0" fmla="*/ 351939 h 5006596"/>
                <a:gd name="connsiteX1" fmla="*/ 435916 w 534072"/>
                <a:gd name="connsiteY1" fmla="*/ 369415 h 5006596"/>
                <a:gd name="connsiteX2" fmla="*/ 312333 w 534072"/>
                <a:gd name="connsiteY2" fmla="*/ 381725 h 5006596"/>
                <a:gd name="connsiteX3" fmla="*/ 233227 w 534072"/>
                <a:gd name="connsiteY3" fmla="*/ 381724 h 5006596"/>
                <a:gd name="connsiteX4" fmla="*/ 158561 w 534072"/>
                <a:gd name="connsiteY4" fmla="*/ 366629 h 5006596"/>
                <a:gd name="connsiteX5" fmla="*/ 103710 w 534072"/>
                <a:gd name="connsiteY5" fmla="*/ 336037 h 5006596"/>
                <a:gd name="connsiteX6" fmla="*/ 38933 w 534072"/>
                <a:gd name="connsiteY6" fmla="*/ 269281 h 5006596"/>
                <a:gd name="connsiteX7" fmla="*/ 17866 w 534072"/>
                <a:gd name="connsiteY7" fmla="*/ 233118 h 5006596"/>
                <a:gd name="connsiteX8" fmla="*/ 1963 w 534072"/>
                <a:gd name="connsiteY8" fmla="*/ 181053 h 5006596"/>
                <a:gd name="connsiteX9" fmla="*/ 1963 w 534072"/>
                <a:gd name="connsiteY9" fmla="*/ 140129 h 5006596"/>
                <a:gd name="connsiteX10" fmla="*/ 17461 w 534072"/>
                <a:gd name="connsiteY10" fmla="*/ 93634 h 5006596"/>
                <a:gd name="connsiteX11" fmla="*/ 38126 w 534072"/>
                <a:gd name="connsiteY11" fmla="*/ 62637 h 5006596"/>
                <a:gd name="connsiteX12" fmla="*/ 110412 w 534072"/>
                <a:gd name="connsiteY12" fmla="*/ 9442 h 5006596"/>
                <a:gd name="connsiteX13" fmla="*/ 212966 w 534072"/>
                <a:gd name="connsiteY13" fmla="*/ 4235 h 5006596"/>
                <a:gd name="connsiteX14" fmla="*/ 313100 w 534072"/>
                <a:gd name="connsiteY14" fmla="*/ 54687 h 5006596"/>
                <a:gd name="connsiteX15" fmla="*/ 363590 w 534072"/>
                <a:gd name="connsiteY15" fmla="*/ 103966 h 5006596"/>
                <a:gd name="connsiteX16" fmla="*/ 398543 w 534072"/>
                <a:gd name="connsiteY16" fmla="*/ 165556 h 5006596"/>
                <a:gd name="connsiteX17" fmla="*/ 416825 w 534072"/>
                <a:gd name="connsiteY17" fmla="*/ 238284 h 5006596"/>
                <a:gd name="connsiteX18" fmla="*/ 425584 w 534072"/>
                <a:gd name="connsiteY18" fmla="*/ 315776 h 5006596"/>
                <a:gd name="connsiteX19" fmla="*/ 425584 w 534072"/>
                <a:gd name="connsiteY19" fmla="*/ 419098 h 5006596"/>
                <a:gd name="connsiteX20" fmla="*/ 89787 w 534072"/>
                <a:gd name="connsiteY20" fmla="*/ 5006596 h 5006596"/>
                <a:gd name="connsiteX0" fmla="*/ 534072 w 534072"/>
                <a:gd name="connsiteY0" fmla="*/ 351939 h 5006596"/>
                <a:gd name="connsiteX1" fmla="*/ 435916 w 534072"/>
                <a:gd name="connsiteY1" fmla="*/ 369415 h 5006596"/>
                <a:gd name="connsiteX2" fmla="*/ 312333 w 534072"/>
                <a:gd name="connsiteY2" fmla="*/ 381725 h 5006596"/>
                <a:gd name="connsiteX3" fmla="*/ 233227 w 534072"/>
                <a:gd name="connsiteY3" fmla="*/ 381724 h 5006596"/>
                <a:gd name="connsiteX4" fmla="*/ 158561 w 534072"/>
                <a:gd name="connsiteY4" fmla="*/ 366629 h 5006596"/>
                <a:gd name="connsiteX5" fmla="*/ 101329 w 534072"/>
                <a:gd name="connsiteY5" fmla="*/ 336037 h 5006596"/>
                <a:gd name="connsiteX6" fmla="*/ 38933 w 534072"/>
                <a:gd name="connsiteY6" fmla="*/ 269281 h 5006596"/>
                <a:gd name="connsiteX7" fmla="*/ 17866 w 534072"/>
                <a:gd name="connsiteY7" fmla="*/ 233118 h 5006596"/>
                <a:gd name="connsiteX8" fmla="*/ 1963 w 534072"/>
                <a:gd name="connsiteY8" fmla="*/ 181053 h 5006596"/>
                <a:gd name="connsiteX9" fmla="*/ 1963 w 534072"/>
                <a:gd name="connsiteY9" fmla="*/ 140129 h 5006596"/>
                <a:gd name="connsiteX10" fmla="*/ 17461 w 534072"/>
                <a:gd name="connsiteY10" fmla="*/ 93634 h 5006596"/>
                <a:gd name="connsiteX11" fmla="*/ 38126 w 534072"/>
                <a:gd name="connsiteY11" fmla="*/ 62637 h 5006596"/>
                <a:gd name="connsiteX12" fmla="*/ 110412 w 534072"/>
                <a:gd name="connsiteY12" fmla="*/ 9442 h 5006596"/>
                <a:gd name="connsiteX13" fmla="*/ 212966 w 534072"/>
                <a:gd name="connsiteY13" fmla="*/ 4235 h 5006596"/>
                <a:gd name="connsiteX14" fmla="*/ 313100 w 534072"/>
                <a:gd name="connsiteY14" fmla="*/ 54687 h 5006596"/>
                <a:gd name="connsiteX15" fmla="*/ 363590 w 534072"/>
                <a:gd name="connsiteY15" fmla="*/ 103966 h 5006596"/>
                <a:gd name="connsiteX16" fmla="*/ 398543 w 534072"/>
                <a:gd name="connsiteY16" fmla="*/ 165556 h 5006596"/>
                <a:gd name="connsiteX17" fmla="*/ 416825 w 534072"/>
                <a:gd name="connsiteY17" fmla="*/ 238284 h 5006596"/>
                <a:gd name="connsiteX18" fmla="*/ 425584 w 534072"/>
                <a:gd name="connsiteY18" fmla="*/ 315776 h 5006596"/>
                <a:gd name="connsiteX19" fmla="*/ 425584 w 534072"/>
                <a:gd name="connsiteY19" fmla="*/ 419098 h 5006596"/>
                <a:gd name="connsiteX20" fmla="*/ 89787 w 534072"/>
                <a:gd name="connsiteY20" fmla="*/ 5006596 h 5006596"/>
                <a:gd name="connsiteX0" fmla="*/ 534072 w 534072"/>
                <a:gd name="connsiteY0" fmla="*/ 351165 h 5005822"/>
                <a:gd name="connsiteX1" fmla="*/ 435916 w 534072"/>
                <a:gd name="connsiteY1" fmla="*/ 368641 h 5005822"/>
                <a:gd name="connsiteX2" fmla="*/ 312333 w 534072"/>
                <a:gd name="connsiteY2" fmla="*/ 380951 h 5005822"/>
                <a:gd name="connsiteX3" fmla="*/ 233227 w 534072"/>
                <a:gd name="connsiteY3" fmla="*/ 380950 h 5005822"/>
                <a:gd name="connsiteX4" fmla="*/ 158561 w 534072"/>
                <a:gd name="connsiteY4" fmla="*/ 365855 h 5005822"/>
                <a:gd name="connsiteX5" fmla="*/ 101329 w 534072"/>
                <a:gd name="connsiteY5" fmla="*/ 335263 h 5005822"/>
                <a:gd name="connsiteX6" fmla="*/ 38933 w 534072"/>
                <a:gd name="connsiteY6" fmla="*/ 268507 h 5005822"/>
                <a:gd name="connsiteX7" fmla="*/ 17866 w 534072"/>
                <a:gd name="connsiteY7" fmla="*/ 232344 h 5005822"/>
                <a:gd name="connsiteX8" fmla="*/ 1963 w 534072"/>
                <a:gd name="connsiteY8" fmla="*/ 180279 h 5005822"/>
                <a:gd name="connsiteX9" fmla="*/ 1963 w 534072"/>
                <a:gd name="connsiteY9" fmla="*/ 139355 h 5005822"/>
                <a:gd name="connsiteX10" fmla="*/ 17461 w 534072"/>
                <a:gd name="connsiteY10" fmla="*/ 92860 h 5005822"/>
                <a:gd name="connsiteX11" fmla="*/ 47651 w 534072"/>
                <a:gd name="connsiteY11" fmla="*/ 42813 h 5005822"/>
                <a:gd name="connsiteX12" fmla="*/ 110412 w 534072"/>
                <a:gd name="connsiteY12" fmla="*/ 8668 h 5005822"/>
                <a:gd name="connsiteX13" fmla="*/ 212966 w 534072"/>
                <a:gd name="connsiteY13" fmla="*/ 3461 h 5005822"/>
                <a:gd name="connsiteX14" fmla="*/ 313100 w 534072"/>
                <a:gd name="connsiteY14" fmla="*/ 53913 h 5005822"/>
                <a:gd name="connsiteX15" fmla="*/ 363590 w 534072"/>
                <a:gd name="connsiteY15" fmla="*/ 103192 h 5005822"/>
                <a:gd name="connsiteX16" fmla="*/ 398543 w 534072"/>
                <a:gd name="connsiteY16" fmla="*/ 164782 h 5005822"/>
                <a:gd name="connsiteX17" fmla="*/ 416825 w 534072"/>
                <a:gd name="connsiteY17" fmla="*/ 237510 h 5005822"/>
                <a:gd name="connsiteX18" fmla="*/ 425584 w 534072"/>
                <a:gd name="connsiteY18" fmla="*/ 315002 h 5005822"/>
                <a:gd name="connsiteX19" fmla="*/ 425584 w 534072"/>
                <a:gd name="connsiteY19" fmla="*/ 418324 h 5005822"/>
                <a:gd name="connsiteX20" fmla="*/ 89787 w 534072"/>
                <a:gd name="connsiteY20" fmla="*/ 5005822 h 5005822"/>
                <a:gd name="connsiteX0" fmla="*/ 534072 w 534072"/>
                <a:gd name="connsiteY0" fmla="*/ 351165 h 5005822"/>
                <a:gd name="connsiteX1" fmla="*/ 435916 w 534072"/>
                <a:gd name="connsiteY1" fmla="*/ 368641 h 5005822"/>
                <a:gd name="connsiteX2" fmla="*/ 312333 w 534072"/>
                <a:gd name="connsiteY2" fmla="*/ 380951 h 5005822"/>
                <a:gd name="connsiteX3" fmla="*/ 233227 w 534072"/>
                <a:gd name="connsiteY3" fmla="*/ 380950 h 5005822"/>
                <a:gd name="connsiteX4" fmla="*/ 158561 w 534072"/>
                <a:gd name="connsiteY4" fmla="*/ 365855 h 5005822"/>
                <a:gd name="connsiteX5" fmla="*/ 101329 w 534072"/>
                <a:gd name="connsiteY5" fmla="*/ 335263 h 5005822"/>
                <a:gd name="connsiteX6" fmla="*/ 38933 w 534072"/>
                <a:gd name="connsiteY6" fmla="*/ 268507 h 5005822"/>
                <a:gd name="connsiteX7" fmla="*/ 17866 w 534072"/>
                <a:gd name="connsiteY7" fmla="*/ 232344 h 5005822"/>
                <a:gd name="connsiteX8" fmla="*/ 1963 w 534072"/>
                <a:gd name="connsiteY8" fmla="*/ 180279 h 5005822"/>
                <a:gd name="connsiteX9" fmla="*/ 1963 w 534072"/>
                <a:gd name="connsiteY9" fmla="*/ 139355 h 5005822"/>
                <a:gd name="connsiteX10" fmla="*/ 17461 w 534072"/>
                <a:gd name="connsiteY10" fmla="*/ 92860 h 5005822"/>
                <a:gd name="connsiteX11" fmla="*/ 47651 w 534072"/>
                <a:gd name="connsiteY11" fmla="*/ 42813 h 5005822"/>
                <a:gd name="connsiteX12" fmla="*/ 110412 w 534072"/>
                <a:gd name="connsiteY12" fmla="*/ 8668 h 5005822"/>
                <a:gd name="connsiteX13" fmla="*/ 212966 w 534072"/>
                <a:gd name="connsiteY13" fmla="*/ 3461 h 5005822"/>
                <a:gd name="connsiteX14" fmla="*/ 313100 w 534072"/>
                <a:gd name="connsiteY14" fmla="*/ 53913 h 5005822"/>
                <a:gd name="connsiteX15" fmla="*/ 363590 w 534072"/>
                <a:gd name="connsiteY15" fmla="*/ 103192 h 5005822"/>
                <a:gd name="connsiteX16" fmla="*/ 398543 w 534072"/>
                <a:gd name="connsiteY16" fmla="*/ 164782 h 5005822"/>
                <a:gd name="connsiteX17" fmla="*/ 416825 w 534072"/>
                <a:gd name="connsiteY17" fmla="*/ 237510 h 5005822"/>
                <a:gd name="connsiteX18" fmla="*/ 425584 w 534072"/>
                <a:gd name="connsiteY18" fmla="*/ 315002 h 5005822"/>
                <a:gd name="connsiteX19" fmla="*/ 425584 w 534072"/>
                <a:gd name="connsiteY19" fmla="*/ 418324 h 5005822"/>
                <a:gd name="connsiteX20" fmla="*/ 89787 w 534072"/>
                <a:gd name="connsiteY20" fmla="*/ 5005822 h 5005822"/>
                <a:gd name="connsiteX0" fmla="*/ 534072 w 534072"/>
                <a:gd name="connsiteY0" fmla="*/ 351165 h 5005822"/>
                <a:gd name="connsiteX1" fmla="*/ 435916 w 534072"/>
                <a:gd name="connsiteY1" fmla="*/ 368641 h 5005822"/>
                <a:gd name="connsiteX2" fmla="*/ 312333 w 534072"/>
                <a:gd name="connsiteY2" fmla="*/ 380951 h 5005822"/>
                <a:gd name="connsiteX3" fmla="*/ 233227 w 534072"/>
                <a:gd name="connsiteY3" fmla="*/ 380950 h 5005822"/>
                <a:gd name="connsiteX4" fmla="*/ 158561 w 534072"/>
                <a:gd name="connsiteY4" fmla="*/ 365855 h 5005822"/>
                <a:gd name="connsiteX5" fmla="*/ 101329 w 534072"/>
                <a:gd name="connsiteY5" fmla="*/ 335263 h 5005822"/>
                <a:gd name="connsiteX6" fmla="*/ 38933 w 534072"/>
                <a:gd name="connsiteY6" fmla="*/ 268507 h 5005822"/>
                <a:gd name="connsiteX7" fmla="*/ 17866 w 534072"/>
                <a:gd name="connsiteY7" fmla="*/ 232344 h 5005822"/>
                <a:gd name="connsiteX8" fmla="*/ 1963 w 534072"/>
                <a:gd name="connsiteY8" fmla="*/ 180279 h 5005822"/>
                <a:gd name="connsiteX9" fmla="*/ 1963 w 534072"/>
                <a:gd name="connsiteY9" fmla="*/ 139355 h 5005822"/>
                <a:gd name="connsiteX10" fmla="*/ 17461 w 534072"/>
                <a:gd name="connsiteY10" fmla="*/ 92860 h 5005822"/>
                <a:gd name="connsiteX11" fmla="*/ 47651 w 534072"/>
                <a:gd name="connsiteY11" fmla="*/ 42813 h 5005822"/>
                <a:gd name="connsiteX12" fmla="*/ 110412 w 534072"/>
                <a:gd name="connsiteY12" fmla="*/ 8668 h 5005822"/>
                <a:gd name="connsiteX13" fmla="*/ 212966 w 534072"/>
                <a:gd name="connsiteY13" fmla="*/ 3461 h 5005822"/>
                <a:gd name="connsiteX14" fmla="*/ 313100 w 534072"/>
                <a:gd name="connsiteY14" fmla="*/ 53913 h 5005822"/>
                <a:gd name="connsiteX15" fmla="*/ 363590 w 534072"/>
                <a:gd name="connsiteY15" fmla="*/ 103192 h 5005822"/>
                <a:gd name="connsiteX16" fmla="*/ 398543 w 534072"/>
                <a:gd name="connsiteY16" fmla="*/ 164782 h 5005822"/>
                <a:gd name="connsiteX17" fmla="*/ 416825 w 534072"/>
                <a:gd name="connsiteY17" fmla="*/ 237510 h 5005822"/>
                <a:gd name="connsiteX18" fmla="*/ 425584 w 534072"/>
                <a:gd name="connsiteY18" fmla="*/ 315002 h 5005822"/>
                <a:gd name="connsiteX19" fmla="*/ 425584 w 534072"/>
                <a:gd name="connsiteY19" fmla="*/ 418324 h 5005822"/>
                <a:gd name="connsiteX20" fmla="*/ 89787 w 534072"/>
                <a:gd name="connsiteY20" fmla="*/ 5005822 h 5005822"/>
                <a:gd name="connsiteX0" fmla="*/ 535112 w 535112"/>
                <a:gd name="connsiteY0" fmla="*/ 351165 h 5005822"/>
                <a:gd name="connsiteX1" fmla="*/ 436956 w 535112"/>
                <a:gd name="connsiteY1" fmla="*/ 368641 h 5005822"/>
                <a:gd name="connsiteX2" fmla="*/ 313373 w 535112"/>
                <a:gd name="connsiteY2" fmla="*/ 380951 h 5005822"/>
                <a:gd name="connsiteX3" fmla="*/ 234267 w 535112"/>
                <a:gd name="connsiteY3" fmla="*/ 380950 h 5005822"/>
                <a:gd name="connsiteX4" fmla="*/ 159601 w 535112"/>
                <a:gd name="connsiteY4" fmla="*/ 365855 h 5005822"/>
                <a:gd name="connsiteX5" fmla="*/ 102369 w 535112"/>
                <a:gd name="connsiteY5" fmla="*/ 335263 h 5005822"/>
                <a:gd name="connsiteX6" fmla="*/ 39973 w 535112"/>
                <a:gd name="connsiteY6" fmla="*/ 268507 h 5005822"/>
                <a:gd name="connsiteX7" fmla="*/ 18906 w 535112"/>
                <a:gd name="connsiteY7" fmla="*/ 232344 h 5005822"/>
                <a:gd name="connsiteX8" fmla="*/ 3003 w 535112"/>
                <a:gd name="connsiteY8" fmla="*/ 180279 h 5005822"/>
                <a:gd name="connsiteX9" fmla="*/ 3003 w 535112"/>
                <a:gd name="connsiteY9" fmla="*/ 139355 h 5005822"/>
                <a:gd name="connsiteX10" fmla="*/ 18501 w 535112"/>
                <a:gd name="connsiteY10" fmla="*/ 92860 h 5005822"/>
                <a:gd name="connsiteX11" fmla="*/ 48691 w 535112"/>
                <a:gd name="connsiteY11" fmla="*/ 42813 h 5005822"/>
                <a:gd name="connsiteX12" fmla="*/ 111452 w 535112"/>
                <a:gd name="connsiteY12" fmla="*/ 8668 h 5005822"/>
                <a:gd name="connsiteX13" fmla="*/ 214006 w 535112"/>
                <a:gd name="connsiteY13" fmla="*/ 3461 h 5005822"/>
                <a:gd name="connsiteX14" fmla="*/ 314140 w 535112"/>
                <a:gd name="connsiteY14" fmla="*/ 53913 h 5005822"/>
                <a:gd name="connsiteX15" fmla="*/ 364630 w 535112"/>
                <a:gd name="connsiteY15" fmla="*/ 103192 h 5005822"/>
                <a:gd name="connsiteX16" fmla="*/ 399583 w 535112"/>
                <a:gd name="connsiteY16" fmla="*/ 164782 h 5005822"/>
                <a:gd name="connsiteX17" fmla="*/ 417865 w 535112"/>
                <a:gd name="connsiteY17" fmla="*/ 237510 h 5005822"/>
                <a:gd name="connsiteX18" fmla="*/ 426624 w 535112"/>
                <a:gd name="connsiteY18" fmla="*/ 315002 h 5005822"/>
                <a:gd name="connsiteX19" fmla="*/ 426624 w 535112"/>
                <a:gd name="connsiteY19" fmla="*/ 418324 h 5005822"/>
                <a:gd name="connsiteX20" fmla="*/ 90827 w 535112"/>
                <a:gd name="connsiteY20" fmla="*/ 5005822 h 5005822"/>
                <a:gd name="connsiteX0" fmla="*/ 535112 w 535112"/>
                <a:gd name="connsiteY0" fmla="*/ 351165 h 5005822"/>
                <a:gd name="connsiteX1" fmla="*/ 436956 w 535112"/>
                <a:gd name="connsiteY1" fmla="*/ 368641 h 5005822"/>
                <a:gd name="connsiteX2" fmla="*/ 313373 w 535112"/>
                <a:gd name="connsiteY2" fmla="*/ 380951 h 5005822"/>
                <a:gd name="connsiteX3" fmla="*/ 234267 w 535112"/>
                <a:gd name="connsiteY3" fmla="*/ 380950 h 5005822"/>
                <a:gd name="connsiteX4" fmla="*/ 159601 w 535112"/>
                <a:gd name="connsiteY4" fmla="*/ 365855 h 5005822"/>
                <a:gd name="connsiteX5" fmla="*/ 102369 w 535112"/>
                <a:gd name="connsiteY5" fmla="*/ 335263 h 5005822"/>
                <a:gd name="connsiteX6" fmla="*/ 39973 w 535112"/>
                <a:gd name="connsiteY6" fmla="*/ 268507 h 5005822"/>
                <a:gd name="connsiteX7" fmla="*/ 18906 w 535112"/>
                <a:gd name="connsiteY7" fmla="*/ 232344 h 5005822"/>
                <a:gd name="connsiteX8" fmla="*/ 3003 w 535112"/>
                <a:gd name="connsiteY8" fmla="*/ 180279 h 5005822"/>
                <a:gd name="connsiteX9" fmla="*/ 3003 w 535112"/>
                <a:gd name="connsiteY9" fmla="*/ 139355 h 5005822"/>
                <a:gd name="connsiteX10" fmla="*/ 18501 w 535112"/>
                <a:gd name="connsiteY10" fmla="*/ 92860 h 5005822"/>
                <a:gd name="connsiteX11" fmla="*/ 48691 w 535112"/>
                <a:gd name="connsiteY11" fmla="*/ 42813 h 5005822"/>
                <a:gd name="connsiteX12" fmla="*/ 111452 w 535112"/>
                <a:gd name="connsiteY12" fmla="*/ 8668 h 5005822"/>
                <a:gd name="connsiteX13" fmla="*/ 214006 w 535112"/>
                <a:gd name="connsiteY13" fmla="*/ 3461 h 5005822"/>
                <a:gd name="connsiteX14" fmla="*/ 314140 w 535112"/>
                <a:gd name="connsiteY14" fmla="*/ 53913 h 5005822"/>
                <a:gd name="connsiteX15" fmla="*/ 364630 w 535112"/>
                <a:gd name="connsiteY15" fmla="*/ 103192 h 5005822"/>
                <a:gd name="connsiteX16" fmla="*/ 399583 w 535112"/>
                <a:gd name="connsiteY16" fmla="*/ 164782 h 5005822"/>
                <a:gd name="connsiteX17" fmla="*/ 417865 w 535112"/>
                <a:gd name="connsiteY17" fmla="*/ 237510 h 5005822"/>
                <a:gd name="connsiteX18" fmla="*/ 426624 w 535112"/>
                <a:gd name="connsiteY18" fmla="*/ 315002 h 5005822"/>
                <a:gd name="connsiteX19" fmla="*/ 426624 w 535112"/>
                <a:gd name="connsiteY19" fmla="*/ 418324 h 5005822"/>
                <a:gd name="connsiteX20" fmla="*/ 90827 w 535112"/>
                <a:gd name="connsiteY20" fmla="*/ 5005822 h 5005822"/>
                <a:gd name="connsiteX0" fmla="*/ 535112 w 535112"/>
                <a:gd name="connsiteY0" fmla="*/ 351165 h 5005822"/>
                <a:gd name="connsiteX1" fmla="*/ 436956 w 535112"/>
                <a:gd name="connsiteY1" fmla="*/ 368641 h 5005822"/>
                <a:gd name="connsiteX2" fmla="*/ 313373 w 535112"/>
                <a:gd name="connsiteY2" fmla="*/ 380951 h 5005822"/>
                <a:gd name="connsiteX3" fmla="*/ 234267 w 535112"/>
                <a:gd name="connsiteY3" fmla="*/ 380950 h 5005822"/>
                <a:gd name="connsiteX4" fmla="*/ 159601 w 535112"/>
                <a:gd name="connsiteY4" fmla="*/ 365855 h 5005822"/>
                <a:gd name="connsiteX5" fmla="*/ 102369 w 535112"/>
                <a:gd name="connsiteY5" fmla="*/ 335263 h 5005822"/>
                <a:gd name="connsiteX6" fmla="*/ 39973 w 535112"/>
                <a:gd name="connsiteY6" fmla="*/ 268507 h 5005822"/>
                <a:gd name="connsiteX7" fmla="*/ 18906 w 535112"/>
                <a:gd name="connsiteY7" fmla="*/ 232344 h 5005822"/>
                <a:gd name="connsiteX8" fmla="*/ 3003 w 535112"/>
                <a:gd name="connsiteY8" fmla="*/ 180279 h 5005822"/>
                <a:gd name="connsiteX9" fmla="*/ 3003 w 535112"/>
                <a:gd name="connsiteY9" fmla="*/ 139355 h 5005822"/>
                <a:gd name="connsiteX10" fmla="*/ 18501 w 535112"/>
                <a:gd name="connsiteY10" fmla="*/ 92860 h 5005822"/>
                <a:gd name="connsiteX11" fmla="*/ 48691 w 535112"/>
                <a:gd name="connsiteY11" fmla="*/ 42813 h 5005822"/>
                <a:gd name="connsiteX12" fmla="*/ 111452 w 535112"/>
                <a:gd name="connsiteY12" fmla="*/ 8668 h 5005822"/>
                <a:gd name="connsiteX13" fmla="*/ 214006 w 535112"/>
                <a:gd name="connsiteY13" fmla="*/ 3461 h 5005822"/>
                <a:gd name="connsiteX14" fmla="*/ 314140 w 535112"/>
                <a:gd name="connsiteY14" fmla="*/ 53913 h 5005822"/>
                <a:gd name="connsiteX15" fmla="*/ 364630 w 535112"/>
                <a:gd name="connsiteY15" fmla="*/ 103192 h 5005822"/>
                <a:gd name="connsiteX16" fmla="*/ 399583 w 535112"/>
                <a:gd name="connsiteY16" fmla="*/ 164782 h 5005822"/>
                <a:gd name="connsiteX17" fmla="*/ 417865 w 535112"/>
                <a:gd name="connsiteY17" fmla="*/ 237510 h 5005822"/>
                <a:gd name="connsiteX18" fmla="*/ 426624 w 535112"/>
                <a:gd name="connsiteY18" fmla="*/ 315002 h 5005822"/>
                <a:gd name="connsiteX19" fmla="*/ 426624 w 535112"/>
                <a:gd name="connsiteY19" fmla="*/ 418324 h 5005822"/>
                <a:gd name="connsiteX20" fmla="*/ 90827 w 535112"/>
                <a:gd name="connsiteY20" fmla="*/ 5005822 h 5005822"/>
                <a:gd name="connsiteX0" fmla="*/ 533790 w 533790"/>
                <a:gd name="connsiteY0" fmla="*/ 351165 h 5005822"/>
                <a:gd name="connsiteX1" fmla="*/ 435634 w 533790"/>
                <a:gd name="connsiteY1" fmla="*/ 368641 h 5005822"/>
                <a:gd name="connsiteX2" fmla="*/ 312051 w 533790"/>
                <a:gd name="connsiteY2" fmla="*/ 380951 h 5005822"/>
                <a:gd name="connsiteX3" fmla="*/ 232945 w 533790"/>
                <a:gd name="connsiteY3" fmla="*/ 380950 h 5005822"/>
                <a:gd name="connsiteX4" fmla="*/ 158279 w 533790"/>
                <a:gd name="connsiteY4" fmla="*/ 365855 h 5005822"/>
                <a:gd name="connsiteX5" fmla="*/ 101047 w 533790"/>
                <a:gd name="connsiteY5" fmla="*/ 335263 h 5005822"/>
                <a:gd name="connsiteX6" fmla="*/ 38651 w 533790"/>
                <a:gd name="connsiteY6" fmla="*/ 268507 h 5005822"/>
                <a:gd name="connsiteX7" fmla="*/ 17584 w 533790"/>
                <a:gd name="connsiteY7" fmla="*/ 232344 h 5005822"/>
                <a:gd name="connsiteX8" fmla="*/ 1681 w 533790"/>
                <a:gd name="connsiteY8" fmla="*/ 180279 h 5005822"/>
                <a:gd name="connsiteX9" fmla="*/ 1681 w 533790"/>
                <a:gd name="connsiteY9" fmla="*/ 139355 h 5005822"/>
                <a:gd name="connsiteX10" fmla="*/ 12416 w 533790"/>
                <a:gd name="connsiteY10" fmla="*/ 92860 h 5005822"/>
                <a:gd name="connsiteX11" fmla="*/ 47369 w 533790"/>
                <a:gd name="connsiteY11" fmla="*/ 42813 h 5005822"/>
                <a:gd name="connsiteX12" fmla="*/ 110130 w 533790"/>
                <a:gd name="connsiteY12" fmla="*/ 8668 h 5005822"/>
                <a:gd name="connsiteX13" fmla="*/ 212684 w 533790"/>
                <a:gd name="connsiteY13" fmla="*/ 3461 h 5005822"/>
                <a:gd name="connsiteX14" fmla="*/ 312818 w 533790"/>
                <a:gd name="connsiteY14" fmla="*/ 53913 h 5005822"/>
                <a:gd name="connsiteX15" fmla="*/ 363308 w 533790"/>
                <a:gd name="connsiteY15" fmla="*/ 103192 h 5005822"/>
                <a:gd name="connsiteX16" fmla="*/ 398261 w 533790"/>
                <a:gd name="connsiteY16" fmla="*/ 164782 h 5005822"/>
                <a:gd name="connsiteX17" fmla="*/ 416543 w 533790"/>
                <a:gd name="connsiteY17" fmla="*/ 237510 h 5005822"/>
                <a:gd name="connsiteX18" fmla="*/ 425302 w 533790"/>
                <a:gd name="connsiteY18" fmla="*/ 315002 h 5005822"/>
                <a:gd name="connsiteX19" fmla="*/ 425302 w 533790"/>
                <a:gd name="connsiteY19" fmla="*/ 418324 h 5005822"/>
                <a:gd name="connsiteX20" fmla="*/ 89505 w 533790"/>
                <a:gd name="connsiteY20" fmla="*/ 5005822 h 5005822"/>
                <a:gd name="connsiteX0" fmla="*/ 435634 w 435634"/>
                <a:gd name="connsiteY0" fmla="*/ 368641 h 5005822"/>
                <a:gd name="connsiteX1" fmla="*/ 312051 w 435634"/>
                <a:gd name="connsiteY1" fmla="*/ 380951 h 5005822"/>
                <a:gd name="connsiteX2" fmla="*/ 232945 w 435634"/>
                <a:gd name="connsiteY2" fmla="*/ 380950 h 5005822"/>
                <a:gd name="connsiteX3" fmla="*/ 158279 w 435634"/>
                <a:gd name="connsiteY3" fmla="*/ 365855 h 5005822"/>
                <a:gd name="connsiteX4" fmla="*/ 101047 w 435634"/>
                <a:gd name="connsiteY4" fmla="*/ 335263 h 5005822"/>
                <a:gd name="connsiteX5" fmla="*/ 38651 w 435634"/>
                <a:gd name="connsiteY5" fmla="*/ 268507 h 5005822"/>
                <a:gd name="connsiteX6" fmla="*/ 17584 w 435634"/>
                <a:gd name="connsiteY6" fmla="*/ 232344 h 5005822"/>
                <a:gd name="connsiteX7" fmla="*/ 1681 w 435634"/>
                <a:gd name="connsiteY7" fmla="*/ 180279 h 5005822"/>
                <a:gd name="connsiteX8" fmla="*/ 1681 w 435634"/>
                <a:gd name="connsiteY8" fmla="*/ 139355 h 5005822"/>
                <a:gd name="connsiteX9" fmla="*/ 12416 w 435634"/>
                <a:gd name="connsiteY9" fmla="*/ 92860 h 5005822"/>
                <a:gd name="connsiteX10" fmla="*/ 47369 w 435634"/>
                <a:gd name="connsiteY10" fmla="*/ 42813 h 5005822"/>
                <a:gd name="connsiteX11" fmla="*/ 110130 w 435634"/>
                <a:gd name="connsiteY11" fmla="*/ 8668 h 5005822"/>
                <a:gd name="connsiteX12" fmla="*/ 212684 w 435634"/>
                <a:gd name="connsiteY12" fmla="*/ 3461 h 5005822"/>
                <a:gd name="connsiteX13" fmla="*/ 312818 w 435634"/>
                <a:gd name="connsiteY13" fmla="*/ 53913 h 5005822"/>
                <a:gd name="connsiteX14" fmla="*/ 363308 w 435634"/>
                <a:gd name="connsiteY14" fmla="*/ 103192 h 5005822"/>
                <a:gd name="connsiteX15" fmla="*/ 398261 w 435634"/>
                <a:gd name="connsiteY15" fmla="*/ 164782 h 5005822"/>
                <a:gd name="connsiteX16" fmla="*/ 416543 w 435634"/>
                <a:gd name="connsiteY16" fmla="*/ 237510 h 5005822"/>
                <a:gd name="connsiteX17" fmla="*/ 425302 w 435634"/>
                <a:gd name="connsiteY17" fmla="*/ 315002 h 5005822"/>
                <a:gd name="connsiteX18" fmla="*/ 425302 w 435634"/>
                <a:gd name="connsiteY18" fmla="*/ 418324 h 5005822"/>
                <a:gd name="connsiteX19" fmla="*/ 89505 w 435634"/>
                <a:gd name="connsiteY19" fmla="*/ 5005822 h 5005822"/>
                <a:gd name="connsiteX0" fmla="*/ 435634 w 435634"/>
                <a:gd name="connsiteY0" fmla="*/ 368641 h 4966910"/>
                <a:gd name="connsiteX1" fmla="*/ 312051 w 435634"/>
                <a:gd name="connsiteY1" fmla="*/ 380951 h 4966910"/>
                <a:gd name="connsiteX2" fmla="*/ 232945 w 435634"/>
                <a:gd name="connsiteY2" fmla="*/ 380950 h 4966910"/>
                <a:gd name="connsiteX3" fmla="*/ 158279 w 435634"/>
                <a:gd name="connsiteY3" fmla="*/ 365855 h 4966910"/>
                <a:gd name="connsiteX4" fmla="*/ 101047 w 435634"/>
                <a:gd name="connsiteY4" fmla="*/ 335263 h 4966910"/>
                <a:gd name="connsiteX5" fmla="*/ 38651 w 435634"/>
                <a:gd name="connsiteY5" fmla="*/ 268507 h 4966910"/>
                <a:gd name="connsiteX6" fmla="*/ 17584 w 435634"/>
                <a:gd name="connsiteY6" fmla="*/ 232344 h 4966910"/>
                <a:gd name="connsiteX7" fmla="*/ 1681 w 435634"/>
                <a:gd name="connsiteY7" fmla="*/ 180279 h 4966910"/>
                <a:gd name="connsiteX8" fmla="*/ 1681 w 435634"/>
                <a:gd name="connsiteY8" fmla="*/ 139355 h 4966910"/>
                <a:gd name="connsiteX9" fmla="*/ 12416 w 435634"/>
                <a:gd name="connsiteY9" fmla="*/ 92860 h 4966910"/>
                <a:gd name="connsiteX10" fmla="*/ 47369 w 435634"/>
                <a:gd name="connsiteY10" fmla="*/ 42813 h 4966910"/>
                <a:gd name="connsiteX11" fmla="*/ 110130 w 435634"/>
                <a:gd name="connsiteY11" fmla="*/ 8668 h 4966910"/>
                <a:gd name="connsiteX12" fmla="*/ 212684 w 435634"/>
                <a:gd name="connsiteY12" fmla="*/ 3461 h 4966910"/>
                <a:gd name="connsiteX13" fmla="*/ 312818 w 435634"/>
                <a:gd name="connsiteY13" fmla="*/ 53913 h 4966910"/>
                <a:gd name="connsiteX14" fmla="*/ 363308 w 435634"/>
                <a:gd name="connsiteY14" fmla="*/ 103192 h 4966910"/>
                <a:gd name="connsiteX15" fmla="*/ 398261 w 435634"/>
                <a:gd name="connsiteY15" fmla="*/ 164782 h 4966910"/>
                <a:gd name="connsiteX16" fmla="*/ 416543 w 435634"/>
                <a:gd name="connsiteY16" fmla="*/ 237510 h 4966910"/>
                <a:gd name="connsiteX17" fmla="*/ 425302 w 435634"/>
                <a:gd name="connsiteY17" fmla="*/ 315002 h 4966910"/>
                <a:gd name="connsiteX18" fmla="*/ 425302 w 435634"/>
                <a:gd name="connsiteY18" fmla="*/ 418324 h 4966910"/>
                <a:gd name="connsiteX19" fmla="*/ 106181 w 435634"/>
                <a:gd name="connsiteY19" fmla="*/ 4966910 h 496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35634" h="4966910">
                  <a:moveTo>
                    <a:pt x="435634" y="368641"/>
                  </a:moveTo>
                  <a:cubicBezTo>
                    <a:pt x="399471" y="371224"/>
                    <a:pt x="345833" y="378900"/>
                    <a:pt x="312051" y="380951"/>
                  </a:cubicBezTo>
                  <a:cubicBezTo>
                    <a:pt x="278270" y="383003"/>
                    <a:pt x="258574" y="383466"/>
                    <a:pt x="232945" y="380950"/>
                  </a:cubicBezTo>
                  <a:cubicBezTo>
                    <a:pt x="207316" y="378434"/>
                    <a:pt x="180786" y="373267"/>
                    <a:pt x="158279" y="365855"/>
                  </a:cubicBezTo>
                  <a:cubicBezTo>
                    <a:pt x="139995" y="359626"/>
                    <a:pt x="120985" y="351488"/>
                    <a:pt x="101047" y="335263"/>
                  </a:cubicBezTo>
                  <a:cubicBezTo>
                    <a:pt x="81109" y="319038"/>
                    <a:pt x="53355" y="286454"/>
                    <a:pt x="38651" y="268507"/>
                  </a:cubicBezTo>
                  <a:lnTo>
                    <a:pt x="17584" y="232344"/>
                  </a:lnTo>
                  <a:cubicBezTo>
                    <a:pt x="11422" y="216846"/>
                    <a:pt x="4332" y="195777"/>
                    <a:pt x="1681" y="180279"/>
                  </a:cubicBezTo>
                  <a:cubicBezTo>
                    <a:pt x="-970" y="164781"/>
                    <a:pt x="-108" y="153925"/>
                    <a:pt x="1681" y="139355"/>
                  </a:cubicBezTo>
                  <a:cubicBezTo>
                    <a:pt x="3470" y="124785"/>
                    <a:pt x="4868" y="105977"/>
                    <a:pt x="12416" y="92860"/>
                  </a:cubicBezTo>
                  <a:cubicBezTo>
                    <a:pt x="19964" y="79743"/>
                    <a:pt x="31083" y="56845"/>
                    <a:pt x="47369" y="42813"/>
                  </a:cubicBezTo>
                  <a:cubicBezTo>
                    <a:pt x="63655" y="28781"/>
                    <a:pt x="82578" y="15227"/>
                    <a:pt x="110130" y="8668"/>
                  </a:cubicBezTo>
                  <a:cubicBezTo>
                    <a:pt x="137682" y="2109"/>
                    <a:pt x="178903" y="-4080"/>
                    <a:pt x="212684" y="3461"/>
                  </a:cubicBezTo>
                  <a:cubicBezTo>
                    <a:pt x="246465" y="11002"/>
                    <a:pt x="290432" y="36693"/>
                    <a:pt x="312818" y="53913"/>
                  </a:cubicBezTo>
                  <a:cubicBezTo>
                    <a:pt x="329648" y="70339"/>
                    <a:pt x="349068" y="84714"/>
                    <a:pt x="363308" y="103192"/>
                  </a:cubicBezTo>
                  <a:cubicBezTo>
                    <a:pt x="377548" y="121670"/>
                    <a:pt x="389389" y="142396"/>
                    <a:pt x="398261" y="164782"/>
                  </a:cubicBezTo>
                  <a:cubicBezTo>
                    <a:pt x="407133" y="187168"/>
                    <a:pt x="412036" y="212473"/>
                    <a:pt x="416543" y="237510"/>
                  </a:cubicBezTo>
                  <a:cubicBezTo>
                    <a:pt x="421050" y="262547"/>
                    <a:pt x="425302" y="280561"/>
                    <a:pt x="425302" y="315002"/>
                  </a:cubicBezTo>
                  <a:lnTo>
                    <a:pt x="425302" y="418324"/>
                  </a:lnTo>
                  <a:lnTo>
                    <a:pt x="106181" y="4966910"/>
                  </a:lnTo>
                </a:path>
              </a:pathLst>
            </a:custGeom>
            <a:noFill/>
            <a:ln w="88900" cap="sq"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Freeform 23"/>
            <p:cNvSpPr/>
            <p:nvPr/>
          </p:nvSpPr>
          <p:spPr>
            <a:xfrm>
              <a:off x="981192" y="3542583"/>
              <a:ext cx="623584" cy="1285810"/>
            </a:xfrm>
            <a:custGeom>
              <a:avLst/>
              <a:gdLst>
                <a:gd name="connsiteX0" fmla="*/ 866775 w 1454150"/>
                <a:gd name="connsiteY0" fmla="*/ 2949575 h 2949575"/>
                <a:gd name="connsiteX1" fmla="*/ 711200 w 1454150"/>
                <a:gd name="connsiteY1" fmla="*/ 2698750 h 2949575"/>
                <a:gd name="connsiteX2" fmla="*/ 606425 w 1454150"/>
                <a:gd name="connsiteY2" fmla="*/ 2486025 h 2949575"/>
                <a:gd name="connsiteX3" fmla="*/ 523875 w 1454150"/>
                <a:gd name="connsiteY3" fmla="*/ 2320925 h 2949575"/>
                <a:gd name="connsiteX4" fmla="*/ 412750 w 1454150"/>
                <a:gd name="connsiteY4" fmla="*/ 2054225 h 2949575"/>
                <a:gd name="connsiteX5" fmla="*/ 301625 w 1454150"/>
                <a:gd name="connsiteY5" fmla="*/ 1793875 h 2949575"/>
                <a:gd name="connsiteX6" fmla="*/ 222250 w 1454150"/>
                <a:gd name="connsiteY6" fmla="*/ 1536700 h 2949575"/>
                <a:gd name="connsiteX7" fmla="*/ 152400 w 1454150"/>
                <a:gd name="connsiteY7" fmla="*/ 1304925 h 2949575"/>
                <a:gd name="connsiteX8" fmla="*/ 88900 w 1454150"/>
                <a:gd name="connsiteY8" fmla="*/ 1038225 h 2949575"/>
                <a:gd name="connsiteX9" fmla="*/ 25400 w 1454150"/>
                <a:gd name="connsiteY9" fmla="*/ 787400 h 2949575"/>
                <a:gd name="connsiteX10" fmla="*/ 6350 w 1454150"/>
                <a:gd name="connsiteY10" fmla="*/ 603250 h 2949575"/>
                <a:gd name="connsiteX11" fmla="*/ 0 w 1454150"/>
                <a:gd name="connsiteY11" fmla="*/ 434975 h 2949575"/>
                <a:gd name="connsiteX12" fmla="*/ 22225 w 1454150"/>
                <a:gd name="connsiteY12" fmla="*/ 304800 h 2949575"/>
                <a:gd name="connsiteX13" fmla="*/ 60325 w 1454150"/>
                <a:gd name="connsiteY13" fmla="*/ 209550 h 2949575"/>
                <a:gd name="connsiteX14" fmla="*/ 127000 w 1454150"/>
                <a:gd name="connsiteY14" fmla="*/ 117475 h 2949575"/>
                <a:gd name="connsiteX15" fmla="*/ 206375 w 1454150"/>
                <a:gd name="connsiteY15" fmla="*/ 47625 h 2949575"/>
                <a:gd name="connsiteX16" fmla="*/ 298450 w 1454150"/>
                <a:gd name="connsiteY16" fmla="*/ 6350 h 2949575"/>
                <a:gd name="connsiteX17" fmla="*/ 384175 w 1454150"/>
                <a:gd name="connsiteY17" fmla="*/ 0 h 2949575"/>
                <a:gd name="connsiteX18" fmla="*/ 479425 w 1454150"/>
                <a:gd name="connsiteY18" fmla="*/ 12700 h 2949575"/>
                <a:gd name="connsiteX19" fmla="*/ 581025 w 1454150"/>
                <a:gd name="connsiteY19" fmla="*/ 34925 h 2949575"/>
                <a:gd name="connsiteX20" fmla="*/ 673100 w 1454150"/>
                <a:gd name="connsiteY20" fmla="*/ 66675 h 2949575"/>
                <a:gd name="connsiteX21" fmla="*/ 803275 w 1454150"/>
                <a:gd name="connsiteY21" fmla="*/ 117475 h 2949575"/>
                <a:gd name="connsiteX22" fmla="*/ 898525 w 1454150"/>
                <a:gd name="connsiteY22" fmla="*/ 158750 h 2949575"/>
                <a:gd name="connsiteX23" fmla="*/ 1016000 w 1454150"/>
                <a:gd name="connsiteY23" fmla="*/ 219075 h 2949575"/>
                <a:gd name="connsiteX24" fmla="*/ 1120775 w 1454150"/>
                <a:gd name="connsiteY24" fmla="*/ 292100 h 2949575"/>
                <a:gd name="connsiteX25" fmla="*/ 1238250 w 1454150"/>
                <a:gd name="connsiteY25" fmla="*/ 403225 h 2949575"/>
                <a:gd name="connsiteX26" fmla="*/ 1323975 w 1454150"/>
                <a:gd name="connsiteY26" fmla="*/ 479425 h 2949575"/>
                <a:gd name="connsiteX27" fmla="*/ 1400175 w 1454150"/>
                <a:gd name="connsiteY27" fmla="*/ 609600 h 2949575"/>
                <a:gd name="connsiteX28" fmla="*/ 1454150 w 1454150"/>
                <a:gd name="connsiteY28" fmla="*/ 682625 h 2949575"/>
                <a:gd name="connsiteX0" fmla="*/ 866775 w 1454150"/>
                <a:gd name="connsiteY0" fmla="*/ 2949575 h 2949575"/>
                <a:gd name="connsiteX1" fmla="*/ 711200 w 1454150"/>
                <a:gd name="connsiteY1" fmla="*/ 2698750 h 2949575"/>
                <a:gd name="connsiteX2" fmla="*/ 606425 w 1454150"/>
                <a:gd name="connsiteY2" fmla="*/ 2486025 h 2949575"/>
                <a:gd name="connsiteX3" fmla="*/ 523875 w 1454150"/>
                <a:gd name="connsiteY3" fmla="*/ 2320925 h 2949575"/>
                <a:gd name="connsiteX4" fmla="*/ 412750 w 1454150"/>
                <a:gd name="connsiteY4" fmla="*/ 2054225 h 2949575"/>
                <a:gd name="connsiteX5" fmla="*/ 301625 w 1454150"/>
                <a:gd name="connsiteY5" fmla="*/ 1793875 h 2949575"/>
                <a:gd name="connsiteX6" fmla="*/ 222250 w 1454150"/>
                <a:gd name="connsiteY6" fmla="*/ 1536700 h 2949575"/>
                <a:gd name="connsiteX7" fmla="*/ 152400 w 1454150"/>
                <a:gd name="connsiteY7" fmla="*/ 1304925 h 2949575"/>
                <a:gd name="connsiteX8" fmla="*/ 88900 w 1454150"/>
                <a:gd name="connsiteY8" fmla="*/ 1038225 h 2949575"/>
                <a:gd name="connsiteX9" fmla="*/ 25400 w 1454150"/>
                <a:gd name="connsiteY9" fmla="*/ 787400 h 2949575"/>
                <a:gd name="connsiteX10" fmla="*/ 6350 w 1454150"/>
                <a:gd name="connsiteY10" fmla="*/ 603250 h 2949575"/>
                <a:gd name="connsiteX11" fmla="*/ 0 w 1454150"/>
                <a:gd name="connsiteY11" fmla="*/ 434975 h 2949575"/>
                <a:gd name="connsiteX12" fmla="*/ 22225 w 1454150"/>
                <a:gd name="connsiteY12" fmla="*/ 304800 h 2949575"/>
                <a:gd name="connsiteX13" fmla="*/ 60325 w 1454150"/>
                <a:gd name="connsiteY13" fmla="*/ 209550 h 2949575"/>
                <a:gd name="connsiteX14" fmla="*/ 127000 w 1454150"/>
                <a:gd name="connsiteY14" fmla="*/ 117475 h 2949575"/>
                <a:gd name="connsiteX15" fmla="*/ 206375 w 1454150"/>
                <a:gd name="connsiteY15" fmla="*/ 47625 h 2949575"/>
                <a:gd name="connsiteX16" fmla="*/ 298450 w 1454150"/>
                <a:gd name="connsiteY16" fmla="*/ 6350 h 2949575"/>
                <a:gd name="connsiteX17" fmla="*/ 384175 w 1454150"/>
                <a:gd name="connsiteY17" fmla="*/ 0 h 2949575"/>
                <a:gd name="connsiteX18" fmla="*/ 479425 w 1454150"/>
                <a:gd name="connsiteY18" fmla="*/ 12700 h 2949575"/>
                <a:gd name="connsiteX19" fmla="*/ 581025 w 1454150"/>
                <a:gd name="connsiteY19" fmla="*/ 34925 h 2949575"/>
                <a:gd name="connsiteX20" fmla="*/ 673100 w 1454150"/>
                <a:gd name="connsiteY20" fmla="*/ 66675 h 2949575"/>
                <a:gd name="connsiteX21" fmla="*/ 803275 w 1454150"/>
                <a:gd name="connsiteY21" fmla="*/ 117475 h 2949575"/>
                <a:gd name="connsiteX22" fmla="*/ 898525 w 1454150"/>
                <a:gd name="connsiteY22" fmla="*/ 158750 h 2949575"/>
                <a:gd name="connsiteX23" fmla="*/ 1016000 w 1454150"/>
                <a:gd name="connsiteY23" fmla="*/ 219075 h 2949575"/>
                <a:gd name="connsiteX24" fmla="*/ 1120775 w 1454150"/>
                <a:gd name="connsiteY24" fmla="*/ 292100 h 2949575"/>
                <a:gd name="connsiteX25" fmla="*/ 1238250 w 1454150"/>
                <a:gd name="connsiteY25" fmla="*/ 403225 h 2949575"/>
                <a:gd name="connsiteX26" fmla="*/ 1320800 w 1454150"/>
                <a:gd name="connsiteY26" fmla="*/ 488950 h 2949575"/>
                <a:gd name="connsiteX27" fmla="*/ 1400175 w 1454150"/>
                <a:gd name="connsiteY27" fmla="*/ 609600 h 2949575"/>
                <a:gd name="connsiteX28" fmla="*/ 1454150 w 1454150"/>
                <a:gd name="connsiteY28" fmla="*/ 682625 h 2949575"/>
                <a:gd name="connsiteX0" fmla="*/ 866775 w 1454150"/>
                <a:gd name="connsiteY0" fmla="*/ 2950170 h 2950170"/>
                <a:gd name="connsiteX1" fmla="*/ 711200 w 1454150"/>
                <a:gd name="connsiteY1" fmla="*/ 2699345 h 2950170"/>
                <a:gd name="connsiteX2" fmla="*/ 606425 w 1454150"/>
                <a:gd name="connsiteY2" fmla="*/ 2486620 h 2950170"/>
                <a:gd name="connsiteX3" fmla="*/ 523875 w 1454150"/>
                <a:gd name="connsiteY3" fmla="*/ 2321520 h 2950170"/>
                <a:gd name="connsiteX4" fmla="*/ 412750 w 1454150"/>
                <a:gd name="connsiteY4" fmla="*/ 2054820 h 2950170"/>
                <a:gd name="connsiteX5" fmla="*/ 301625 w 1454150"/>
                <a:gd name="connsiteY5" fmla="*/ 1794470 h 2950170"/>
                <a:gd name="connsiteX6" fmla="*/ 222250 w 1454150"/>
                <a:gd name="connsiteY6" fmla="*/ 1537295 h 2950170"/>
                <a:gd name="connsiteX7" fmla="*/ 152400 w 1454150"/>
                <a:gd name="connsiteY7" fmla="*/ 1305520 h 2950170"/>
                <a:gd name="connsiteX8" fmla="*/ 88900 w 1454150"/>
                <a:gd name="connsiteY8" fmla="*/ 1038820 h 2950170"/>
                <a:gd name="connsiteX9" fmla="*/ 25400 w 1454150"/>
                <a:gd name="connsiteY9" fmla="*/ 787995 h 2950170"/>
                <a:gd name="connsiteX10" fmla="*/ 6350 w 1454150"/>
                <a:gd name="connsiteY10" fmla="*/ 603845 h 2950170"/>
                <a:gd name="connsiteX11" fmla="*/ 0 w 1454150"/>
                <a:gd name="connsiteY11" fmla="*/ 435570 h 2950170"/>
                <a:gd name="connsiteX12" fmla="*/ 22225 w 1454150"/>
                <a:gd name="connsiteY12" fmla="*/ 305395 h 2950170"/>
                <a:gd name="connsiteX13" fmla="*/ 60325 w 1454150"/>
                <a:gd name="connsiteY13" fmla="*/ 210145 h 2950170"/>
                <a:gd name="connsiteX14" fmla="*/ 127000 w 1454150"/>
                <a:gd name="connsiteY14" fmla="*/ 118070 h 2950170"/>
                <a:gd name="connsiteX15" fmla="*/ 206375 w 1454150"/>
                <a:gd name="connsiteY15" fmla="*/ 48220 h 2950170"/>
                <a:gd name="connsiteX16" fmla="*/ 298450 w 1454150"/>
                <a:gd name="connsiteY16" fmla="*/ 6945 h 2950170"/>
                <a:gd name="connsiteX17" fmla="*/ 384175 w 1454150"/>
                <a:gd name="connsiteY17" fmla="*/ 595 h 2950170"/>
                <a:gd name="connsiteX18" fmla="*/ 479425 w 1454150"/>
                <a:gd name="connsiteY18" fmla="*/ 13295 h 2950170"/>
                <a:gd name="connsiteX19" fmla="*/ 581025 w 1454150"/>
                <a:gd name="connsiteY19" fmla="*/ 35520 h 2950170"/>
                <a:gd name="connsiteX20" fmla="*/ 673100 w 1454150"/>
                <a:gd name="connsiteY20" fmla="*/ 67270 h 2950170"/>
                <a:gd name="connsiteX21" fmla="*/ 803275 w 1454150"/>
                <a:gd name="connsiteY21" fmla="*/ 118070 h 2950170"/>
                <a:gd name="connsiteX22" fmla="*/ 898525 w 1454150"/>
                <a:gd name="connsiteY22" fmla="*/ 159345 h 2950170"/>
                <a:gd name="connsiteX23" fmla="*/ 1016000 w 1454150"/>
                <a:gd name="connsiteY23" fmla="*/ 219670 h 2950170"/>
                <a:gd name="connsiteX24" fmla="*/ 1120775 w 1454150"/>
                <a:gd name="connsiteY24" fmla="*/ 292695 h 2950170"/>
                <a:gd name="connsiteX25" fmla="*/ 1238250 w 1454150"/>
                <a:gd name="connsiteY25" fmla="*/ 403820 h 2950170"/>
                <a:gd name="connsiteX26" fmla="*/ 1320800 w 1454150"/>
                <a:gd name="connsiteY26" fmla="*/ 489545 h 2950170"/>
                <a:gd name="connsiteX27" fmla="*/ 1400175 w 1454150"/>
                <a:gd name="connsiteY27" fmla="*/ 610195 h 2950170"/>
                <a:gd name="connsiteX28" fmla="*/ 1454150 w 1454150"/>
                <a:gd name="connsiteY28" fmla="*/ 683220 h 2950170"/>
                <a:gd name="connsiteX0" fmla="*/ 867537 w 1454912"/>
                <a:gd name="connsiteY0" fmla="*/ 2950170 h 2950170"/>
                <a:gd name="connsiteX1" fmla="*/ 711962 w 1454912"/>
                <a:gd name="connsiteY1" fmla="*/ 2699345 h 2950170"/>
                <a:gd name="connsiteX2" fmla="*/ 607187 w 1454912"/>
                <a:gd name="connsiteY2" fmla="*/ 2486620 h 2950170"/>
                <a:gd name="connsiteX3" fmla="*/ 524637 w 1454912"/>
                <a:gd name="connsiteY3" fmla="*/ 2321520 h 2950170"/>
                <a:gd name="connsiteX4" fmla="*/ 413512 w 1454912"/>
                <a:gd name="connsiteY4" fmla="*/ 2054820 h 2950170"/>
                <a:gd name="connsiteX5" fmla="*/ 302387 w 1454912"/>
                <a:gd name="connsiteY5" fmla="*/ 1794470 h 2950170"/>
                <a:gd name="connsiteX6" fmla="*/ 223012 w 1454912"/>
                <a:gd name="connsiteY6" fmla="*/ 1537295 h 2950170"/>
                <a:gd name="connsiteX7" fmla="*/ 153162 w 1454912"/>
                <a:gd name="connsiteY7" fmla="*/ 1305520 h 2950170"/>
                <a:gd name="connsiteX8" fmla="*/ 89662 w 1454912"/>
                <a:gd name="connsiteY8" fmla="*/ 1038820 h 2950170"/>
                <a:gd name="connsiteX9" fmla="*/ 26162 w 1454912"/>
                <a:gd name="connsiteY9" fmla="*/ 787995 h 2950170"/>
                <a:gd name="connsiteX10" fmla="*/ 7112 w 1454912"/>
                <a:gd name="connsiteY10" fmla="*/ 603845 h 2950170"/>
                <a:gd name="connsiteX11" fmla="*/ 762 w 1454912"/>
                <a:gd name="connsiteY11" fmla="*/ 435570 h 2950170"/>
                <a:gd name="connsiteX12" fmla="*/ 22987 w 1454912"/>
                <a:gd name="connsiteY12" fmla="*/ 305395 h 2950170"/>
                <a:gd name="connsiteX13" fmla="*/ 61087 w 1454912"/>
                <a:gd name="connsiteY13" fmla="*/ 210145 h 2950170"/>
                <a:gd name="connsiteX14" fmla="*/ 127762 w 1454912"/>
                <a:gd name="connsiteY14" fmla="*/ 118070 h 2950170"/>
                <a:gd name="connsiteX15" fmla="*/ 207137 w 1454912"/>
                <a:gd name="connsiteY15" fmla="*/ 48220 h 2950170"/>
                <a:gd name="connsiteX16" fmla="*/ 299212 w 1454912"/>
                <a:gd name="connsiteY16" fmla="*/ 6945 h 2950170"/>
                <a:gd name="connsiteX17" fmla="*/ 384937 w 1454912"/>
                <a:gd name="connsiteY17" fmla="*/ 595 h 2950170"/>
                <a:gd name="connsiteX18" fmla="*/ 480187 w 1454912"/>
                <a:gd name="connsiteY18" fmla="*/ 13295 h 2950170"/>
                <a:gd name="connsiteX19" fmla="*/ 581787 w 1454912"/>
                <a:gd name="connsiteY19" fmla="*/ 35520 h 2950170"/>
                <a:gd name="connsiteX20" fmla="*/ 673862 w 1454912"/>
                <a:gd name="connsiteY20" fmla="*/ 67270 h 2950170"/>
                <a:gd name="connsiteX21" fmla="*/ 804037 w 1454912"/>
                <a:gd name="connsiteY21" fmla="*/ 118070 h 2950170"/>
                <a:gd name="connsiteX22" fmla="*/ 899287 w 1454912"/>
                <a:gd name="connsiteY22" fmla="*/ 159345 h 2950170"/>
                <a:gd name="connsiteX23" fmla="*/ 1016762 w 1454912"/>
                <a:gd name="connsiteY23" fmla="*/ 219670 h 2950170"/>
                <a:gd name="connsiteX24" fmla="*/ 1121537 w 1454912"/>
                <a:gd name="connsiteY24" fmla="*/ 292695 h 2950170"/>
                <a:gd name="connsiteX25" fmla="*/ 1239012 w 1454912"/>
                <a:gd name="connsiteY25" fmla="*/ 403820 h 2950170"/>
                <a:gd name="connsiteX26" fmla="*/ 1321562 w 1454912"/>
                <a:gd name="connsiteY26" fmla="*/ 489545 h 2950170"/>
                <a:gd name="connsiteX27" fmla="*/ 1400937 w 1454912"/>
                <a:gd name="connsiteY27" fmla="*/ 610195 h 2950170"/>
                <a:gd name="connsiteX28" fmla="*/ 1454912 w 1454912"/>
                <a:gd name="connsiteY28" fmla="*/ 683220 h 2950170"/>
                <a:gd name="connsiteX0" fmla="*/ 869510 w 1456885"/>
                <a:gd name="connsiteY0" fmla="*/ 2950170 h 2950170"/>
                <a:gd name="connsiteX1" fmla="*/ 713935 w 1456885"/>
                <a:gd name="connsiteY1" fmla="*/ 2699345 h 2950170"/>
                <a:gd name="connsiteX2" fmla="*/ 609160 w 1456885"/>
                <a:gd name="connsiteY2" fmla="*/ 2486620 h 2950170"/>
                <a:gd name="connsiteX3" fmla="*/ 526610 w 1456885"/>
                <a:gd name="connsiteY3" fmla="*/ 2321520 h 2950170"/>
                <a:gd name="connsiteX4" fmla="*/ 415485 w 1456885"/>
                <a:gd name="connsiteY4" fmla="*/ 2054820 h 2950170"/>
                <a:gd name="connsiteX5" fmla="*/ 304360 w 1456885"/>
                <a:gd name="connsiteY5" fmla="*/ 1794470 h 2950170"/>
                <a:gd name="connsiteX6" fmla="*/ 224985 w 1456885"/>
                <a:gd name="connsiteY6" fmla="*/ 1537295 h 2950170"/>
                <a:gd name="connsiteX7" fmla="*/ 155135 w 1456885"/>
                <a:gd name="connsiteY7" fmla="*/ 1305520 h 2950170"/>
                <a:gd name="connsiteX8" fmla="*/ 91635 w 1456885"/>
                <a:gd name="connsiteY8" fmla="*/ 1038820 h 2950170"/>
                <a:gd name="connsiteX9" fmla="*/ 28135 w 1456885"/>
                <a:gd name="connsiteY9" fmla="*/ 787995 h 2950170"/>
                <a:gd name="connsiteX10" fmla="*/ 9085 w 1456885"/>
                <a:gd name="connsiteY10" fmla="*/ 603845 h 2950170"/>
                <a:gd name="connsiteX11" fmla="*/ 2735 w 1456885"/>
                <a:gd name="connsiteY11" fmla="*/ 435570 h 2950170"/>
                <a:gd name="connsiteX12" fmla="*/ 24960 w 1456885"/>
                <a:gd name="connsiteY12" fmla="*/ 305395 h 2950170"/>
                <a:gd name="connsiteX13" fmla="*/ 63060 w 1456885"/>
                <a:gd name="connsiteY13" fmla="*/ 210145 h 2950170"/>
                <a:gd name="connsiteX14" fmla="*/ 129735 w 1456885"/>
                <a:gd name="connsiteY14" fmla="*/ 118070 h 2950170"/>
                <a:gd name="connsiteX15" fmla="*/ 209110 w 1456885"/>
                <a:gd name="connsiteY15" fmla="*/ 48220 h 2950170"/>
                <a:gd name="connsiteX16" fmla="*/ 301185 w 1456885"/>
                <a:gd name="connsiteY16" fmla="*/ 6945 h 2950170"/>
                <a:gd name="connsiteX17" fmla="*/ 386910 w 1456885"/>
                <a:gd name="connsiteY17" fmla="*/ 595 h 2950170"/>
                <a:gd name="connsiteX18" fmla="*/ 482160 w 1456885"/>
                <a:gd name="connsiteY18" fmla="*/ 13295 h 2950170"/>
                <a:gd name="connsiteX19" fmla="*/ 583760 w 1456885"/>
                <a:gd name="connsiteY19" fmla="*/ 35520 h 2950170"/>
                <a:gd name="connsiteX20" fmla="*/ 675835 w 1456885"/>
                <a:gd name="connsiteY20" fmla="*/ 67270 h 2950170"/>
                <a:gd name="connsiteX21" fmla="*/ 806010 w 1456885"/>
                <a:gd name="connsiteY21" fmla="*/ 118070 h 2950170"/>
                <a:gd name="connsiteX22" fmla="*/ 901260 w 1456885"/>
                <a:gd name="connsiteY22" fmla="*/ 159345 h 2950170"/>
                <a:gd name="connsiteX23" fmla="*/ 1018735 w 1456885"/>
                <a:gd name="connsiteY23" fmla="*/ 219670 h 2950170"/>
                <a:gd name="connsiteX24" fmla="*/ 1123510 w 1456885"/>
                <a:gd name="connsiteY24" fmla="*/ 292695 h 2950170"/>
                <a:gd name="connsiteX25" fmla="*/ 1240985 w 1456885"/>
                <a:gd name="connsiteY25" fmla="*/ 403820 h 2950170"/>
                <a:gd name="connsiteX26" fmla="*/ 1323535 w 1456885"/>
                <a:gd name="connsiteY26" fmla="*/ 489545 h 2950170"/>
                <a:gd name="connsiteX27" fmla="*/ 1402910 w 1456885"/>
                <a:gd name="connsiteY27" fmla="*/ 610195 h 2950170"/>
                <a:gd name="connsiteX28" fmla="*/ 1456885 w 1456885"/>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90429 w 1455679"/>
                <a:gd name="connsiteY8" fmla="*/ 1038820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0954 w 1455679"/>
                <a:gd name="connsiteY18" fmla="*/ 13295 h 2950170"/>
                <a:gd name="connsiteX19" fmla="*/ 582554 w 1455679"/>
                <a:gd name="connsiteY19" fmla="*/ 35520 h 2950170"/>
                <a:gd name="connsiteX20" fmla="*/ 674629 w 1455679"/>
                <a:gd name="connsiteY20" fmla="*/ 67270 h 2950170"/>
                <a:gd name="connsiteX21" fmla="*/ 804804 w 1455679"/>
                <a:gd name="connsiteY21" fmla="*/ 118070 h 2950170"/>
                <a:gd name="connsiteX22" fmla="*/ 900054 w 1455679"/>
                <a:gd name="connsiteY22" fmla="*/ 159345 h 2950170"/>
                <a:gd name="connsiteX23" fmla="*/ 1017529 w 1455679"/>
                <a:gd name="connsiteY23" fmla="*/ 219670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0954 w 1455679"/>
                <a:gd name="connsiteY18" fmla="*/ 13295 h 2950170"/>
                <a:gd name="connsiteX19" fmla="*/ 582554 w 1455679"/>
                <a:gd name="connsiteY19" fmla="*/ 35520 h 2950170"/>
                <a:gd name="connsiteX20" fmla="*/ 674629 w 1455679"/>
                <a:gd name="connsiteY20" fmla="*/ 67270 h 2950170"/>
                <a:gd name="connsiteX21" fmla="*/ 804804 w 1455679"/>
                <a:gd name="connsiteY21" fmla="*/ 118070 h 2950170"/>
                <a:gd name="connsiteX22" fmla="*/ 900054 w 1455679"/>
                <a:gd name="connsiteY22" fmla="*/ 159345 h 2950170"/>
                <a:gd name="connsiteX23" fmla="*/ 1017529 w 1455679"/>
                <a:gd name="connsiteY23" fmla="*/ 219670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82554 w 1455679"/>
                <a:gd name="connsiteY19" fmla="*/ 35520 h 2950170"/>
                <a:gd name="connsiteX20" fmla="*/ 674629 w 1455679"/>
                <a:gd name="connsiteY20" fmla="*/ 67270 h 2950170"/>
                <a:gd name="connsiteX21" fmla="*/ 804804 w 1455679"/>
                <a:gd name="connsiteY21" fmla="*/ 118070 h 2950170"/>
                <a:gd name="connsiteX22" fmla="*/ 900054 w 1455679"/>
                <a:gd name="connsiteY22" fmla="*/ 159345 h 2950170"/>
                <a:gd name="connsiteX23" fmla="*/ 1017529 w 1455679"/>
                <a:gd name="connsiteY23" fmla="*/ 219670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74629 w 1455679"/>
                <a:gd name="connsiteY20" fmla="*/ 67270 h 2950170"/>
                <a:gd name="connsiteX21" fmla="*/ 804804 w 1455679"/>
                <a:gd name="connsiteY21" fmla="*/ 118070 h 2950170"/>
                <a:gd name="connsiteX22" fmla="*/ 900054 w 1455679"/>
                <a:gd name="connsiteY22" fmla="*/ 159345 h 2950170"/>
                <a:gd name="connsiteX23" fmla="*/ 1017529 w 1455679"/>
                <a:gd name="connsiteY23" fmla="*/ 219670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04804 w 1455679"/>
                <a:gd name="connsiteY21" fmla="*/ 118070 h 2950170"/>
                <a:gd name="connsiteX22" fmla="*/ 900054 w 1455679"/>
                <a:gd name="connsiteY22" fmla="*/ 159345 h 2950170"/>
                <a:gd name="connsiteX23" fmla="*/ 1017529 w 1455679"/>
                <a:gd name="connsiteY23" fmla="*/ 219670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17529 w 1455679"/>
                <a:gd name="connsiteY23" fmla="*/ 219670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89545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92720 h 2950170"/>
                <a:gd name="connsiteX27" fmla="*/ 1401704 w 1455679"/>
                <a:gd name="connsiteY27" fmla="*/ 610195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92720 h 2950170"/>
                <a:gd name="connsiteX27" fmla="*/ 1408054 w 1455679"/>
                <a:gd name="connsiteY27" fmla="*/ 607020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92720 h 2950170"/>
                <a:gd name="connsiteX27" fmla="*/ 1408054 w 1455679"/>
                <a:gd name="connsiteY27" fmla="*/ 607020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3779 w 1455679"/>
                <a:gd name="connsiteY6" fmla="*/ 153729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92720 h 2950170"/>
                <a:gd name="connsiteX27" fmla="*/ 1408054 w 1455679"/>
                <a:gd name="connsiteY27" fmla="*/ 607020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0604 w 1455679"/>
                <a:gd name="connsiteY6" fmla="*/ 154364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92720 h 2950170"/>
                <a:gd name="connsiteX27" fmla="*/ 1408054 w 1455679"/>
                <a:gd name="connsiteY27" fmla="*/ 607020 h 2950170"/>
                <a:gd name="connsiteX28" fmla="*/ 1455679 w 1455679"/>
                <a:gd name="connsiteY28" fmla="*/ 683220 h 2950170"/>
                <a:gd name="connsiteX0" fmla="*/ 868304 w 1455679"/>
                <a:gd name="connsiteY0" fmla="*/ 2950170 h 2950170"/>
                <a:gd name="connsiteX1" fmla="*/ 712729 w 1455679"/>
                <a:gd name="connsiteY1" fmla="*/ 2699345 h 2950170"/>
                <a:gd name="connsiteX2" fmla="*/ 607954 w 1455679"/>
                <a:gd name="connsiteY2" fmla="*/ 2486620 h 2950170"/>
                <a:gd name="connsiteX3" fmla="*/ 525404 w 1455679"/>
                <a:gd name="connsiteY3" fmla="*/ 2321520 h 2950170"/>
                <a:gd name="connsiteX4" fmla="*/ 414279 w 1455679"/>
                <a:gd name="connsiteY4" fmla="*/ 2054820 h 2950170"/>
                <a:gd name="connsiteX5" fmla="*/ 303154 w 1455679"/>
                <a:gd name="connsiteY5" fmla="*/ 1794470 h 2950170"/>
                <a:gd name="connsiteX6" fmla="*/ 220604 w 1455679"/>
                <a:gd name="connsiteY6" fmla="*/ 1543645 h 2950170"/>
                <a:gd name="connsiteX7" fmla="*/ 153929 w 1455679"/>
                <a:gd name="connsiteY7" fmla="*/ 1305520 h 2950170"/>
                <a:gd name="connsiteX8" fmla="*/ 80904 w 1455679"/>
                <a:gd name="connsiteY8" fmla="*/ 1035645 h 2950170"/>
                <a:gd name="connsiteX9" fmla="*/ 26929 w 1455679"/>
                <a:gd name="connsiteY9" fmla="*/ 787995 h 2950170"/>
                <a:gd name="connsiteX10" fmla="*/ 4704 w 1455679"/>
                <a:gd name="connsiteY10" fmla="*/ 613370 h 2950170"/>
                <a:gd name="connsiteX11" fmla="*/ 1529 w 1455679"/>
                <a:gd name="connsiteY11" fmla="*/ 435570 h 2950170"/>
                <a:gd name="connsiteX12" fmla="*/ 23754 w 1455679"/>
                <a:gd name="connsiteY12" fmla="*/ 305395 h 2950170"/>
                <a:gd name="connsiteX13" fmla="*/ 61854 w 1455679"/>
                <a:gd name="connsiteY13" fmla="*/ 210145 h 2950170"/>
                <a:gd name="connsiteX14" fmla="*/ 128529 w 1455679"/>
                <a:gd name="connsiteY14" fmla="*/ 118070 h 2950170"/>
                <a:gd name="connsiteX15" fmla="*/ 207904 w 1455679"/>
                <a:gd name="connsiteY15" fmla="*/ 48220 h 2950170"/>
                <a:gd name="connsiteX16" fmla="*/ 299979 w 1455679"/>
                <a:gd name="connsiteY16" fmla="*/ 6945 h 2950170"/>
                <a:gd name="connsiteX17" fmla="*/ 385704 w 1455679"/>
                <a:gd name="connsiteY17" fmla="*/ 595 h 2950170"/>
                <a:gd name="connsiteX18" fmla="*/ 484129 w 1455679"/>
                <a:gd name="connsiteY18" fmla="*/ 6945 h 2950170"/>
                <a:gd name="connsiteX19" fmla="*/ 595254 w 1455679"/>
                <a:gd name="connsiteY19" fmla="*/ 32345 h 2950170"/>
                <a:gd name="connsiteX20" fmla="*/ 696854 w 1455679"/>
                <a:gd name="connsiteY20" fmla="*/ 67270 h 2950170"/>
                <a:gd name="connsiteX21" fmla="*/ 823854 w 1455679"/>
                <a:gd name="connsiteY21" fmla="*/ 118070 h 2950170"/>
                <a:gd name="connsiteX22" fmla="*/ 900054 w 1455679"/>
                <a:gd name="connsiteY22" fmla="*/ 159345 h 2950170"/>
                <a:gd name="connsiteX23" fmla="*/ 1023879 w 1455679"/>
                <a:gd name="connsiteY23" fmla="*/ 229195 h 2950170"/>
                <a:gd name="connsiteX24" fmla="*/ 1122304 w 1455679"/>
                <a:gd name="connsiteY24" fmla="*/ 292695 h 2950170"/>
                <a:gd name="connsiteX25" fmla="*/ 1239779 w 1455679"/>
                <a:gd name="connsiteY25" fmla="*/ 403820 h 2950170"/>
                <a:gd name="connsiteX26" fmla="*/ 1322329 w 1455679"/>
                <a:gd name="connsiteY26" fmla="*/ 492720 h 2950170"/>
                <a:gd name="connsiteX27" fmla="*/ 1408054 w 1455679"/>
                <a:gd name="connsiteY27" fmla="*/ 607020 h 2950170"/>
                <a:gd name="connsiteX28" fmla="*/ 1455679 w 1455679"/>
                <a:gd name="connsiteY28" fmla="*/ 683220 h 2950170"/>
                <a:gd name="connsiteX0" fmla="*/ 879420 w 1455679"/>
                <a:gd name="connsiteY0" fmla="*/ 3061345 h 3061345"/>
                <a:gd name="connsiteX1" fmla="*/ 712729 w 1455679"/>
                <a:gd name="connsiteY1" fmla="*/ 2699345 h 3061345"/>
                <a:gd name="connsiteX2" fmla="*/ 607954 w 1455679"/>
                <a:gd name="connsiteY2" fmla="*/ 2486620 h 3061345"/>
                <a:gd name="connsiteX3" fmla="*/ 525404 w 1455679"/>
                <a:gd name="connsiteY3" fmla="*/ 2321520 h 3061345"/>
                <a:gd name="connsiteX4" fmla="*/ 414279 w 1455679"/>
                <a:gd name="connsiteY4" fmla="*/ 2054820 h 3061345"/>
                <a:gd name="connsiteX5" fmla="*/ 303154 w 1455679"/>
                <a:gd name="connsiteY5" fmla="*/ 1794470 h 3061345"/>
                <a:gd name="connsiteX6" fmla="*/ 220604 w 1455679"/>
                <a:gd name="connsiteY6" fmla="*/ 1543645 h 3061345"/>
                <a:gd name="connsiteX7" fmla="*/ 153929 w 1455679"/>
                <a:gd name="connsiteY7" fmla="*/ 1305520 h 3061345"/>
                <a:gd name="connsiteX8" fmla="*/ 80904 w 1455679"/>
                <a:gd name="connsiteY8" fmla="*/ 1035645 h 3061345"/>
                <a:gd name="connsiteX9" fmla="*/ 26929 w 1455679"/>
                <a:gd name="connsiteY9" fmla="*/ 787995 h 3061345"/>
                <a:gd name="connsiteX10" fmla="*/ 4704 w 1455679"/>
                <a:gd name="connsiteY10" fmla="*/ 613370 h 3061345"/>
                <a:gd name="connsiteX11" fmla="*/ 1529 w 1455679"/>
                <a:gd name="connsiteY11" fmla="*/ 435570 h 3061345"/>
                <a:gd name="connsiteX12" fmla="*/ 23754 w 1455679"/>
                <a:gd name="connsiteY12" fmla="*/ 305395 h 3061345"/>
                <a:gd name="connsiteX13" fmla="*/ 61854 w 1455679"/>
                <a:gd name="connsiteY13" fmla="*/ 210145 h 3061345"/>
                <a:gd name="connsiteX14" fmla="*/ 128529 w 1455679"/>
                <a:gd name="connsiteY14" fmla="*/ 118070 h 3061345"/>
                <a:gd name="connsiteX15" fmla="*/ 207904 w 1455679"/>
                <a:gd name="connsiteY15" fmla="*/ 48220 h 3061345"/>
                <a:gd name="connsiteX16" fmla="*/ 299979 w 1455679"/>
                <a:gd name="connsiteY16" fmla="*/ 6945 h 3061345"/>
                <a:gd name="connsiteX17" fmla="*/ 385704 w 1455679"/>
                <a:gd name="connsiteY17" fmla="*/ 595 h 3061345"/>
                <a:gd name="connsiteX18" fmla="*/ 484129 w 1455679"/>
                <a:gd name="connsiteY18" fmla="*/ 6945 h 3061345"/>
                <a:gd name="connsiteX19" fmla="*/ 595254 w 1455679"/>
                <a:gd name="connsiteY19" fmla="*/ 32345 h 3061345"/>
                <a:gd name="connsiteX20" fmla="*/ 696854 w 1455679"/>
                <a:gd name="connsiteY20" fmla="*/ 67270 h 3061345"/>
                <a:gd name="connsiteX21" fmla="*/ 823854 w 1455679"/>
                <a:gd name="connsiteY21" fmla="*/ 118070 h 3061345"/>
                <a:gd name="connsiteX22" fmla="*/ 900054 w 1455679"/>
                <a:gd name="connsiteY22" fmla="*/ 159345 h 3061345"/>
                <a:gd name="connsiteX23" fmla="*/ 1023879 w 1455679"/>
                <a:gd name="connsiteY23" fmla="*/ 229195 h 3061345"/>
                <a:gd name="connsiteX24" fmla="*/ 1122304 w 1455679"/>
                <a:gd name="connsiteY24" fmla="*/ 292695 h 3061345"/>
                <a:gd name="connsiteX25" fmla="*/ 1239779 w 1455679"/>
                <a:gd name="connsiteY25" fmla="*/ 403820 h 3061345"/>
                <a:gd name="connsiteX26" fmla="*/ 1322329 w 1455679"/>
                <a:gd name="connsiteY26" fmla="*/ 492720 h 3061345"/>
                <a:gd name="connsiteX27" fmla="*/ 1408054 w 1455679"/>
                <a:gd name="connsiteY27" fmla="*/ 607020 h 3061345"/>
                <a:gd name="connsiteX28" fmla="*/ 1455679 w 1455679"/>
                <a:gd name="connsiteY28" fmla="*/ 683220 h 306134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23879 w 1455679"/>
                <a:gd name="connsiteY23" fmla="*/ 229195 h 3011315"/>
                <a:gd name="connsiteX24" fmla="*/ 1122304 w 1455679"/>
                <a:gd name="connsiteY24" fmla="*/ 292695 h 3011315"/>
                <a:gd name="connsiteX25" fmla="*/ 1239779 w 1455679"/>
                <a:gd name="connsiteY25" fmla="*/ 403820 h 3011315"/>
                <a:gd name="connsiteX26" fmla="*/ 1322329 w 1455679"/>
                <a:gd name="connsiteY26" fmla="*/ 492720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23878 w 1455679"/>
                <a:gd name="connsiteY23" fmla="*/ 234752 h 3011315"/>
                <a:gd name="connsiteX24" fmla="*/ 1122304 w 1455679"/>
                <a:gd name="connsiteY24" fmla="*/ 292695 h 3011315"/>
                <a:gd name="connsiteX25" fmla="*/ 1239779 w 1455679"/>
                <a:gd name="connsiteY25" fmla="*/ 403820 h 3011315"/>
                <a:gd name="connsiteX26" fmla="*/ 1322329 w 1455679"/>
                <a:gd name="connsiteY26" fmla="*/ 492720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4 w 1455679"/>
                <a:gd name="connsiteY24" fmla="*/ 292695 h 3011315"/>
                <a:gd name="connsiteX25" fmla="*/ 1239779 w 1455679"/>
                <a:gd name="connsiteY25" fmla="*/ 403820 h 3011315"/>
                <a:gd name="connsiteX26" fmla="*/ 1322329 w 1455679"/>
                <a:gd name="connsiteY26" fmla="*/ 492720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79 w 1455679"/>
                <a:gd name="connsiteY25" fmla="*/ 403820 h 3011315"/>
                <a:gd name="connsiteX26" fmla="*/ 1322329 w 1455679"/>
                <a:gd name="connsiteY26" fmla="*/ 492720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03819 h 3011315"/>
                <a:gd name="connsiteX26" fmla="*/ 1322329 w 1455679"/>
                <a:gd name="connsiteY26" fmla="*/ 492720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03819 h 3011315"/>
                <a:gd name="connsiteX26" fmla="*/ 1316772 w 1455679"/>
                <a:gd name="connsiteY26" fmla="*/ 509394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408054 w 1455679"/>
                <a:gd name="connsiteY27" fmla="*/ 60702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85818 w 1455679"/>
                <a:gd name="connsiteY27" fmla="*/ 612580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23854 w 1455679"/>
                <a:gd name="connsiteY21" fmla="*/ 118070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96937 w 1455679"/>
                <a:gd name="connsiteY27" fmla="*/ 601464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96854 w 1455679"/>
                <a:gd name="connsiteY20" fmla="*/ 67270 h 3011315"/>
                <a:gd name="connsiteX21" fmla="*/ 818294 w 1455679"/>
                <a:gd name="connsiteY21" fmla="*/ 123629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96937 w 1455679"/>
                <a:gd name="connsiteY27" fmla="*/ 601464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2345 h 3011315"/>
                <a:gd name="connsiteX20" fmla="*/ 685734 w 1455679"/>
                <a:gd name="connsiteY20" fmla="*/ 72828 h 3011315"/>
                <a:gd name="connsiteX21" fmla="*/ 818294 w 1455679"/>
                <a:gd name="connsiteY21" fmla="*/ 123629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96937 w 1455679"/>
                <a:gd name="connsiteY27" fmla="*/ 601464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84129 w 1455679"/>
                <a:gd name="connsiteY18" fmla="*/ 6945 h 3011315"/>
                <a:gd name="connsiteX19" fmla="*/ 595254 w 1455679"/>
                <a:gd name="connsiteY19" fmla="*/ 37906 h 3011315"/>
                <a:gd name="connsiteX20" fmla="*/ 685734 w 1455679"/>
                <a:gd name="connsiteY20" fmla="*/ 72828 h 3011315"/>
                <a:gd name="connsiteX21" fmla="*/ 818294 w 1455679"/>
                <a:gd name="connsiteY21" fmla="*/ 123629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96937 w 1455679"/>
                <a:gd name="connsiteY27" fmla="*/ 601464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95245 w 1455679"/>
                <a:gd name="connsiteY18" fmla="*/ 18061 h 3011315"/>
                <a:gd name="connsiteX19" fmla="*/ 595254 w 1455679"/>
                <a:gd name="connsiteY19" fmla="*/ 37906 h 3011315"/>
                <a:gd name="connsiteX20" fmla="*/ 685734 w 1455679"/>
                <a:gd name="connsiteY20" fmla="*/ 72828 h 3011315"/>
                <a:gd name="connsiteX21" fmla="*/ 818294 w 1455679"/>
                <a:gd name="connsiteY21" fmla="*/ 123629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96937 w 1455679"/>
                <a:gd name="connsiteY27" fmla="*/ 601464 h 3011315"/>
                <a:gd name="connsiteX28" fmla="*/ 1455679 w 1455679"/>
                <a:gd name="connsiteY28" fmla="*/ 683220 h 3011315"/>
                <a:gd name="connsiteX0" fmla="*/ 890538 w 1455679"/>
                <a:gd name="connsiteY0" fmla="*/ 3011315 h 3011315"/>
                <a:gd name="connsiteX1" fmla="*/ 712729 w 1455679"/>
                <a:gd name="connsiteY1" fmla="*/ 2699345 h 3011315"/>
                <a:gd name="connsiteX2" fmla="*/ 607954 w 1455679"/>
                <a:gd name="connsiteY2" fmla="*/ 2486620 h 3011315"/>
                <a:gd name="connsiteX3" fmla="*/ 525404 w 1455679"/>
                <a:gd name="connsiteY3" fmla="*/ 2321520 h 3011315"/>
                <a:gd name="connsiteX4" fmla="*/ 414279 w 1455679"/>
                <a:gd name="connsiteY4" fmla="*/ 2054820 h 3011315"/>
                <a:gd name="connsiteX5" fmla="*/ 303154 w 1455679"/>
                <a:gd name="connsiteY5" fmla="*/ 1794470 h 3011315"/>
                <a:gd name="connsiteX6" fmla="*/ 220604 w 1455679"/>
                <a:gd name="connsiteY6" fmla="*/ 1543645 h 3011315"/>
                <a:gd name="connsiteX7" fmla="*/ 153929 w 1455679"/>
                <a:gd name="connsiteY7" fmla="*/ 1305520 h 3011315"/>
                <a:gd name="connsiteX8" fmla="*/ 80904 w 1455679"/>
                <a:gd name="connsiteY8" fmla="*/ 1035645 h 3011315"/>
                <a:gd name="connsiteX9" fmla="*/ 26929 w 1455679"/>
                <a:gd name="connsiteY9" fmla="*/ 787995 h 3011315"/>
                <a:gd name="connsiteX10" fmla="*/ 4704 w 1455679"/>
                <a:gd name="connsiteY10" fmla="*/ 613370 h 3011315"/>
                <a:gd name="connsiteX11" fmla="*/ 1529 w 1455679"/>
                <a:gd name="connsiteY11" fmla="*/ 435570 h 3011315"/>
                <a:gd name="connsiteX12" fmla="*/ 23754 w 1455679"/>
                <a:gd name="connsiteY12" fmla="*/ 305395 h 3011315"/>
                <a:gd name="connsiteX13" fmla="*/ 61854 w 1455679"/>
                <a:gd name="connsiteY13" fmla="*/ 210145 h 3011315"/>
                <a:gd name="connsiteX14" fmla="*/ 128529 w 1455679"/>
                <a:gd name="connsiteY14" fmla="*/ 118070 h 3011315"/>
                <a:gd name="connsiteX15" fmla="*/ 207904 w 1455679"/>
                <a:gd name="connsiteY15" fmla="*/ 48220 h 3011315"/>
                <a:gd name="connsiteX16" fmla="*/ 299979 w 1455679"/>
                <a:gd name="connsiteY16" fmla="*/ 6945 h 3011315"/>
                <a:gd name="connsiteX17" fmla="*/ 385704 w 1455679"/>
                <a:gd name="connsiteY17" fmla="*/ 595 h 3011315"/>
                <a:gd name="connsiteX18" fmla="*/ 495245 w 1455679"/>
                <a:gd name="connsiteY18" fmla="*/ 18061 h 3011315"/>
                <a:gd name="connsiteX19" fmla="*/ 595254 w 1455679"/>
                <a:gd name="connsiteY19" fmla="*/ 37906 h 3011315"/>
                <a:gd name="connsiteX20" fmla="*/ 685734 w 1455679"/>
                <a:gd name="connsiteY20" fmla="*/ 72828 h 3011315"/>
                <a:gd name="connsiteX21" fmla="*/ 818294 w 1455679"/>
                <a:gd name="connsiteY21" fmla="*/ 123629 h 3011315"/>
                <a:gd name="connsiteX22" fmla="*/ 900054 w 1455679"/>
                <a:gd name="connsiteY22" fmla="*/ 159345 h 3011315"/>
                <a:gd name="connsiteX23" fmla="*/ 1018317 w 1455679"/>
                <a:gd name="connsiteY23" fmla="*/ 245871 h 3011315"/>
                <a:gd name="connsiteX24" fmla="*/ 1122305 w 1455679"/>
                <a:gd name="connsiteY24" fmla="*/ 320489 h 3011315"/>
                <a:gd name="connsiteX25" fmla="*/ 1239780 w 1455679"/>
                <a:gd name="connsiteY25" fmla="*/ 420494 h 3011315"/>
                <a:gd name="connsiteX26" fmla="*/ 1316772 w 1455679"/>
                <a:gd name="connsiteY26" fmla="*/ 509394 h 3011315"/>
                <a:gd name="connsiteX27" fmla="*/ 1396937 w 1455679"/>
                <a:gd name="connsiteY27" fmla="*/ 601464 h 3011315"/>
                <a:gd name="connsiteX28" fmla="*/ 1455679 w 1455679"/>
                <a:gd name="connsiteY28" fmla="*/ 683220 h 3011315"/>
                <a:gd name="connsiteX0" fmla="*/ 890538 w 1455679"/>
                <a:gd name="connsiteY0" fmla="*/ 3010794 h 3010794"/>
                <a:gd name="connsiteX1" fmla="*/ 712729 w 1455679"/>
                <a:gd name="connsiteY1" fmla="*/ 2698824 h 3010794"/>
                <a:gd name="connsiteX2" fmla="*/ 607954 w 1455679"/>
                <a:gd name="connsiteY2" fmla="*/ 2486099 h 3010794"/>
                <a:gd name="connsiteX3" fmla="*/ 525404 w 1455679"/>
                <a:gd name="connsiteY3" fmla="*/ 2320999 h 3010794"/>
                <a:gd name="connsiteX4" fmla="*/ 414279 w 1455679"/>
                <a:gd name="connsiteY4" fmla="*/ 2054299 h 3010794"/>
                <a:gd name="connsiteX5" fmla="*/ 303154 w 1455679"/>
                <a:gd name="connsiteY5" fmla="*/ 1793949 h 3010794"/>
                <a:gd name="connsiteX6" fmla="*/ 220604 w 1455679"/>
                <a:gd name="connsiteY6" fmla="*/ 1543124 h 3010794"/>
                <a:gd name="connsiteX7" fmla="*/ 153929 w 1455679"/>
                <a:gd name="connsiteY7" fmla="*/ 1304999 h 3010794"/>
                <a:gd name="connsiteX8" fmla="*/ 80904 w 1455679"/>
                <a:gd name="connsiteY8" fmla="*/ 1035124 h 3010794"/>
                <a:gd name="connsiteX9" fmla="*/ 26929 w 1455679"/>
                <a:gd name="connsiteY9" fmla="*/ 787474 h 3010794"/>
                <a:gd name="connsiteX10" fmla="*/ 4704 w 1455679"/>
                <a:gd name="connsiteY10" fmla="*/ 612849 h 3010794"/>
                <a:gd name="connsiteX11" fmla="*/ 1529 w 1455679"/>
                <a:gd name="connsiteY11" fmla="*/ 435049 h 3010794"/>
                <a:gd name="connsiteX12" fmla="*/ 23754 w 1455679"/>
                <a:gd name="connsiteY12" fmla="*/ 304874 h 3010794"/>
                <a:gd name="connsiteX13" fmla="*/ 61854 w 1455679"/>
                <a:gd name="connsiteY13" fmla="*/ 209624 h 3010794"/>
                <a:gd name="connsiteX14" fmla="*/ 128529 w 1455679"/>
                <a:gd name="connsiteY14" fmla="*/ 117549 h 3010794"/>
                <a:gd name="connsiteX15" fmla="*/ 207904 w 1455679"/>
                <a:gd name="connsiteY15" fmla="*/ 47699 h 3010794"/>
                <a:gd name="connsiteX16" fmla="*/ 305537 w 1455679"/>
                <a:gd name="connsiteY16" fmla="*/ 17540 h 3010794"/>
                <a:gd name="connsiteX17" fmla="*/ 385704 w 1455679"/>
                <a:gd name="connsiteY17" fmla="*/ 74 h 3010794"/>
                <a:gd name="connsiteX18" fmla="*/ 495245 w 1455679"/>
                <a:gd name="connsiteY18" fmla="*/ 17540 h 3010794"/>
                <a:gd name="connsiteX19" fmla="*/ 595254 w 1455679"/>
                <a:gd name="connsiteY19" fmla="*/ 37385 h 3010794"/>
                <a:gd name="connsiteX20" fmla="*/ 685734 w 1455679"/>
                <a:gd name="connsiteY20" fmla="*/ 72307 h 3010794"/>
                <a:gd name="connsiteX21" fmla="*/ 818294 w 1455679"/>
                <a:gd name="connsiteY21" fmla="*/ 123108 h 3010794"/>
                <a:gd name="connsiteX22" fmla="*/ 900054 w 1455679"/>
                <a:gd name="connsiteY22" fmla="*/ 158824 h 3010794"/>
                <a:gd name="connsiteX23" fmla="*/ 1018317 w 1455679"/>
                <a:gd name="connsiteY23" fmla="*/ 245350 h 3010794"/>
                <a:gd name="connsiteX24" fmla="*/ 1122305 w 1455679"/>
                <a:gd name="connsiteY24" fmla="*/ 319968 h 3010794"/>
                <a:gd name="connsiteX25" fmla="*/ 1239780 w 1455679"/>
                <a:gd name="connsiteY25" fmla="*/ 419973 h 3010794"/>
                <a:gd name="connsiteX26" fmla="*/ 1316772 w 1455679"/>
                <a:gd name="connsiteY26" fmla="*/ 508873 h 3010794"/>
                <a:gd name="connsiteX27" fmla="*/ 1396937 w 1455679"/>
                <a:gd name="connsiteY27" fmla="*/ 600943 h 3010794"/>
                <a:gd name="connsiteX28" fmla="*/ 1455679 w 1455679"/>
                <a:gd name="connsiteY28" fmla="*/ 682699 h 3010794"/>
                <a:gd name="connsiteX0" fmla="*/ 890538 w 1455679"/>
                <a:gd name="connsiteY0" fmla="*/ 3010794 h 3010794"/>
                <a:gd name="connsiteX1" fmla="*/ 712729 w 1455679"/>
                <a:gd name="connsiteY1" fmla="*/ 2698824 h 3010794"/>
                <a:gd name="connsiteX2" fmla="*/ 607954 w 1455679"/>
                <a:gd name="connsiteY2" fmla="*/ 2486099 h 3010794"/>
                <a:gd name="connsiteX3" fmla="*/ 525404 w 1455679"/>
                <a:gd name="connsiteY3" fmla="*/ 2320999 h 3010794"/>
                <a:gd name="connsiteX4" fmla="*/ 414279 w 1455679"/>
                <a:gd name="connsiteY4" fmla="*/ 2054299 h 3010794"/>
                <a:gd name="connsiteX5" fmla="*/ 303154 w 1455679"/>
                <a:gd name="connsiteY5" fmla="*/ 1793949 h 3010794"/>
                <a:gd name="connsiteX6" fmla="*/ 220604 w 1455679"/>
                <a:gd name="connsiteY6" fmla="*/ 1543124 h 3010794"/>
                <a:gd name="connsiteX7" fmla="*/ 153929 w 1455679"/>
                <a:gd name="connsiteY7" fmla="*/ 1304999 h 3010794"/>
                <a:gd name="connsiteX8" fmla="*/ 80904 w 1455679"/>
                <a:gd name="connsiteY8" fmla="*/ 1035124 h 3010794"/>
                <a:gd name="connsiteX9" fmla="*/ 26929 w 1455679"/>
                <a:gd name="connsiteY9" fmla="*/ 787474 h 3010794"/>
                <a:gd name="connsiteX10" fmla="*/ 4704 w 1455679"/>
                <a:gd name="connsiteY10" fmla="*/ 612849 h 3010794"/>
                <a:gd name="connsiteX11" fmla="*/ 1529 w 1455679"/>
                <a:gd name="connsiteY11" fmla="*/ 435049 h 3010794"/>
                <a:gd name="connsiteX12" fmla="*/ 23754 w 1455679"/>
                <a:gd name="connsiteY12" fmla="*/ 304874 h 3010794"/>
                <a:gd name="connsiteX13" fmla="*/ 61854 w 1455679"/>
                <a:gd name="connsiteY13" fmla="*/ 209624 h 3010794"/>
                <a:gd name="connsiteX14" fmla="*/ 128529 w 1455679"/>
                <a:gd name="connsiteY14" fmla="*/ 117549 h 3010794"/>
                <a:gd name="connsiteX15" fmla="*/ 207904 w 1455679"/>
                <a:gd name="connsiteY15" fmla="*/ 47699 h 3010794"/>
                <a:gd name="connsiteX16" fmla="*/ 305537 w 1455679"/>
                <a:gd name="connsiteY16" fmla="*/ 17540 h 3010794"/>
                <a:gd name="connsiteX17" fmla="*/ 385704 w 1455679"/>
                <a:gd name="connsiteY17" fmla="*/ 74 h 3010794"/>
                <a:gd name="connsiteX18" fmla="*/ 495245 w 1455679"/>
                <a:gd name="connsiteY18" fmla="*/ 17540 h 3010794"/>
                <a:gd name="connsiteX19" fmla="*/ 595254 w 1455679"/>
                <a:gd name="connsiteY19" fmla="*/ 37385 h 3010794"/>
                <a:gd name="connsiteX20" fmla="*/ 685734 w 1455679"/>
                <a:gd name="connsiteY20" fmla="*/ 72307 h 3010794"/>
                <a:gd name="connsiteX21" fmla="*/ 779383 w 1455679"/>
                <a:gd name="connsiteY21" fmla="*/ 123108 h 3010794"/>
                <a:gd name="connsiteX22" fmla="*/ 900054 w 1455679"/>
                <a:gd name="connsiteY22" fmla="*/ 158824 h 3010794"/>
                <a:gd name="connsiteX23" fmla="*/ 1018317 w 1455679"/>
                <a:gd name="connsiteY23" fmla="*/ 245350 h 3010794"/>
                <a:gd name="connsiteX24" fmla="*/ 1122305 w 1455679"/>
                <a:gd name="connsiteY24" fmla="*/ 319968 h 3010794"/>
                <a:gd name="connsiteX25" fmla="*/ 1239780 w 1455679"/>
                <a:gd name="connsiteY25" fmla="*/ 419973 h 3010794"/>
                <a:gd name="connsiteX26" fmla="*/ 1316772 w 1455679"/>
                <a:gd name="connsiteY26" fmla="*/ 508873 h 3010794"/>
                <a:gd name="connsiteX27" fmla="*/ 1396937 w 1455679"/>
                <a:gd name="connsiteY27" fmla="*/ 600943 h 3010794"/>
                <a:gd name="connsiteX28" fmla="*/ 1455679 w 1455679"/>
                <a:gd name="connsiteY28" fmla="*/ 682699 h 3010794"/>
                <a:gd name="connsiteX0" fmla="*/ 890538 w 1455679"/>
                <a:gd name="connsiteY0" fmla="*/ 3010794 h 3010794"/>
                <a:gd name="connsiteX1" fmla="*/ 712729 w 1455679"/>
                <a:gd name="connsiteY1" fmla="*/ 2698824 h 3010794"/>
                <a:gd name="connsiteX2" fmla="*/ 607954 w 1455679"/>
                <a:gd name="connsiteY2" fmla="*/ 2486099 h 3010794"/>
                <a:gd name="connsiteX3" fmla="*/ 525404 w 1455679"/>
                <a:gd name="connsiteY3" fmla="*/ 2320999 h 3010794"/>
                <a:gd name="connsiteX4" fmla="*/ 414279 w 1455679"/>
                <a:gd name="connsiteY4" fmla="*/ 2054299 h 3010794"/>
                <a:gd name="connsiteX5" fmla="*/ 303154 w 1455679"/>
                <a:gd name="connsiteY5" fmla="*/ 1793949 h 3010794"/>
                <a:gd name="connsiteX6" fmla="*/ 220604 w 1455679"/>
                <a:gd name="connsiteY6" fmla="*/ 1543124 h 3010794"/>
                <a:gd name="connsiteX7" fmla="*/ 153929 w 1455679"/>
                <a:gd name="connsiteY7" fmla="*/ 1304999 h 3010794"/>
                <a:gd name="connsiteX8" fmla="*/ 80904 w 1455679"/>
                <a:gd name="connsiteY8" fmla="*/ 1035124 h 3010794"/>
                <a:gd name="connsiteX9" fmla="*/ 26929 w 1455679"/>
                <a:gd name="connsiteY9" fmla="*/ 787474 h 3010794"/>
                <a:gd name="connsiteX10" fmla="*/ 4704 w 1455679"/>
                <a:gd name="connsiteY10" fmla="*/ 612849 h 3010794"/>
                <a:gd name="connsiteX11" fmla="*/ 1529 w 1455679"/>
                <a:gd name="connsiteY11" fmla="*/ 435049 h 3010794"/>
                <a:gd name="connsiteX12" fmla="*/ 23754 w 1455679"/>
                <a:gd name="connsiteY12" fmla="*/ 304874 h 3010794"/>
                <a:gd name="connsiteX13" fmla="*/ 61854 w 1455679"/>
                <a:gd name="connsiteY13" fmla="*/ 209624 h 3010794"/>
                <a:gd name="connsiteX14" fmla="*/ 128529 w 1455679"/>
                <a:gd name="connsiteY14" fmla="*/ 117549 h 3010794"/>
                <a:gd name="connsiteX15" fmla="*/ 207904 w 1455679"/>
                <a:gd name="connsiteY15" fmla="*/ 47699 h 3010794"/>
                <a:gd name="connsiteX16" fmla="*/ 305537 w 1455679"/>
                <a:gd name="connsiteY16" fmla="*/ 17540 h 3010794"/>
                <a:gd name="connsiteX17" fmla="*/ 385704 w 1455679"/>
                <a:gd name="connsiteY17" fmla="*/ 74 h 3010794"/>
                <a:gd name="connsiteX18" fmla="*/ 495245 w 1455679"/>
                <a:gd name="connsiteY18" fmla="*/ 17540 h 3010794"/>
                <a:gd name="connsiteX19" fmla="*/ 595254 w 1455679"/>
                <a:gd name="connsiteY19" fmla="*/ 37385 h 3010794"/>
                <a:gd name="connsiteX20" fmla="*/ 685734 w 1455679"/>
                <a:gd name="connsiteY20" fmla="*/ 72307 h 3010794"/>
                <a:gd name="connsiteX21" fmla="*/ 796059 w 1455679"/>
                <a:gd name="connsiteY21" fmla="*/ 123108 h 3010794"/>
                <a:gd name="connsiteX22" fmla="*/ 900054 w 1455679"/>
                <a:gd name="connsiteY22" fmla="*/ 158824 h 3010794"/>
                <a:gd name="connsiteX23" fmla="*/ 1018317 w 1455679"/>
                <a:gd name="connsiteY23" fmla="*/ 245350 h 3010794"/>
                <a:gd name="connsiteX24" fmla="*/ 1122305 w 1455679"/>
                <a:gd name="connsiteY24" fmla="*/ 319968 h 3010794"/>
                <a:gd name="connsiteX25" fmla="*/ 1239780 w 1455679"/>
                <a:gd name="connsiteY25" fmla="*/ 419973 h 3010794"/>
                <a:gd name="connsiteX26" fmla="*/ 1316772 w 1455679"/>
                <a:gd name="connsiteY26" fmla="*/ 508873 h 3010794"/>
                <a:gd name="connsiteX27" fmla="*/ 1396937 w 1455679"/>
                <a:gd name="connsiteY27" fmla="*/ 600943 h 3010794"/>
                <a:gd name="connsiteX28" fmla="*/ 1455679 w 1455679"/>
                <a:gd name="connsiteY28" fmla="*/ 682699 h 3010794"/>
                <a:gd name="connsiteX0" fmla="*/ 890538 w 1455679"/>
                <a:gd name="connsiteY0" fmla="*/ 3012008 h 3012008"/>
                <a:gd name="connsiteX1" fmla="*/ 712729 w 1455679"/>
                <a:gd name="connsiteY1" fmla="*/ 2700038 h 3012008"/>
                <a:gd name="connsiteX2" fmla="*/ 607954 w 1455679"/>
                <a:gd name="connsiteY2" fmla="*/ 2487313 h 3012008"/>
                <a:gd name="connsiteX3" fmla="*/ 525404 w 1455679"/>
                <a:gd name="connsiteY3" fmla="*/ 2322213 h 3012008"/>
                <a:gd name="connsiteX4" fmla="*/ 414279 w 1455679"/>
                <a:gd name="connsiteY4" fmla="*/ 2055513 h 3012008"/>
                <a:gd name="connsiteX5" fmla="*/ 303154 w 1455679"/>
                <a:gd name="connsiteY5" fmla="*/ 1795163 h 3012008"/>
                <a:gd name="connsiteX6" fmla="*/ 220604 w 1455679"/>
                <a:gd name="connsiteY6" fmla="*/ 1544338 h 3012008"/>
                <a:gd name="connsiteX7" fmla="*/ 153929 w 1455679"/>
                <a:gd name="connsiteY7" fmla="*/ 1306213 h 3012008"/>
                <a:gd name="connsiteX8" fmla="*/ 80904 w 1455679"/>
                <a:gd name="connsiteY8" fmla="*/ 1036338 h 3012008"/>
                <a:gd name="connsiteX9" fmla="*/ 26929 w 1455679"/>
                <a:gd name="connsiteY9" fmla="*/ 788688 h 3012008"/>
                <a:gd name="connsiteX10" fmla="*/ 4704 w 1455679"/>
                <a:gd name="connsiteY10" fmla="*/ 614063 h 3012008"/>
                <a:gd name="connsiteX11" fmla="*/ 1529 w 1455679"/>
                <a:gd name="connsiteY11" fmla="*/ 436263 h 3012008"/>
                <a:gd name="connsiteX12" fmla="*/ 23754 w 1455679"/>
                <a:gd name="connsiteY12" fmla="*/ 306088 h 3012008"/>
                <a:gd name="connsiteX13" fmla="*/ 61854 w 1455679"/>
                <a:gd name="connsiteY13" fmla="*/ 210838 h 3012008"/>
                <a:gd name="connsiteX14" fmla="*/ 128529 w 1455679"/>
                <a:gd name="connsiteY14" fmla="*/ 118763 h 3012008"/>
                <a:gd name="connsiteX15" fmla="*/ 207904 w 1455679"/>
                <a:gd name="connsiteY15" fmla="*/ 48913 h 3012008"/>
                <a:gd name="connsiteX16" fmla="*/ 305537 w 1455679"/>
                <a:gd name="connsiteY16" fmla="*/ 18754 h 3012008"/>
                <a:gd name="connsiteX17" fmla="*/ 385704 w 1455679"/>
                <a:gd name="connsiteY17" fmla="*/ 1288 h 3012008"/>
                <a:gd name="connsiteX18" fmla="*/ 495245 w 1455679"/>
                <a:gd name="connsiteY18" fmla="*/ 18754 h 3012008"/>
                <a:gd name="connsiteX19" fmla="*/ 595254 w 1455679"/>
                <a:gd name="connsiteY19" fmla="*/ 38599 h 3012008"/>
                <a:gd name="connsiteX20" fmla="*/ 685734 w 1455679"/>
                <a:gd name="connsiteY20" fmla="*/ 73521 h 3012008"/>
                <a:gd name="connsiteX21" fmla="*/ 796059 w 1455679"/>
                <a:gd name="connsiteY21" fmla="*/ 124322 h 3012008"/>
                <a:gd name="connsiteX22" fmla="*/ 900054 w 1455679"/>
                <a:gd name="connsiteY22" fmla="*/ 160038 h 3012008"/>
                <a:gd name="connsiteX23" fmla="*/ 1018317 w 1455679"/>
                <a:gd name="connsiteY23" fmla="*/ 246564 h 3012008"/>
                <a:gd name="connsiteX24" fmla="*/ 1122305 w 1455679"/>
                <a:gd name="connsiteY24" fmla="*/ 321182 h 3012008"/>
                <a:gd name="connsiteX25" fmla="*/ 1239780 w 1455679"/>
                <a:gd name="connsiteY25" fmla="*/ 421187 h 3012008"/>
                <a:gd name="connsiteX26" fmla="*/ 1316772 w 1455679"/>
                <a:gd name="connsiteY26" fmla="*/ 510087 h 3012008"/>
                <a:gd name="connsiteX27" fmla="*/ 1396937 w 1455679"/>
                <a:gd name="connsiteY27" fmla="*/ 602157 h 3012008"/>
                <a:gd name="connsiteX28" fmla="*/ 1455679 w 1455679"/>
                <a:gd name="connsiteY28" fmla="*/ 683913 h 3012008"/>
                <a:gd name="connsiteX0" fmla="*/ 890538 w 1455679"/>
                <a:gd name="connsiteY0" fmla="*/ 3010719 h 3010719"/>
                <a:gd name="connsiteX1" fmla="*/ 712729 w 1455679"/>
                <a:gd name="connsiteY1" fmla="*/ 2698749 h 3010719"/>
                <a:gd name="connsiteX2" fmla="*/ 607954 w 1455679"/>
                <a:gd name="connsiteY2" fmla="*/ 2486024 h 3010719"/>
                <a:gd name="connsiteX3" fmla="*/ 525404 w 1455679"/>
                <a:gd name="connsiteY3" fmla="*/ 2320924 h 3010719"/>
                <a:gd name="connsiteX4" fmla="*/ 414279 w 1455679"/>
                <a:gd name="connsiteY4" fmla="*/ 2054224 h 3010719"/>
                <a:gd name="connsiteX5" fmla="*/ 303154 w 1455679"/>
                <a:gd name="connsiteY5" fmla="*/ 1793874 h 3010719"/>
                <a:gd name="connsiteX6" fmla="*/ 220604 w 1455679"/>
                <a:gd name="connsiteY6" fmla="*/ 1543049 h 3010719"/>
                <a:gd name="connsiteX7" fmla="*/ 153929 w 1455679"/>
                <a:gd name="connsiteY7" fmla="*/ 1304924 h 3010719"/>
                <a:gd name="connsiteX8" fmla="*/ 80904 w 1455679"/>
                <a:gd name="connsiteY8" fmla="*/ 1035049 h 3010719"/>
                <a:gd name="connsiteX9" fmla="*/ 26929 w 1455679"/>
                <a:gd name="connsiteY9" fmla="*/ 787399 h 3010719"/>
                <a:gd name="connsiteX10" fmla="*/ 4704 w 1455679"/>
                <a:gd name="connsiteY10" fmla="*/ 612774 h 3010719"/>
                <a:gd name="connsiteX11" fmla="*/ 1529 w 1455679"/>
                <a:gd name="connsiteY11" fmla="*/ 434974 h 3010719"/>
                <a:gd name="connsiteX12" fmla="*/ 23754 w 1455679"/>
                <a:gd name="connsiteY12" fmla="*/ 304799 h 3010719"/>
                <a:gd name="connsiteX13" fmla="*/ 61854 w 1455679"/>
                <a:gd name="connsiteY13" fmla="*/ 209549 h 3010719"/>
                <a:gd name="connsiteX14" fmla="*/ 128529 w 1455679"/>
                <a:gd name="connsiteY14" fmla="*/ 117474 h 3010719"/>
                <a:gd name="connsiteX15" fmla="*/ 207904 w 1455679"/>
                <a:gd name="connsiteY15" fmla="*/ 47624 h 3010719"/>
                <a:gd name="connsiteX16" fmla="*/ 385704 w 1455679"/>
                <a:gd name="connsiteY16" fmla="*/ -1 h 3010719"/>
                <a:gd name="connsiteX17" fmla="*/ 495245 w 1455679"/>
                <a:gd name="connsiteY17" fmla="*/ 17465 h 3010719"/>
                <a:gd name="connsiteX18" fmla="*/ 595254 w 1455679"/>
                <a:gd name="connsiteY18" fmla="*/ 37310 h 3010719"/>
                <a:gd name="connsiteX19" fmla="*/ 685734 w 1455679"/>
                <a:gd name="connsiteY19" fmla="*/ 72232 h 3010719"/>
                <a:gd name="connsiteX20" fmla="*/ 796059 w 1455679"/>
                <a:gd name="connsiteY20" fmla="*/ 123033 h 3010719"/>
                <a:gd name="connsiteX21" fmla="*/ 900054 w 1455679"/>
                <a:gd name="connsiteY21" fmla="*/ 158749 h 3010719"/>
                <a:gd name="connsiteX22" fmla="*/ 1018317 w 1455679"/>
                <a:gd name="connsiteY22" fmla="*/ 245275 h 3010719"/>
                <a:gd name="connsiteX23" fmla="*/ 1122305 w 1455679"/>
                <a:gd name="connsiteY23" fmla="*/ 319893 h 3010719"/>
                <a:gd name="connsiteX24" fmla="*/ 1239780 w 1455679"/>
                <a:gd name="connsiteY24" fmla="*/ 419898 h 3010719"/>
                <a:gd name="connsiteX25" fmla="*/ 1316772 w 1455679"/>
                <a:gd name="connsiteY25" fmla="*/ 508798 h 3010719"/>
                <a:gd name="connsiteX26" fmla="*/ 1396937 w 1455679"/>
                <a:gd name="connsiteY26" fmla="*/ 600868 h 3010719"/>
                <a:gd name="connsiteX27" fmla="*/ 1455679 w 1455679"/>
                <a:gd name="connsiteY27" fmla="*/ 682624 h 3010719"/>
                <a:gd name="connsiteX0" fmla="*/ 890538 w 1455679"/>
                <a:gd name="connsiteY0" fmla="*/ 3011382 h 3011382"/>
                <a:gd name="connsiteX1" fmla="*/ 712729 w 1455679"/>
                <a:gd name="connsiteY1" fmla="*/ 2699412 h 3011382"/>
                <a:gd name="connsiteX2" fmla="*/ 607954 w 1455679"/>
                <a:gd name="connsiteY2" fmla="*/ 2486687 h 3011382"/>
                <a:gd name="connsiteX3" fmla="*/ 525404 w 1455679"/>
                <a:gd name="connsiteY3" fmla="*/ 2321587 h 3011382"/>
                <a:gd name="connsiteX4" fmla="*/ 414279 w 1455679"/>
                <a:gd name="connsiteY4" fmla="*/ 2054887 h 3011382"/>
                <a:gd name="connsiteX5" fmla="*/ 303154 w 1455679"/>
                <a:gd name="connsiteY5" fmla="*/ 1794537 h 3011382"/>
                <a:gd name="connsiteX6" fmla="*/ 220604 w 1455679"/>
                <a:gd name="connsiteY6" fmla="*/ 1543712 h 3011382"/>
                <a:gd name="connsiteX7" fmla="*/ 153929 w 1455679"/>
                <a:gd name="connsiteY7" fmla="*/ 1305587 h 3011382"/>
                <a:gd name="connsiteX8" fmla="*/ 80904 w 1455679"/>
                <a:gd name="connsiteY8" fmla="*/ 1035712 h 3011382"/>
                <a:gd name="connsiteX9" fmla="*/ 26929 w 1455679"/>
                <a:gd name="connsiteY9" fmla="*/ 788062 h 3011382"/>
                <a:gd name="connsiteX10" fmla="*/ 4704 w 1455679"/>
                <a:gd name="connsiteY10" fmla="*/ 613437 h 3011382"/>
                <a:gd name="connsiteX11" fmla="*/ 1529 w 1455679"/>
                <a:gd name="connsiteY11" fmla="*/ 435637 h 3011382"/>
                <a:gd name="connsiteX12" fmla="*/ 23754 w 1455679"/>
                <a:gd name="connsiteY12" fmla="*/ 305462 h 3011382"/>
                <a:gd name="connsiteX13" fmla="*/ 61854 w 1455679"/>
                <a:gd name="connsiteY13" fmla="*/ 210212 h 3011382"/>
                <a:gd name="connsiteX14" fmla="*/ 128529 w 1455679"/>
                <a:gd name="connsiteY14" fmla="*/ 118137 h 3011382"/>
                <a:gd name="connsiteX15" fmla="*/ 207904 w 1455679"/>
                <a:gd name="connsiteY15" fmla="*/ 48287 h 3011382"/>
                <a:gd name="connsiteX16" fmla="*/ 385704 w 1455679"/>
                <a:gd name="connsiteY16" fmla="*/ 662 h 3011382"/>
                <a:gd name="connsiteX17" fmla="*/ 495245 w 1455679"/>
                <a:gd name="connsiteY17" fmla="*/ 18128 h 3011382"/>
                <a:gd name="connsiteX18" fmla="*/ 595254 w 1455679"/>
                <a:gd name="connsiteY18" fmla="*/ 37973 h 3011382"/>
                <a:gd name="connsiteX19" fmla="*/ 685734 w 1455679"/>
                <a:gd name="connsiteY19" fmla="*/ 72895 h 3011382"/>
                <a:gd name="connsiteX20" fmla="*/ 796059 w 1455679"/>
                <a:gd name="connsiteY20" fmla="*/ 123696 h 3011382"/>
                <a:gd name="connsiteX21" fmla="*/ 900054 w 1455679"/>
                <a:gd name="connsiteY21" fmla="*/ 159412 h 3011382"/>
                <a:gd name="connsiteX22" fmla="*/ 1018317 w 1455679"/>
                <a:gd name="connsiteY22" fmla="*/ 245938 h 3011382"/>
                <a:gd name="connsiteX23" fmla="*/ 1122305 w 1455679"/>
                <a:gd name="connsiteY23" fmla="*/ 320556 h 3011382"/>
                <a:gd name="connsiteX24" fmla="*/ 1239780 w 1455679"/>
                <a:gd name="connsiteY24" fmla="*/ 420561 h 3011382"/>
                <a:gd name="connsiteX25" fmla="*/ 1316772 w 1455679"/>
                <a:gd name="connsiteY25" fmla="*/ 509461 h 3011382"/>
                <a:gd name="connsiteX26" fmla="*/ 1396937 w 1455679"/>
                <a:gd name="connsiteY26" fmla="*/ 601531 h 3011382"/>
                <a:gd name="connsiteX27" fmla="*/ 1455679 w 1455679"/>
                <a:gd name="connsiteY27" fmla="*/ 683287 h 3011382"/>
                <a:gd name="connsiteX0" fmla="*/ 890538 w 1455679"/>
                <a:gd name="connsiteY0" fmla="*/ 3010719 h 3010719"/>
                <a:gd name="connsiteX1" fmla="*/ 712729 w 1455679"/>
                <a:gd name="connsiteY1" fmla="*/ 2698749 h 3010719"/>
                <a:gd name="connsiteX2" fmla="*/ 607954 w 1455679"/>
                <a:gd name="connsiteY2" fmla="*/ 2486024 h 3010719"/>
                <a:gd name="connsiteX3" fmla="*/ 525404 w 1455679"/>
                <a:gd name="connsiteY3" fmla="*/ 2320924 h 3010719"/>
                <a:gd name="connsiteX4" fmla="*/ 414279 w 1455679"/>
                <a:gd name="connsiteY4" fmla="*/ 2054224 h 3010719"/>
                <a:gd name="connsiteX5" fmla="*/ 303154 w 1455679"/>
                <a:gd name="connsiteY5" fmla="*/ 1793874 h 3010719"/>
                <a:gd name="connsiteX6" fmla="*/ 220604 w 1455679"/>
                <a:gd name="connsiteY6" fmla="*/ 1543049 h 3010719"/>
                <a:gd name="connsiteX7" fmla="*/ 153929 w 1455679"/>
                <a:gd name="connsiteY7" fmla="*/ 1304924 h 3010719"/>
                <a:gd name="connsiteX8" fmla="*/ 80904 w 1455679"/>
                <a:gd name="connsiteY8" fmla="*/ 1035049 h 3010719"/>
                <a:gd name="connsiteX9" fmla="*/ 26929 w 1455679"/>
                <a:gd name="connsiteY9" fmla="*/ 787399 h 3010719"/>
                <a:gd name="connsiteX10" fmla="*/ 4704 w 1455679"/>
                <a:gd name="connsiteY10" fmla="*/ 612774 h 3010719"/>
                <a:gd name="connsiteX11" fmla="*/ 1529 w 1455679"/>
                <a:gd name="connsiteY11" fmla="*/ 434974 h 3010719"/>
                <a:gd name="connsiteX12" fmla="*/ 23754 w 1455679"/>
                <a:gd name="connsiteY12" fmla="*/ 304799 h 3010719"/>
                <a:gd name="connsiteX13" fmla="*/ 61854 w 1455679"/>
                <a:gd name="connsiteY13" fmla="*/ 209549 h 3010719"/>
                <a:gd name="connsiteX14" fmla="*/ 128529 w 1455679"/>
                <a:gd name="connsiteY14" fmla="*/ 117474 h 3010719"/>
                <a:gd name="connsiteX15" fmla="*/ 207904 w 1455679"/>
                <a:gd name="connsiteY15" fmla="*/ 47624 h 3010719"/>
                <a:gd name="connsiteX16" fmla="*/ 385704 w 1455679"/>
                <a:gd name="connsiteY16" fmla="*/ -1 h 3010719"/>
                <a:gd name="connsiteX17" fmla="*/ 495245 w 1455679"/>
                <a:gd name="connsiteY17" fmla="*/ 17465 h 3010719"/>
                <a:gd name="connsiteX18" fmla="*/ 595254 w 1455679"/>
                <a:gd name="connsiteY18" fmla="*/ 37310 h 3010719"/>
                <a:gd name="connsiteX19" fmla="*/ 685734 w 1455679"/>
                <a:gd name="connsiteY19" fmla="*/ 72232 h 3010719"/>
                <a:gd name="connsiteX20" fmla="*/ 796059 w 1455679"/>
                <a:gd name="connsiteY20" fmla="*/ 123033 h 3010719"/>
                <a:gd name="connsiteX21" fmla="*/ 900054 w 1455679"/>
                <a:gd name="connsiteY21" fmla="*/ 158749 h 3010719"/>
                <a:gd name="connsiteX22" fmla="*/ 1018317 w 1455679"/>
                <a:gd name="connsiteY22" fmla="*/ 245275 h 3010719"/>
                <a:gd name="connsiteX23" fmla="*/ 1122305 w 1455679"/>
                <a:gd name="connsiteY23" fmla="*/ 319893 h 3010719"/>
                <a:gd name="connsiteX24" fmla="*/ 1239780 w 1455679"/>
                <a:gd name="connsiteY24" fmla="*/ 419898 h 3010719"/>
                <a:gd name="connsiteX25" fmla="*/ 1316772 w 1455679"/>
                <a:gd name="connsiteY25" fmla="*/ 508798 h 3010719"/>
                <a:gd name="connsiteX26" fmla="*/ 1396937 w 1455679"/>
                <a:gd name="connsiteY26" fmla="*/ 600868 h 3010719"/>
                <a:gd name="connsiteX27" fmla="*/ 1455679 w 1455679"/>
                <a:gd name="connsiteY27" fmla="*/ 682624 h 3010719"/>
                <a:gd name="connsiteX0" fmla="*/ 890538 w 1455679"/>
                <a:gd name="connsiteY0" fmla="*/ 3011653 h 3011653"/>
                <a:gd name="connsiteX1" fmla="*/ 712729 w 1455679"/>
                <a:gd name="connsiteY1" fmla="*/ 2699683 h 3011653"/>
                <a:gd name="connsiteX2" fmla="*/ 607954 w 1455679"/>
                <a:gd name="connsiteY2" fmla="*/ 2486958 h 3011653"/>
                <a:gd name="connsiteX3" fmla="*/ 525404 w 1455679"/>
                <a:gd name="connsiteY3" fmla="*/ 2321858 h 3011653"/>
                <a:gd name="connsiteX4" fmla="*/ 414279 w 1455679"/>
                <a:gd name="connsiteY4" fmla="*/ 2055158 h 3011653"/>
                <a:gd name="connsiteX5" fmla="*/ 303154 w 1455679"/>
                <a:gd name="connsiteY5" fmla="*/ 1794808 h 3011653"/>
                <a:gd name="connsiteX6" fmla="*/ 220604 w 1455679"/>
                <a:gd name="connsiteY6" fmla="*/ 1543983 h 3011653"/>
                <a:gd name="connsiteX7" fmla="*/ 153929 w 1455679"/>
                <a:gd name="connsiteY7" fmla="*/ 1305858 h 3011653"/>
                <a:gd name="connsiteX8" fmla="*/ 80904 w 1455679"/>
                <a:gd name="connsiteY8" fmla="*/ 1035983 h 3011653"/>
                <a:gd name="connsiteX9" fmla="*/ 26929 w 1455679"/>
                <a:gd name="connsiteY9" fmla="*/ 788333 h 3011653"/>
                <a:gd name="connsiteX10" fmla="*/ 4704 w 1455679"/>
                <a:gd name="connsiteY10" fmla="*/ 613708 h 3011653"/>
                <a:gd name="connsiteX11" fmla="*/ 1529 w 1455679"/>
                <a:gd name="connsiteY11" fmla="*/ 435908 h 3011653"/>
                <a:gd name="connsiteX12" fmla="*/ 23754 w 1455679"/>
                <a:gd name="connsiteY12" fmla="*/ 305733 h 3011653"/>
                <a:gd name="connsiteX13" fmla="*/ 61854 w 1455679"/>
                <a:gd name="connsiteY13" fmla="*/ 210483 h 3011653"/>
                <a:gd name="connsiteX14" fmla="*/ 128529 w 1455679"/>
                <a:gd name="connsiteY14" fmla="*/ 118408 h 3011653"/>
                <a:gd name="connsiteX15" fmla="*/ 241255 w 1455679"/>
                <a:gd name="connsiteY15" fmla="*/ 48558 h 3011653"/>
                <a:gd name="connsiteX16" fmla="*/ 385704 w 1455679"/>
                <a:gd name="connsiteY16" fmla="*/ 933 h 3011653"/>
                <a:gd name="connsiteX17" fmla="*/ 495245 w 1455679"/>
                <a:gd name="connsiteY17" fmla="*/ 18399 h 3011653"/>
                <a:gd name="connsiteX18" fmla="*/ 595254 w 1455679"/>
                <a:gd name="connsiteY18" fmla="*/ 38244 h 3011653"/>
                <a:gd name="connsiteX19" fmla="*/ 685734 w 1455679"/>
                <a:gd name="connsiteY19" fmla="*/ 73166 h 3011653"/>
                <a:gd name="connsiteX20" fmla="*/ 796059 w 1455679"/>
                <a:gd name="connsiteY20" fmla="*/ 123967 h 3011653"/>
                <a:gd name="connsiteX21" fmla="*/ 900054 w 1455679"/>
                <a:gd name="connsiteY21" fmla="*/ 159683 h 3011653"/>
                <a:gd name="connsiteX22" fmla="*/ 1018317 w 1455679"/>
                <a:gd name="connsiteY22" fmla="*/ 246209 h 3011653"/>
                <a:gd name="connsiteX23" fmla="*/ 1122305 w 1455679"/>
                <a:gd name="connsiteY23" fmla="*/ 320827 h 3011653"/>
                <a:gd name="connsiteX24" fmla="*/ 1239780 w 1455679"/>
                <a:gd name="connsiteY24" fmla="*/ 420832 h 3011653"/>
                <a:gd name="connsiteX25" fmla="*/ 1316772 w 1455679"/>
                <a:gd name="connsiteY25" fmla="*/ 509732 h 3011653"/>
                <a:gd name="connsiteX26" fmla="*/ 1396937 w 1455679"/>
                <a:gd name="connsiteY26" fmla="*/ 601802 h 3011653"/>
                <a:gd name="connsiteX27" fmla="*/ 1455679 w 1455679"/>
                <a:gd name="connsiteY27" fmla="*/ 683558 h 3011653"/>
                <a:gd name="connsiteX0" fmla="*/ 890538 w 1455679"/>
                <a:gd name="connsiteY0" fmla="*/ 2995742 h 2995742"/>
                <a:gd name="connsiteX1" fmla="*/ 712729 w 1455679"/>
                <a:gd name="connsiteY1" fmla="*/ 2683772 h 2995742"/>
                <a:gd name="connsiteX2" fmla="*/ 607954 w 1455679"/>
                <a:gd name="connsiteY2" fmla="*/ 2471047 h 2995742"/>
                <a:gd name="connsiteX3" fmla="*/ 525404 w 1455679"/>
                <a:gd name="connsiteY3" fmla="*/ 2305947 h 2995742"/>
                <a:gd name="connsiteX4" fmla="*/ 414279 w 1455679"/>
                <a:gd name="connsiteY4" fmla="*/ 2039247 h 2995742"/>
                <a:gd name="connsiteX5" fmla="*/ 303154 w 1455679"/>
                <a:gd name="connsiteY5" fmla="*/ 1778897 h 2995742"/>
                <a:gd name="connsiteX6" fmla="*/ 220604 w 1455679"/>
                <a:gd name="connsiteY6" fmla="*/ 1528072 h 2995742"/>
                <a:gd name="connsiteX7" fmla="*/ 153929 w 1455679"/>
                <a:gd name="connsiteY7" fmla="*/ 1289947 h 2995742"/>
                <a:gd name="connsiteX8" fmla="*/ 80904 w 1455679"/>
                <a:gd name="connsiteY8" fmla="*/ 1020072 h 2995742"/>
                <a:gd name="connsiteX9" fmla="*/ 26929 w 1455679"/>
                <a:gd name="connsiteY9" fmla="*/ 772422 h 2995742"/>
                <a:gd name="connsiteX10" fmla="*/ 4704 w 1455679"/>
                <a:gd name="connsiteY10" fmla="*/ 597797 h 2995742"/>
                <a:gd name="connsiteX11" fmla="*/ 1529 w 1455679"/>
                <a:gd name="connsiteY11" fmla="*/ 419997 h 2995742"/>
                <a:gd name="connsiteX12" fmla="*/ 23754 w 1455679"/>
                <a:gd name="connsiteY12" fmla="*/ 289822 h 2995742"/>
                <a:gd name="connsiteX13" fmla="*/ 61854 w 1455679"/>
                <a:gd name="connsiteY13" fmla="*/ 194572 h 2995742"/>
                <a:gd name="connsiteX14" fmla="*/ 128529 w 1455679"/>
                <a:gd name="connsiteY14" fmla="*/ 102497 h 2995742"/>
                <a:gd name="connsiteX15" fmla="*/ 241255 w 1455679"/>
                <a:gd name="connsiteY15" fmla="*/ 32647 h 2995742"/>
                <a:gd name="connsiteX16" fmla="*/ 385704 w 1455679"/>
                <a:gd name="connsiteY16" fmla="*/ 7258 h 2995742"/>
                <a:gd name="connsiteX17" fmla="*/ 495245 w 1455679"/>
                <a:gd name="connsiteY17" fmla="*/ 2488 h 2995742"/>
                <a:gd name="connsiteX18" fmla="*/ 595254 w 1455679"/>
                <a:gd name="connsiteY18" fmla="*/ 22333 h 2995742"/>
                <a:gd name="connsiteX19" fmla="*/ 685734 w 1455679"/>
                <a:gd name="connsiteY19" fmla="*/ 57255 h 2995742"/>
                <a:gd name="connsiteX20" fmla="*/ 796059 w 1455679"/>
                <a:gd name="connsiteY20" fmla="*/ 108056 h 2995742"/>
                <a:gd name="connsiteX21" fmla="*/ 900054 w 1455679"/>
                <a:gd name="connsiteY21" fmla="*/ 143772 h 2995742"/>
                <a:gd name="connsiteX22" fmla="*/ 1018317 w 1455679"/>
                <a:gd name="connsiteY22" fmla="*/ 230298 h 2995742"/>
                <a:gd name="connsiteX23" fmla="*/ 1122305 w 1455679"/>
                <a:gd name="connsiteY23" fmla="*/ 304916 h 2995742"/>
                <a:gd name="connsiteX24" fmla="*/ 1239780 w 1455679"/>
                <a:gd name="connsiteY24" fmla="*/ 404921 h 2995742"/>
                <a:gd name="connsiteX25" fmla="*/ 1316772 w 1455679"/>
                <a:gd name="connsiteY25" fmla="*/ 493821 h 2995742"/>
                <a:gd name="connsiteX26" fmla="*/ 1396937 w 1455679"/>
                <a:gd name="connsiteY26" fmla="*/ 585891 h 2995742"/>
                <a:gd name="connsiteX27" fmla="*/ 1455679 w 1455679"/>
                <a:gd name="connsiteY27" fmla="*/ 667647 h 2995742"/>
                <a:gd name="connsiteX0" fmla="*/ 890538 w 1455679"/>
                <a:gd name="connsiteY0" fmla="*/ 3006431 h 3006431"/>
                <a:gd name="connsiteX1" fmla="*/ 712729 w 1455679"/>
                <a:gd name="connsiteY1" fmla="*/ 2694461 h 3006431"/>
                <a:gd name="connsiteX2" fmla="*/ 607954 w 1455679"/>
                <a:gd name="connsiteY2" fmla="*/ 2481736 h 3006431"/>
                <a:gd name="connsiteX3" fmla="*/ 525404 w 1455679"/>
                <a:gd name="connsiteY3" fmla="*/ 2316636 h 3006431"/>
                <a:gd name="connsiteX4" fmla="*/ 414279 w 1455679"/>
                <a:gd name="connsiteY4" fmla="*/ 2049936 h 3006431"/>
                <a:gd name="connsiteX5" fmla="*/ 303154 w 1455679"/>
                <a:gd name="connsiteY5" fmla="*/ 1789586 h 3006431"/>
                <a:gd name="connsiteX6" fmla="*/ 220604 w 1455679"/>
                <a:gd name="connsiteY6" fmla="*/ 1538761 h 3006431"/>
                <a:gd name="connsiteX7" fmla="*/ 153929 w 1455679"/>
                <a:gd name="connsiteY7" fmla="*/ 1300636 h 3006431"/>
                <a:gd name="connsiteX8" fmla="*/ 80904 w 1455679"/>
                <a:gd name="connsiteY8" fmla="*/ 1030761 h 3006431"/>
                <a:gd name="connsiteX9" fmla="*/ 26929 w 1455679"/>
                <a:gd name="connsiteY9" fmla="*/ 783111 h 3006431"/>
                <a:gd name="connsiteX10" fmla="*/ 4704 w 1455679"/>
                <a:gd name="connsiteY10" fmla="*/ 608486 h 3006431"/>
                <a:gd name="connsiteX11" fmla="*/ 1529 w 1455679"/>
                <a:gd name="connsiteY11" fmla="*/ 430686 h 3006431"/>
                <a:gd name="connsiteX12" fmla="*/ 23754 w 1455679"/>
                <a:gd name="connsiteY12" fmla="*/ 300511 h 3006431"/>
                <a:gd name="connsiteX13" fmla="*/ 61854 w 1455679"/>
                <a:gd name="connsiteY13" fmla="*/ 205261 h 3006431"/>
                <a:gd name="connsiteX14" fmla="*/ 128529 w 1455679"/>
                <a:gd name="connsiteY14" fmla="*/ 113186 h 3006431"/>
                <a:gd name="connsiteX15" fmla="*/ 241255 w 1455679"/>
                <a:gd name="connsiteY15" fmla="*/ 43336 h 3006431"/>
                <a:gd name="connsiteX16" fmla="*/ 380144 w 1455679"/>
                <a:gd name="connsiteY16" fmla="*/ 1270 h 3006431"/>
                <a:gd name="connsiteX17" fmla="*/ 495245 w 1455679"/>
                <a:gd name="connsiteY17" fmla="*/ 13177 h 3006431"/>
                <a:gd name="connsiteX18" fmla="*/ 595254 w 1455679"/>
                <a:gd name="connsiteY18" fmla="*/ 33022 h 3006431"/>
                <a:gd name="connsiteX19" fmla="*/ 685734 w 1455679"/>
                <a:gd name="connsiteY19" fmla="*/ 67944 h 3006431"/>
                <a:gd name="connsiteX20" fmla="*/ 796059 w 1455679"/>
                <a:gd name="connsiteY20" fmla="*/ 118745 h 3006431"/>
                <a:gd name="connsiteX21" fmla="*/ 900054 w 1455679"/>
                <a:gd name="connsiteY21" fmla="*/ 154461 h 3006431"/>
                <a:gd name="connsiteX22" fmla="*/ 1018317 w 1455679"/>
                <a:gd name="connsiteY22" fmla="*/ 240987 h 3006431"/>
                <a:gd name="connsiteX23" fmla="*/ 1122305 w 1455679"/>
                <a:gd name="connsiteY23" fmla="*/ 315605 h 3006431"/>
                <a:gd name="connsiteX24" fmla="*/ 1239780 w 1455679"/>
                <a:gd name="connsiteY24" fmla="*/ 415610 h 3006431"/>
                <a:gd name="connsiteX25" fmla="*/ 1316772 w 1455679"/>
                <a:gd name="connsiteY25" fmla="*/ 504510 h 3006431"/>
                <a:gd name="connsiteX26" fmla="*/ 1396937 w 1455679"/>
                <a:gd name="connsiteY26" fmla="*/ 596580 h 3006431"/>
                <a:gd name="connsiteX27" fmla="*/ 1455679 w 1455679"/>
                <a:gd name="connsiteY27" fmla="*/ 678336 h 3006431"/>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900054 w 1455679"/>
                <a:gd name="connsiteY21" fmla="*/ 149596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88935 w 1455679"/>
                <a:gd name="connsiteY21" fmla="*/ 166273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49599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55157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60715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60715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60715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84721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60715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 name="connsiteX0" fmla="*/ 890538 w 1455679"/>
                <a:gd name="connsiteY0" fmla="*/ 3001566 h 3001566"/>
                <a:gd name="connsiteX1" fmla="*/ 712729 w 1455679"/>
                <a:gd name="connsiteY1" fmla="*/ 2689596 h 3001566"/>
                <a:gd name="connsiteX2" fmla="*/ 607954 w 1455679"/>
                <a:gd name="connsiteY2" fmla="*/ 2476871 h 3001566"/>
                <a:gd name="connsiteX3" fmla="*/ 525404 w 1455679"/>
                <a:gd name="connsiteY3" fmla="*/ 2311771 h 3001566"/>
                <a:gd name="connsiteX4" fmla="*/ 414279 w 1455679"/>
                <a:gd name="connsiteY4" fmla="*/ 2045071 h 3001566"/>
                <a:gd name="connsiteX5" fmla="*/ 303154 w 1455679"/>
                <a:gd name="connsiteY5" fmla="*/ 1779162 h 3001566"/>
                <a:gd name="connsiteX6" fmla="*/ 220604 w 1455679"/>
                <a:gd name="connsiteY6" fmla="*/ 1533896 h 3001566"/>
                <a:gd name="connsiteX7" fmla="*/ 153929 w 1455679"/>
                <a:gd name="connsiteY7" fmla="*/ 1295771 h 3001566"/>
                <a:gd name="connsiteX8" fmla="*/ 80904 w 1455679"/>
                <a:gd name="connsiteY8" fmla="*/ 1025896 h 3001566"/>
                <a:gd name="connsiteX9" fmla="*/ 26929 w 1455679"/>
                <a:gd name="connsiteY9" fmla="*/ 778246 h 3001566"/>
                <a:gd name="connsiteX10" fmla="*/ 4704 w 1455679"/>
                <a:gd name="connsiteY10" fmla="*/ 603621 h 3001566"/>
                <a:gd name="connsiteX11" fmla="*/ 1529 w 1455679"/>
                <a:gd name="connsiteY11" fmla="*/ 425821 h 3001566"/>
                <a:gd name="connsiteX12" fmla="*/ 23754 w 1455679"/>
                <a:gd name="connsiteY12" fmla="*/ 295646 h 3001566"/>
                <a:gd name="connsiteX13" fmla="*/ 61854 w 1455679"/>
                <a:gd name="connsiteY13" fmla="*/ 200396 h 3001566"/>
                <a:gd name="connsiteX14" fmla="*/ 128529 w 1455679"/>
                <a:gd name="connsiteY14" fmla="*/ 108321 h 3001566"/>
                <a:gd name="connsiteX15" fmla="*/ 241255 w 1455679"/>
                <a:gd name="connsiteY15" fmla="*/ 38471 h 3001566"/>
                <a:gd name="connsiteX16" fmla="*/ 380144 w 1455679"/>
                <a:gd name="connsiteY16" fmla="*/ 1963 h 3001566"/>
                <a:gd name="connsiteX17" fmla="*/ 495245 w 1455679"/>
                <a:gd name="connsiteY17" fmla="*/ 8312 h 3001566"/>
                <a:gd name="connsiteX18" fmla="*/ 595254 w 1455679"/>
                <a:gd name="connsiteY18" fmla="*/ 28157 h 3001566"/>
                <a:gd name="connsiteX19" fmla="*/ 685734 w 1455679"/>
                <a:gd name="connsiteY19" fmla="*/ 63079 h 3001566"/>
                <a:gd name="connsiteX20" fmla="*/ 796059 w 1455679"/>
                <a:gd name="connsiteY20" fmla="*/ 113880 h 3001566"/>
                <a:gd name="connsiteX21" fmla="*/ 894493 w 1455679"/>
                <a:gd name="connsiteY21" fmla="*/ 160715 h 3001566"/>
                <a:gd name="connsiteX22" fmla="*/ 1018317 w 1455679"/>
                <a:gd name="connsiteY22" fmla="*/ 236122 h 3001566"/>
                <a:gd name="connsiteX23" fmla="*/ 1122305 w 1455679"/>
                <a:gd name="connsiteY23" fmla="*/ 310740 h 3001566"/>
                <a:gd name="connsiteX24" fmla="*/ 1239780 w 1455679"/>
                <a:gd name="connsiteY24" fmla="*/ 410745 h 3001566"/>
                <a:gd name="connsiteX25" fmla="*/ 1316772 w 1455679"/>
                <a:gd name="connsiteY25" fmla="*/ 499645 h 3001566"/>
                <a:gd name="connsiteX26" fmla="*/ 1396937 w 1455679"/>
                <a:gd name="connsiteY26" fmla="*/ 591715 h 3001566"/>
                <a:gd name="connsiteX27" fmla="*/ 1455679 w 1455679"/>
                <a:gd name="connsiteY27" fmla="*/ 673471 h 3001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55679" h="3001566">
                  <a:moveTo>
                    <a:pt x="890538" y="3001566"/>
                  </a:moveTo>
                  <a:lnTo>
                    <a:pt x="712729" y="2689596"/>
                  </a:lnTo>
                  <a:lnTo>
                    <a:pt x="607954" y="2476871"/>
                  </a:lnTo>
                  <a:cubicBezTo>
                    <a:pt x="576733" y="2413900"/>
                    <a:pt x="557683" y="2383738"/>
                    <a:pt x="525404" y="2311771"/>
                  </a:cubicBezTo>
                  <a:cubicBezTo>
                    <a:pt x="493125" y="2239804"/>
                    <a:pt x="451321" y="2132913"/>
                    <a:pt x="414279" y="2045071"/>
                  </a:cubicBezTo>
                  <a:cubicBezTo>
                    <a:pt x="377237" y="1957229"/>
                    <a:pt x="335433" y="1864358"/>
                    <a:pt x="303154" y="1779162"/>
                  </a:cubicBezTo>
                  <a:cubicBezTo>
                    <a:pt x="270875" y="1693966"/>
                    <a:pt x="245475" y="1615388"/>
                    <a:pt x="220604" y="1533896"/>
                  </a:cubicBezTo>
                  <a:lnTo>
                    <a:pt x="153929" y="1295771"/>
                  </a:lnTo>
                  <a:lnTo>
                    <a:pt x="80904" y="1025896"/>
                  </a:lnTo>
                  <a:lnTo>
                    <a:pt x="26929" y="778246"/>
                  </a:lnTo>
                  <a:cubicBezTo>
                    <a:pt x="13171" y="705750"/>
                    <a:pt x="8937" y="662358"/>
                    <a:pt x="4704" y="603621"/>
                  </a:cubicBezTo>
                  <a:cubicBezTo>
                    <a:pt x="471" y="544884"/>
                    <a:pt x="-1646" y="477150"/>
                    <a:pt x="1529" y="425821"/>
                  </a:cubicBezTo>
                  <a:cubicBezTo>
                    <a:pt x="4704" y="374492"/>
                    <a:pt x="16346" y="339038"/>
                    <a:pt x="23754" y="295646"/>
                  </a:cubicBezTo>
                  <a:lnTo>
                    <a:pt x="61854" y="200396"/>
                  </a:lnTo>
                  <a:cubicBezTo>
                    <a:pt x="79316" y="169175"/>
                    <a:pt x="98629" y="135308"/>
                    <a:pt x="128529" y="108321"/>
                  </a:cubicBezTo>
                  <a:cubicBezTo>
                    <a:pt x="158429" y="81334"/>
                    <a:pt x="199319" y="56197"/>
                    <a:pt x="241255" y="38471"/>
                  </a:cubicBezTo>
                  <a:cubicBezTo>
                    <a:pt x="283191" y="20745"/>
                    <a:pt x="337812" y="6990"/>
                    <a:pt x="380144" y="1963"/>
                  </a:cubicBezTo>
                  <a:cubicBezTo>
                    <a:pt x="422476" y="-3064"/>
                    <a:pt x="458731" y="2490"/>
                    <a:pt x="495245" y="8312"/>
                  </a:cubicBezTo>
                  <a:lnTo>
                    <a:pt x="595254" y="28157"/>
                  </a:lnTo>
                  <a:lnTo>
                    <a:pt x="685734" y="63079"/>
                  </a:lnTo>
                  <a:lnTo>
                    <a:pt x="796059" y="113880"/>
                  </a:lnTo>
                  <a:lnTo>
                    <a:pt x="894493" y="160715"/>
                  </a:lnTo>
                  <a:lnTo>
                    <a:pt x="1018317" y="236122"/>
                  </a:lnTo>
                  <a:cubicBezTo>
                    <a:pt x="1055358" y="258347"/>
                    <a:pt x="1085395" y="281636"/>
                    <a:pt x="1122305" y="310740"/>
                  </a:cubicBezTo>
                  <a:cubicBezTo>
                    <a:pt x="1159215" y="339844"/>
                    <a:pt x="1206443" y="377408"/>
                    <a:pt x="1239780" y="410745"/>
                  </a:cubicBezTo>
                  <a:lnTo>
                    <a:pt x="1316772" y="499645"/>
                  </a:lnTo>
                  <a:lnTo>
                    <a:pt x="1396937" y="591715"/>
                  </a:lnTo>
                  <a:lnTo>
                    <a:pt x="1455679" y="673471"/>
                  </a:lnTo>
                </a:path>
              </a:pathLst>
            </a:custGeom>
            <a:noFill/>
            <a:ln w="88900" cap="rnd"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Freeform 24"/>
            <p:cNvSpPr/>
            <p:nvPr/>
          </p:nvSpPr>
          <p:spPr>
            <a:xfrm>
              <a:off x="1312692" y="3613408"/>
              <a:ext cx="894491" cy="1568471"/>
            </a:xfrm>
            <a:custGeom>
              <a:avLst/>
              <a:gdLst>
                <a:gd name="connsiteX0" fmla="*/ 666496 w 2072640"/>
                <a:gd name="connsiteY0" fmla="*/ 495808 h 3665728"/>
                <a:gd name="connsiteX1" fmla="*/ 727456 w 2072640"/>
                <a:gd name="connsiteY1" fmla="*/ 617728 h 3665728"/>
                <a:gd name="connsiteX2" fmla="*/ 796544 w 2072640"/>
                <a:gd name="connsiteY2" fmla="*/ 751840 h 3665728"/>
                <a:gd name="connsiteX3" fmla="*/ 824992 w 2072640"/>
                <a:gd name="connsiteY3" fmla="*/ 865632 h 3665728"/>
                <a:gd name="connsiteX4" fmla="*/ 833120 w 2072640"/>
                <a:gd name="connsiteY4" fmla="*/ 938784 h 3665728"/>
                <a:gd name="connsiteX5" fmla="*/ 816864 w 2072640"/>
                <a:gd name="connsiteY5" fmla="*/ 1016000 h 3665728"/>
                <a:gd name="connsiteX6" fmla="*/ 759968 w 2072640"/>
                <a:gd name="connsiteY6" fmla="*/ 1060704 h 3665728"/>
                <a:gd name="connsiteX7" fmla="*/ 719328 w 2072640"/>
                <a:gd name="connsiteY7" fmla="*/ 1068832 h 3665728"/>
                <a:gd name="connsiteX8" fmla="*/ 654304 w 2072640"/>
                <a:gd name="connsiteY8" fmla="*/ 1064768 h 3665728"/>
                <a:gd name="connsiteX9" fmla="*/ 597408 w 2072640"/>
                <a:gd name="connsiteY9" fmla="*/ 1040384 h 3665728"/>
                <a:gd name="connsiteX10" fmla="*/ 568960 w 2072640"/>
                <a:gd name="connsiteY10" fmla="*/ 975360 h 3665728"/>
                <a:gd name="connsiteX11" fmla="*/ 548640 w 2072640"/>
                <a:gd name="connsiteY11" fmla="*/ 922528 h 3665728"/>
                <a:gd name="connsiteX12" fmla="*/ 548640 w 2072640"/>
                <a:gd name="connsiteY12" fmla="*/ 833120 h 3665728"/>
                <a:gd name="connsiteX13" fmla="*/ 581152 w 2072640"/>
                <a:gd name="connsiteY13" fmla="*/ 768096 h 3665728"/>
                <a:gd name="connsiteX14" fmla="*/ 593344 w 2072640"/>
                <a:gd name="connsiteY14" fmla="*/ 715264 h 3665728"/>
                <a:gd name="connsiteX15" fmla="*/ 650240 w 2072640"/>
                <a:gd name="connsiteY15" fmla="*/ 674624 h 3665728"/>
                <a:gd name="connsiteX16" fmla="*/ 690880 w 2072640"/>
                <a:gd name="connsiteY16" fmla="*/ 617728 h 3665728"/>
                <a:gd name="connsiteX17" fmla="*/ 784352 w 2072640"/>
                <a:gd name="connsiteY17" fmla="*/ 532384 h 3665728"/>
                <a:gd name="connsiteX18" fmla="*/ 890016 w 2072640"/>
                <a:gd name="connsiteY18" fmla="*/ 438912 h 3665728"/>
                <a:gd name="connsiteX19" fmla="*/ 999744 w 2072640"/>
                <a:gd name="connsiteY19" fmla="*/ 337312 h 3665728"/>
                <a:gd name="connsiteX20" fmla="*/ 1129792 w 2072640"/>
                <a:gd name="connsiteY20" fmla="*/ 243840 h 3665728"/>
                <a:gd name="connsiteX21" fmla="*/ 1300480 w 2072640"/>
                <a:gd name="connsiteY21" fmla="*/ 154432 h 3665728"/>
                <a:gd name="connsiteX22" fmla="*/ 1442720 w 2072640"/>
                <a:gd name="connsiteY22" fmla="*/ 73152 h 3665728"/>
                <a:gd name="connsiteX23" fmla="*/ 1556512 w 2072640"/>
                <a:gd name="connsiteY23" fmla="*/ 32512 h 3665728"/>
                <a:gd name="connsiteX24" fmla="*/ 1645920 w 2072640"/>
                <a:gd name="connsiteY24" fmla="*/ 8128 h 3665728"/>
                <a:gd name="connsiteX25" fmla="*/ 1686560 w 2072640"/>
                <a:gd name="connsiteY25" fmla="*/ 4064 h 3665728"/>
                <a:gd name="connsiteX26" fmla="*/ 1739392 w 2072640"/>
                <a:gd name="connsiteY26" fmla="*/ 4064 h 3665728"/>
                <a:gd name="connsiteX27" fmla="*/ 1755648 w 2072640"/>
                <a:gd name="connsiteY27" fmla="*/ 0 h 3665728"/>
                <a:gd name="connsiteX28" fmla="*/ 1836928 w 2072640"/>
                <a:gd name="connsiteY28" fmla="*/ 12192 h 3665728"/>
                <a:gd name="connsiteX29" fmla="*/ 1897888 w 2072640"/>
                <a:gd name="connsiteY29" fmla="*/ 28448 h 3665728"/>
                <a:gd name="connsiteX30" fmla="*/ 1983232 w 2072640"/>
                <a:gd name="connsiteY30" fmla="*/ 81280 h 3665728"/>
                <a:gd name="connsiteX31" fmla="*/ 2015744 w 2072640"/>
                <a:gd name="connsiteY31" fmla="*/ 134112 h 3665728"/>
                <a:gd name="connsiteX32" fmla="*/ 2048256 w 2072640"/>
                <a:gd name="connsiteY32" fmla="*/ 199136 h 3665728"/>
                <a:gd name="connsiteX33" fmla="*/ 2064512 w 2072640"/>
                <a:gd name="connsiteY33" fmla="*/ 264160 h 3665728"/>
                <a:gd name="connsiteX34" fmla="*/ 2064512 w 2072640"/>
                <a:gd name="connsiteY34" fmla="*/ 321056 h 3665728"/>
                <a:gd name="connsiteX35" fmla="*/ 2072640 w 2072640"/>
                <a:gd name="connsiteY35" fmla="*/ 410464 h 3665728"/>
                <a:gd name="connsiteX36" fmla="*/ 2060448 w 2072640"/>
                <a:gd name="connsiteY36" fmla="*/ 487680 h 3665728"/>
                <a:gd name="connsiteX37" fmla="*/ 2023872 w 2072640"/>
                <a:gd name="connsiteY37" fmla="*/ 589280 h 3665728"/>
                <a:gd name="connsiteX38" fmla="*/ 1975104 w 2072640"/>
                <a:gd name="connsiteY38" fmla="*/ 739648 h 3665728"/>
                <a:gd name="connsiteX39" fmla="*/ 1926336 w 2072640"/>
                <a:gd name="connsiteY39" fmla="*/ 885952 h 3665728"/>
                <a:gd name="connsiteX40" fmla="*/ 1845056 w 2072640"/>
                <a:gd name="connsiteY40" fmla="*/ 1020064 h 3665728"/>
                <a:gd name="connsiteX41" fmla="*/ 1759712 w 2072640"/>
                <a:gd name="connsiteY41" fmla="*/ 1154176 h 3665728"/>
                <a:gd name="connsiteX42" fmla="*/ 1670304 w 2072640"/>
                <a:gd name="connsiteY42" fmla="*/ 1337056 h 3665728"/>
                <a:gd name="connsiteX43" fmla="*/ 1552448 w 2072640"/>
                <a:gd name="connsiteY43" fmla="*/ 1503680 h 3665728"/>
                <a:gd name="connsiteX44" fmla="*/ 1381760 w 2072640"/>
                <a:gd name="connsiteY44" fmla="*/ 1767840 h 3665728"/>
                <a:gd name="connsiteX45" fmla="*/ 1247648 w 2072640"/>
                <a:gd name="connsiteY45" fmla="*/ 1946656 h 3665728"/>
                <a:gd name="connsiteX46" fmla="*/ 1060704 w 2072640"/>
                <a:gd name="connsiteY46" fmla="*/ 2186432 h 3665728"/>
                <a:gd name="connsiteX47" fmla="*/ 898144 w 2072640"/>
                <a:gd name="connsiteY47" fmla="*/ 2397760 h 3665728"/>
                <a:gd name="connsiteX48" fmla="*/ 548640 w 2072640"/>
                <a:gd name="connsiteY48" fmla="*/ 2852928 h 3665728"/>
                <a:gd name="connsiteX49" fmla="*/ 308864 w 2072640"/>
                <a:gd name="connsiteY49" fmla="*/ 3165856 h 3665728"/>
                <a:gd name="connsiteX50" fmla="*/ 65024 w 2072640"/>
                <a:gd name="connsiteY50" fmla="*/ 3551936 h 3665728"/>
                <a:gd name="connsiteX51" fmla="*/ 0 w 2072640"/>
                <a:gd name="connsiteY51" fmla="*/ 3665728 h 3665728"/>
                <a:gd name="connsiteX0" fmla="*/ 666496 w 2072640"/>
                <a:gd name="connsiteY0" fmla="*/ 495808 h 3665728"/>
                <a:gd name="connsiteX1" fmla="*/ 727456 w 2072640"/>
                <a:gd name="connsiteY1" fmla="*/ 617728 h 3665728"/>
                <a:gd name="connsiteX2" fmla="*/ 796544 w 2072640"/>
                <a:gd name="connsiteY2" fmla="*/ 751840 h 3665728"/>
                <a:gd name="connsiteX3" fmla="*/ 824992 w 2072640"/>
                <a:gd name="connsiteY3" fmla="*/ 865632 h 3665728"/>
                <a:gd name="connsiteX4" fmla="*/ 833120 w 2072640"/>
                <a:gd name="connsiteY4" fmla="*/ 938784 h 3665728"/>
                <a:gd name="connsiteX5" fmla="*/ 816864 w 2072640"/>
                <a:gd name="connsiteY5" fmla="*/ 1016000 h 3665728"/>
                <a:gd name="connsiteX6" fmla="*/ 759968 w 2072640"/>
                <a:gd name="connsiteY6" fmla="*/ 1060704 h 3665728"/>
                <a:gd name="connsiteX7" fmla="*/ 719328 w 2072640"/>
                <a:gd name="connsiteY7" fmla="*/ 1068832 h 3665728"/>
                <a:gd name="connsiteX8" fmla="*/ 654304 w 2072640"/>
                <a:gd name="connsiteY8" fmla="*/ 1064768 h 3665728"/>
                <a:gd name="connsiteX9" fmla="*/ 597408 w 2072640"/>
                <a:gd name="connsiteY9" fmla="*/ 1040384 h 3665728"/>
                <a:gd name="connsiteX10" fmla="*/ 568960 w 2072640"/>
                <a:gd name="connsiteY10" fmla="*/ 975360 h 3665728"/>
                <a:gd name="connsiteX11" fmla="*/ 548640 w 2072640"/>
                <a:gd name="connsiteY11" fmla="*/ 922528 h 3665728"/>
                <a:gd name="connsiteX12" fmla="*/ 548640 w 2072640"/>
                <a:gd name="connsiteY12" fmla="*/ 833120 h 3665728"/>
                <a:gd name="connsiteX13" fmla="*/ 581152 w 2072640"/>
                <a:gd name="connsiteY13" fmla="*/ 768096 h 3665728"/>
                <a:gd name="connsiteX14" fmla="*/ 593344 w 2072640"/>
                <a:gd name="connsiteY14" fmla="*/ 715264 h 3665728"/>
                <a:gd name="connsiteX15" fmla="*/ 650240 w 2072640"/>
                <a:gd name="connsiteY15" fmla="*/ 674624 h 3665728"/>
                <a:gd name="connsiteX16" fmla="*/ 690880 w 2072640"/>
                <a:gd name="connsiteY16" fmla="*/ 617728 h 3665728"/>
                <a:gd name="connsiteX17" fmla="*/ 784352 w 2072640"/>
                <a:gd name="connsiteY17" fmla="*/ 532384 h 3665728"/>
                <a:gd name="connsiteX18" fmla="*/ 890016 w 2072640"/>
                <a:gd name="connsiteY18" fmla="*/ 438912 h 3665728"/>
                <a:gd name="connsiteX19" fmla="*/ 999744 w 2072640"/>
                <a:gd name="connsiteY19" fmla="*/ 337312 h 3665728"/>
                <a:gd name="connsiteX20" fmla="*/ 1129792 w 2072640"/>
                <a:gd name="connsiteY20" fmla="*/ 243840 h 3665728"/>
                <a:gd name="connsiteX21" fmla="*/ 1300480 w 2072640"/>
                <a:gd name="connsiteY21" fmla="*/ 154432 h 3665728"/>
                <a:gd name="connsiteX22" fmla="*/ 1442720 w 2072640"/>
                <a:gd name="connsiteY22" fmla="*/ 73152 h 3665728"/>
                <a:gd name="connsiteX23" fmla="*/ 1556512 w 2072640"/>
                <a:gd name="connsiteY23" fmla="*/ 32512 h 3665728"/>
                <a:gd name="connsiteX24" fmla="*/ 1645920 w 2072640"/>
                <a:gd name="connsiteY24" fmla="*/ 8128 h 3665728"/>
                <a:gd name="connsiteX25" fmla="*/ 1686560 w 2072640"/>
                <a:gd name="connsiteY25" fmla="*/ 4064 h 3665728"/>
                <a:gd name="connsiteX26" fmla="*/ 1739392 w 2072640"/>
                <a:gd name="connsiteY26" fmla="*/ 4064 h 3665728"/>
                <a:gd name="connsiteX27" fmla="*/ 1755648 w 2072640"/>
                <a:gd name="connsiteY27" fmla="*/ 0 h 3665728"/>
                <a:gd name="connsiteX28" fmla="*/ 1836928 w 2072640"/>
                <a:gd name="connsiteY28" fmla="*/ 12192 h 3665728"/>
                <a:gd name="connsiteX29" fmla="*/ 1897888 w 2072640"/>
                <a:gd name="connsiteY29" fmla="*/ 28448 h 3665728"/>
                <a:gd name="connsiteX30" fmla="*/ 1983232 w 2072640"/>
                <a:gd name="connsiteY30" fmla="*/ 81280 h 3665728"/>
                <a:gd name="connsiteX31" fmla="*/ 2015744 w 2072640"/>
                <a:gd name="connsiteY31" fmla="*/ 134112 h 3665728"/>
                <a:gd name="connsiteX32" fmla="*/ 2048256 w 2072640"/>
                <a:gd name="connsiteY32" fmla="*/ 199136 h 3665728"/>
                <a:gd name="connsiteX33" fmla="*/ 2064512 w 2072640"/>
                <a:gd name="connsiteY33" fmla="*/ 264160 h 3665728"/>
                <a:gd name="connsiteX34" fmla="*/ 2064512 w 2072640"/>
                <a:gd name="connsiteY34" fmla="*/ 321056 h 3665728"/>
                <a:gd name="connsiteX35" fmla="*/ 2072640 w 2072640"/>
                <a:gd name="connsiteY35" fmla="*/ 410464 h 3665728"/>
                <a:gd name="connsiteX36" fmla="*/ 2060448 w 2072640"/>
                <a:gd name="connsiteY36" fmla="*/ 487680 h 3665728"/>
                <a:gd name="connsiteX37" fmla="*/ 2023872 w 2072640"/>
                <a:gd name="connsiteY37" fmla="*/ 589280 h 3665728"/>
                <a:gd name="connsiteX38" fmla="*/ 1975104 w 2072640"/>
                <a:gd name="connsiteY38" fmla="*/ 739648 h 3665728"/>
                <a:gd name="connsiteX39" fmla="*/ 1926336 w 2072640"/>
                <a:gd name="connsiteY39" fmla="*/ 885952 h 3665728"/>
                <a:gd name="connsiteX40" fmla="*/ 1845056 w 2072640"/>
                <a:gd name="connsiteY40" fmla="*/ 1020064 h 3665728"/>
                <a:gd name="connsiteX41" fmla="*/ 1763776 w 2072640"/>
                <a:gd name="connsiteY41" fmla="*/ 1162304 h 3665728"/>
                <a:gd name="connsiteX42" fmla="*/ 1670304 w 2072640"/>
                <a:gd name="connsiteY42" fmla="*/ 1337056 h 3665728"/>
                <a:gd name="connsiteX43" fmla="*/ 1552448 w 2072640"/>
                <a:gd name="connsiteY43" fmla="*/ 1503680 h 3665728"/>
                <a:gd name="connsiteX44" fmla="*/ 1381760 w 2072640"/>
                <a:gd name="connsiteY44" fmla="*/ 1767840 h 3665728"/>
                <a:gd name="connsiteX45" fmla="*/ 1247648 w 2072640"/>
                <a:gd name="connsiteY45" fmla="*/ 1946656 h 3665728"/>
                <a:gd name="connsiteX46" fmla="*/ 1060704 w 2072640"/>
                <a:gd name="connsiteY46" fmla="*/ 2186432 h 3665728"/>
                <a:gd name="connsiteX47" fmla="*/ 898144 w 2072640"/>
                <a:gd name="connsiteY47" fmla="*/ 2397760 h 3665728"/>
                <a:gd name="connsiteX48" fmla="*/ 548640 w 2072640"/>
                <a:gd name="connsiteY48" fmla="*/ 2852928 h 3665728"/>
                <a:gd name="connsiteX49" fmla="*/ 308864 w 2072640"/>
                <a:gd name="connsiteY49" fmla="*/ 3165856 h 3665728"/>
                <a:gd name="connsiteX50" fmla="*/ 65024 w 2072640"/>
                <a:gd name="connsiteY50" fmla="*/ 3551936 h 3665728"/>
                <a:gd name="connsiteX51" fmla="*/ 0 w 2072640"/>
                <a:gd name="connsiteY51" fmla="*/ 3665728 h 3665728"/>
                <a:gd name="connsiteX0" fmla="*/ 666496 w 2072640"/>
                <a:gd name="connsiteY0" fmla="*/ 495808 h 3665728"/>
                <a:gd name="connsiteX1" fmla="*/ 727456 w 2072640"/>
                <a:gd name="connsiteY1" fmla="*/ 617728 h 3665728"/>
                <a:gd name="connsiteX2" fmla="*/ 796544 w 2072640"/>
                <a:gd name="connsiteY2" fmla="*/ 751840 h 3665728"/>
                <a:gd name="connsiteX3" fmla="*/ 824992 w 2072640"/>
                <a:gd name="connsiteY3" fmla="*/ 865632 h 3665728"/>
                <a:gd name="connsiteX4" fmla="*/ 833120 w 2072640"/>
                <a:gd name="connsiteY4" fmla="*/ 938784 h 3665728"/>
                <a:gd name="connsiteX5" fmla="*/ 816864 w 2072640"/>
                <a:gd name="connsiteY5" fmla="*/ 1016000 h 3665728"/>
                <a:gd name="connsiteX6" fmla="*/ 759968 w 2072640"/>
                <a:gd name="connsiteY6" fmla="*/ 1060704 h 3665728"/>
                <a:gd name="connsiteX7" fmla="*/ 719328 w 2072640"/>
                <a:gd name="connsiteY7" fmla="*/ 1068832 h 3665728"/>
                <a:gd name="connsiteX8" fmla="*/ 654304 w 2072640"/>
                <a:gd name="connsiteY8" fmla="*/ 1064768 h 3665728"/>
                <a:gd name="connsiteX9" fmla="*/ 597408 w 2072640"/>
                <a:gd name="connsiteY9" fmla="*/ 1040384 h 3665728"/>
                <a:gd name="connsiteX10" fmla="*/ 568960 w 2072640"/>
                <a:gd name="connsiteY10" fmla="*/ 975360 h 3665728"/>
                <a:gd name="connsiteX11" fmla="*/ 548640 w 2072640"/>
                <a:gd name="connsiteY11" fmla="*/ 922528 h 3665728"/>
                <a:gd name="connsiteX12" fmla="*/ 548640 w 2072640"/>
                <a:gd name="connsiteY12" fmla="*/ 833120 h 3665728"/>
                <a:gd name="connsiteX13" fmla="*/ 581152 w 2072640"/>
                <a:gd name="connsiteY13" fmla="*/ 768096 h 3665728"/>
                <a:gd name="connsiteX14" fmla="*/ 593344 w 2072640"/>
                <a:gd name="connsiteY14" fmla="*/ 715264 h 3665728"/>
                <a:gd name="connsiteX15" fmla="*/ 650240 w 2072640"/>
                <a:gd name="connsiteY15" fmla="*/ 674624 h 3665728"/>
                <a:gd name="connsiteX16" fmla="*/ 690880 w 2072640"/>
                <a:gd name="connsiteY16" fmla="*/ 617728 h 3665728"/>
                <a:gd name="connsiteX17" fmla="*/ 784352 w 2072640"/>
                <a:gd name="connsiteY17" fmla="*/ 532384 h 3665728"/>
                <a:gd name="connsiteX18" fmla="*/ 890016 w 2072640"/>
                <a:gd name="connsiteY18" fmla="*/ 438912 h 3665728"/>
                <a:gd name="connsiteX19" fmla="*/ 999744 w 2072640"/>
                <a:gd name="connsiteY19" fmla="*/ 337312 h 3665728"/>
                <a:gd name="connsiteX20" fmla="*/ 1129792 w 2072640"/>
                <a:gd name="connsiteY20" fmla="*/ 243840 h 3665728"/>
                <a:gd name="connsiteX21" fmla="*/ 1300480 w 2072640"/>
                <a:gd name="connsiteY21" fmla="*/ 154432 h 3665728"/>
                <a:gd name="connsiteX22" fmla="*/ 1442720 w 2072640"/>
                <a:gd name="connsiteY22" fmla="*/ 73152 h 3665728"/>
                <a:gd name="connsiteX23" fmla="*/ 1556512 w 2072640"/>
                <a:gd name="connsiteY23" fmla="*/ 32512 h 3665728"/>
                <a:gd name="connsiteX24" fmla="*/ 1645920 w 2072640"/>
                <a:gd name="connsiteY24" fmla="*/ 8128 h 3665728"/>
                <a:gd name="connsiteX25" fmla="*/ 1686560 w 2072640"/>
                <a:gd name="connsiteY25" fmla="*/ 4064 h 3665728"/>
                <a:gd name="connsiteX26" fmla="*/ 1739392 w 2072640"/>
                <a:gd name="connsiteY26" fmla="*/ 4064 h 3665728"/>
                <a:gd name="connsiteX27" fmla="*/ 1755648 w 2072640"/>
                <a:gd name="connsiteY27" fmla="*/ 0 h 3665728"/>
                <a:gd name="connsiteX28" fmla="*/ 1836928 w 2072640"/>
                <a:gd name="connsiteY28" fmla="*/ 12192 h 3665728"/>
                <a:gd name="connsiteX29" fmla="*/ 1897888 w 2072640"/>
                <a:gd name="connsiteY29" fmla="*/ 28448 h 3665728"/>
                <a:gd name="connsiteX30" fmla="*/ 1983232 w 2072640"/>
                <a:gd name="connsiteY30" fmla="*/ 81280 h 3665728"/>
                <a:gd name="connsiteX31" fmla="*/ 2015744 w 2072640"/>
                <a:gd name="connsiteY31" fmla="*/ 134112 h 3665728"/>
                <a:gd name="connsiteX32" fmla="*/ 2048256 w 2072640"/>
                <a:gd name="connsiteY32" fmla="*/ 199136 h 3665728"/>
                <a:gd name="connsiteX33" fmla="*/ 2064512 w 2072640"/>
                <a:gd name="connsiteY33" fmla="*/ 264160 h 3665728"/>
                <a:gd name="connsiteX34" fmla="*/ 2064512 w 2072640"/>
                <a:gd name="connsiteY34" fmla="*/ 321056 h 3665728"/>
                <a:gd name="connsiteX35" fmla="*/ 2072640 w 2072640"/>
                <a:gd name="connsiteY35" fmla="*/ 410464 h 3665728"/>
                <a:gd name="connsiteX36" fmla="*/ 2060448 w 2072640"/>
                <a:gd name="connsiteY36" fmla="*/ 487680 h 3665728"/>
                <a:gd name="connsiteX37" fmla="*/ 2023872 w 2072640"/>
                <a:gd name="connsiteY37" fmla="*/ 589280 h 3665728"/>
                <a:gd name="connsiteX38" fmla="*/ 1975104 w 2072640"/>
                <a:gd name="connsiteY38" fmla="*/ 739648 h 3665728"/>
                <a:gd name="connsiteX39" fmla="*/ 1910080 w 2072640"/>
                <a:gd name="connsiteY39" fmla="*/ 873760 h 3665728"/>
                <a:gd name="connsiteX40" fmla="*/ 1845056 w 2072640"/>
                <a:gd name="connsiteY40" fmla="*/ 1020064 h 3665728"/>
                <a:gd name="connsiteX41" fmla="*/ 1763776 w 2072640"/>
                <a:gd name="connsiteY41" fmla="*/ 1162304 h 3665728"/>
                <a:gd name="connsiteX42" fmla="*/ 1670304 w 2072640"/>
                <a:gd name="connsiteY42" fmla="*/ 1337056 h 3665728"/>
                <a:gd name="connsiteX43" fmla="*/ 1552448 w 2072640"/>
                <a:gd name="connsiteY43" fmla="*/ 1503680 h 3665728"/>
                <a:gd name="connsiteX44" fmla="*/ 1381760 w 2072640"/>
                <a:gd name="connsiteY44" fmla="*/ 1767840 h 3665728"/>
                <a:gd name="connsiteX45" fmla="*/ 1247648 w 2072640"/>
                <a:gd name="connsiteY45" fmla="*/ 1946656 h 3665728"/>
                <a:gd name="connsiteX46" fmla="*/ 1060704 w 2072640"/>
                <a:gd name="connsiteY46" fmla="*/ 2186432 h 3665728"/>
                <a:gd name="connsiteX47" fmla="*/ 898144 w 2072640"/>
                <a:gd name="connsiteY47" fmla="*/ 2397760 h 3665728"/>
                <a:gd name="connsiteX48" fmla="*/ 548640 w 2072640"/>
                <a:gd name="connsiteY48" fmla="*/ 2852928 h 3665728"/>
                <a:gd name="connsiteX49" fmla="*/ 308864 w 2072640"/>
                <a:gd name="connsiteY49" fmla="*/ 3165856 h 3665728"/>
                <a:gd name="connsiteX50" fmla="*/ 65024 w 2072640"/>
                <a:gd name="connsiteY50" fmla="*/ 3551936 h 3665728"/>
                <a:gd name="connsiteX51" fmla="*/ 0 w 2072640"/>
                <a:gd name="connsiteY51" fmla="*/ 3665728 h 3665728"/>
                <a:gd name="connsiteX0" fmla="*/ 666496 w 2072640"/>
                <a:gd name="connsiteY0" fmla="*/ 495808 h 3665728"/>
                <a:gd name="connsiteX1" fmla="*/ 727456 w 2072640"/>
                <a:gd name="connsiteY1" fmla="*/ 617728 h 3665728"/>
                <a:gd name="connsiteX2" fmla="*/ 796544 w 2072640"/>
                <a:gd name="connsiteY2" fmla="*/ 751840 h 3665728"/>
                <a:gd name="connsiteX3" fmla="*/ 824992 w 2072640"/>
                <a:gd name="connsiteY3" fmla="*/ 865632 h 3665728"/>
                <a:gd name="connsiteX4" fmla="*/ 833120 w 2072640"/>
                <a:gd name="connsiteY4" fmla="*/ 938784 h 3665728"/>
                <a:gd name="connsiteX5" fmla="*/ 816864 w 2072640"/>
                <a:gd name="connsiteY5" fmla="*/ 1016000 h 3665728"/>
                <a:gd name="connsiteX6" fmla="*/ 759968 w 2072640"/>
                <a:gd name="connsiteY6" fmla="*/ 1060704 h 3665728"/>
                <a:gd name="connsiteX7" fmla="*/ 719328 w 2072640"/>
                <a:gd name="connsiteY7" fmla="*/ 1068832 h 3665728"/>
                <a:gd name="connsiteX8" fmla="*/ 654304 w 2072640"/>
                <a:gd name="connsiteY8" fmla="*/ 1064768 h 3665728"/>
                <a:gd name="connsiteX9" fmla="*/ 597408 w 2072640"/>
                <a:gd name="connsiteY9" fmla="*/ 1040384 h 3665728"/>
                <a:gd name="connsiteX10" fmla="*/ 568960 w 2072640"/>
                <a:gd name="connsiteY10" fmla="*/ 975360 h 3665728"/>
                <a:gd name="connsiteX11" fmla="*/ 548640 w 2072640"/>
                <a:gd name="connsiteY11" fmla="*/ 922528 h 3665728"/>
                <a:gd name="connsiteX12" fmla="*/ 548640 w 2072640"/>
                <a:gd name="connsiteY12" fmla="*/ 833120 h 3665728"/>
                <a:gd name="connsiteX13" fmla="*/ 581152 w 2072640"/>
                <a:gd name="connsiteY13" fmla="*/ 768096 h 3665728"/>
                <a:gd name="connsiteX14" fmla="*/ 593344 w 2072640"/>
                <a:gd name="connsiteY14" fmla="*/ 715264 h 3665728"/>
                <a:gd name="connsiteX15" fmla="*/ 650240 w 2072640"/>
                <a:gd name="connsiteY15" fmla="*/ 674624 h 3665728"/>
                <a:gd name="connsiteX16" fmla="*/ 690880 w 2072640"/>
                <a:gd name="connsiteY16" fmla="*/ 617728 h 3665728"/>
                <a:gd name="connsiteX17" fmla="*/ 784352 w 2072640"/>
                <a:gd name="connsiteY17" fmla="*/ 532384 h 3665728"/>
                <a:gd name="connsiteX18" fmla="*/ 890016 w 2072640"/>
                <a:gd name="connsiteY18" fmla="*/ 438912 h 3665728"/>
                <a:gd name="connsiteX19" fmla="*/ 999744 w 2072640"/>
                <a:gd name="connsiteY19" fmla="*/ 337312 h 3665728"/>
                <a:gd name="connsiteX20" fmla="*/ 1129792 w 2072640"/>
                <a:gd name="connsiteY20" fmla="*/ 243840 h 3665728"/>
                <a:gd name="connsiteX21" fmla="*/ 1300480 w 2072640"/>
                <a:gd name="connsiteY21" fmla="*/ 154432 h 3665728"/>
                <a:gd name="connsiteX22" fmla="*/ 1442720 w 2072640"/>
                <a:gd name="connsiteY22" fmla="*/ 73152 h 3665728"/>
                <a:gd name="connsiteX23" fmla="*/ 1556512 w 2072640"/>
                <a:gd name="connsiteY23" fmla="*/ 32512 h 3665728"/>
                <a:gd name="connsiteX24" fmla="*/ 1645920 w 2072640"/>
                <a:gd name="connsiteY24" fmla="*/ 8128 h 3665728"/>
                <a:gd name="connsiteX25" fmla="*/ 1686560 w 2072640"/>
                <a:gd name="connsiteY25" fmla="*/ 4064 h 3665728"/>
                <a:gd name="connsiteX26" fmla="*/ 1739392 w 2072640"/>
                <a:gd name="connsiteY26" fmla="*/ 4064 h 3665728"/>
                <a:gd name="connsiteX27" fmla="*/ 1755648 w 2072640"/>
                <a:gd name="connsiteY27" fmla="*/ 0 h 3665728"/>
                <a:gd name="connsiteX28" fmla="*/ 1836928 w 2072640"/>
                <a:gd name="connsiteY28" fmla="*/ 12192 h 3665728"/>
                <a:gd name="connsiteX29" fmla="*/ 1897888 w 2072640"/>
                <a:gd name="connsiteY29" fmla="*/ 28448 h 3665728"/>
                <a:gd name="connsiteX30" fmla="*/ 1983232 w 2072640"/>
                <a:gd name="connsiteY30" fmla="*/ 81280 h 3665728"/>
                <a:gd name="connsiteX31" fmla="*/ 2015744 w 2072640"/>
                <a:gd name="connsiteY31" fmla="*/ 134112 h 3665728"/>
                <a:gd name="connsiteX32" fmla="*/ 2048256 w 2072640"/>
                <a:gd name="connsiteY32" fmla="*/ 199136 h 3665728"/>
                <a:gd name="connsiteX33" fmla="*/ 2064512 w 2072640"/>
                <a:gd name="connsiteY33" fmla="*/ 264160 h 3665728"/>
                <a:gd name="connsiteX34" fmla="*/ 2064512 w 2072640"/>
                <a:gd name="connsiteY34" fmla="*/ 321056 h 3665728"/>
                <a:gd name="connsiteX35" fmla="*/ 2072640 w 2072640"/>
                <a:gd name="connsiteY35" fmla="*/ 410464 h 3665728"/>
                <a:gd name="connsiteX36" fmla="*/ 2060448 w 2072640"/>
                <a:gd name="connsiteY36" fmla="*/ 487680 h 3665728"/>
                <a:gd name="connsiteX37" fmla="*/ 2023872 w 2072640"/>
                <a:gd name="connsiteY37" fmla="*/ 589280 h 3665728"/>
                <a:gd name="connsiteX38" fmla="*/ 1975104 w 2072640"/>
                <a:gd name="connsiteY38" fmla="*/ 739648 h 3665728"/>
                <a:gd name="connsiteX39" fmla="*/ 1910080 w 2072640"/>
                <a:gd name="connsiteY39" fmla="*/ 873760 h 3665728"/>
                <a:gd name="connsiteX40" fmla="*/ 1845056 w 2072640"/>
                <a:gd name="connsiteY40" fmla="*/ 1020064 h 3665728"/>
                <a:gd name="connsiteX41" fmla="*/ 1763776 w 2072640"/>
                <a:gd name="connsiteY41" fmla="*/ 1162304 h 3665728"/>
                <a:gd name="connsiteX42" fmla="*/ 1666240 w 2072640"/>
                <a:gd name="connsiteY42" fmla="*/ 1341120 h 3665728"/>
                <a:gd name="connsiteX43" fmla="*/ 1552448 w 2072640"/>
                <a:gd name="connsiteY43" fmla="*/ 1503680 h 3665728"/>
                <a:gd name="connsiteX44" fmla="*/ 1381760 w 2072640"/>
                <a:gd name="connsiteY44" fmla="*/ 1767840 h 3665728"/>
                <a:gd name="connsiteX45" fmla="*/ 1247648 w 2072640"/>
                <a:gd name="connsiteY45" fmla="*/ 1946656 h 3665728"/>
                <a:gd name="connsiteX46" fmla="*/ 1060704 w 2072640"/>
                <a:gd name="connsiteY46" fmla="*/ 2186432 h 3665728"/>
                <a:gd name="connsiteX47" fmla="*/ 898144 w 2072640"/>
                <a:gd name="connsiteY47" fmla="*/ 2397760 h 3665728"/>
                <a:gd name="connsiteX48" fmla="*/ 548640 w 2072640"/>
                <a:gd name="connsiteY48" fmla="*/ 2852928 h 3665728"/>
                <a:gd name="connsiteX49" fmla="*/ 308864 w 2072640"/>
                <a:gd name="connsiteY49" fmla="*/ 3165856 h 3665728"/>
                <a:gd name="connsiteX50" fmla="*/ 65024 w 2072640"/>
                <a:gd name="connsiteY50" fmla="*/ 3551936 h 3665728"/>
                <a:gd name="connsiteX51" fmla="*/ 0 w 2072640"/>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90016 w 2080768"/>
                <a:gd name="connsiteY18" fmla="*/ 438912 h 3665728"/>
                <a:gd name="connsiteX19" fmla="*/ 999744 w 2080768"/>
                <a:gd name="connsiteY19" fmla="*/ 337312 h 3665728"/>
                <a:gd name="connsiteX20" fmla="*/ 1129792 w 2080768"/>
                <a:gd name="connsiteY20" fmla="*/ 243840 h 3665728"/>
                <a:gd name="connsiteX21" fmla="*/ 1300480 w 2080768"/>
                <a:gd name="connsiteY21" fmla="*/ 154432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686560 w 2080768"/>
                <a:gd name="connsiteY25" fmla="*/ 4064 h 3665728"/>
                <a:gd name="connsiteX26" fmla="*/ 1739392 w 2080768"/>
                <a:gd name="connsiteY26" fmla="*/ 4064 h 3665728"/>
                <a:gd name="connsiteX27" fmla="*/ 1755648 w 2080768"/>
                <a:gd name="connsiteY27" fmla="*/ 0 h 3665728"/>
                <a:gd name="connsiteX28" fmla="*/ 1836928 w 2080768"/>
                <a:gd name="connsiteY28" fmla="*/ 12192 h 3665728"/>
                <a:gd name="connsiteX29" fmla="*/ 1897888 w 2080768"/>
                <a:gd name="connsiteY29" fmla="*/ 28448 h 3665728"/>
                <a:gd name="connsiteX30" fmla="*/ 1983232 w 2080768"/>
                <a:gd name="connsiteY30" fmla="*/ 81280 h 3665728"/>
                <a:gd name="connsiteX31" fmla="*/ 2015744 w 2080768"/>
                <a:gd name="connsiteY31" fmla="*/ 134112 h 3665728"/>
                <a:gd name="connsiteX32" fmla="*/ 2048256 w 2080768"/>
                <a:gd name="connsiteY32" fmla="*/ 199136 h 3665728"/>
                <a:gd name="connsiteX33" fmla="*/ 2064512 w 2080768"/>
                <a:gd name="connsiteY33" fmla="*/ 264160 h 3665728"/>
                <a:gd name="connsiteX34" fmla="*/ 2080768 w 2080768"/>
                <a:gd name="connsiteY34" fmla="*/ 337312 h 3665728"/>
                <a:gd name="connsiteX35" fmla="*/ 2072640 w 2080768"/>
                <a:gd name="connsiteY35" fmla="*/ 410464 h 3665728"/>
                <a:gd name="connsiteX36" fmla="*/ 2060448 w 2080768"/>
                <a:gd name="connsiteY36" fmla="*/ 487680 h 3665728"/>
                <a:gd name="connsiteX37" fmla="*/ 2023872 w 2080768"/>
                <a:gd name="connsiteY37" fmla="*/ 589280 h 3665728"/>
                <a:gd name="connsiteX38" fmla="*/ 1975104 w 2080768"/>
                <a:gd name="connsiteY38" fmla="*/ 739648 h 3665728"/>
                <a:gd name="connsiteX39" fmla="*/ 1910080 w 2080768"/>
                <a:gd name="connsiteY39" fmla="*/ 873760 h 3665728"/>
                <a:gd name="connsiteX40" fmla="*/ 1845056 w 2080768"/>
                <a:gd name="connsiteY40" fmla="*/ 1020064 h 3665728"/>
                <a:gd name="connsiteX41" fmla="*/ 1763776 w 2080768"/>
                <a:gd name="connsiteY41" fmla="*/ 1162304 h 3665728"/>
                <a:gd name="connsiteX42" fmla="*/ 1666240 w 2080768"/>
                <a:gd name="connsiteY42" fmla="*/ 1341120 h 3665728"/>
                <a:gd name="connsiteX43" fmla="*/ 1552448 w 2080768"/>
                <a:gd name="connsiteY43" fmla="*/ 1503680 h 3665728"/>
                <a:gd name="connsiteX44" fmla="*/ 1381760 w 2080768"/>
                <a:gd name="connsiteY44" fmla="*/ 1767840 h 3665728"/>
                <a:gd name="connsiteX45" fmla="*/ 1247648 w 2080768"/>
                <a:gd name="connsiteY45" fmla="*/ 1946656 h 3665728"/>
                <a:gd name="connsiteX46" fmla="*/ 1060704 w 2080768"/>
                <a:gd name="connsiteY46" fmla="*/ 2186432 h 3665728"/>
                <a:gd name="connsiteX47" fmla="*/ 898144 w 2080768"/>
                <a:gd name="connsiteY47" fmla="*/ 2397760 h 3665728"/>
                <a:gd name="connsiteX48" fmla="*/ 548640 w 2080768"/>
                <a:gd name="connsiteY48" fmla="*/ 2852928 h 3665728"/>
                <a:gd name="connsiteX49" fmla="*/ 308864 w 2080768"/>
                <a:gd name="connsiteY49" fmla="*/ 3165856 h 3665728"/>
                <a:gd name="connsiteX50" fmla="*/ 65024 w 2080768"/>
                <a:gd name="connsiteY50" fmla="*/ 3551936 h 3665728"/>
                <a:gd name="connsiteX51" fmla="*/ 0 w 2080768"/>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90016 w 2080768"/>
                <a:gd name="connsiteY18" fmla="*/ 438912 h 3665728"/>
                <a:gd name="connsiteX19" fmla="*/ 999744 w 2080768"/>
                <a:gd name="connsiteY19" fmla="*/ 337312 h 3665728"/>
                <a:gd name="connsiteX20" fmla="*/ 1129792 w 2080768"/>
                <a:gd name="connsiteY20" fmla="*/ 243840 h 3665728"/>
                <a:gd name="connsiteX21" fmla="*/ 1300480 w 2080768"/>
                <a:gd name="connsiteY21" fmla="*/ 154432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686560 w 2080768"/>
                <a:gd name="connsiteY25" fmla="*/ 4064 h 3665728"/>
                <a:gd name="connsiteX26" fmla="*/ 1739392 w 2080768"/>
                <a:gd name="connsiteY26" fmla="*/ 4064 h 3665728"/>
                <a:gd name="connsiteX27" fmla="*/ 1755648 w 2080768"/>
                <a:gd name="connsiteY27" fmla="*/ 0 h 3665728"/>
                <a:gd name="connsiteX28" fmla="*/ 1836928 w 2080768"/>
                <a:gd name="connsiteY28" fmla="*/ 12192 h 3665728"/>
                <a:gd name="connsiteX29" fmla="*/ 1897888 w 2080768"/>
                <a:gd name="connsiteY29" fmla="*/ 28448 h 3665728"/>
                <a:gd name="connsiteX30" fmla="*/ 1983232 w 2080768"/>
                <a:gd name="connsiteY30" fmla="*/ 81280 h 3665728"/>
                <a:gd name="connsiteX31" fmla="*/ 2015744 w 2080768"/>
                <a:gd name="connsiteY31" fmla="*/ 134112 h 3665728"/>
                <a:gd name="connsiteX32" fmla="*/ 2048256 w 2080768"/>
                <a:gd name="connsiteY32" fmla="*/ 199136 h 3665728"/>
                <a:gd name="connsiteX33" fmla="*/ 2064512 w 2080768"/>
                <a:gd name="connsiteY33" fmla="*/ 264160 h 3665728"/>
                <a:gd name="connsiteX34" fmla="*/ 2080768 w 2080768"/>
                <a:gd name="connsiteY34" fmla="*/ 337312 h 3665728"/>
                <a:gd name="connsiteX35" fmla="*/ 2072640 w 2080768"/>
                <a:gd name="connsiteY35" fmla="*/ 410464 h 3665728"/>
                <a:gd name="connsiteX36" fmla="*/ 2060448 w 2080768"/>
                <a:gd name="connsiteY36" fmla="*/ 487680 h 3665728"/>
                <a:gd name="connsiteX37" fmla="*/ 2027936 w 2080768"/>
                <a:gd name="connsiteY37" fmla="*/ 597408 h 3665728"/>
                <a:gd name="connsiteX38" fmla="*/ 1975104 w 2080768"/>
                <a:gd name="connsiteY38" fmla="*/ 739648 h 3665728"/>
                <a:gd name="connsiteX39" fmla="*/ 1910080 w 2080768"/>
                <a:gd name="connsiteY39" fmla="*/ 873760 h 3665728"/>
                <a:gd name="connsiteX40" fmla="*/ 1845056 w 2080768"/>
                <a:gd name="connsiteY40" fmla="*/ 1020064 h 3665728"/>
                <a:gd name="connsiteX41" fmla="*/ 1763776 w 2080768"/>
                <a:gd name="connsiteY41" fmla="*/ 1162304 h 3665728"/>
                <a:gd name="connsiteX42" fmla="*/ 1666240 w 2080768"/>
                <a:gd name="connsiteY42" fmla="*/ 1341120 h 3665728"/>
                <a:gd name="connsiteX43" fmla="*/ 1552448 w 2080768"/>
                <a:gd name="connsiteY43" fmla="*/ 1503680 h 3665728"/>
                <a:gd name="connsiteX44" fmla="*/ 1381760 w 2080768"/>
                <a:gd name="connsiteY44" fmla="*/ 1767840 h 3665728"/>
                <a:gd name="connsiteX45" fmla="*/ 1247648 w 2080768"/>
                <a:gd name="connsiteY45" fmla="*/ 1946656 h 3665728"/>
                <a:gd name="connsiteX46" fmla="*/ 1060704 w 2080768"/>
                <a:gd name="connsiteY46" fmla="*/ 2186432 h 3665728"/>
                <a:gd name="connsiteX47" fmla="*/ 898144 w 2080768"/>
                <a:gd name="connsiteY47" fmla="*/ 2397760 h 3665728"/>
                <a:gd name="connsiteX48" fmla="*/ 548640 w 2080768"/>
                <a:gd name="connsiteY48" fmla="*/ 2852928 h 3665728"/>
                <a:gd name="connsiteX49" fmla="*/ 308864 w 2080768"/>
                <a:gd name="connsiteY49" fmla="*/ 3165856 h 3665728"/>
                <a:gd name="connsiteX50" fmla="*/ 65024 w 2080768"/>
                <a:gd name="connsiteY50" fmla="*/ 3551936 h 3665728"/>
                <a:gd name="connsiteX51" fmla="*/ 0 w 2080768"/>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90016 w 2080768"/>
                <a:gd name="connsiteY18" fmla="*/ 438912 h 3665728"/>
                <a:gd name="connsiteX19" fmla="*/ 999744 w 2080768"/>
                <a:gd name="connsiteY19" fmla="*/ 337312 h 3665728"/>
                <a:gd name="connsiteX20" fmla="*/ 1129792 w 2080768"/>
                <a:gd name="connsiteY20" fmla="*/ 243840 h 3665728"/>
                <a:gd name="connsiteX21" fmla="*/ 1300480 w 2080768"/>
                <a:gd name="connsiteY21" fmla="*/ 154432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686560 w 2080768"/>
                <a:gd name="connsiteY25" fmla="*/ 4064 h 3665728"/>
                <a:gd name="connsiteX26" fmla="*/ 1739392 w 2080768"/>
                <a:gd name="connsiteY26" fmla="*/ 4064 h 3665728"/>
                <a:gd name="connsiteX27" fmla="*/ 1755648 w 2080768"/>
                <a:gd name="connsiteY27" fmla="*/ 0 h 3665728"/>
                <a:gd name="connsiteX28" fmla="*/ 1836928 w 2080768"/>
                <a:gd name="connsiteY28" fmla="*/ 12192 h 3665728"/>
                <a:gd name="connsiteX29" fmla="*/ 1897888 w 2080768"/>
                <a:gd name="connsiteY29" fmla="*/ 28448 h 3665728"/>
                <a:gd name="connsiteX30" fmla="*/ 1983232 w 2080768"/>
                <a:gd name="connsiteY30" fmla="*/ 81280 h 3665728"/>
                <a:gd name="connsiteX31" fmla="*/ 2015744 w 2080768"/>
                <a:gd name="connsiteY31" fmla="*/ 134112 h 3665728"/>
                <a:gd name="connsiteX32" fmla="*/ 2048256 w 2080768"/>
                <a:gd name="connsiteY32" fmla="*/ 199136 h 3665728"/>
                <a:gd name="connsiteX33" fmla="*/ 2064512 w 2080768"/>
                <a:gd name="connsiteY33" fmla="*/ 264160 h 3665728"/>
                <a:gd name="connsiteX34" fmla="*/ 2080768 w 2080768"/>
                <a:gd name="connsiteY34" fmla="*/ 337312 h 3665728"/>
                <a:gd name="connsiteX35" fmla="*/ 2072640 w 2080768"/>
                <a:gd name="connsiteY35" fmla="*/ 410464 h 3665728"/>
                <a:gd name="connsiteX36" fmla="*/ 2060448 w 2080768"/>
                <a:gd name="connsiteY36" fmla="*/ 487680 h 3665728"/>
                <a:gd name="connsiteX37" fmla="*/ 2027936 w 2080768"/>
                <a:gd name="connsiteY37" fmla="*/ 597408 h 3665728"/>
                <a:gd name="connsiteX38" fmla="*/ 1975104 w 2080768"/>
                <a:gd name="connsiteY38" fmla="*/ 739648 h 3665728"/>
                <a:gd name="connsiteX39" fmla="*/ 1914144 w 2080768"/>
                <a:gd name="connsiteY39" fmla="*/ 865632 h 3665728"/>
                <a:gd name="connsiteX40" fmla="*/ 1845056 w 2080768"/>
                <a:gd name="connsiteY40" fmla="*/ 1020064 h 3665728"/>
                <a:gd name="connsiteX41" fmla="*/ 1763776 w 2080768"/>
                <a:gd name="connsiteY41" fmla="*/ 1162304 h 3665728"/>
                <a:gd name="connsiteX42" fmla="*/ 1666240 w 2080768"/>
                <a:gd name="connsiteY42" fmla="*/ 1341120 h 3665728"/>
                <a:gd name="connsiteX43" fmla="*/ 1552448 w 2080768"/>
                <a:gd name="connsiteY43" fmla="*/ 1503680 h 3665728"/>
                <a:gd name="connsiteX44" fmla="*/ 1381760 w 2080768"/>
                <a:gd name="connsiteY44" fmla="*/ 1767840 h 3665728"/>
                <a:gd name="connsiteX45" fmla="*/ 1247648 w 2080768"/>
                <a:gd name="connsiteY45" fmla="*/ 1946656 h 3665728"/>
                <a:gd name="connsiteX46" fmla="*/ 1060704 w 2080768"/>
                <a:gd name="connsiteY46" fmla="*/ 2186432 h 3665728"/>
                <a:gd name="connsiteX47" fmla="*/ 898144 w 2080768"/>
                <a:gd name="connsiteY47" fmla="*/ 2397760 h 3665728"/>
                <a:gd name="connsiteX48" fmla="*/ 548640 w 2080768"/>
                <a:gd name="connsiteY48" fmla="*/ 2852928 h 3665728"/>
                <a:gd name="connsiteX49" fmla="*/ 308864 w 2080768"/>
                <a:gd name="connsiteY49" fmla="*/ 3165856 h 3665728"/>
                <a:gd name="connsiteX50" fmla="*/ 65024 w 2080768"/>
                <a:gd name="connsiteY50" fmla="*/ 3551936 h 3665728"/>
                <a:gd name="connsiteX51" fmla="*/ 0 w 2080768"/>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90016 w 2080768"/>
                <a:gd name="connsiteY18" fmla="*/ 438912 h 3665728"/>
                <a:gd name="connsiteX19" fmla="*/ 999744 w 2080768"/>
                <a:gd name="connsiteY19" fmla="*/ 337312 h 3665728"/>
                <a:gd name="connsiteX20" fmla="*/ 1129792 w 2080768"/>
                <a:gd name="connsiteY20" fmla="*/ 243840 h 3665728"/>
                <a:gd name="connsiteX21" fmla="*/ 1300480 w 2080768"/>
                <a:gd name="connsiteY21" fmla="*/ 154432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686560 w 2080768"/>
                <a:gd name="connsiteY25" fmla="*/ 4064 h 3665728"/>
                <a:gd name="connsiteX26" fmla="*/ 1739392 w 2080768"/>
                <a:gd name="connsiteY26" fmla="*/ 4064 h 3665728"/>
                <a:gd name="connsiteX27" fmla="*/ 1755648 w 2080768"/>
                <a:gd name="connsiteY27" fmla="*/ 0 h 3665728"/>
                <a:gd name="connsiteX28" fmla="*/ 1836928 w 2080768"/>
                <a:gd name="connsiteY28" fmla="*/ 12192 h 3665728"/>
                <a:gd name="connsiteX29" fmla="*/ 1897888 w 2080768"/>
                <a:gd name="connsiteY29" fmla="*/ 28448 h 3665728"/>
                <a:gd name="connsiteX30" fmla="*/ 1983232 w 2080768"/>
                <a:gd name="connsiteY30" fmla="*/ 81280 h 3665728"/>
                <a:gd name="connsiteX31" fmla="*/ 2015744 w 2080768"/>
                <a:gd name="connsiteY31" fmla="*/ 134112 h 3665728"/>
                <a:gd name="connsiteX32" fmla="*/ 2048256 w 2080768"/>
                <a:gd name="connsiteY32" fmla="*/ 199136 h 3665728"/>
                <a:gd name="connsiteX33" fmla="*/ 2064512 w 2080768"/>
                <a:gd name="connsiteY33" fmla="*/ 264160 h 3665728"/>
                <a:gd name="connsiteX34" fmla="*/ 2080768 w 2080768"/>
                <a:gd name="connsiteY34" fmla="*/ 337312 h 3665728"/>
                <a:gd name="connsiteX35" fmla="*/ 2072640 w 2080768"/>
                <a:gd name="connsiteY35" fmla="*/ 410464 h 3665728"/>
                <a:gd name="connsiteX36" fmla="*/ 2060448 w 2080768"/>
                <a:gd name="connsiteY36" fmla="*/ 487680 h 3665728"/>
                <a:gd name="connsiteX37" fmla="*/ 2027936 w 2080768"/>
                <a:gd name="connsiteY37" fmla="*/ 597408 h 3665728"/>
                <a:gd name="connsiteX38" fmla="*/ 1975104 w 2080768"/>
                <a:gd name="connsiteY38" fmla="*/ 739648 h 3665728"/>
                <a:gd name="connsiteX39" fmla="*/ 1918208 w 2080768"/>
                <a:gd name="connsiteY39" fmla="*/ 865632 h 3665728"/>
                <a:gd name="connsiteX40" fmla="*/ 1845056 w 2080768"/>
                <a:gd name="connsiteY40" fmla="*/ 1020064 h 3665728"/>
                <a:gd name="connsiteX41" fmla="*/ 1763776 w 2080768"/>
                <a:gd name="connsiteY41" fmla="*/ 1162304 h 3665728"/>
                <a:gd name="connsiteX42" fmla="*/ 1666240 w 2080768"/>
                <a:gd name="connsiteY42" fmla="*/ 1341120 h 3665728"/>
                <a:gd name="connsiteX43" fmla="*/ 1552448 w 2080768"/>
                <a:gd name="connsiteY43" fmla="*/ 1503680 h 3665728"/>
                <a:gd name="connsiteX44" fmla="*/ 1381760 w 2080768"/>
                <a:gd name="connsiteY44" fmla="*/ 1767840 h 3665728"/>
                <a:gd name="connsiteX45" fmla="*/ 1247648 w 2080768"/>
                <a:gd name="connsiteY45" fmla="*/ 1946656 h 3665728"/>
                <a:gd name="connsiteX46" fmla="*/ 1060704 w 2080768"/>
                <a:gd name="connsiteY46" fmla="*/ 2186432 h 3665728"/>
                <a:gd name="connsiteX47" fmla="*/ 898144 w 2080768"/>
                <a:gd name="connsiteY47" fmla="*/ 2397760 h 3665728"/>
                <a:gd name="connsiteX48" fmla="*/ 548640 w 2080768"/>
                <a:gd name="connsiteY48" fmla="*/ 2852928 h 3665728"/>
                <a:gd name="connsiteX49" fmla="*/ 308864 w 2080768"/>
                <a:gd name="connsiteY49" fmla="*/ 3165856 h 3665728"/>
                <a:gd name="connsiteX50" fmla="*/ 65024 w 2080768"/>
                <a:gd name="connsiteY50" fmla="*/ 3551936 h 3665728"/>
                <a:gd name="connsiteX51" fmla="*/ 0 w 2080768"/>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85952 w 2080768"/>
                <a:gd name="connsiteY18" fmla="*/ 422656 h 3665728"/>
                <a:gd name="connsiteX19" fmla="*/ 999744 w 2080768"/>
                <a:gd name="connsiteY19" fmla="*/ 337312 h 3665728"/>
                <a:gd name="connsiteX20" fmla="*/ 1129792 w 2080768"/>
                <a:gd name="connsiteY20" fmla="*/ 243840 h 3665728"/>
                <a:gd name="connsiteX21" fmla="*/ 1300480 w 2080768"/>
                <a:gd name="connsiteY21" fmla="*/ 154432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686560 w 2080768"/>
                <a:gd name="connsiteY25" fmla="*/ 4064 h 3665728"/>
                <a:gd name="connsiteX26" fmla="*/ 1739392 w 2080768"/>
                <a:gd name="connsiteY26" fmla="*/ 4064 h 3665728"/>
                <a:gd name="connsiteX27" fmla="*/ 1755648 w 2080768"/>
                <a:gd name="connsiteY27" fmla="*/ 0 h 3665728"/>
                <a:gd name="connsiteX28" fmla="*/ 1836928 w 2080768"/>
                <a:gd name="connsiteY28" fmla="*/ 12192 h 3665728"/>
                <a:gd name="connsiteX29" fmla="*/ 1897888 w 2080768"/>
                <a:gd name="connsiteY29" fmla="*/ 28448 h 3665728"/>
                <a:gd name="connsiteX30" fmla="*/ 1983232 w 2080768"/>
                <a:gd name="connsiteY30" fmla="*/ 81280 h 3665728"/>
                <a:gd name="connsiteX31" fmla="*/ 2015744 w 2080768"/>
                <a:gd name="connsiteY31" fmla="*/ 134112 h 3665728"/>
                <a:gd name="connsiteX32" fmla="*/ 2048256 w 2080768"/>
                <a:gd name="connsiteY32" fmla="*/ 199136 h 3665728"/>
                <a:gd name="connsiteX33" fmla="*/ 2064512 w 2080768"/>
                <a:gd name="connsiteY33" fmla="*/ 264160 h 3665728"/>
                <a:gd name="connsiteX34" fmla="*/ 2080768 w 2080768"/>
                <a:gd name="connsiteY34" fmla="*/ 337312 h 3665728"/>
                <a:gd name="connsiteX35" fmla="*/ 2072640 w 2080768"/>
                <a:gd name="connsiteY35" fmla="*/ 410464 h 3665728"/>
                <a:gd name="connsiteX36" fmla="*/ 2060448 w 2080768"/>
                <a:gd name="connsiteY36" fmla="*/ 487680 h 3665728"/>
                <a:gd name="connsiteX37" fmla="*/ 2027936 w 2080768"/>
                <a:gd name="connsiteY37" fmla="*/ 597408 h 3665728"/>
                <a:gd name="connsiteX38" fmla="*/ 1975104 w 2080768"/>
                <a:gd name="connsiteY38" fmla="*/ 739648 h 3665728"/>
                <a:gd name="connsiteX39" fmla="*/ 1918208 w 2080768"/>
                <a:gd name="connsiteY39" fmla="*/ 865632 h 3665728"/>
                <a:gd name="connsiteX40" fmla="*/ 1845056 w 2080768"/>
                <a:gd name="connsiteY40" fmla="*/ 1020064 h 3665728"/>
                <a:gd name="connsiteX41" fmla="*/ 1763776 w 2080768"/>
                <a:gd name="connsiteY41" fmla="*/ 1162304 h 3665728"/>
                <a:gd name="connsiteX42" fmla="*/ 1666240 w 2080768"/>
                <a:gd name="connsiteY42" fmla="*/ 1341120 h 3665728"/>
                <a:gd name="connsiteX43" fmla="*/ 1552448 w 2080768"/>
                <a:gd name="connsiteY43" fmla="*/ 1503680 h 3665728"/>
                <a:gd name="connsiteX44" fmla="*/ 1381760 w 2080768"/>
                <a:gd name="connsiteY44" fmla="*/ 1767840 h 3665728"/>
                <a:gd name="connsiteX45" fmla="*/ 1247648 w 2080768"/>
                <a:gd name="connsiteY45" fmla="*/ 1946656 h 3665728"/>
                <a:gd name="connsiteX46" fmla="*/ 1060704 w 2080768"/>
                <a:gd name="connsiteY46" fmla="*/ 2186432 h 3665728"/>
                <a:gd name="connsiteX47" fmla="*/ 898144 w 2080768"/>
                <a:gd name="connsiteY47" fmla="*/ 2397760 h 3665728"/>
                <a:gd name="connsiteX48" fmla="*/ 548640 w 2080768"/>
                <a:gd name="connsiteY48" fmla="*/ 2852928 h 3665728"/>
                <a:gd name="connsiteX49" fmla="*/ 308864 w 2080768"/>
                <a:gd name="connsiteY49" fmla="*/ 3165856 h 3665728"/>
                <a:gd name="connsiteX50" fmla="*/ 65024 w 2080768"/>
                <a:gd name="connsiteY50" fmla="*/ 3551936 h 3665728"/>
                <a:gd name="connsiteX51" fmla="*/ 0 w 2080768"/>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85952 w 2080768"/>
                <a:gd name="connsiteY18" fmla="*/ 422656 h 3665728"/>
                <a:gd name="connsiteX19" fmla="*/ 999744 w 2080768"/>
                <a:gd name="connsiteY19" fmla="*/ 337312 h 3665728"/>
                <a:gd name="connsiteX20" fmla="*/ 1129792 w 2080768"/>
                <a:gd name="connsiteY20" fmla="*/ 243840 h 3665728"/>
                <a:gd name="connsiteX21" fmla="*/ 1300480 w 2080768"/>
                <a:gd name="connsiteY21" fmla="*/ 142240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686560 w 2080768"/>
                <a:gd name="connsiteY25" fmla="*/ 4064 h 3665728"/>
                <a:gd name="connsiteX26" fmla="*/ 1739392 w 2080768"/>
                <a:gd name="connsiteY26" fmla="*/ 4064 h 3665728"/>
                <a:gd name="connsiteX27" fmla="*/ 1755648 w 2080768"/>
                <a:gd name="connsiteY27" fmla="*/ 0 h 3665728"/>
                <a:gd name="connsiteX28" fmla="*/ 1836928 w 2080768"/>
                <a:gd name="connsiteY28" fmla="*/ 12192 h 3665728"/>
                <a:gd name="connsiteX29" fmla="*/ 1897888 w 2080768"/>
                <a:gd name="connsiteY29" fmla="*/ 28448 h 3665728"/>
                <a:gd name="connsiteX30" fmla="*/ 1983232 w 2080768"/>
                <a:gd name="connsiteY30" fmla="*/ 81280 h 3665728"/>
                <a:gd name="connsiteX31" fmla="*/ 2015744 w 2080768"/>
                <a:gd name="connsiteY31" fmla="*/ 134112 h 3665728"/>
                <a:gd name="connsiteX32" fmla="*/ 2048256 w 2080768"/>
                <a:gd name="connsiteY32" fmla="*/ 199136 h 3665728"/>
                <a:gd name="connsiteX33" fmla="*/ 2064512 w 2080768"/>
                <a:gd name="connsiteY33" fmla="*/ 264160 h 3665728"/>
                <a:gd name="connsiteX34" fmla="*/ 2080768 w 2080768"/>
                <a:gd name="connsiteY34" fmla="*/ 337312 h 3665728"/>
                <a:gd name="connsiteX35" fmla="*/ 2072640 w 2080768"/>
                <a:gd name="connsiteY35" fmla="*/ 410464 h 3665728"/>
                <a:gd name="connsiteX36" fmla="*/ 2060448 w 2080768"/>
                <a:gd name="connsiteY36" fmla="*/ 487680 h 3665728"/>
                <a:gd name="connsiteX37" fmla="*/ 2027936 w 2080768"/>
                <a:gd name="connsiteY37" fmla="*/ 597408 h 3665728"/>
                <a:gd name="connsiteX38" fmla="*/ 1975104 w 2080768"/>
                <a:gd name="connsiteY38" fmla="*/ 739648 h 3665728"/>
                <a:gd name="connsiteX39" fmla="*/ 1918208 w 2080768"/>
                <a:gd name="connsiteY39" fmla="*/ 865632 h 3665728"/>
                <a:gd name="connsiteX40" fmla="*/ 1845056 w 2080768"/>
                <a:gd name="connsiteY40" fmla="*/ 1020064 h 3665728"/>
                <a:gd name="connsiteX41" fmla="*/ 1763776 w 2080768"/>
                <a:gd name="connsiteY41" fmla="*/ 1162304 h 3665728"/>
                <a:gd name="connsiteX42" fmla="*/ 1666240 w 2080768"/>
                <a:gd name="connsiteY42" fmla="*/ 1341120 h 3665728"/>
                <a:gd name="connsiteX43" fmla="*/ 1552448 w 2080768"/>
                <a:gd name="connsiteY43" fmla="*/ 1503680 h 3665728"/>
                <a:gd name="connsiteX44" fmla="*/ 1381760 w 2080768"/>
                <a:gd name="connsiteY44" fmla="*/ 1767840 h 3665728"/>
                <a:gd name="connsiteX45" fmla="*/ 1247648 w 2080768"/>
                <a:gd name="connsiteY45" fmla="*/ 1946656 h 3665728"/>
                <a:gd name="connsiteX46" fmla="*/ 1060704 w 2080768"/>
                <a:gd name="connsiteY46" fmla="*/ 2186432 h 3665728"/>
                <a:gd name="connsiteX47" fmla="*/ 898144 w 2080768"/>
                <a:gd name="connsiteY47" fmla="*/ 2397760 h 3665728"/>
                <a:gd name="connsiteX48" fmla="*/ 548640 w 2080768"/>
                <a:gd name="connsiteY48" fmla="*/ 2852928 h 3665728"/>
                <a:gd name="connsiteX49" fmla="*/ 308864 w 2080768"/>
                <a:gd name="connsiteY49" fmla="*/ 3165856 h 3665728"/>
                <a:gd name="connsiteX50" fmla="*/ 65024 w 2080768"/>
                <a:gd name="connsiteY50" fmla="*/ 3551936 h 3665728"/>
                <a:gd name="connsiteX51" fmla="*/ 0 w 2080768"/>
                <a:gd name="connsiteY51" fmla="*/ 3665728 h 3665728"/>
                <a:gd name="connsiteX0" fmla="*/ 666496 w 2080768"/>
                <a:gd name="connsiteY0" fmla="*/ 495808 h 3665728"/>
                <a:gd name="connsiteX1" fmla="*/ 727456 w 2080768"/>
                <a:gd name="connsiteY1" fmla="*/ 617728 h 3665728"/>
                <a:gd name="connsiteX2" fmla="*/ 796544 w 2080768"/>
                <a:gd name="connsiteY2" fmla="*/ 751840 h 3665728"/>
                <a:gd name="connsiteX3" fmla="*/ 824992 w 2080768"/>
                <a:gd name="connsiteY3" fmla="*/ 865632 h 3665728"/>
                <a:gd name="connsiteX4" fmla="*/ 833120 w 2080768"/>
                <a:gd name="connsiteY4" fmla="*/ 938784 h 3665728"/>
                <a:gd name="connsiteX5" fmla="*/ 816864 w 2080768"/>
                <a:gd name="connsiteY5" fmla="*/ 1016000 h 3665728"/>
                <a:gd name="connsiteX6" fmla="*/ 759968 w 2080768"/>
                <a:gd name="connsiteY6" fmla="*/ 1060704 h 3665728"/>
                <a:gd name="connsiteX7" fmla="*/ 719328 w 2080768"/>
                <a:gd name="connsiteY7" fmla="*/ 1068832 h 3665728"/>
                <a:gd name="connsiteX8" fmla="*/ 654304 w 2080768"/>
                <a:gd name="connsiteY8" fmla="*/ 1064768 h 3665728"/>
                <a:gd name="connsiteX9" fmla="*/ 597408 w 2080768"/>
                <a:gd name="connsiteY9" fmla="*/ 1040384 h 3665728"/>
                <a:gd name="connsiteX10" fmla="*/ 568960 w 2080768"/>
                <a:gd name="connsiteY10" fmla="*/ 975360 h 3665728"/>
                <a:gd name="connsiteX11" fmla="*/ 548640 w 2080768"/>
                <a:gd name="connsiteY11" fmla="*/ 922528 h 3665728"/>
                <a:gd name="connsiteX12" fmla="*/ 548640 w 2080768"/>
                <a:gd name="connsiteY12" fmla="*/ 833120 h 3665728"/>
                <a:gd name="connsiteX13" fmla="*/ 581152 w 2080768"/>
                <a:gd name="connsiteY13" fmla="*/ 768096 h 3665728"/>
                <a:gd name="connsiteX14" fmla="*/ 593344 w 2080768"/>
                <a:gd name="connsiteY14" fmla="*/ 715264 h 3665728"/>
                <a:gd name="connsiteX15" fmla="*/ 650240 w 2080768"/>
                <a:gd name="connsiteY15" fmla="*/ 674624 h 3665728"/>
                <a:gd name="connsiteX16" fmla="*/ 690880 w 2080768"/>
                <a:gd name="connsiteY16" fmla="*/ 617728 h 3665728"/>
                <a:gd name="connsiteX17" fmla="*/ 784352 w 2080768"/>
                <a:gd name="connsiteY17" fmla="*/ 532384 h 3665728"/>
                <a:gd name="connsiteX18" fmla="*/ 885952 w 2080768"/>
                <a:gd name="connsiteY18" fmla="*/ 422656 h 3665728"/>
                <a:gd name="connsiteX19" fmla="*/ 999744 w 2080768"/>
                <a:gd name="connsiteY19" fmla="*/ 337312 h 3665728"/>
                <a:gd name="connsiteX20" fmla="*/ 1129792 w 2080768"/>
                <a:gd name="connsiteY20" fmla="*/ 243840 h 3665728"/>
                <a:gd name="connsiteX21" fmla="*/ 1300480 w 2080768"/>
                <a:gd name="connsiteY21" fmla="*/ 142240 h 3665728"/>
                <a:gd name="connsiteX22" fmla="*/ 1442720 w 2080768"/>
                <a:gd name="connsiteY22" fmla="*/ 73152 h 3665728"/>
                <a:gd name="connsiteX23" fmla="*/ 1556512 w 2080768"/>
                <a:gd name="connsiteY23" fmla="*/ 32512 h 3665728"/>
                <a:gd name="connsiteX24" fmla="*/ 1645920 w 2080768"/>
                <a:gd name="connsiteY24" fmla="*/ 8128 h 3665728"/>
                <a:gd name="connsiteX25" fmla="*/ 1739392 w 2080768"/>
                <a:gd name="connsiteY25" fmla="*/ 4064 h 3665728"/>
                <a:gd name="connsiteX26" fmla="*/ 1755648 w 2080768"/>
                <a:gd name="connsiteY26" fmla="*/ 0 h 3665728"/>
                <a:gd name="connsiteX27" fmla="*/ 1836928 w 2080768"/>
                <a:gd name="connsiteY27" fmla="*/ 12192 h 3665728"/>
                <a:gd name="connsiteX28" fmla="*/ 1897888 w 2080768"/>
                <a:gd name="connsiteY28" fmla="*/ 28448 h 3665728"/>
                <a:gd name="connsiteX29" fmla="*/ 1983232 w 2080768"/>
                <a:gd name="connsiteY29" fmla="*/ 81280 h 3665728"/>
                <a:gd name="connsiteX30" fmla="*/ 2015744 w 2080768"/>
                <a:gd name="connsiteY30" fmla="*/ 134112 h 3665728"/>
                <a:gd name="connsiteX31" fmla="*/ 2048256 w 2080768"/>
                <a:gd name="connsiteY31" fmla="*/ 199136 h 3665728"/>
                <a:gd name="connsiteX32" fmla="*/ 2064512 w 2080768"/>
                <a:gd name="connsiteY32" fmla="*/ 264160 h 3665728"/>
                <a:gd name="connsiteX33" fmla="*/ 2080768 w 2080768"/>
                <a:gd name="connsiteY33" fmla="*/ 337312 h 3665728"/>
                <a:gd name="connsiteX34" fmla="*/ 2072640 w 2080768"/>
                <a:gd name="connsiteY34" fmla="*/ 410464 h 3665728"/>
                <a:gd name="connsiteX35" fmla="*/ 2060448 w 2080768"/>
                <a:gd name="connsiteY35" fmla="*/ 487680 h 3665728"/>
                <a:gd name="connsiteX36" fmla="*/ 2027936 w 2080768"/>
                <a:gd name="connsiteY36" fmla="*/ 597408 h 3665728"/>
                <a:gd name="connsiteX37" fmla="*/ 1975104 w 2080768"/>
                <a:gd name="connsiteY37" fmla="*/ 739648 h 3665728"/>
                <a:gd name="connsiteX38" fmla="*/ 1918208 w 2080768"/>
                <a:gd name="connsiteY38" fmla="*/ 865632 h 3665728"/>
                <a:gd name="connsiteX39" fmla="*/ 1845056 w 2080768"/>
                <a:gd name="connsiteY39" fmla="*/ 1020064 h 3665728"/>
                <a:gd name="connsiteX40" fmla="*/ 1763776 w 2080768"/>
                <a:gd name="connsiteY40" fmla="*/ 1162304 h 3665728"/>
                <a:gd name="connsiteX41" fmla="*/ 1666240 w 2080768"/>
                <a:gd name="connsiteY41" fmla="*/ 1341120 h 3665728"/>
                <a:gd name="connsiteX42" fmla="*/ 1552448 w 2080768"/>
                <a:gd name="connsiteY42" fmla="*/ 1503680 h 3665728"/>
                <a:gd name="connsiteX43" fmla="*/ 1381760 w 2080768"/>
                <a:gd name="connsiteY43" fmla="*/ 1767840 h 3665728"/>
                <a:gd name="connsiteX44" fmla="*/ 1247648 w 2080768"/>
                <a:gd name="connsiteY44" fmla="*/ 1946656 h 3665728"/>
                <a:gd name="connsiteX45" fmla="*/ 1060704 w 2080768"/>
                <a:gd name="connsiteY45" fmla="*/ 2186432 h 3665728"/>
                <a:gd name="connsiteX46" fmla="*/ 898144 w 2080768"/>
                <a:gd name="connsiteY46" fmla="*/ 2397760 h 3665728"/>
                <a:gd name="connsiteX47" fmla="*/ 548640 w 2080768"/>
                <a:gd name="connsiteY47" fmla="*/ 2852928 h 3665728"/>
                <a:gd name="connsiteX48" fmla="*/ 308864 w 2080768"/>
                <a:gd name="connsiteY48" fmla="*/ 3165856 h 3665728"/>
                <a:gd name="connsiteX49" fmla="*/ 65024 w 2080768"/>
                <a:gd name="connsiteY49" fmla="*/ 3551936 h 3665728"/>
                <a:gd name="connsiteX50" fmla="*/ 0 w 2080768"/>
                <a:gd name="connsiteY50" fmla="*/ 3665728 h 3665728"/>
                <a:gd name="connsiteX0" fmla="*/ 666496 w 2080768"/>
                <a:gd name="connsiteY0" fmla="*/ 499872 h 3669792"/>
                <a:gd name="connsiteX1" fmla="*/ 727456 w 2080768"/>
                <a:gd name="connsiteY1" fmla="*/ 621792 h 3669792"/>
                <a:gd name="connsiteX2" fmla="*/ 796544 w 2080768"/>
                <a:gd name="connsiteY2" fmla="*/ 755904 h 3669792"/>
                <a:gd name="connsiteX3" fmla="*/ 824992 w 2080768"/>
                <a:gd name="connsiteY3" fmla="*/ 869696 h 3669792"/>
                <a:gd name="connsiteX4" fmla="*/ 833120 w 2080768"/>
                <a:gd name="connsiteY4" fmla="*/ 942848 h 3669792"/>
                <a:gd name="connsiteX5" fmla="*/ 816864 w 2080768"/>
                <a:gd name="connsiteY5" fmla="*/ 1020064 h 3669792"/>
                <a:gd name="connsiteX6" fmla="*/ 759968 w 2080768"/>
                <a:gd name="connsiteY6" fmla="*/ 1064768 h 3669792"/>
                <a:gd name="connsiteX7" fmla="*/ 719328 w 2080768"/>
                <a:gd name="connsiteY7" fmla="*/ 1072896 h 3669792"/>
                <a:gd name="connsiteX8" fmla="*/ 654304 w 2080768"/>
                <a:gd name="connsiteY8" fmla="*/ 1068832 h 3669792"/>
                <a:gd name="connsiteX9" fmla="*/ 597408 w 2080768"/>
                <a:gd name="connsiteY9" fmla="*/ 1044448 h 3669792"/>
                <a:gd name="connsiteX10" fmla="*/ 568960 w 2080768"/>
                <a:gd name="connsiteY10" fmla="*/ 979424 h 3669792"/>
                <a:gd name="connsiteX11" fmla="*/ 548640 w 2080768"/>
                <a:gd name="connsiteY11" fmla="*/ 926592 h 3669792"/>
                <a:gd name="connsiteX12" fmla="*/ 548640 w 2080768"/>
                <a:gd name="connsiteY12" fmla="*/ 837184 h 3669792"/>
                <a:gd name="connsiteX13" fmla="*/ 581152 w 2080768"/>
                <a:gd name="connsiteY13" fmla="*/ 772160 h 3669792"/>
                <a:gd name="connsiteX14" fmla="*/ 593344 w 2080768"/>
                <a:gd name="connsiteY14" fmla="*/ 719328 h 3669792"/>
                <a:gd name="connsiteX15" fmla="*/ 650240 w 2080768"/>
                <a:gd name="connsiteY15" fmla="*/ 678688 h 3669792"/>
                <a:gd name="connsiteX16" fmla="*/ 690880 w 2080768"/>
                <a:gd name="connsiteY16" fmla="*/ 621792 h 3669792"/>
                <a:gd name="connsiteX17" fmla="*/ 784352 w 2080768"/>
                <a:gd name="connsiteY17" fmla="*/ 536448 h 3669792"/>
                <a:gd name="connsiteX18" fmla="*/ 885952 w 2080768"/>
                <a:gd name="connsiteY18" fmla="*/ 426720 h 3669792"/>
                <a:gd name="connsiteX19" fmla="*/ 999744 w 2080768"/>
                <a:gd name="connsiteY19" fmla="*/ 341376 h 3669792"/>
                <a:gd name="connsiteX20" fmla="*/ 1129792 w 2080768"/>
                <a:gd name="connsiteY20" fmla="*/ 247904 h 3669792"/>
                <a:gd name="connsiteX21" fmla="*/ 1300480 w 2080768"/>
                <a:gd name="connsiteY21" fmla="*/ 146304 h 3669792"/>
                <a:gd name="connsiteX22" fmla="*/ 1442720 w 2080768"/>
                <a:gd name="connsiteY22" fmla="*/ 77216 h 3669792"/>
                <a:gd name="connsiteX23" fmla="*/ 1556512 w 2080768"/>
                <a:gd name="connsiteY23" fmla="*/ 36576 h 3669792"/>
                <a:gd name="connsiteX24" fmla="*/ 1645920 w 2080768"/>
                <a:gd name="connsiteY24" fmla="*/ 12192 h 3669792"/>
                <a:gd name="connsiteX25" fmla="*/ 1715008 w 2080768"/>
                <a:gd name="connsiteY25" fmla="*/ 0 h 3669792"/>
                <a:gd name="connsiteX26" fmla="*/ 1755648 w 2080768"/>
                <a:gd name="connsiteY26" fmla="*/ 4064 h 3669792"/>
                <a:gd name="connsiteX27" fmla="*/ 1836928 w 2080768"/>
                <a:gd name="connsiteY27" fmla="*/ 16256 h 3669792"/>
                <a:gd name="connsiteX28" fmla="*/ 1897888 w 2080768"/>
                <a:gd name="connsiteY28" fmla="*/ 32512 h 3669792"/>
                <a:gd name="connsiteX29" fmla="*/ 1983232 w 2080768"/>
                <a:gd name="connsiteY29" fmla="*/ 85344 h 3669792"/>
                <a:gd name="connsiteX30" fmla="*/ 2015744 w 2080768"/>
                <a:gd name="connsiteY30" fmla="*/ 138176 h 3669792"/>
                <a:gd name="connsiteX31" fmla="*/ 2048256 w 2080768"/>
                <a:gd name="connsiteY31" fmla="*/ 203200 h 3669792"/>
                <a:gd name="connsiteX32" fmla="*/ 2064512 w 2080768"/>
                <a:gd name="connsiteY32" fmla="*/ 268224 h 3669792"/>
                <a:gd name="connsiteX33" fmla="*/ 2080768 w 2080768"/>
                <a:gd name="connsiteY33" fmla="*/ 341376 h 3669792"/>
                <a:gd name="connsiteX34" fmla="*/ 2072640 w 2080768"/>
                <a:gd name="connsiteY34" fmla="*/ 414528 h 3669792"/>
                <a:gd name="connsiteX35" fmla="*/ 2060448 w 2080768"/>
                <a:gd name="connsiteY35" fmla="*/ 491744 h 3669792"/>
                <a:gd name="connsiteX36" fmla="*/ 2027936 w 2080768"/>
                <a:gd name="connsiteY36" fmla="*/ 601472 h 3669792"/>
                <a:gd name="connsiteX37" fmla="*/ 1975104 w 2080768"/>
                <a:gd name="connsiteY37" fmla="*/ 743712 h 3669792"/>
                <a:gd name="connsiteX38" fmla="*/ 1918208 w 2080768"/>
                <a:gd name="connsiteY38" fmla="*/ 869696 h 3669792"/>
                <a:gd name="connsiteX39" fmla="*/ 1845056 w 2080768"/>
                <a:gd name="connsiteY39" fmla="*/ 1024128 h 3669792"/>
                <a:gd name="connsiteX40" fmla="*/ 1763776 w 2080768"/>
                <a:gd name="connsiteY40" fmla="*/ 1166368 h 3669792"/>
                <a:gd name="connsiteX41" fmla="*/ 1666240 w 2080768"/>
                <a:gd name="connsiteY41" fmla="*/ 1345184 h 3669792"/>
                <a:gd name="connsiteX42" fmla="*/ 1552448 w 2080768"/>
                <a:gd name="connsiteY42" fmla="*/ 1507744 h 3669792"/>
                <a:gd name="connsiteX43" fmla="*/ 1381760 w 2080768"/>
                <a:gd name="connsiteY43" fmla="*/ 1771904 h 3669792"/>
                <a:gd name="connsiteX44" fmla="*/ 1247648 w 2080768"/>
                <a:gd name="connsiteY44" fmla="*/ 1950720 h 3669792"/>
                <a:gd name="connsiteX45" fmla="*/ 1060704 w 2080768"/>
                <a:gd name="connsiteY45" fmla="*/ 2190496 h 3669792"/>
                <a:gd name="connsiteX46" fmla="*/ 898144 w 2080768"/>
                <a:gd name="connsiteY46" fmla="*/ 2401824 h 3669792"/>
                <a:gd name="connsiteX47" fmla="*/ 548640 w 2080768"/>
                <a:gd name="connsiteY47" fmla="*/ 2856992 h 3669792"/>
                <a:gd name="connsiteX48" fmla="*/ 308864 w 2080768"/>
                <a:gd name="connsiteY48" fmla="*/ 3169920 h 3669792"/>
                <a:gd name="connsiteX49" fmla="*/ 65024 w 2080768"/>
                <a:gd name="connsiteY49" fmla="*/ 3556000 h 3669792"/>
                <a:gd name="connsiteX50" fmla="*/ 0 w 2080768"/>
                <a:gd name="connsiteY50" fmla="*/ 3669792 h 3669792"/>
                <a:gd name="connsiteX0" fmla="*/ 666496 w 2080768"/>
                <a:gd name="connsiteY0" fmla="*/ 499872 h 3669792"/>
                <a:gd name="connsiteX1" fmla="*/ 727456 w 2080768"/>
                <a:gd name="connsiteY1" fmla="*/ 621792 h 3669792"/>
                <a:gd name="connsiteX2" fmla="*/ 796544 w 2080768"/>
                <a:gd name="connsiteY2" fmla="*/ 755904 h 3669792"/>
                <a:gd name="connsiteX3" fmla="*/ 824992 w 2080768"/>
                <a:gd name="connsiteY3" fmla="*/ 869696 h 3669792"/>
                <a:gd name="connsiteX4" fmla="*/ 833120 w 2080768"/>
                <a:gd name="connsiteY4" fmla="*/ 942848 h 3669792"/>
                <a:gd name="connsiteX5" fmla="*/ 816864 w 2080768"/>
                <a:gd name="connsiteY5" fmla="*/ 1020064 h 3669792"/>
                <a:gd name="connsiteX6" fmla="*/ 759968 w 2080768"/>
                <a:gd name="connsiteY6" fmla="*/ 1064768 h 3669792"/>
                <a:gd name="connsiteX7" fmla="*/ 719328 w 2080768"/>
                <a:gd name="connsiteY7" fmla="*/ 1072896 h 3669792"/>
                <a:gd name="connsiteX8" fmla="*/ 654304 w 2080768"/>
                <a:gd name="connsiteY8" fmla="*/ 1068832 h 3669792"/>
                <a:gd name="connsiteX9" fmla="*/ 597408 w 2080768"/>
                <a:gd name="connsiteY9" fmla="*/ 1044448 h 3669792"/>
                <a:gd name="connsiteX10" fmla="*/ 568960 w 2080768"/>
                <a:gd name="connsiteY10" fmla="*/ 979424 h 3669792"/>
                <a:gd name="connsiteX11" fmla="*/ 548640 w 2080768"/>
                <a:gd name="connsiteY11" fmla="*/ 926592 h 3669792"/>
                <a:gd name="connsiteX12" fmla="*/ 548640 w 2080768"/>
                <a:gd name="connsiteY12" fmla="*/ 837184 h 3669792"/>
                <a:gd name="connsiteX13" fmla="*/ 568960 w 2080768"/>
                <a:gd name="connsiteY13" fmla="*/ 772160 h 3669792"/>
                <a:gd name="connsiteX14" fmla="*/ 593344 w 2080768"/>
                <a:gd name="connsiteY14" fmla="*/ 719328 h 3669792"/>
                <a:gd name="connsiteX15" fmla="*/ 650240 w 2080768"/>
                <a:gd name="connsiteY15" fmla="*/ 678688 h 3669792"/>
                <a:gd name="connsiteX16" fmla="*/ 690880 w 2080768"/>
                <a:gd name="connsiteY16" fmla="*/ 621792 h 3669792"/>
                <a:gd name="connsiteX17" fmla="*/ 784352 w 2080768"/>
                <a:gd name="connsiteY17" fmla="*/ 536448 h 3669792"/>
                <a:gd name="connsiteX18" fmla="*/ 885952 w 2080768"/>
                <a:gd name="connsiteY18" fmla="*/ 426720 h 3669792"/>
                <a:gd name="connsiteX19" fmla="*/ 999744 w 2080768"/>
                <a:gd name="connsiteY19" fmla="*/ 341376 h 3669792"/>
                <a:gd name="connsiteX20" fmla="*/ 1129792 w 2080768"/>
                <a:gd name="connsiteY20" fmla="*/ 247904 h 3669792"/>
                <a:gd name="connsiteX21" fmla="*/ 1300480 w 2080768"/>
                <a:gd name="connsiteY21" fmla="*/ 146304 h 3669792"/>
                <a:gd name="connsiteX22" fmla="*/ 1442720 w 2080768"/>
                <a:gd name="connsiteY22" fmla="*/ 77216 h 3669792"/>
                <a:gd name="connsiteX23" fmla="*/ 1556512 w 2080768"/>
                <a:gd name="connsiteY23" fmla="*/ 36576 h 3669792"/>
                <a:gd name="connsiteX24" fmla="*/ 1645920 w 2080768"/>
                <a:gd name="connsiteY24" fmla="*/ 12192 h 3669792"/>
                <a:gd name="connsiteX25" fmla="*/ 1715008 w 2080768"/>
                <a:gd name="connsiteY25" fmla="*/ 0 h 3669792"/>
                <a:gd name="connsiteX26" fmla="*/ 1755648 w 2080768"/>
                <a:gd name="connsiteY26" fmla="*/ 4064 h 3669792"/>
                <a:gd name="connsiteX27" fmla="*/ 1836928 w 2080768"/>
                <a:gd name="connsiteY27" fmla="*/ 16256 h 3669792"/>
                <a:gd name="connsiteX28" fmla="*/ 1897888 w 2080768"/>
                <a:gd name="connsiteY28" fmla="*/ 32512 h 3669792"/>
                <a:gd name="connsiteX29" fmla="*/ 1983232 w 2080768"/>
                <a:gd name="connsiteY29" fmla="*/ 85344 h 3669792"/>
                <a:gd name="connsiteX30" fmla="*/ 2015744 w 2080768"/>
                <a:gd name="connsiteY30" fmla="*/ 138176 h 3669792"/>
                <a:gd name="connsiteX31" fmla="*/ 2048256 w 2080768"/>
                <a:gd name="connsiteY31" fmla="*/ 203200 h 3669792"/>
                <a:gd name="connsiteX32" fmla="*/ 2064512 w 2080768"/>
                <a:gd name="connsiteY32" fmla="*/ 268224 h 3669792"/>
                <a:gd name="connsiteX33" fmla="*/ 2080768 w 2080768"/>
                <a:gd name="connsiteY33" fmla="*/ 341376 h 3669792"/>
                <a:gd name="connsiteX34" fmla="*/ 2072640 w 2080768"/>
                <a:gd name="connsiteY34" fmla="*/ 414528 h 3669792"/>
                <a:gd name="connsiteX35" fmla="*/ 2060448 w 2080768"/>
                <a:gd name="connsiteY35" fmla="*/ 491744 h 3669792"/>
                <a:gd name="connsiteX36" fmla="*/ 2027936 w 2080768"/>
                <a:gd name="connsiteY36" fmla="*/ 601472 h 3669792"/>
                <a:gd name="connsiteX37" fmla="*/ 1975104 w 2080768"/>
                <a:gd name="connsiteY37" fmla="*/ 743712 h 3669792"/>
                <a:gd name="connsiteX38" fmla="*/ 1918208 w 2080768"/>
                <a:gd name="connsiteY38" fmla="*/ 869696 h 3669792"/>
                <a:gd name="connsiteX39" fmla="*/ 1845056 w 2080768"/>
                <a:gd name="connsiteY39" fmla="*/ 1024128 h 3669792"/>
                <a:gd name="connsiteX40" fmla="*/ 1763776 w 2080768"/>
                <a:gd name="connsiteY40" fmla="*/ 1166368 h 3669792"/>
                <a:gd name="connsiteX41" fmla="*/ 1666240 w 2080768"/>
                <a:gd name="connsiteY41" fmla="*/ 1345184 h 3669792"/>
                <a:gd name="connsiteX42" fmla="*/ 1552448 w 2080768"/>
                <a:gd name="connsiteY42" fmla="*/ 1507744 h 3669792"/>
                <a:gd name="connsiteX43" fmla="*/ 1381760 w 2080768"/>
                <a:gd name="connsiteY43" fmla="*/ 1771904 h 3669792"/>
                <a:gd name="connsiteX44" fmla="*/ 1247648 w 2080768"/>
                <a:gd name="connsiteY44" fmla="*/ 1950720 h 3669792"/>
                <a:gd name="connsiteX45" fmla="*/ 1060704 w 2080768"/>
                <a:gd name="connsiteY45" fmla="*/ 2190496 h 3669792"/>
                <a:gd name="connsiteX46" fmla="*/ 898144 w 2080768"/>
                <a:gd name="connsiteY46" fmla="*/ 2401824 h 3669792"/>
                <a:gd name="connsiteX47" fmla="*/ 548640 w 2080768"/>
                <a:gd name="connsiteY47" fmla="*/ 2856992 h 3669792"/>
                <a:gd name="connsiteX48" fmla="*/ 308864 w 2080768"/>
                <a:gd name="connsiteY48" fmla="*/ 3169920 h 3669792"/>
                <a:gd name="connsiteX49" fmla="*/ 65024 w 2080768"/>
                <a:gd name="connsiteY49" fmla="*/ 3556000 h 3669792"/>
                <a:gd name="connsiteX50" fmla="*/ 0 w 2080768"/>
                <a:gd name="connsiteY50" fmla="*/ 3669792 h 3669792"/>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68960 w 2080768"/>
                <a:gd name="connsiteY10" fmla="*/ 991616 h 3681984"/>
                <a:gd name="connsiteX11" fmla="*/ 548640 w 2080768"/>
                <a:gd name="connsiteY11" fmla="*/ 938784 h 3681984"/>
                <a:gd name="connsiteX12" fmla="*/ 548640 w 2080768"/>
                <a:gd name="connsiteY12" fmla="*/ 849376 h 3681984"/>
                <a:gd name="connsiteX13" fmla="*/ 568960 w 2080768"/>
                <a:gd name="connsiteY13" fmla="*/ 784352 h 3681984"/>
                <a:gd name="connsiteX14" fmla="*/ 593344 w 2080768"/>
                <a:gd name="connsiteY14" fmla="*/ 731520 h 3681984"/>
                <a:gd name="connsiteX15" fmla="*/ 650240 w 2080768"/>
                <a:gd name="connsiteY15" fmla="*/ 690880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36928 w 2080768"/>
                <a:gd name="connsiteY27" fmla="*/ 28448 h 3681984"/>
                <a:gd name="connsiteX28" fmla="*/ 1897888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68960 w 2080768"/>
                <a:gd name="connsiteY10" fmla="*/ 991616 h 3681984"/>
                <a:gd name="connsiteX11" fmla="*/ 548640 w 2080768"/>
                <a:gd name="connsiteY11" fmla="*/ 938784 h 3681984"/>
                <a:gd name="connsiteX12" fmla="*/ 548640 w 2080768"/>
                <a:gd name="connsiteY12" fmla="*/ 849376 h 3681984"/>
                <a:gd name="connsiteX13" fmla="*/ 568960 w 2080768"/>
                <a:gd name="connsiteY13" fmla="*/ 784352 h 3681984"/>
                <a:gd name="connsiteX14" fmla="*/ 593344 w 2080768"/>
                <a:gd name="connsiteY14" fmla="*/ 731520 h 3681984"/>
                <a:gd name="connsiteX15" fmla="*/ 650240 w 2080768"/>
                <a:gd name="connsiteY15" fmla="*/ 690880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897888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68960 w 2080768"/>
                <a:gd name="connsiteY10" fmla="*/ 991616 h 3681984"/>
                <a:gd name="connsiteX11" fmla="*/ 548640 w 2080768"/>
                <a:gd name="connsiteY11" fmla="*/ 938784 h 3681984"/>
                <a:gd name="connsiteX12" fmla="*/ 548640 w 2080768"/>
                <a:gd name="connsiteY12" fmla="*/ 849376 h 3681984"/>
                <a:gd name="connsiteX13" fmla="*/ 568960 w 2080768"/>
                <a:gd name="connsiteY13" fmla="*/ 784352 h 3681984"/>
                <a:gd name="connsiteX14" fmla="*/ 593344 w 2080768"/>
                <a:gd name="connsiteY14" fmla="*/ 731520 h 3681984"/>
                <a:gd name="connsiteX15" fmla="*/ 650240 w 2080768"/>
                <a:gd name="connsiteY15" fmla="*/ 690880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68960 w 2080768"/>
                <a:gd name="connsiteY10" fmla="*/ 991616 h 3681984"/>
                <a:gd name="connsiteX11" fmla="*/ 548640 w 2080768"/>
                <a:gd name="connsiteY11" fmla="*/ 938784 h 3681984"/>
                <a:gd name="connsiteX12" fmla="*/ 548640 w 2080768"/>
                <a:gd name="connsiteY12" fmla="*/ 849376 h 3681984"/>
                <a:gd name="connsiteX13" fmla="*/ 568960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68960 w 2080768"/>
                <a:gd name="connsiteY10" fmla="*/ 991616 h 3681984"/>
                <a:gd name="connsiteX11" fmla="*/ 548640 w 2080768"/>
                <a:gd name="connsiteY11" fmla="*/ 938784 h 3681984"/>
                <a:gd name="connsiteX12" fmla="*/ 528320 w 2080768"/>
                <a:gd name="connsiteY12" fmla="*/ 865632 h 3681984"/>
                <a:gd name="connsiteX13" fmla="*/ 568960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68960 w 2080768"/>
                <a:gd name="connsiteY10" fmla="*/ 991616 h 3681984"/>
                <a:gd name="connsiteX11" fmla="*/ 532384 w 2080768"/>
                <a:gd name="connsiteY11" fmla="*/ 950976 h 3681984"/>
                <a:gd name="connsiteX12" fmla="*/ 528320 w 2080768"/>
                <a:gd name="connsiteY12" fmla="*/ 865632 h 3681984"/>
                <a:gd name="connsiteX13" fmla="*/ 568960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995680 h 3681984"/>
                <a:gd name="connsiteX11" fmla="*/ 532384 w 2080768"/>
                <a:gd name="connsiteY11" fmla="*/ 950976 h 3681984"/>
                <a:gd name="connsiteX12" fmla="*/ 528320 w 2080768"/>
                <a:gd name="connsiteY12" fmla="*/ 865632 h 3681984"/>
                <a:gd name="connsiteX13" fmla="*/ 568960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995680 h 3681984"/>
                <a:gd name="connsiteX11" fmla="*/ 532384 w 2080768"/>
                <a:gd name="connsiteY11" fmla="*/ 950976 h 3681984"/>
                <a:gd name="connsiteX12" fmla="*/ 528320 w 2080768"/>
                <a:gd name="connsiteY12" fmla="*/ 865632 h 3681984"/>
                <a:gd name="connsiteX13" fmla="*/ 568960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995680 h 3681984"/>
                <a:gd name="connsiteX11" fmla="*/ 532384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1011936 h 3681984"/>
                <a:gd name="connsiteX11" fmla="*/ 532384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1011936 h 3681984"/>
                <a:gd name="connsiteX11" fmla="*/ 532384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1011936 h 3681984"/>
                <a:gd name="connsiteX11" fmla="*/ 532384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54304 w 2080768"/>
                <a:gd name="connsiteY8" fmla="*/ 1081024 h 3681984"/>
                <a:gd name="connsiteX9" fmla="*/ 597408 w 2080768"/>
                <a:gd name="connsiteY9" fmla="*/ 105664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9328 w 2080768"/>
                <a:gd name="connsiteY7" fmla="*/ 1085088 h 3681984"/>
                <a:gd name="connsiteX8" fmla="*/ 646176 w 2080768"/>
                <a:gd name="connsiteY8" fmla="*/ 1101344 h 3681984"/>
                <a:gd name="connsiteX9" fmla="*/ 597408 w 2080768"/>
                <a:gd name="connsiteY9" fmla="*/ 105664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7408 w 2080768"/>
                <a:gd name="connsiteY9" fmla="*/ 105664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690880 w 2080768"/>
                <a:gd name="connsiteY16" fmla="*/ 633984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48640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24992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41248 w 2080768"/>
                <a:gd name="connsiteY3" fmla="*/ 881888 h 3681984"/>
                <a:gd name="connsiteX4" fmla="*/ 833120 w 2080768"/>
                <a:gd name="connsiteY4" fmla="*/ 955040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76960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27456 w 2080768"/>
                <a:gd name="connsiteY1" fmla="*/ 633984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68096 h 3681984"/>
                <a:gd name="connsiteX3" fmla="*/ 841248 w 2080768"/>
                <a:gd name="connsiteY3" fmla="*/ 881888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68096 h 3681984"/>
                <a:gd name="connsiteX3" fmla="*/ 841248 w 2080768"/>
                <a:gd name="connsiteY3" fmla="*/ 857504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3312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6864 w 2080768"/>
                <a:gd name="connsiteY5" fmla="*/ 1032256 h 3681984"/>
                <a:gd name="connsiteX6" fmla="*/ 759968 w 2080768"/>
                <a:gd name="connsiteY6" fmla="*/ 1081024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6864 w 2080768"/>
                <a:gd name="connsiteY5" fmla="*/ 1032256 h 3681984"/>
                <a:gd name="connsiteX6" fmla="*/ 776636 w 2080768"/>
                <a:gd name="connsiteY6" fmla="*/ 1083406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6864 w 2080768"/>
                <a:gd name="connsiteY5" fmla="*/ 1032256 h 3681984"/>
                <a:gd name="connsiteX6" fmla="*/ 776636 w 2080768"/>
                <a:gd name="connsiteY6" fmla="*/ 1083406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9246 w 2080768"/>
                <a:gd name="connsiteY5" fmla="*/ 1039400 h 3681984"/>
                <a:gd name="connsiteX6" fmla="*/ 776636 w 2080768"/>
                <a:gd name="connsiteY6" fmla="*/ 1083406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6544 w 2080768"/>
                <a:gd name="connsiteY2" fmla="*/ 759968 h 3681984"/>
                <a:gd name="connsiteX3" fmla="*/ 841248 w 2080768"/>
                <a:gd name="connsiteY3" fmla="*/ 857504 h 3681984"/>
                <a:gd name="connsiteX4" fmla="*/ 853440 w 2080768"/>
                <a:gd name="connsiteY4" fmla="*/ 971296 h 3681984"/>
                <a:gd name="connsiteX5" fmla="*/ 819246 w 2080768"/>
                <a:gd name="connsiteY5" fmla="*/ 1039400 h 3681984"/>
                <a:gd name="connsiteX6" fmla="*/ 776636 w 2080768"/>
                <a:gd name="connsiteY6" fmla="*/ 1083406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8926 w 2080768"/>
                <a:gd name="connsiteY2" fmla="*/ 757587 h 3681984"/>
                <a:gd name="connsiteX3" fmla="*/ 841248 w 2080768"/>
                <a:gd name="connsiteY3" fmla="*/ 857504 h 3681984"/>
                <a:gd name="connsiteX4" fmla="*/ 853440 w 2080768"/>
                <a:gd name="connsiteY4" fmla="*/ 971296 h 3681984"/>
                <a:gd name="connsiteX5" fmla="*/ 819246 w 2080768"/>
                <a:gd name="connsiteY5" fmla="*/ 1039400 h 3681984"/>
                <a:gd name="connsiteX6" fmla="*/ 776636 w 2080768"/>
                <a:gd name="connsiteY6" fmla="*/ 1083406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2064 h 3681984"/>
                <a:gd name="connsiteX1" fmla="*/ 743712 w 2080768"/>
                <a:gd name="connsiteY1" fmla="*/ 650240 h 3681984"/>
                <a:gd name="connsiteX2" fmla="*/ 798926 w 2080768"/>
                <a:gd name="connsiteY2" fmla="*/ 757587 h 3681984"/>
                <a:gd name="connsiteX3" fmla="*/ 841248 w 2080768"/>
                <a:gd name="connsiteY3" fmla="*/ 857504 h 3681984"/>
                <a:gd name="connsiteX4" fmla="*/ 853440 w 2080768"/>
                <a:gd name="connsiteY4" fmla="*/ 971296 h 3681984"/>
                <a:gd name="connsiteX5" fmla="*/ 826390 w 2080768"/>
                <a:gd name="connsiteY5" fmla="*/ 1041781 h 3681984"/>
                <a:gd name="connsiteX6" fmla="*/ 776636 w 2080768"/>
                <a:gd name="connsiteY6" fmla="*/ 1083406 h 3681984"/>
                <a:gd name="connsiteX7" fmla="*/ 715264 w 2080768"/>
                <a:gd name="connsiteY7" fmla="*/ 1105408 h 3681984"/>
                <a:gd name="connsiteX8" fmla="*/ 646176 w 2080768"/>
                <a:gd name="connsiteY8" fmla="*/ 1101344 h 3681984"/>
                <a:gd name="connsiteX9" fmla="*/ 593344 w 2080768"/>
                <a:gd name="connsiteY9" fmla="*/ 1076960 h 3681984"/>
                <a:gd name="connsiteX10" fmla="*/ 540512 w 2080768"/>
                <a:gd name="connsiteY10" fmla="*/ 1011936 h 3681984"/>
                <a:gd name="connsiteX11" fmla="*/ 524256 w 2080768"/>
                <a:gd name="connsiteY11" fmla="*/ 950976 h 3681984"/>
                <a:gd name="connsiteX12" fmla="*/ 528320 w 2080768"/>
                <a:gd name="connsiteY12" fmla="*/ 865632 h 3681984"/>
                <a:gd name="connsiteX13" fmla="*/ 556768 w 2080768"/>
                <a:gd name="connsiteY13" fmla="*/ 784352 h 3681984"/>
                <a:gd name="connsiteX14" fmla="*/ 593344 w 2080768"/>
                <a:gd name="connsiteY14" fmla="*/ 731520 h 3681984"/>
                <a:gd name="connsiteX15" fmla="*/ 650240 w 2080768"/>
                <a:gd name="connsiteY15" fmla="*/ 666496 h 3681984"/>
                <a:gd name="connsiteX16" fmla="*/ 703072 w 2080768"/>
                <a:gd name="connsiteY16" fmla="*/ 601472 h 3681984"/>
                <a:gd name="connsiteX17" fmla="*/ 784352 w 2080768"/>
                <a:gd name="connsiteY17" fmla="*/ 524256 h 3681984"/>
                <a:gd name="connsiteX18" fmla="*/ 885952 w 2080768"/>
                <a:gd name="connsiteY18" fmla="*/ 438912 h 3681984"/>
                <a:gd name="connsiteX19" fmla="*/ 999744 w 2080768"/>
                <a:gd name="connsiteY19" fmla="*/ 353568 h 3681984"/>
                <a:gd name="connsiteX20" fmla="*/ 1129792 w 2080768"/>
                <a:gd name="connsiteY20" fmla="*/ 260096 h 3681984"/>
                <a:gd name="connsiteX21" fmla="*/ 1300480 w 2080768"/>
                <a:gd name="connsiteY21" fmla="*/ 158496 h 3681984"/>
                <a:gd name="connsiteX22" fmla="*/ 1442720 w 2080768"/>
                <a:gd name="connsiteY22" fmla="*/ 89408 h 3681984"/>
                <a:gd name="connsiteX23" fmla="*/ 1556512 w 2080768"/>
                <a:gd name="connsiteY23" fmla="*/ 48768 h 3681984"/>
                <a:gd name="connsiteX24" fmla="*/ 1645920 w 2080768"/>
                <a:gd name="connsiteY24" fmla="*/ 24384 h 3681984"/>
                <a:gd name="connsiteX25" fmla="*/ 1715008 w 2080768"/>
                <a:gd name="connsiteY25" fmla="*/ 12192 h 3681984"/>
                <a:gd name="connsiteX26" fmla="*/ 1771904 w 2080768"/>
                <a:gd name="connsiteY26" fmla="*/ 0 h 3681984"/>
                <a:gd name="connsiteX27" fmla="*/ 1845056 w 2080768"/>
                <a:gd name="connsiteY27" fmla="*/ 12192 h 3681984"/>
                <a:gd name="connsiteX28" fmla="*/ 1906016 w 2080768"/>
                <a:gd name="connsiteY28" fmla="*/ 44704 h 3681984"/>
                <a:gd name="connsiteX29" fmla="*/ 1983232 w 2080768"/>
                <a:gd name="connsiteY29" fmla="*/ 97536 h 3681984"/>
                <a:gd name="connsiteX30" fmla="*/ 2015744 w 2080768"/>
                <a:gd name="connsiteY30" fmla="*/ 150368 h 3681984"/>
                <a:gd name="connsiteX31" fmla="*/ 2048256 w 2080768"/>
                <a:gd name="connsiteY31" fmla="*/ 215392 h 3681984"/>
                <a:gd name="connsiteX32" fmla="*/ 2064512 w 2080768"/>
                <a:gd name="connsiteY32" fmla="*/ 280416 h 3681984"/>
                <a:gd name="connsiteX33" fmla="*/ 2080768 w 2080768"/>
                <a:gd name="connsiteY33" fmla="*/ 353568 h 3681984"/>
                <a:gd name="connsiteX34" fmla="*/ 2072640 w 2080768"/>
                <a:gd name="connsiteY34" fmla="*/ 426720 h 3681984"/>
                <a:gd name="connsiteX35" fmla="*/ 2060448 w 2080768"/>
                <a:gd name="connsiteY35" fmla="*/ 503936 h 3681984"/>
                <a:gd name="connsiteX36" fmla="*/ 2027936 w 2080768"/>
                <a:gd name="connsiteY36" fmla="*/ 613664 h 3681984"/>
                <a:gd name="connsiteX37" fmla="*/ 1975104 w 2080768"/>
                <a:gd name="connsiteY37" fmla="*/ 755904 h 3681984"/>
                <a:gd name="connsiteX38" fmla="*/ 1918208 w 2080768"/>
                <a:gd name="connsiteY38" fmla="*/ 881888 h 3681984"/>
                <a:gd name="connsiteX39" fmla="*/ 1845056 w 2080768"/>
                <a:gd name="connsiteY39" fmla="*/ 1036320 h 3681984"/>
                <a:gd name="connsiteX40" fmla="*/ 1763776 w 2080768"/>
                <a:gd name="connsiteY40" fmla="*/ 1178560 h 3681984"/>
                <a:gd name="connsiteX41" fmla="*/ 1666240 w 2080768"/>
                <a:gd name="connsiteY41" fmla="*/ 1357376 h 3681984"/>
                <a:gd name="connsiteX42" fmla="*/ 1552448 w 2080768"/>
                <a:gd name="connsiteY42" fmla="*/ 1519936 h 3681984"/>
                <a:gd name="connsiteX43" fmla="*/ 1381760 w 2080768"/>
                <a:gd name="connsiteY43" fmla="*/ 1784096 h 3681984"/>
                <a:gd name="connsiteX44" fmla="*/ 1247648 w 2080768"/>
                <a:gd name="connsiteY44" fmla="*/ 1962912 h 3681984"/>
                <a:gd name="connsiteX45" fmla="*/ 1060704 w 2080768"/>
                <a:gd name="connsiteY45" fmla="*/ 2202688 h 3681984"/>
                <a:gd name="connsiteX46" fmla="*/ 898144 w 2080768"/>
                <a:gd name="connsiteY46" fmla="*/ 2414016 h 3681984"/>
                <a:gd name="connsiteX47" fmla="*/ 548640 w 2080768"/>
                <a:gd name="connsiteY47" fmla="*/ 2869184 h 3681984"/>
                <a:gd name="connsiteX48" fmla="*/ 308864 w 2080768"/>
                <a:gd name="connsiteY48" fmla="*/ 3182112 h 3681984"/>
                <a:gd name="connsiteX49" fmla="*/ 65024 w 2080768"/>
                <a:gd name="connsiteY49" fmla="*/ 3568192 h 3681984"/>
                <a:gd name="connsiteX50" fmla="*/ 0 w 2080768"/>
                <a:gd name="connsiteY50" fmla="*/ 3681984 h 3681984"/>
                <a:gd name="connsiteX0" fmla="*/ 666496 w 2080768"/>
                <a:gd name="connsiteY0" fmla="*/ 514160 h 3684080"/>
                <a:gd name="connsiteX1" fmla="*/ 743712 w 2080768"/>
                <a:gd name="connsiteY1" fmla="*/ 652336 h 3684080"/>
                <a:gd name="connsiteX2" fmla="*/ 798926 w 2080768"/>
                <a:gd name="connsiteY2" fmla="*/ 759683 h 3684080"/>
                <a:gd name="connsiteX3" fmla="*/ 841248 w 2080768"/>
                <a:gd name="connsiteY3" fmla="*/ 859600 h 3684080"/>
                <a:gd name="connsiteX4" fmla="*/ 853440 w 2080768"/>
                <a:gd name="connsiteY4" fmla="*/ 973392 h 3684080"/>
                <a:gd name="connsiteX5" fmla="*/ 826390 w 2080768"/>
                <a:gd name="connsiteY5" fmla="*/ 1043877 h 3684080"/>
                <a:gd name="connsiteX6" fmla="*/ 776636 w 2080768"/>
                <a:gd name="connsiteY6" fmla="*/ 1085502 h 3684080"/>
                <a:gd name="connsiteX7" fmla="*/ 715264 w 2080768"/>
                <a:gd name="connsiteY7" fmla="*/ 1107504 h 3684080"/>
                <a:gd name="connsiteX8" fmla="*/ 646176 w 2080768"/>
                <a:gd name="connsiteY8" fmla="*/ 1103440 h 3684080"/>
                <a:gd name="connsiteX9" fmla="*/ 593344 w 2080768"/>
                <a:gd name="connsiteY9" fmla="*/ 1079056 h 3684080"/>
                <a:gd name="connsiteX10" fmla="*/ 540512 w 2080768"/>
                <a:gd name="connsiteY10" fmla="*/ 1014032 h 3684080"/>
                <a:gd name="connsiteX11" fmla="*/ 524256 w 2080768"/>
                <a:gd name="connsiteY11" fmla="*/ 953072 h 3684080"/>
                <a:gd name="connsiteX12" fmla="*/ 528320 w 2080768"/>
                <a:gd name="connsiteY12" fmla="*/ 867728 h 3684080"/>
                <a:gd name="connsiteX13" fmla="*/ 556768 w 2080768"/>
                <a:gd name="connsiteY13" fmla="*/ 786448 h 3684080"/>
                <a:gd name="connsiteX14" fmla="*/ 593344 w 2080768"/>
                <a:gd name="connsiteY14" fmla="*/ 733616 h 3684080"/>
                <a:gd name="connsiteX15" fmla="*/ 650240 w 2080768"/>
                <a:gd name="connsiteY15" fmla="*/ 668592 h 3684080"/>
                <a:gd name="connsiteX16" fmla="*/ 703072 w 2080768"/>
                <a:gd name="connsiteY16" fmla="*/ 603568 h 3684080"/>
                <a:gd name="connsiteX17" fmla="*/ 784352 w 2080768"/>
                <a:gd name="connsiteY17" fmla="*/ 526352 h 3684080"/>
                <a:gd name="connsiteX18" fmla="*/ 885952 w 2080768"/>
                <a:gd name="connsiteY18" fmla="*/ 441008 h 3684080"/>
                <a:gd name="connsiteX19" fmla="*/ 999744 w 2080768"/>
                <a:gd name="connsiteY19" fmla="*/ 355664 h 3684080"/>
                <a:gd name="connsiteX20" fmla="*/ 1129792 w 2080768"/>
                <a:gd name="connsiteY20" fmla="*/ 262192 h 3684080"/>
                <a:gd name="connsiteX21" fmla="*/ 1300480 w 2080768"/>
                <a:gd name="connsiteY21" fmla="*/ 160592 h 3684080"/>
                <a:gd name="connsiteX22" fmla="*/ 1442720 w 2080768"/>
                <a:gd name="connsiteY22" fmla="*/ 91504 h 3684080"/>
                <a:gd name="connsiteX23" fmla="*/ 1556512 w 2080768"/>
                <a:gd name="connsiteY23" fmla="*/ 50864 h 3684080"/>
                <a:gd name="connsiteX24" fmla="*/ 1645920 w 2080768"/>
                <a:gd name="connsiteY24" fmla="*/ 26480 h 3684080"/>
                <a:gd name="connsiteX25" fmla="*/ 1717390 w 2080768"/>
                <a:gd name="connsiteY25" fmla="*/ 0 h 3684080"/>
                <a:gd name="connsiteX26" fmla="*/ 1771904 w 2080768"/>
                <a:gd name="connsiteY26" fmla="*/ 2096 h 3684080"/>
                <a:gd name="connsiteX27" fmla="*/ 1845056 w 2080768"/>
                <a:gd name="connsiteY27" fmla="*/ 14288 h 3684080"/>
                <a:gd name="connsiteX28" fmla="*/ 1906016 w 2080768"/>
                <a:gd name="connsiteY28" fmla="*/ 46800 h 3684080"/>
                <a:gd name="connsiteX29" fmla="*/ 1983232 w 2080768"/>
                <a:gd name="connsiteY29" fmla="*/ 99632 h 3684080"/>
                <a:gd name="connsiteX30" fmla="*/ 2015744 w 2080768"/>
                <a:gd name="connsiteY30" fmla="*/ 152464 h 3684080"/>
                <a:gd name="connsiteX31" fmla="*/ 2048256 w 2080768"/>
                <a:gd name="connsiteY31" fmla="*/ 217488 h 3684080"/>
                <a:gd name="connsiteX32" fmla="*/ 2064512 w 2080768"/>
                <a:gd name="connsiteY32" fmla="*/ 282512 h 3684080"/>
                <a:gd name="connsiteX33" fmla="*/ 2080768 w 2080768"/>
                <a:gd name="connsiteY33" fmla="*/ 355664 h 3684080"/>
                <a:gd name="connsiteX34" fmla="*/ 2072640 w 2080768"/>
                <a:gd name="connsiteY34" fmla="*/ 428816 h 3684080"/>
                <a:gd name="connsiteX35" fmla="*/ 2060448 w 2080768"/>
                <a:gd name="connsiteY35" fmla="*/ 506032 h 3684080"/>
                <a:gd name="connsiteX36" fmla="*/ 2027936 w 2080768"/>
                <a:gd name="connsiteY36" fmla="*/ 615760 h 3684080"/>
                <a:gd name="connsiteX37" fmla="*/ 1975104 w 2080768"/>
                <a:gd name="connsiteY37" fmla="*/ 758000 h 3684080"/>
                <a:gd name="connsiteX38" fmla="*/ 1918208 w 2080768"/>
                <a:gd name="connsiteY38" fmla="*/ 883984 h 3684080"/>
                <a:gd name="connsiteX39" fmla="*/ 1845056 w 2080768"/>
                <a:gd name="connsiteY39" fmla="*/ 1038416 h 3684080"/>
                <a:gd name="connsiteX40" fmla="*/ 1763776 w 2080768"/>
                <a:gd name="connsiteY40" fmla="*/ 1180656 h 3684080"/>
                <a:gd name="connsiteX41" fmla="*/ 1666240 w 2080768"/>
                <a:gd name="connsiteY41" fmla="*/ 1359472 h 3684080"/>
                <a:gd name="connsiteX42" fmla="*/ 1552448 w 2080768"/>
                <a:gd name="connsiteY42" fmla="*/ 1522032 h 3684080"/>
                <a:gd name="connsiteX43" fmla="*/ 1381760 w 2080768"/>
                <a:gd name="connsiteY43" fmla="*/ 1786192 h 3684080"/>
                <a:gd name="connsiteX44" fmla="*/ 1247648 w 2080768"/>
                <a:gd name="connsiteY44" fmla="*/ 1965008 h 3684080"/>
                <a:gd name="connsiteX45" fmla="*/ 1060704 w 2080768"/>
                <a:gd name="connsiteY45" fmla="*/ 2204784 h 3684080"/>
                <a:gd name="connsiteX46" fmla="*/ 898144 w 2080768"/>
                <a:gd name="connsiteY46" fmla="*/ 2416112 h 3684080"/>
                <a:gd name="connsiteX47" fmla="*/ 548640 w 2080768"/>
                <a:gd name="connsiteY47" fmla="*/ 2871280 h 3684080"/>
                <a:gd name="connsiteX48" fmla="*/ 308864 w 2080768"/>
                <a:gd name="connsiteY48" fmla="*/ 3184208 h 3684080"/>
                <a:gd name="connsiteX49" fmla="*/ 65024 w 2080768"/>
                <a:gd name="connsiteY49" fmla="*/ 3570288 h 3684080"/>
                <a:gd name="connsiteX50" fmla="*/ 0 w 2080768"/>
                <a:gd name="connsiteY50" fmla="*/ 3684080 h 3684080"/>
                <a:gd name="connsiteX0" fmla="*/ 666496 w 2080768"/>
                <a:gd name="connsiteY0" fmla="*/ 515954 h 3685874"/>
                <a:gd name="connsiteX1" fmla="*/ 743712 w 2080768"/>
                <a:gd name="connsiteY1" fmla="*/ 654130 h 3685874"/>
                <a:gd name="connsiteX2" fmla="*/ 798926 w 2080768"/>
                <a:gd name="connsiteY2" fmla="*/ 761477 h 3685874"/>
                <a:gd name="connsiteX3" fmla="*/ 841248 w 2080768"/>
                <a:gd name="connsiteY3" fmla="*/ 861394 h 3685874"/>
                <a:gd name="connsiteX4" fmla="*/ 853440 w 2080768"/>
                <a:gd name="connsiteY4" fmla="*/ 975186 h 3685874"/>
                <a:gd name="connsiteX5" fmla="*/ 826390 w 2080768"/>
                <a:gd name="connsiteY5" fmla="*/ 1045671 h 3685874"/>
                <a:gd name="connsiteX6" fmla="*/ 776636 w 2080768"/>
                <a:gd name="connsiteY6" fmla="*/ 1087296 h 3685874"/>
                <a:gd name="connsiteX7" fmla="*/ 715264 w 2080768"/>
                <a:gd name="connsiteY7" fmla="*/ 1109298 h 3685874"/>
                <a:gd name="connsiteX8" fmla="*/ 646176 w 2080768"/>
                <a:gd name="connsiteY8" fmla="*/ 1105234 h 3685874"/>
                <a:gd name="connsiteX9" fmla="*/ 593344 w 2080768"/>
                <a:gd name="connsiteY9" fmla="*/ 1080850 h 3685874"/>
                <a:gd name="connsiteX10" fmla="*/ 540512 w 2080768"/>
                <a:gd name="connsiteY10" fmla="*/ 1015826 h 3685874"/>
                <a:gd name="connsiteX11" fmla="*/ 524256 w 2080768"/>
                <a:gd name="connsiteY11" fmla="*/ 954866 h 3685874"/>
                <a:gd name="connsiteX12" fmla="*/ 528320 w 2080768"/>
                <a:gd name="connsiteY12" fmla="*/ 869522 h 3685874"/>
                <a:gd name="connsiteX13" fmla="*/ 556768 w 2080768"/>
                <a:gd name="connsiteY13" fmla="*/ 788242 h 3685874"/>
                <a:gd name="connsiteX14" fmla="*/ 593344 w 2080768"/>
                <a:gd name="connsiteY14" fmla="*/ 735410 h 3685874"/>
                <a:gd name="connsiteX15" fmla="*/ 650240 w 2080768"/>
                <a:gd name="connsiteY15" fmla="*/ 670386 h 3685874"/>
                <a:gd name="connsiteX16" fmla="*/ 703072 w 2080768"/>
                <a:gd name="connsiteY16" fmla="*/ 605362 h 3685874"/>
                <a:gd name="connsiteX17" fmla="*/ 784352 w 2080768"/>
                <a:gd name="connsiteY17" fmla="*/ 528146 h 3685874"/>
                <a:gd name="connsiteX18" fmla="*/ 885952 w 2080768"/>
                <a:gd name="connsiteY18" fmla="*/ 442802 h 3685874"/>
                <a:gd name="connsiteX19" fmla="*/ 999744 w 2080768"/>
                <a:gd name="connsiteY19" fmla="*/ 357458 h 3685874"/>
                <a:gd name="connsiteX20" fmla="*/ 1129792 w 2080768"/>
                <a:gd name="connsiteY20" fmla="*/ 263986 h 3685874"/>
                <a:gd name="connsiteX21" fmla="*/ 1300480 w 2080768"/>
                <a:gd name="connsiteY21" fmla="*/ 162386 h 3685874"/>
                <a:gd name="connsiteX22" fmla="*/ 1442720 w 2080768"/>
                <a:gd name="connsiteY22" fmla="*/ 93298 h 3685874"/>
                <a:gd name="connsiteX23" fmla="*/ 1556512 w 2080768"/>
                <a:gd name="connsiteY23" fmla="*/ 52658 h 3685874"/>
                <a:gd name="connsiteX24" fmla="*/ 1645920 w 2080768"/>
                <a:gd name="connsiteY24" fmla="*/ 28274 h 3685874"/>
                <a:gd name="connsiteX25" fmla="*/ 1717390 w 2080768"/>
                <a:gd name="connsiteY25" fmla="*/ 1794 h 3685874"/>
                <a:gd name="connsiteX26" fmla="*/ 1771904 w 2080768"/>
                <a:gd name="connsiteY26" fmla="*/ 3890 h 3685874"/>
                <a:gd name="connsiteX27" fmla="*/ 1845056 w 2080768"/>
                <a:gd name="connsiteY27" fmla="*/ 16082 h 3685874"/>
                <a:gd name="connsiteX28" fmla="*/ 1906016 w 2080768"/>
                <a:gd name="connsiteY28" fmla="*/ 48594 h 3685874"/>
                <a:gd name="connsiteX29" fmla="*/ 1983232 w 2080768"/>
                <a:gd name="connsiteY29" fmla="*/ 101426 h 3685874"/>
                <a:gd name="connsiteX30" fmla="*/ 2015744 w 2080768"/>
                <a:gd name="connsiteY30" fmla="*/ 154258 h 3685874"/>
                <a:gd name="connsiteX31" fmla="*/ 2048256 w 2080768"/>
                <a:gd name="connsiteY31" fmla="*/ 219282 h 3685874"/>
                <a:gd name="connsiteX32" fmla="*/ 2064512 w 2080768"/>
                <a:gd name="connsiteY32" fmla="*/ 284306 h 3685874"/>
                <a:gd name="connsiteX33" fmla="*/ 2080768 w 2080768"/>
                <a:gd name="connsiteY33" fmla="*/ 357458 h 3685874"/>
                <a:gd name="connsiteX34" fmla="*/ 2072640 w 2080768"/>
                <a:gd name="connsiteY34" fmla="*/ 430610 h 3685874"/>
                <a:gd name="connsiteX35" fmla="*/ 2060448 w 2080768"/>
                <a:gd name="connsiteY35" fmla="*/ 507826 h 3685874"/>
                <a:gd name="connsiteX36" fmla="*/ 2027936 w 2080768"/>
                <a:gd name="connsiteY36" fmla="*/ 617554 h 3685874"/>
                <a:gd name="connsiteX37" fmla="*/ 1975104 w 2080768"/>
                <a:gd name="connsiteY37" fmla="*/ 759794 h 3685874"/>
                <a:gd name="connsiteX38" fmla="*/ 1918208 w 2080768"/>
                <a:gd name="connsiteY38" fmla="*/ 885778 h 3685874"/>
                <a:gd name="connsiteX39" fmla="*/ 1845056 w 2080768"/>
                <a:gd name="connsiteY39" fmla="*/ 1040210 h 3685874"/>
                <a:gd name="connsiteX40" fmla="*/ 1763776 w 2080768"/>
                <a:gd name="connsiteY40" fmla="*/ 1182450 h 3685874"/>
                <a:gd name="connsiteX41" fmla="*/ 1666240 w 2080768"/>
                <a:gd name="connsiteY41" fmla="*/ 1361266 h 3685874"/>
                <a:gd name="connsiteX42" fmla="*/ 1552448 w 2080768"/>
                <a:gd name="connsiteY42" fmla="*/ 1523826 h 3685874"/>
                <a:gd name="connsiteX43" fmla="*/ 1381760 w 2080768"/>
                <a:gd name="connsiteY43" fmla="*/ 1787986 h 3685874"/>
                <a:gd name="connsiteX44" fmla="*/ 1247648 w 2080768"/>
                <a:gd name="connsiteY44" fmla="*/ 1966802 h 3685874"/>
                <a:gd name="connsiteX45" fmla="*/ 1060704 w 2080768"/>
                <a:gd name="connsiteY45" fmla="*/ 2206578 h 3685874"/>
                <a:gd name="connsiteX46" fmla="*/ 898144 w 2080768"/>
                <a:gd name="connsiteY46" fmla="*/ 2417906 h 3685874"/>
                <a:gd name="connsiteX47" fmla="*/ 548640 w 2080768"/>
                <a:gd name="connsiteY47" fmla="*/ 2873074 h 3685874"/>
                <a:gd name="connsiteX48" fmla="*/ 308864 w 2080768"/>
                <a:gd name="connsiteY48" fmla="*/ 3186002 h 3685874"/>
                <a:gd name="connsiteX49" fmla="*/ 65024 w 2080768"/>
                <a:gd name="connsiteY49" fmla="*/ 3572082 h 3685874"/>
                <a:gd name="connsiteX50" fmla="*/ 0 w 2080768"/>
                <a:gd name="connsiteY50" fmla="*/ 3685874 h 3685874"/>
                <a:gd name="connsiteX0" fmla="*/ 666496 w 2080768"/>
                <a:gd name="connsiteY0" fmla="*/ 515954 h 3685874"/>
                <a:gd name="connsiteX1" fmla="*/ 743712 w 2080768"/>
                <a:gd name="connsiteY1" fmla="*/ 654130 h 3685874"/>
                <a:gd name="connsiteX2" fmla="*/ 798926 w 2080768"/>
                <a:gd name="connsiteY2" fmla="*/ 761477 h 3685874"/>
                <a:gd name="connsiteX3" fmla="*/ 841248 w 2080768"/>
                <a:gd name="connsiteY3" fmla="*/ 861394 h 3685874"/>
                <a:gd name="connsiteX4" fmla="*/ 853440 w 2080768"/>
                <a:gd name="connsiteY4" fmla="*/ 975186 h 3685874"/>
                <a:gd name="connsiteX5" fmla="*/ 826390 w 2080768"/>
                <a:gd name="connsiteY5" fmla="*/ 1045671 h 3685874"/>
                <a:gd name="connsiteX6" fmla="*/ 776636 w 2080768"/>
                <a:gd name="connsiteY6" fmla="*/ 1087296 h 3685874"/>
                <a:gd name="connsiteX7" fmla="*/ 715264 w 2080768"/>
                <a:gd name="connsiteY7" fmla="*/ 1109298 h 3685874"/>
                <a:gd name="connsiteX8" fmla="*/ 646176 w 2080768"/>
                <a:gd name="connsiteY8" fmla="*/ 1105234 h 3685874"/>
                <a:gd name="connsiteX9" fmla="*/ 593344 w 2080768"/>
                <a:gd name="connsiteY9" fmla="*/ 1080850 h 3685874"/>
                <a:gd name="connsiteX10" fmla="*/ 540512 w 2080768"/>
                <a:gd name="connsiteY10" fmla="*/ 1015826 h 3685874"/>
                <a:gd name="connsiteX11" fmla="*/ 524256 w 2080768"/>
                <a:gd name="connsiteY11" fmla="*/ 954866 h 3685874"/>
                <a:gd name="connsiteX12" fmla="*/ 528320 w 2080768"/>
                <a:gd name="connsiteY12" fmla="*/ 869522 h 3685874"/>
                <a:gd name="connsiteX13" fmla="*/ 556768 w 2080768"/>
                <a:gd name="connsiteY13" fmla="*/ 788242 h 3685874"/>
                <a:gd name="connsiteX14" fmla="*/ 593344 w 2080768"/>
                <a:gd name="connsiteY14" fmla="*/ 735410 h 3685874"/>
                <a:gd name="connsiteX15" fmla="*/ 650240 w 2080768"/>
                <a:gd name="connsiteY15" fmla="*/ 670386 h 3685874"/>
                <a:gd name="connsiteX16" fmla="*/ 703072 w 2080768"/>
                <a:gd name="connsiteY16" fmla="*/ 605362 h 3685874"/>
                <a:gd name="connsiteX17" fmla="*/ 784352 w 2080768"/>
                <a:gd name="connsiteY17" fmla="*/ 528146 h 3685874"/>
                <a:gd name="connsiteX18" fmla="*/ 885952 w 2080768"/>
                <a:gd name="connsiteY18" fmla="*/ 442802 h 3685874"/>
                <a:gd name="connsiteX19" fmla="*/ 999744 w 2080768"/>
                <a:gd name="connsiteY19" fmla="*/ 357458 h 3685874"/>
                <a:gd name="connsiteX20" fmla="*/ 1129792 w 2080768"/>
                <a:gd name="connsiteY20" fmla="*/ 263986 h 3685874"/>
                <a:gd name="connsiteX21" fmla="*/ 1300480 w 2080768"/>
                <a:gd name="connsiteY21" fmla="*/ 162386 h 3685874"/>
                <a:gd name="connsiteX22" fmla="*/ 1442720 w 2080768"/>
                <a:gd name="connsiteY22" fmla="*/ 93298 h 3685874"/>
                <a:gd name="connsiteX23" fmla="*/ 1556512 w 2080768"/>
                <a:gd name="connsiteY23" fmla="*/ 52658 h 3685874"/>
                <a:gd name="connsiteX24" fmla="*/ 1643539 w 2080768"/>
                <a:gd name="connsiteY24" fmla="*/ 21130 h 3685874"/>
                <a:gd name="connsiteX25" fmla="*/ 1717390 w 2080768"/>
                <a:gd name="connsiteY25" fmla="*/ 1794 h 3685874"/>
                <a:gd name="connsiteX26" fmla="*/ 1771904 w 2080768"/>
                <a:gd name="connsiteY26" fmla="*/ 3890 h 3685874"/>
                <a:gd name="connsiteX27" fmla="*/ 1845056 w 2080768"/>
                <a:gd name="connsiteY27" fmla="*/ 16082 h 3685874"/>
                <a:gd name="connsiteX28" fmla="*/ 1906016 w 2080768"/>
                <a:gd name="connsiteY28" fmla="*/ 48594 h 3685874"/>
                <a:gd name="connsiteX29" fmla="*/ 1983232 w 2080768"/>
                <a:gd name="connsiteY29" fmla="*/ 101426 h 3685874"/>
                <a:gd name="connsiteX30" fmla="*/ 2015744 w 2080768"/>
                <a:gd name="connsiteY30" fmla="*/ 154258 h 3685874"/>
                <a:gd name="connsiteX31" fmla="*/ 2048256 w 2080768"/>
                <a:gd name="connsiteY31" fmla="*/ 219282 h 3685874"/>
                <a:gd name="connsiteX32" fmla="*/ 2064512 w 2080768"/>
                <a:gd name="connsiteY32" fmla="*/ 284306 h 3685874"/>
                <a:gd name="connsiteX33" fmla="*/ 2080768 w 2080768"/>
                <a:gd name="connsiteY33" fmla="*/ 357458 h 3685874"/>
                <a:gd name="connsiteX34" fmla="*/ 2072640 w 2080768"/>
                <a:gd name="connsiteY34" fmla="*/ 430610 h 3685874"/>
                <a:gd name="connsiteX35" fmla="*/ 2060448 w 2080768"/>
                <a:gd name="connsiteY35" fmla="*/ 507826 h 3685874"/>
                <a:gd name="connsiteX36" fmla="*/ 2027936 w 2080768"/>
                <a:gd name="connsiteY36" fmla="*/ 617554 h 3685874"/>
                <a:gd name="connsiteX37" fmla="*/ 1975104 w 2080768"/>
                <a:gd name="connsiteY37" fmla="*/ 759794 h 3685874"/>
                <a:gd name="connsiteX38" fmla="*/ 1918208 w 2080768"/>
                <a:gd name="connsiteY38" fmla="*/ 885778 h 3685874"/>
                <a:gd name="connsiteX39" fmla="*/ 1845056 w 2080768"/>
                <a:gd name="connsiteY39" fmla="*/ 1040210 h 3685874"/>
                <a:gd name="connsiteX40" fmla="*/ 1763776 w 2080768"/>
                <a:gd name="connsiteY40" fmla="*/ 1182450 h 3685874"/>
                <a:gd name="connsiteX41" fmla="*/ 1666240 w 2080768"/>
                <a:gd name="connsiteY41" fmla="*/ 1361266 h 3685874"/>
                <a:gd name="connsiteX42" fmla="*/ 1552448 w 2080768"/>
                <a:gd name="connsiteY42" fmla="*/ 1523826 h 3685874"/>
                <a:gd name="connsiteX43" fmla="*/ 1381760 w 2080768"/>
                <a:gd name="connsiteY43" fmla="*/ 1787986 h 3685874"/>
                <a:gd name="connsiteX44" fmla="*/ 1247648 w 2080768"/>
                <a:gd name="connsiteY44" fmla="*/ 1966802 h 3685874"/>
                <a:gd name="connsiteX45" fmla="*/ 1060704 w 2080768"/>
                <a:gd name="connsiteY45" fmla="*/ 2206578 h 3685874"/>
                <a:gd name="connsiteX46" fmla="*/ 898144 w 2080768"/>
                <a:gd name="connsiteY46" fmla="*/ 2417906 h 3685874"/>
                <a:gd name="connsiteX47" fmla="*/ 548640 w 2080768"/>
                <a:gd name="connsiteY47" fmla="*/ 2873074 h 3685874"/>
                <a:gd name="connsiteX48" fmla="*/ 308864 w 2080768"/>
                <a:gd name="connsiteY48" fmla="*/ 3186002 h 3685874"/>
                <a:gd name="connsiteX49" fmla="*/ 65024 w 2080768"/>
                <a:gd name="connsiteY49" fmla="*/ 3572082 h 3685874"/>
                <a:gd name="connsiteX50" fmla="*/ 0 w 2080768"/>
                <a:gd name="connsiteY50" fmla="*/ 3685874 h 3685874"/>
                <a:gd name="connsiteX0" fmla="*/ 666496 w 2080768"/>
                <a:gd name="connsiteY0" fmla="*/ 515954 h 3685874"/>
                <a:gd name="connsiteX1" fmla="*/ 743712 w 2080768"/>
                <a:gd name="connsiteY1" fmla="*/ 654130 h 3685874"/>
                <a:gd name="connsiteX2" fmla="*/ 798926 w 2080768"/>
                <a:gd name="connsiteY2" fmla="*/ 761477 h 3685874"/>
                <a:gd name="connsiteX3" fmla="*/ 841248 w 2080768"/>
                <a:gd name="connsiteY3" fmla="*/ 861394 h 3685874"/>
                <a:gd name="connsiteX4" fmla="*/ 853440 w 2080768"/>
                <a:gd name="connsiteY4" fmla="*/ 975186 h 3685874"/>
                <a:gd name="connsiteX5" fmla="*/ 826390 w 2080768"/>
                <a:gd name="connsiteY5" fmla="*/ 1045671 h 3685874"/>
                <a:gd name="connsiteX6" fmla="*/ 776636 w 2080768"/>
                <a:gd name="connsiteY6" fmla="*/ 1087296 h 3685874"/>
                <a:gd name="connsiteX7" fmla="*/ 715264 w 2080768"/>
                <a:gd name="connsiteY7" fmla="*/ 1109298 h 3685874"/>
                <a:gd name="connsiteX8" fmla="*/ 646176 w 2080768"/>
                <a:gd name="connsiteY8" fmla="*/ 1105234 h 3685874"/>
                <a:gd name="connsiteX9" fmla="*/ 593344 w 2080768"/>
                <a:gd name="connsiteY9" fmla="*/ 1080850 h 3685874"/>
                <a:gd name="connsiteX10" fmla="*/ 540512 w 2080768"/>
                <a:gd name="connsiteY10" fmla="*/ 1015826 h 3685874"/>
                <a:gd name="connsiteX11" fmla="*/ 524256 w 2080768"/>
                <a:gd name="connsiteY11" fmla="*/ 954866 h 3685874"/>
                <a:gd name="connsiteX12" fmla="*/ 528320 w 2080768"/>
                <a:gd name="connsiteY12" fmla="*/ 869522 h 3685874"/>
                <a:gd name="connsiteX13" fmla="*/ 556768 w 2080768"/>
                <a:gd name="connsiteY13" fmla="*/ 788242 h 3685874"/>
                <a:gd name="connsiteX14" fmla="*/ 593344 w 2080768"/>
                <a:gd name="connsiteY14" fmla="*/ 735410 h 3685874"/>
                <a:gd name="connsiteX15" fmla="*/ 650240 w 2080768"/>
                <a:gd name="connsiteY15" fmla="*/ 670386 h 3685874"/>
                <a:gd name="connsiteX16" fmla="*/ 703072 w 2080768"/>
                <a:gd name="connsiteY16" fmla="*/ 605362 h 3685874"/>
                <a:gd name="connsiteX17" fmla="*/ 784352 w 2080768"/>
                <a:gd name="connsiteY17" fmla="*/ 528146 h 3685874"/>
                <a:gd name="connsiteX18" fmla="*/ 885952 w 2080768"/>
                <a:gd name="connsiteY18" fmla="*/ 442802 h 3685874"/>
                <a:gd name="connsiteX19" fmla="*/ 999744 w 2080768"/>
                <a:gd name="connsiteY19" fmla="*/ 357458 h 3685874"/>
                <a:gd name="connsiteX20" fmla="*/ 1129792 w 2080768"/>
                <a:gd name="connsiteY20" fmla="*/ 263986 h 3685874"/>
                <a:gd name="connsiteX21" fmla="*/ 1300480 w 2080768"/>
                <a:gd name="connsiteY21" fmla="*/ 162386 h 3685874"/>
                <a:gd name="connsiteX22" fmla="*/ 1442720 w 2080768"/>
                <a:gd name="connsiteY22" fmla="*/ 93298 h 3685874"/>
                <a:gd name="connsiteX23" fmla="*/ 1556512 w 2080768"/>
                <a:gd name="connsiteY23" fmla="*/ 52658 h 3685874"/>
                <a:gd name="connsiteX24" fmla="*/ 1643539 w 2080768"/>
                <a:gd name="connsiteY24" fmla="*/ 21130 h 3685874"/>
                <a:gd name="connsiteX25" fmla="*/ 1717390 w 2080768"/>
                <a:gd name="connsiteY25" fmla="*/ 1794 h 3685874"/>
                <a:gd name="connsiteX26" fmla="*/ 1771904 w 2080768"/>
                <a:gd name="connsiteY26" fmla="*/ 3890 h 3685874"/>
                <a:gd name="connsiteX27" fmla="*/ 1845056 w 2080768"/>
                <a:gd name="connsiteY27" fmla="*/ 16082 h 3685874"/>
                <a:gd name="connsiteX28" fmla="*/ 1906016 w 2080768"/>
                <a:gd name="connsiteY28" fmla="*/ 48594 h 3685874"/>
                <a:gd name="connsiteX29" fmla="*/ 1983232 w 2080768"/>
                <a:gd name="connsiteY29" fmla="*/ 101426 h 3685874"/>
                <a:gd name="connsiteX30" fmla="*/ 2015744 w 2080768"/>
                <a:gd name="connsiteY30" fmla="*/ 154258 h 3685874"/>
                <a:gd name="connsiteX31" fmla="*/ 2048256 w 2080768"/>
                <a:gd name="connsiteY31" fmla="*/ 219282 h 3685874"/>
                <a:gd name="connsiteX32" fmla="*/ 2064512 w 2080768"/>
                <a:gd name="connsiteY32" fmla="*/ 284306 h 3685874"/>
                <a:gd name="connsiteX33" fmla="*/ 2080768 w 2080768"/>
                <a:gd name="connsiteY33" fmla="*/ 357458 h 3685874"/>
                <a:gd name="connsiteX34" fmla="*/ 2072640 w 2080768"/>
                <a:gd name="connsiteY34" fmla="*/ 430610 h 3685874"/>
                <a:gd name="connsiteX35" fmla="*/ 2060448 w 2080768"/>
                <a:gd name="connsiteY35" fmla="*/ 507826 h 3685874"/>
                <a:gd name="connsiteX36" fmla="*/ 2027936 w 2080768"/>
                <a:gd name="connsiteY36" fmla="*/ 617554 h 3685874"/>
                <a:gd name="connsiteX37" fmla="*/ 1975104 w 2080768"/>
                <a:gd name="connsiteY37" fmla="*/ 759794 h 3685874"/>
                <a:gd name="connsiteX38" fmla="*/ 1918208 w 2080768"/>
                <a:gd name="connsiteY38" fmla="*/ 885778 h 3685874"/>
                <a:gd name="connsiteX39" fmla="*/ 1845056 w 2080768"/>
                <a:gd name="connsiteY39" fmla="*/ 1040210 h 3685874"/>
                <a:gd name="connsiteX40" fmla="*/ 1763776 w 2080768"/>
                <a:gd name="connsiteY40" fmla="*/ 1182450 h 3685874"/>
                <a:gd name="connsiteX41" fmla="*/ 1666240 w 2080768"/>
                <a:gd name="connsiteY41" fmla="*/ 1361266 h 3685874"/>
                <a:gd name="connsiteX42" fmla="*/ 1552448 w 2080768"/>
                <a:gd name="connsiteY42" fmla="*/ 1523826 h 3685874"/>
                <a:gd name="connsiteX43" fmla="*/ 1381760 w 2080768"/>
                <a:gd name="connsiteY43" fmla="*/ 1787986 h 3685874"/>
                <a:gd name="connsiteX44" fmla="*/ 1247648 w 2080768"/>
                <a:gd name="connsiteY44" fmla="*/ 1966802 h 3685874"/>
                <a:gd name="connsiteX45" fmla="*/ 1060704 w 2080768"/>
                <a:gd name="connsiteY45" fmla="*/ 2206578 h 3685874"/>
                <a:gd name="connsiteX46" fmla="*/ 898144 w 2080768"/>
                <a:gd name="connsiteY46" fmla="*/ 2417906 h 3685874"/>
                <a:gd name="connsiteX47" fmla="*/ 548640 w 2080768"/>
                <a:gd name="connsiteY47" fmla="*/ 2873074 h 3685874"/>
                <a:gd name="connsiteX48" fmla="*/ 308864 w 2080768"/>
                <a:gd name="connsiteY48" fmla="*/ 3186002 h 3685874"/>
                <a:gd name="connsiteX49" fmla="*/ 65024 w 2080768"/>
                <a:gd name="connsiteY49" fmla="*/ 3572082 h 3685874"/>
                <a:gd name="connsiteX50" fmla="*/ 0 w 2080768"/>
                <a:gd name="connsiteY50" fmla="*/ 3685874 h 3685874"/>
                <a:gd name="connsiteX0" fmla="*/ 666496 w 2080768"/>
                <a:gd name="connsiteY0" fmla="*/ 516737 h 3686657"/>
                <a:gd name="connsiteX1" fmla="*/ 743712 w 2080768"/>
                <a:gd name="connsiteY1" fmla="*/ 654913 h 3686657"/>
                <a:gd name="connsiteX2" fmla="*/ 798926 w 2080768"/>
                <a:gd name="connsiteY2" fmla="*/ 762260 h 3686657"/>
                <a:gd name="connsiteX3" fmla="*/ 841248 w 2080768"/>
                <a:gd name="connsiteY3" fmla="*/ 862177 h 3686657"/>
                <a:gd name="connsiteX4" fmla="*/ 853440 w 2080768"/>
                <a:gd name="connsiteY4" fmla="*/ 975969 h 3686657"/>
                <a:gd name="connsiteX5" fmla="*/ 826390 w 2080768"/>
                <a:gd name="connsiteY5" fmla="*/ 1046454 h 3686657"/>
                <a:gd name="connsiteX6" fmla="*/ 776636 w 2080768"/>
                <a:gd name="connsiteY6" fmla="*/ 1088079 h 3686657"/>
                <a:gd name="connsiteX7" fmla="*/ 715264 w 2080768"/>
                <a:gd name="connsiteY7" fmla="*/ 1110081 h 3686657"/>
                <a:gd name="connsiteX8" fmla="*/ 646176 w 2080768"/>
                <a:gd name="connsiteY8" fmla="*/ 1106017 h 3686657"/>
                <a:gd name="connsiteX9" fmla="*/ 593344 w 2080768"/>
                <a:gd name="connsiteY9" fmla="*/ 1081633 h 3686657"/>
                <a:gd name="connsiteX10" fmla="*/ 540512 w 2080768"/>
                <a:gd name="connsiteY10" fmla="*/ 1016609 h 3686657"/>
                <a:gd name="connsiteX11" fmla="*/ 524256 w 2080768"/>
                <a:gd name="connsiteY11" fmla="*/ 955649 h 3686657"/>
                <a:gd name="connsiteX12" fmla="*/ 528320 w 2080768"/>
                <a:gd name="connsiteY12" fmla="*/ 870305 h 3686657"/>
                <a:gd name="connsiteX13" fmla="*/ 556768 w 2080768"/>
                <a:gd name="connsiteY13" fmla="*/ 789025 h 3686657"/>
                <a:gd name="connsiteX14" fmla="*/ 593344 w 2080768"/>
                <a:gd name="connsiteY14" fmla="*/ 736193 h 3686657"/>
                <a:gd name="connsiteX15" fmla="*/ 650240 w 2080768"/>
                <a:gd name="connsiteY15" fmla="*/ 671169 h 3686657"/>
                <a:gd name="connsiteX16" fmla="*/ 703072 w 2080768"/>
                <a:gd name="connsiteY16" fmla="*/ 606145 h 3686657"/>
                <a:gd name="connsiteX17" fmla="*/ 784352 w 2080768"/>
                <a:gd name="connsiteY17" fmla="*/ 528929 h 3686657"/>
                <a:gd name="connsiteX18" fmla="*/ 885952 w 2080768"/>
                <a:gd name="connsiteY18" fmla="*/ 443585 h 3686657"/>
                <a:gd name="connsiteX19" fmla="*/ 999744 w 2080768"/>
                <a:gd name="connsiteY19" fmla="*/ 358241 h 3686657"/>
                <a:gd name="connsiteX20" fmla="*/ 1129792 w 2080768"/>
                <a:gd name="connsiteY20" fmla="*/ 264769 h 3686657"/>
                <a:gd name="connsiteX21" fmla="*/ 1300480 w 2080768"/>
                <a:gd name="connsiteY21" fmla="*/ 163169 h 3686657"/>
                <a:gd name="connsiteX22" fmla="*/ 1442720 w 2080768"/>
                <a:gd name="connsiteY22" fmla="*/ 94081 h 3686657"/>
                <a:gd name="connsiteX23" fmla="*/ 1556512 w 2080768"/>
                <a:gd name="connsiteY23" fmla="*/ 53441 h 3686657"/>
                <a:gd name="connsiteX24" fmla="*/ 1643539 w 2080768"/>
                <a:gd name="connsiteY24" fmla="*/ 21913 h 3686657"/>
                <a:gd name="connsiteX25" fmla="*/ 1717390 w 2080768"/>
                <a:gd name="connsiteY25" fmla="*/ 2577 h 3686657"/>
                <a:gd name="connsiteX26" fmla="*/ 1786192 w 2080768"/>
                <a:gd name="connsiteY26" fmla="*/ 2292 h 3686657"/>
                <a:gd name="connsiteX27" fmla="*/ 1845056 w 2080768"/>
                <a:gd name="connsiteY27" fmla="*/ 16865 h 3686657"/>
                <a:gd name="connsiteX28" fmla="*/ 1906016 w 2080768"/>
                <a:gd name="connsiteY28" fmla="*/ 49377 h 3686657"/>
                <a:gd name="connsiteX29" fmla="*/ 1983232 w 2080768"/>
                <a:gd name="connsiteY29" fmla="*/ 102209 h 3686657"/>
                <a:gd name="connsiteX30" fmla="*/ 2015744 w 2080768"/>
                <a:gd name="connsiteY30" fmla="*/ 155041 h 3686657"/>
                <a:gd name="connsiteX31" fmla="*/ 2048256 w 2080768"/>
                <a:gd name="connsiteY31" fmla="*/ 220065 h 3686657"/>
                <a:gd name="connsiteX32" fmla="*/ 2064512 w 2080768"/>
                <a:gd name="connsiteY32" fmla="*/ 285089 h 3686657"/>
                <a:gd name="connsiteX33" fmla="*/ 2080768 w 2080768"/>
                <a:gd name="connsiteY33" fmla="*/ 358241 h 3686657"/>
                <a:gd name="connsiteX34" fmla="*/ 2072640 w 2080768"/>
                <a:gd name="connsiteY34" fmla="*/ 431393 h 3686657"/>
                <a:gd name="connsiteX35" fmla="*/ 2060448 w 2080768"/>
                <a:gd name="connsiteY35" fmla="*/ 508609 h 3686657"/>
                <a:gd name="connsiteX36" fmla="*/ 2027936 w 2080768"/>
                <a:gd name="connsiteY36" fmla="*/ 618337 h 3686657"/>
                <a:gd name="connsiteX37" fmla="*/ 1975104 w 2080768"/>
                <a:gd name="connsiteY37" fmla="*/ 760577 h 3686657"/>
                <a:gd name="connsiteX38" fmla="*/ 1918208 w 2080768"/>
                <a:gd name="connsiteY38" fmla="*/ 886561 h 3686657"/>
                <a:gd name="connsiteX39" fmla="*/ 1845056 w 2080768"/>
                <a:gd name="connsiteY39" fmla="*/ 1040993 h 3686657"/>
                <a:gd name="connsiteX40" fmla="*/ 1763776 w 2080768"/>
                <a:gd name="connsiteY40" fmla="*/ 1183233 h 3686657"/>
                <a:gd name="connsiteX41" fmla="*/ 1666240 w 2080768"/>
                <a:gd name="connsiteY41" fmla="*/ 1362049 h 3686657"/>
                <a:gd name="connsiteX42" fmla="*/ 1552448 w 2080768"/>
                <a:gd name="connsiteY42" fmla="*/ 1524609 h 3686657"/>
                <a:gd name="connsiteX43" fmla="*/ 1381760 w 2080768"/>
                <a:gd name="connsiteY43" fmla="*/ 1788769 h 3686657"/>
                <a:gd name="connsiteX44" fmla="*/ 1247648 w 2080768"/>
                <a:gd name="connsiteY44" fmla="*/ 1967585 h 3686657"/>
                <a:gd name="connsiteX45" fmla="*/ 1060704 w 2080768"/>
                <a:gd name="connsiteY45" fmla="*/ 2207361 h 3686657"/>
                <a:gd name="connsiteX46" fmla="*/ 898144 w 2080768"/>
                <a:gd name="connsiteY46" fmla="*/ 2418689 h 3686657"/>
                <a:gd name="connsiteX47" fmla="*/ 548640 w 2080768"/>
                <a:gd name="connsiteY47" fmla="*/ 2873857 h 3686657"/>
                <a:gd name="connsiteX48" fmla="*/ 308864 w 2080768"/>
                <a:gd name="connsiteY48" fmla="*/ 3186785 h 3686657"/>
                <a:gd name="connsiteX49" fmla="*/ 65024 w 2080768"/>
                <a:gd name="connsiteY49" fmla="*/ 3572865 h 3686657"/>
                <a:gd name="connsiteX50" fmla="*/ 0 w 2080768"/>
                <a:gd name="connsiteY50" fmla="*/ 3686657 h 3686657"/>
                <a:gd name="connsiteX0" fmla="*/ 666496 w 2080768"/>
                <a:gd name="connsiteY0" fmla="*/ 516737 h 3686657"/>
                <a:gd name="connsiteX1" fmla="*/ 743712 w 2080768"/>
                <a:gd name="connsiteY1" fmla="*/ 654913 h 3686657"/>
                <a:gd name="connsiteX2" fmla="*/ 798926 w 2080768"/>
                <a:gd name="connsiteY2" fmla="*/ 762260 h 3686657"/>
                <a:gd name="connsiteX3" fmla="*/ 841248 w 2080768"/>
                <a:gd name="connsiteY3" fmla="*/ 862177 h 3686657"/>
                <a:gd name="connsiteX4" fmla="*/ 853440 w 2080768"/>
                <a:gd name="connsiteY4" fmla="*/ 975969 h 3686657"/>
                <a:gd name="connsiteX5" fmla="*/ 826390 w 2080768"/>
                <a:gd name="connsiteY5" fmla="*/ 1046454 h 3686657"/>
                <a:gd name="connsiteX6" fmla="*/ 776636 w 2080768"/>
                <a:gd name="connsiteY6" fmla="*/ 1088079 h 3686657"/>
                <a:gd name="connsiteX7" fmla="*/ 715264 w 2080768"/>
                <a:gd name="connsiteY7" fmla="*/ 1110081 h 3686657"/>
                <a:gd name="connsiteX8" fmla="*/ 646176 w 2080768"/>
                <a:gd name="connsiteY8" fmla="*/ 1106017 h 3686657"/>
                <a:gd name="connsiteX9" fmla="*/ 593344 w 2080768"/>
                <a:gd name="connsiteY9" fmla="*/ 1081633 h 3686657"/>
                <a:gd name="connsiteX10" fmla="*/ 540512 w 2080768"/>
                <a:gd name="connsiteY10" fmla="*/ 1016609 h 3686657"/>
                <a:gd name="connsiteX11" fmla="*/ 524256 w 2080768"/>
                <a:gd name="connsiteY11" fmla="*/ 955649 h 3686657"/>
                <a:gd name="connsiteX12" fmla="*/ 528320 w 2080768"/>
                <a:gd name="connsiteY12" fmla="*/ 870305 h 3686657"/>
                <a:gd name="connsiteX13" fmla="*/ 556768 w 2080768"/>
                <a:gd name="connsiteY13" fmla="*/ 789025 h 3686657"/>
                <a:gd name="connsiteX14" fmla="*/ 593344 w 2080768"/>
                <a:gd name="connsiteY14" fmla="*/ 736193 h 3686657"/>
                <a:gd name="connsiteX15" fmla="*/ 650240 w 2080768"/>
                <a:gd name="connsiteY15" fmla="*/ 671169 h 3686657"/>
                <a:gd name="connsiteX16" fmla="*/ 703072 w 2080768"/>
                <a:gd name="connsiteY16" fmla="*/ 606145 h 3686657"/>
                <a:gd name="connsiteX17" fmla="*/ 784352 w 2080768"/>
                <a:gd name="connsiteY17" fmla="*/ 528929 h 3686657"/>
                <a:gd name="connsiteX18" fmla="*/ 885952 w 2080768"/>
                <a:gd name="connsiteY18" fmla="*/ 443585 h 3686657"/>
                <a:gd name="connsiteX19" fmla="*/ 999744 w 2080768"/>
                <a:gd name="connsiteY19" fmla="*/ 358241 h 3686657"/>
                <a:gd name="connsiteX20" fmla="*/ 1129792 w 2080768"/>
                <a:gd name="connsiteY20" fmla="*/ 264769 h 3686657"/>
                <a:gd name="connsiteX21" fmla="*/ 1300480 w 2080768"/>
                <a:gd name="connsiteY21" fmla="*/ 163169 h 3686657"/>
                <a:gd name="connsiteX22" fmla="*/ 1442720 w 2080768"/>
                <a:gd name="connsiteY22" fmla="*/ 94081 h 3686657"/>
                <a:gd name="connsiteX23" fmla="*/ 1556512 w 2080768"/>
                <a:gd name="connsiteY23" fmla="*/ 53441 h 3686657"/>
                <a:gd name="connsiteX24" fmla="*/ 1643539 w 2080768"/>
                <a:gd name="connsiteY24" fmla="*/ 21913 h 3686657"/>
                <a:gd name="connsiteX25" fmla="*/ 1717390 w 2080768"/>
                <a:gd name="connsiteY25" fmla="*/ 2577 h 3686657"/>
                <a:gd name="connsiteX26" fmla="*/ 1786192 w 2080768"/>
                <a:gd name="connsiteY26" fmla="*/ 2292 h 3686657"/>
                <a:gd name="connsiteX27" fmla="*/ 1845056 w 2080768"/>
                <a:gd name="connsiteY27" fmla="*/ 16865 h 3686657"/>
                <a:gd name="connsiteX28" fmla="*/ 1906016 w 2080768"/>
                <a:gd name="connsiteY28" fmla="*/ 49377 h 3686657"/>
                <a:gd name="connsiteX29" fmla="*/ 1983232 w 2080768"/>
                <a:gd name="connsiteY29" fmla="*/ 102209 h 3686657"/>
                <a:gd name="connsiteX30" fmla="*/ 2015744 w 2080768"/>
                <a:gd name="connsiteY30" fmla="*/ 155041 h 3686657"/>
                <a:gd name="connsiteX31" fmla="*/ 2048256 w 2080768"/>
                <a:gd name="connsiteY31" fmla="*/ 220065 h 3686657"/>
                <a:gd name="connsiteX32" fmla="*/ 2064512 w 2080768"/>
                <a:gd name="connsiteY32" fmla="*/ 285089 h 3686657"/>
                <a:gd name="connsiteX33" fmla="*/ 2080768 w 2080768"/>
                <a:gd name="connsiteY33" fmla="*/ 358241 h 3686657"/>
                <a:gd name="connsiteX34" fmla="*/ 2072640 w 2080768"/>
                <a:gd name="connsiteY34" fmla="*/ 431393 h 3686657"/>
                <a:gd name="connsiteX35" fmla="*/ 2060448 w 2080768"/>
                <a:gd name="connsiteY35" fmla="*/ 508609 h 3686657"/>
                <a:gd name="connsiteX36" fmla="*/ 2027936 w 2080768"/>
                <a:gd name="connsiteY36" fmla="*/ 618337 h 3686657"/>
                <a:gd name="connsiteX37" fmla="*/ 1975104 w 2080768"/>
                <a:gd name="connsiteY37" fmla="*/ 760577 h 3686657"/>
                <a:gd name="connsiteX38" fmla="*/ 1918208 w 2080768"/>
                <a:gd name="connsiteY38" fmla="*/ 886561 h 3686657"/>
                <a:gd name="connsiteX39" fmla="*/ 1845056 w 2080768"/>
                <a:gd name="connsiteY39" fmla="*/ 1040993 h 3686657"/>
                <a:gd name="connsiteX40" fmla="*/ 1763776 w 2080768"/>
                <a:gd name="connsiteY40" fmla="*/ 1183233 h 3686657"/>
                <a:gd name="connsiteX41" fmla="*/ 1666240 w 2080768"/>
                <a:gd name="connsiteY41" fmla="*/ 1362049 h 3686657"/>
                <a:gd name="connsiteX42" fmla="*/ 1552448 w 2080768"/>
                <a:gd name="connsiteY42" fmla="*/ 1524609 h 3686657"/>
                <a:gd name="connsiteX43" fmla="*/ 1381760 w 2080768"/>
                <a:gd name="connsiteY43" fmla="*/ 1788769 h 3686657"/>
                <a:gd name="connsiteX44" fmla="*/ 1247648 w 2080768"/>
                <a:gd name="connsiteY44" fmla="*/ 1967585 h 3686657"/>
                <a:gd name="connsiteX45" fmla="*/ 1060704 w 2080768"/>
                <a:gd name="connsiteY45" fmla="*/ 2207361 h 3686657"/>
                <a:gd name="connsiteX46" fmla="*/ 898144 w 2080768"/>
                <a:gd name="connsiteY46" fmla="*/ 2418689 h 3686657"/>
                <a:gd name="connsiteX47" fmla="*/ 548640 w 2080768"/>
                <a:gd name="connsiteY47" fmla="*/ 2873857 h 3686657"/>
                <a:gd name="connsiteX48" fmla="*/ 308864 w 2080768"/>
                <a:gd name="connsiteY48" fmla="*/ 3186785 h 3686657"/>
                <a:gd name="connsiteX49" fmla="*/ 65024 w 2080768"/>
                <a:gd name="connsiteY49" fmla="*/ 3572865 h 3686657"/>
                <a:gd name="connsiteX50" fmla="*/ 0 w 2080768"/>
                <a:gd name="connsiteY50" fmla="*/ 3686657 h 3686657"/>
                <a:gd name="connsiteX0" fmla="*/ 666496 w 2080768"/>
                <a:gd name="connsiteY0" fmla="*/ 516737 h 3686657"/>
                <a:gd name="connsiteX1" fmla="*/ 743712 w 2080768"/>
                <a:gd name="connsiteY1" fmla="*/ 654913 h 3686657"/>
                <a:gd name="connsiteX2" fmla="*/ 798926 w 2080768"/>
                <a:gd name="connsiteY2" fmla="*/ 762260 h 3686657"/>
                <a:gd name="connsiteX3" fmla="*/ 841248 w 2080768"/>
                <a:gd name="connsiteY3" fmla="*/ 862177 h 3686657"/>
                <a:gd name="connsiteX4" fmla="*/ 853440 w 2080768"/>
                <a:gd name="connsiteY4" fmla="*/ 975969 h 3686657"/>
                <a:gd name="connsiteX5" fmla="*/ 826390 w 2080768"/>
                <a:gd name="connsiteY5" fmla="*/ 1046454 h 3686657"/>
                <a:gd name="connsiteX6" fmla="*/ 776636 w 2080768"/>
                <a:gd name="connsiteY6" fmla="*/ 1088079 h 3686657"/>
                <a:gd name="connsiteX7" fmla="*/ 715264 w 2080768"/>
                <a:gd name="connsiteY7" fmla="*/ 1110081 h 3686657"/>
                <a:gd name="connsiteX8" fmla="*/ 646176 w 2080768"/>
                <a:gd name="connsiteY8" fmla="*/ 1106017 h 3686657"/>
                <a:gd name="connsiteX9" fmla="*/ 593344 w 2080768"/>
                <a:gd name="connsiteY9" fmla="*/ 1081633 h 3686657"/>
                <a:gd name="connsiteX10" fmla="*/ 540512 w 2080768"/>
                <a:gd name="connsiteY10" fmla="*/ 1016609 h 3686657"/>
                <a:gd name="connsiteX11" fmla="*/ 524256 w 2080768"/>
                <a:gd name="connsiteY11" fmla="*/ 955649 h 3686657"/>
                <a:gd name="connsiteX12" fmla="*/ 528320 w 2080768"/>
                <a:gd name="connsiteY12" fmla="*/ 870305 h 3686657"/>
                <a:gd name="connsiteX13" fmla="*/ 556768 w 2080768"/>
                <a:gd name="connsiteY13" fmla="*/ 789025 h 3686657"/>
                <a:gd name="connsiteX14" fmla="*/ 593344 w 2080768"/>
                <a:gd name="connsiteY14" fmla="*/ 736193 h 3686657"/>
                <a:gd name="connsiteX15" fmla="*/ 650240 w 2080768"/>
                <a:gd name="connsiteY15" fmla="*/ 671169 h 3686657"/>
                <a:gd name="connsiteX16" fmla="*/ 703072 w 2080768"/>
                <a:gd name="connsiteY16" fmla="*/ 606145 h 3686657"/>
                <a:gd name="connsiteX17" fmla="*/ 784352 w 2080768"/>
                <a:gd name="connsiteY17" fmla="*/ 528929 h 3686657"/>
                <a:gd name="connsiteX18" fmla="*/ 885952 w 2080768"/>
                <a:gd name="connsiteY18" fmla="*/ 443585 h 3686657"/>
                <a:gd name="connsiteX19" fmla="*/ 999744 w 2080768"/>
                <a:gd name="connsiteY19" fmla="*/ 358241 h 3686657"/>
                <a:gd name="connsiteX20" fmla="*/ 1129792 w 2080768"/>
                <a:gd name="connsiteY20" fmla="*/ 264769 h 3686657"/>
                <a:gd name="connsiteX21" fmla="*/ 1300480 w 2080768"/>
                <a:gd name="connsiteY21" fmla="*/ 163169 h 3686657"/>
                <a:gd name="connsiteX22" fmla="*/ 1442720 w 2080768"/>
                <a:gd name="connsiteY22" fmla="*/ 94081 h 3686657"/>
                <a:gd name="connsiteX23" fmla="*/ 1556512 w 2080768"/>
                <a:gd name="connsiteY23" fmla="*/ 53441 h 3686657"/>
                <a:gd name="connsiteX24" fmla="*/ 1643539 w 2080768"/>
                <a:gd name="connsiteY24" fmla="*/ 21913 h 3686657"/>
                <a:gd name="connsiteX25" fmla="*/ 1717390 w 2080768"/>
                <a:gd name="connsiteY25" fmla="*/ 2577 h 3686657"/>
                <a:gd name="connsiteX26" fmla="*/ 1786192 w 2080768"/>
                <a:gd name="connsiteY26" fmla="*/ 2292 h 3686657"/>
                <a:gd name="connsiteX27" fmla="*/ 1845056 w 2080768"/>
                <a:gd name="connsiteY27" fmla="*/ 16865 h 3686657"/>
                <a:gd name="connsiteX28" fmla="*/ 1906016 w 2080768"/>
                <a:gd name="connsiteY28" fmla="*/ 49377 h 3686657"/>
                <a:gd name="connsiteX29" fmla="*/ 1983232 w 2080768"/>
                <a:gd name="connsiteY29" fmla="*/ 102209 h 3686657"/>
                <a:gd name="connsiteX30" fmla="*/ 2015744 w 2080768"/>
                <a:gd name="connsiteY30" fmla="*/ 155041 h 3686657"/>
                <a:gd name="connsiteX31" fmla="*/ 2048256 w 2080768"/>
                <a:gd name="connsiteY31" fmla="*/ 220065 h 3686657"/>
                <a:gd name="connsiteX32" fmla="*/ 2064512 w 2080768"/>
                <a:gd name="connsiteY32" fmla="*/ 285089 h 3686657"/>
                <a:gd name="connsiteX33" fmla="*/ 2080768 w 2080768"/>
                <a:gd name="connsiteY33" fmla="*/ 358241 h 3686657"/>
                <a:gd name="connsiteX34" fmla="*/ 2072640 w 2080768"/>
                <a:gd name="connsiteY34" fmla="*/ 431393 h 3686657"/>
                <a:gd name="connsiteX35" fmla="*/ 2060448 w 2080768"/>
                <a:gd name="connsiteY35" fmla="*/ 508609 h 3686657"/>
                <a:gd name="connsiteX36" fmla="*/ 2027936 w 2080768"/>
                <a:gd name="connsiteY36" fmla="*/ 618337 h 3686657"/>
                <a:gd name="connsiteX37" fmla="*/ 1975104 w 2080768"/>
                <a:gd name="connsiteY37" fmla="*/ 760577 h 3686657"/>
                <a:gd name="connsiteX38" fmla="*/ 1918208 w 2080768"/>
                <a:gd name="connsiteY38" fmla="*/ 886561 h 3686657"/>
                <a:gd name="connsiteX39" fmla="*/ 1845056 w 2080768"/>
                <a:gd name="connsiteY39" fmla="*/ 1040993 h 3686657"/>
                <a:gd name="connsiteX40" fmla="*/ 1763776 w 2080768"/>
                <a:gd name="connsiteY40" fmla="*/ 1183233 h 3686657"/>
                <a:gd name="connsiteX41" fmla="*/ 1666240 w 2080768"/>
                <a:gd name="connsiteY41" fmla="*/ 1362049 h 3686657"/>
                <a:gd name="connsiteX42" fmla="*/ 1552448 w 2080768"/>
                <a:gd name="connsiteY42" fmla="*/ 1524609 h 3686657"/>
                <a:gd name="connsiteX43" fmla="*/ 1381760 w 2080768"/>
                <a:gd name="connsiteY43" fmla="*/ 1788769 h 3686657"/>
                <a:gd name="connsiteX44" fmla="*/ 1247648 w 2080768"/>
                <a:gd name="connsiteY44" fmla="*/ 1967585 h 3686657"/>
                <a:gd name="connsiteX45" fmla="*/ 1060704 w 2080768"/>
                <a:gd name="connsiteY45" fmla="*/ 2207361 h 3686657"/>
                <a:gd name="connsiteX46" fmla="*/ 898144 w 2080768"/>
                <a:gd name="connsiteY46" fmla="*/ 2418689 h 3686657"/>
                <a:gd name="connsiteX47" fmla="*/ 548640 w 2080768"/>
                <a:gd name="connsiteY47" fmla="*/ 2873857 h 3686657"/>
                <a:gd name="connsiteX48" fmla="*/ 308864 w 2080768"/>
                <a:gd name="connsiteY48" fmla="*/ 3186785 h 3686657"/>
                <a:gd name="connsiteX49" fmla="*/ 65024 w 2080768"/>
                <a:gd name="connsiteY49" fmla="*/ 3572865 h 3686657"/>
                <a:gd name="connsiteX50" fmla="*/ 0 w 2080768"/>
                <a:gd name="connsiteY50" fmla="*/ 3686657 h 3686657"/>
                <a:gd name="connsiteX0" fmla="*/ 666496 w 2080961"/>
                <a:gd name="connsiteY0" fmla="*/ 516737 h 3686657"/>
                <a:gd name="connsiteX1" fmla="*/ 743712 w 2080961"/>
                <a:gd name="connsiteY1" fmla="*/ 654913 h 3686657"/>
                <a:gd name="connsiteX2" fmla="*/ 798926 w 2080961"/>
                <a:gd name="connsiteY2" fmla="*/ 762260 h 3686657"/>
                <a:gd name="connsiteX3" fmla="*/ 841248 w 2080961"/>
                <a:gd name="connsiteY3" fmla="*/ 862177 h 3686657"/>
                <a:gd name="connsiteX4" fmla="*/ 853440 w 2080961"/>
                <a:gd name="connsiteY4" fmla="*/ 975969 h 3686657"/>
                <a:gd name="connsiteX5" fmla="*/ 826390 w 2080961"/>
                <a:gd name="connsiteY5" fmla="*/ 1046454 h 3686657"/>
                <a:gd name="connsiteX6" fmla="*/ 776636 w 2080961"/>
                <a:gd name="connsiteY6" fmla="*/ 1088079 h 3686657"/>
                <a:gd name="connsiteX7" fmla="*/ 715264 w 2080961"/>
                <a:gd name="connsiteY7" fmla="*/ 1110081 h 3686657"/>
                <a:gd name="connsiteX8" fmla="*/ 646176 w 2080961"/>
                <a:gd name="connsiteY8" fmla="*/ 1106017 h 3686657"/>
                <a:gd name="connsiteX9" fmla="*/ 593344 w 2080961"/>
                <a:gd name="connsiteY9" fmla="*/ 1081633 h 3686657"/>
                <a:gd name="connsiteX10" fmla="*/ 540512 w 2080961"/>
                <a:gd name="connsiteY10" fmla="*/ 1016609 h 3686657"/>
                <a:gd name="connsiteX11" fmla="*/ 524256 w 2080961"/>
                <a:gd name="connsiteY11" fmla="*/ 955649 h 3686657"/>
                <a:gd name="connsiteX12" fmla="*/ 528320 w 2080961"/>
                <a:gd name="connsiteY12" fmla="*/ 870305 h 3686657"/>
                <a:gd name="connsiteX13" fmla="*/ 556768 w 2080961"/>
                <a:gd name="connsiteY13" fmla="*/ 789025 h 3686657"/>
                <a:gd name="connsiteX14" fmla="*/ 593344 w 2080961"/>
                <a:gd name="connsiteY14" fmla="*/ 736193 h 3686657"/>
                <a:gd name="connsiteX15" fmla="*/ 650240 w 2080961"/>
                <a:gd name="connsiteY15" fmla="*/ 671169 h 3686657"/>
                <a:gd name="connsiteX16" fmla="*/ 703072 w 2080961"/>
                <a:gd name="connsiteY16" fmla="*/ 606145 h 3686657"/>
                <a:gd name="connsiteX17" fmla="*/ 784352 w 2080961"/>
                <a:gd name="connsiteY17" fmla="*/ 528929 h 3686657"/>
                <a:gd name="connsiteX18" fmla="*/ 885952 w 2080961"/>
                <a:gd name="connsiteY18" fmla="*/ 443585 h 3686657"/>
                <a:gd name="connsiteX19" fmla="*/ 999744 w 2080961"/>
                <a:gd name="connsiteY19" fmla="*/ 358241 h 3686657"/>
                <a:gd name="connsiteX20" fmla="*/ 1129792 w 2080961"/>
                <a:gd name="connsiteY20" fmla="*/ 264769 h 3686657"/>
                <a:gd name="connsiteX21" fmla="*/ 1300480 w 2080961"/>
                <a:gd name="connsiteY21" fmla="*/ 163169 h 3686657"/>
                <a:gd name="connsiteX22" fmla="*/ 1442720 w 2080961"/>
                <a:gd name="connsiteY22" fmla="*/ 94081 h 3686657"/>
                <a:gd name="connsiteX23" fmla="*/ 1556512 w 2080961"/>
                <a:gd name="connsiteY23" fmla="*/ 53441 h 3686657"/>
                <a:gd name="connsiteX24" fmla="*/ 1643539 w 2080961"/>
                <a:gd name="connsiteY24" fmla="*/ 21913 h 3686657"/>
                <a:gd name="connsiteX25" fmla="*/ 1717390 w 2080961"/>
                <a:gd name="connsiteY25" fmla="*/ 2577 h 3686657"/>
                <a:gd name="connsiteX26" fmla="*/ 1786192 w 2080961"/>
                <a:gd name="connsiteY26" fmla="*/ 2292 h 3686657"/>
                <a:gd name="connsiteX27" fmla="*/ 1845056 w 2080961"/>
                <a:gd name="connsiteY27" fmla="*/ 16865 h 3686657"/>
                <a:gd name="connsiteX28" fmla="*/ 1906016 w 2080961"/>
                <a:gd name="connsiteY28" fmla="*/ 49377 h 3686657"/>
                <a:gd name="connsiteX29" fmla="*/ 1983232 w 2080961"/>
                <a:gd name="connsiteY29" fmla="*/ 102209 h 3686657"/>
                <a:gd name="connsiteX30" fmla="*/ 2015744 w 2080961"/>
                <a:gd name="connsiteY30" fmla="*/ 155041 h 3686657"/>
                <a:gd name="connsiteX31" fmla="*/ 2048256 w 2080961"/>
                <a:gd name="connsiteY31" fmla="*/ 220065 h 3686657"/>
                <a:gd name="connsiteX32" fmla="*/ 2064512 w 2080961"/>
                <a:gd name="connsiteY32" fmla="*/ 285089 h 3686657"/>
                <a:gd name="connsiteX33" fmla="*/ 2080768 w 2080961"/>
                <a:gd name="connsiteY33" fmla="*/ 358241 h 3686657"/>
                <a:gd name="connsiteX34" fmla="*/ 2072640 w 2080961"/>
                <a:gd name="connsiteY34" fmla="*/ 431393 h 3686657"/>
                <a:gd name="connsiteX35" fmla="*/ 2060448 w 2080961"/>
                <a:gd name="connsiteY35" fmla="*/ 508609 h 3686657"/>
                <a:gd name="connsiteX36" fmla="*/ 2027936 w 2080961"/>
                <a:gd name="connsiteY36" fmla="*/ 618337 h 3686657"/>
                <a:gd name="connsiteX37" fmla="*/ 1975104 w 2080961"/>
                <a:gd name="connsiteY37" fmla="*/ 760577 h 3686657"/>
                <a:gd name="connsiteX38" fmla="*/ 1918208 w 2080961"/>
                <a:gd name="connsiteY38" fmla="*/ 886561 h 3686657"/>
                <a:gd name="connsiteX39" fmla="*/ 1845056 w 2080961"/>
                <a:gd name="connsiteY39" fmla="*/ 1040993 h 3686657"/>
                <a:gd name="connsiteX40" fmla="*/ 1763776 w 2080961"/>
                <a:gd name="connsiteY40" fmla="*/ 1183233 h 3686657"/>
                <a:gd name="connsiteX41" fmla="*/ 1666240 w 2080961"/>
                <a:gd name="connsiteY41" fmla="*/ 1362049 h 3686657"/>
                <a:gd name="connsiteX42" fmla="*/ 1552448 w 2080961"/>
                <a:gd name="connsiteY42" fmla="*/ 1524609 h 3686657"/>
                <a:gd name="connsiteX43" fmla="*/ 1381760 w 2080961"/>
                <a:gd name="connsiteY43" fmla="*/ 1788769 h 3686657"/>
                <a:gd name="connsiteX44" fmla="*/ 1247648 w 2080961"/>
                <a:gd name="connsiteY44" fmla="*/ 1967585 h 3686657"/>
                <a:gd name="connsiteX45" fmla="*/ 1060704 w 2080961"/>
                <a:gd name="connsiteY45" fmla="*/ 2207361 h 3686657"/>
                <a:gd name="connsiteX46" fmla="*/ 898144 w 2080961"/>
                <a:gd name="connsiteY46" fmla="*/ 2418689 h 3686657"/>
                <a:gd name="connsiteX47" fmla="*/ 548640 w 2080961"/>
                <a:gd name="connsiteY47" fmla="*/ 2873857 h 3686657"/>
                <a:gd name="connsiteX48" fmla="*/ 308864 w 2080961"/>
                <a:gd name="connsiteY48" fmla="*/ 3186785 h 3686657"/>
                <a:gd name="connsiteX49" fmla="*/ 65024 w 2080961"/>
                <a:gd name="connsiteY49" fmla="*/ 3572865 h 3686657"/>
                <a:gd name="connsiteX50" fmla="*/ 0 w 2080961"/>
                <a:gd name="connsiteY50" fmla="*/ 3686657 h 3686657"/>
                <a:gd name="connsiteX0" fmla="*/ 666496 w 2080961"/>
                <a:gd name="connsiteY0" fmla="*/ 516737 h 3686657"/>
                <a:gd name="connsiteX1" fmla="*/ 743712 w 2080961"/>
                <a:gd name="connsiteY1" fmla="*/ 654913 h 3686657"/>
                <a:gd name="connsiteX2" fmla="*/ 798926 w 2080961"/>
                <a:gd name="connsiteY2" fmla="*/ 762260 h 3686657"/>
                <a:gd name="connsiteX3" fmla="*/ 841248 w 2080961"/>
                <a:gd name="connsiteY3" fmla="*/ 862177 h 3686657"/>
                <a:gd name="connsiteX4" fmla="*/ 853440 w 2080961"/>
                <a:gd name="connsiteY4" fmla="*/ 975969 h 3686657"/>
                <a:gd name="connsiteX5" fmla="*/ 826390 w 2080961"/>
                <a:gd name="connsiteY5" fmla="*/ 1046454 h 3686657"/>
                <a:gd name="connsiteX6" fmla="*/ 776636 w 2080961"/>
                <a:gd name="connsiteY6" fmla="*/ 1088079 h 3686657"/>
                <a:gd name="connsiteX7" fmla="*/ 715264 w 2080961"/>
                <a:gd name="connsiteY7" fmla="*/ 1110081 h 3686657"/>
                <a:gd name="connsiteX8" fmla="*/ 646176 w 2080961"/>
                <a:gd name="connsiteY8" fmla="*/ 1106017 h 3686657"/>
                <a:gd name="connsiteX9" fmla="*/ 593344 w 2080961"/>
                <a:gd name="connsiteY9" fmla="*/ 1081633 h 3686657"/>
                <a:gd name="connsiteX10" fmla="*/ 540512 w 2080961"/>
                <a:gd name="connsiteY10" fmla="*/ 1016609 h 3686657"/>
                <a:gd name="connsiteX11" fmla="*/ 524256 w 2080961"/>
                <a:gd name="connsiteY11" fmla="*/ 955649 h 3686657"/>
                <a:gd name="connsiteX12" fmla="*/ 528320 w 2080961"/>
                <a:gd name="connsiteY12" fmla="*/ 870305 h 3686657"/>
                <a:gd name="connsiteX13" fmla="*/ 556768 w 2080961"/>
                <a:gd name="connsiteY13" fmla="*/ 789025 h 3686657"/>
                <a:gd name="connsiteX14" fmla="*/ 593344 w 2080961"/>
                <a:gd name="connsiteY14" fmla="*/ 736193 h 3686657"/>
                <a:gd name="connsiteX15" fmla="*/ 650240 w 2080961"/>
                <a:gd name="connsiteY15" fmla="*/ 671169 h 3686657"/>
                <a:gd name="connsiteX16" fmla="*/ 703072 w 2080961"/>
                <a:gd name="connsiteY16" fmla="*/ 606145 h 3686657"/>
                <a:gd name="connsiteX17" fmla="*/ 784352 w 2080961"/>
                <a:gd name="connsiteY17" fmla="*/ 528929 h 3686657"/>
                <a:gd name="connsiteX18" fmla="*/ 885952 w 2080961"/>
                <a:gd name="connsiteY18" fmla="*/ 443585 h 3686657"/>
                <a:gd name="connsiteX19" fmla="*/ 999744 w 2080961"/>
                <a:gd name="connsiteY19" fmla="*/ 358241 h 3686657"/>
                <a:gd name="connsiteX20" fmla="*/ 1129792 w 2080961"/>
                <a:gd name="connsiteY20" fmla="*/ 264769 h 3686657"/>
                <a:gd name="connsiteX21" fmla="*/ 1300480 w 2080961"/>
                <a:gd name="connsiteY21" fmla="*/ 163169 h 3686657"/>
                <a:gd name="connsiteX22" fmla="*/ 1442720 w 2080961"/>
                <a:gd name="connsiteY22" fmla="*/ 94081 h 3686657"/>
                <a:gd name="connsiteX23" fmla="*/ 1556512 w 2080961"/>
                <a:gd name="connsiteY23" fmla="*/ 53441 h 3686657"/>
                <a:gd name="connsiteX24" fmla="*/ 1643539 w 2080961"/>
                <a:gd name="connsiteY24" fmla="*/ 21913 h 3686657"/>
                <a:gd name="connsiteX25" fmla="*/ 1717390 w 2080961"/>
                <a:gd name="connsiteY25" fmla="*/ 2577 h 3686657"/>
                <a:gd name="connsiteX26" fmla="*/ 1786192 w 2080961"/>
                <a:gd name="connsiteY26" fmla="*/ 2292 h 3686657"/>
                <a:gd name="connsiteX27" fmla="*/ 1845056 w 2080961"/>
                <a:gd name="connsiteY27" fmla="*/ 16865 h 3686657"/>
                <a:gd name="connsiteX28" fmla="*/ 1906016 w 2080961"/>
                <a:gd name="connsiteY28" fmla="*/ 49377 h 3686657"/>
                <a:gd name="connsiteX29" fmla="*/ 1983232 w 2080961"/>
                <a:gd name="connsiteY29" fmla="*/ 102209 h 3686657"/>
                <a:gd name="connsiteX30" fmla="*/ 2015744 w 2080961"/>
                <a:gd name="connsiteY30" fmla="*/ 155041 h 3686657"/>
                <a:gd name="connsiteX31" fmla="*/ 2048256 w 2080961"/>
                <a:gd name="connsiteY31" fmla="*/ 220065 h 3686657"/>
                <a:gd name="connsiteX32" fmla="*/ 2064512 w 2080961"/>
                <a:gd name="connsiteY32" fmla="*/ 285089 h 3686657"/>
                <a:gd name="connsiteX33" fmla="*/ 2080768 w 2080961"/>
                <a:gd name="connsiteY33" fmla="*/ 358241 h 3686657"/>
                <a:gd name="connsiteX34" fmla="*/ 2072640 w 2080961"/>
                <a:gd name="connsiteY34" fmla="*/ 431393 h 3686657"/>
                <a:gd name="connsiteX35" fmla="*/ 2060448 w 2080961"/>
                <a:gd name="connsiteY35" fmla="*/ 508609 h 3686657"/>
                <a:gd name="connsiteX36" fmla="*/ 2027936 w 2080961"/>
                <a:gd name="connsiteY36" fmla="*/ 618337 h 3686657"/>
                <a:gd name="connsiteX37" fmla="*/ 1975104 w 2080961"/>
                <a:gd name="connsiteY37" fmla="*/ 760577 h 3686657"/>
                <a:gd name="connsiteX38" fmla="*/ 1918208 w 2080961"/>
                <a:gd name="connsiteY38" fmla="*/ 886561 h 3686657"/>
                <a:gd name="connsiteX39" fmla="*/ 1845056 w 2080961"/>
                <a:gd name="connsiteY39" fmla="*/ 1040993 h 3686657"/>
                <a:gd name="connsiteX40" fmla="*/ 1763776 w 2080961"/>
                <a:gd name="connsiteY40" fmla="*/ 1183233 h 3686657"/>
                <a:gd name="connsiteX41" fmla="*/ 1666240 w 2080961"/>
                <a:gd name="connsiteY41" fmla="*/ 1362049 h 3686657"/>
                <a:gd name="connsiteX42" fmla="*/ 1552448 w 2080961"/>
                <a:gd name="connsiteY42" fmla="*/ 1524609 h 3686657"/>
                <a:gd name="connsiteX43" fmla="*/ 1381760 w 2080961"/>
                <a:gd name="connsiteY43" fmla="*/ 1788769 h 3686657"/>
                <a:gd name="connsiteX44" fmla="*/ 1247648 w 2080961"/>
                <a:gd name="connsiteY44" fmla="*/ 1967585 h 3686657"/>
                <a:gd name="connsiteX45" fmla="*/ 1060704 w 2080961"/>
                <a:gd name="connsiteY45" fmla="*/ 2207361 h 3686657"/>
                <a:gd name="connsiteX46" fmla="*/ 898144 w 2080961"/>
                <a:gd name="connsiteY46" fmla="*/ 2418689 h 3686657"/>
                <a:gd name="connsiteX47" fmla="*/ 548640 w 2080961"/>
                <a:gd name="connsiteY47" fmla="*/ 2873857 h 3686657"/>
                <a:gd name="connsiteX48" fmla="*/ 308864 w 2080961"/>
                <a:gd name="connsiteY48" fmla="*/ 3186785 h 3686657"/>
                <a:gd name="connsiteX49" fmla="*/ 65024 w 2080961"/>
                <a:gd name="connsiteY49" fmla="*/ 3572865 h 3686657"/>
                <a:gd name="connsiteX50" fmla="*/ 0 w 2080961"/>
                <a:gd name="connsiteY50" fmla="*/ 3686657 h 3686657"/>
                <a:gd name="connsiteX0" fmla="*/ 666496 w 2080961"/>
                <a:gd name="connsiteY0" fmla="*/ 516737 h 3686657"/>
                <a:gd name="connsiteX1" fmla="*/ 743712 w 2080961"/>
                <a:gd name="connsiteY1" fmla="*/ 654913 h 3686657"/>
                <a:gd name="connsiteX2" fmla="*/ 798926 w 2080961"/>
                <a:gd name="connsiteY2" fmla="*/ 762260 h 3686657"/>
                <a:gd name="connsiteX3" fmla="*/ 841248 w 2080961"/>
                <a:gd name="connsiteY3" fmla="*/ 862177 h 3686657"/>
                <a:gd name="connsiteX4" fmla="*/ 853440 w 2080961"/>
                <a:gd name="connsiteY4" fmla="*/ 975969 h 3686657"/>
                <a:gd name="connsiteX5" fmla="*/ 826390 w 2080961"/>
                <a:gd name="connsiteY5" fmla="*/ 1046454 h 3686657"/>
                <a:gd name="connsiteX6" fmla="*/ 776636 w 2080961"/>
                <a:gd name="connsiteY6" fmla="*/ 1088079 h 3686657"/>
                <a:gd name="connsiteX7" fmla="*/ 715264 w 2080961"/>
                <a:gd name="connsiteY7" fmla="*/ 1110081 h 3686657"/>
                <a:gd name="connsiteX8" fmla="*/ 646176 w 2080961"/>
                <a:gd name="connsiteY8" fmla="*/ 1106017 h 3686657"/>
                <a:gd name="connsiteX9" fmla="*/ 593344 w 2080961"/>
                <a:gd name="connsiteY9" fmla="*/ 1081633 h 3686657"/>
                <a:gd name="connsiteX10" fmla="*/ 540512 w 2080961"/>
                <a:gd name="connsiteY10" fmla="*/ 1016609 h 3686657"/>
                <a:gd name="connsiteX11" fmla="*/ 524256 w 2080961"/>
                <a:gd name="connsiteY11" fmla="*/ 955649 h 3686657"/>
                <a:gd name="connsiteX12" fmla="*/ 528320 w 2080961"/>
                <a:gd name="connsiteY12" fmla="*/ 870305 h 3686657"/>
                <a:gd name="connsiteX13" fmla="*/ 556768 w 2080961"/>
                <a:gd name="connsiteY13" fmla="*/ 789025 h 3686657"/>
                <a:gd name="connsiteX14" fmla="*/ 593344 w 2080961"/>
                <a:gd name="connsiteY14" fmla="*/ 736193 h 3686657"/>
                <a:gd name="connsiteX15" fmla="*/ 650240 w 2080961"/>
                <a:gd name="connsiteY15" fmla="*/ 671169 h 3686657"/>
                <a:gd name="connsiteX16" fmla="*/ 703072 w 2080961"/>
                <a:gd name="connsiteY16" fmla="*/ 606145 h 3686657"/>
                <a:gd name="connsiteX17" fmla="*/ 784352 w 2080961"/>
                <a:gd name="connsiteY17" fmla="*/ 528929 h 3686657"/>
                <a:gd name="connsiteX18" fmla="*/ 885952 w 2080961"/>
                <a:gd name="connsiteY18" fmla="*/ 443585 h 3686657"/>
                <a:gd name="connsiteX19" fmla="*/ 999744 w 2080961"/>
                <a:gd name="connsiteY19" fmla="*/ 358241 h 3686657"/>
                <a:gd name="connsiteX20" fmla="*/ 1129792 w 2080961"/>
                <a:gd name="connsiteY20" fmla="*/ 264769 h 3686657"/>
                <a:gd name="connsiteX21" fmla="*/ 1300480 w 2080961"/>
                <a:gd name="connsiteY21" fmla="*/ 163169 h 3686657"/>
                <a:gd name="connsiteX22" fmla="*/ 1442720 w 2080961"/>
                <a:gd name="connsiteY22" fmla="*/ 94081 h 3686657"/>
                <a:gd name="connsiteX23" fmla="*/ 1556512 w 2080961"/>
                <a:gd name="connsiteY23" fmla="*/ 53441 h 3686657"/>
                <a:gd name="connsiteX24" fmla="*/ 1643539 w 2080961"/>
                <a:gd name="connsiteY24" fmla="*/ 21913 h 3686657"/>
                <a:gd name="connsiteX25" fmla="*/ 1717390 w 2080961"/>
                <a:gd name="connsiteY25" fmla="*/ 2577 h 3686657"/>
                <a:gd name="connsiteX26" fmla="*/ 1786192 w 2080961"/>
                <a:gd name="connsiteY26" fmla="*/ 2292 h 3686657"/>
                <a:gd name="connsiteX27" fmla="*/ 1845056 w 2080961"/>
                <a:gd name="connsiteY27" fmla="*/ 16865 h 3686657"/>
                <a:gd name="connsiteX28" fmla="*/ 1906016 w 2080961"/>
                <a:gd name="connsiteY28" fmla="*/ 49377 h 3686657"/>
                <a:gd name="connsiteX29" fmla="*/ 1983232 w 2080961"/>
                <a:gd name="connsiteY29" fmla="*/ 102209 h 3686657"/>
                <a:gd name="connsiteX30" fmla="*/ 2015744 w 2080961"/>
                <a:gd name="connsiteY30" fmla="*/ 155041 h 3686657"/>
                <a:gd name="connsiteX31" fmla="*/ 2048256 w 2080961"/>
                <a:gd name="connsiteY31" fmla="*/ 220065 h 3686657"/>
                <a:gd name="connsiteX32" fmla="*/ 2064512 w 2080961"/>
                <a:gd name="connsiteY32" fmla="*/ 285089 h 3686657"/>
                <a:gd name="connsiteX33" fmla="*/ 2080768 w 2080961"/>
                <a:gd name="connsiteY33" fmla="*/ 358241 h 3686657"/>
                <a:gd name="connsiteX34" fmla="*/ 2072640 w 2080961"/>
                <a:gd name="connsiteY34" fmla="*/ 431393 h 3686657"/>
                <a:gd name="connsiteX35" fmla="*/ 2060448 w 2080961"/>
                <a:gd name="connsiteY35" fmla="*/ 508609 h 3686657"/>
                <a:gd name="connsiteX36" fmla="*/ 2027936 w 2080961"/>
                <a:gd name="connsiteY36" fmla="*/ 618337 h 3686657"/>
                <a:gd name="connsiteX37" fmla="*/ 1975104 w 2080961"/>
                <a:gd name="connsiteY37" fmla="*/ 760577 h 3686657"/>
                <a:gd name="connsiteX38" fmla="*/ 1918208 w 2080961"/>
                <a:gd name="connsiteY38" fmla="*/ 886561 h 3686657"/>
                <a:gd name="connsiteX39" fmla="*/ 1845056 w 2080961"/>
                <a:gd name="connsiteY39" fmla="*/ 1040993 h 3686657"/>
                <a:gd name="connsiteX40" fmla="*/ 1763776 w 2080961"/>
                <a:gd name="connsiteY40" fmla="*/ 1183233 h 3686657"/>
                <a:gd name="connsiteX41" fmla="*/ 1666240 w 2080961"/>
                <a:gd name="connsiteY41" fmla="*/ 1362049 h 3686657"/>
                <a:gd name="connsiteX42" fmla="*/ 1552448 w 2080961"/>
                <a:gd name="connsiteY42" fmla="*/ 1524609 h 3686657"/>
                <a:gd name="connsiteX43" fmla="*/ 1381760 w 2080961"/>
                <a:gd name="connsiteY43" fmla="*/ 1788769 h 3686657"/>
                <a:gd name="connsiteX44" fmla="*/ 1247648 w 2080961"/>
                <a:gd name="connsiteY44" fmla="*/ 1967585 h 3686657"/>
                <a:gd name="connsiteX45" fmla="*/ 1060704 w 2080961"/>
                <a:gd name="connsiteY45" fmla="*/ 2207361 h 3686657"/>
                <a:gd name="connsiteX46" fmla="*/ 898144 w 2080961"/>
                <a:gd name="connsiteY46" fmla="*/ 2418689 h 3686657"/>
                <a:gd name="connsiteX47" fmla="*/ 548640 w 2080961"/>
                <a:gd name="connsiteY47" fmla="*/ 2873857 h 3686657"/>
                <a:gd name="connsiteX48" fmla="*/ 308864 w 2080961"/>
                <a:gd name="connsiteY48" fmla="*/ 3186785 h 3686657"/>
                <a:gd name="connsiteX49" fmla="*/ 65024 w 2080961"/>
                <a:gd name="connsiteY49" fmla="*/ 3572865 h 3686657"/>
                <a:gd name="connsiteX50" fmla="*/ 0 w 2080961"/>
                <a:gd name="connsiteY50" fmla="*/ 3686657 h 3686657"/>
                <a:gd name="connsiteX0" fmla="*/ 666496 w 2080961"/>
                <a:gd name="connsiteY0" fmla="*/ 516737 h 3686657"/>
                <a:gd name="connsiteX1" fmla="*/ 743712 w 2080961"/>
                <a:gd name="connsiteY1" fmla="*/ 654913 h 3686657"/>
                <a:gd name="connsiteX2" fmla="*/ 798926 w 2080961"/>
                <a:gd name="connsiteY2" fmla="*/ 762260 h 3686657"/>
                <a:gd name="connsiteX3" fmla="*/ 841248 w 2080961"/>
                <a:gd name="connsiteY3" fmla="*/ 862177 h 3686657"/>
                <a:gd name="connsiteX4" fmla="*/ 853440 w 2080961"/>
                <a:gd name="connsiteY4" fmla="*/ 975969 h 3686657"/>
                <a:gd name="connsiteX5" fmla="*/ 826390 w 2080961"/>
                <a:gd name="connsiteY5" fmla="*/ 1046454 h 3686657"/>
                <a:gd name="connsiteX6" fmla="*/ 776636 w 2080961"/>
                <a:gd name="connsiteY6" fmla="*/ 1088079 h 3686657"/>
                <a:gd name="connsiteX7" fmla="*/ 715264 w 2080961"/>
                <a:gd name="connsiteY7" fmla="*/ 1110081 h 3686657"/>
                <a:gd name="connsiteX8" fmla="*/ 646176 w 2080961"/>
                <a:gd name="connsiteY8" fmla="*/ 1106017 h 3686657"/>
                <a:gd name="connsiteX9" fmla="*/ 593344 w 2080961"/>
                <a:gd name="connsiteY9" fmla="*/ 1081633 h 3686657"/>
                <a:gd name="connsiteX10" fmla="*/ 540512 w 2080961"/>
                <a:gd name="connsiteY10" fmla="*/ 1016609 h 3686657"/>
                <a:gd name="connsiteX11" fmla="*/ 524256 w 2080961"/>
                <a:gd name="connsiteY11" fmla="*/ 955649 h 3686657"/>
                <a:gd name="connsiteX12" fmla="*/ 528320 w 2080961"/>
                <a:gd name="connsiteY12" fmla="*/ 870305 h 3686657"/>
                <a:gd name="connsiteX13" fmla="*/ 556768 w 2080961"/>
                <a:gd name="connsiteY13" fmla="*/ 789025 h 3686657"/>
                <a:gd name="connsiteX14" fmla="*/ 593344 w 2080961"/>
                <a:gd name="connsiteY14" fmla="*/ 736193 h 3686657"/>
                <a:gd name="connsiteX15" fmla="*/ 650240 w 2080961"/>
                <a:gd name="connsiteY15" fmla="*/ 671169 h 3686657"/>
                <a:gd name="connsiteX16" fmla="*/ 703072 w 2080961"/>
                <a:gd name="connsiteY16" fmla="*/ 606145 h 3686657"/>
                <a:gd name="connsiteX17" fmla="*/ 784352 w 2080961"/>
                <a:gd name="connsiteY17" fmla="*/ 528929 h 3686657"/>
                <a:gd name="connsiteX18" fmla="*/ 885952 w 2080961"/>
                <a:gd name="connsiteY18" fmla="*/ 443585 h 3686657"/>
                <a:gd name="connsiteX19" fmla="*/ 999744 w 2080961"/>
                <a:gd name="connsiteY19" fmla="*/ 358241 h 3686657"/>
                <a:gd name="connsiteX20" fmla="*/ 1129792 w 2080961"/>
                <a:gd name="connsiteY20" fmla="*/ 264769 h 3686657"/>
                <a:gd name="connsiteX21" fmla="*/ 1300480 w 2080961"/>
                <a:gd name="connsiteY21" fmla="*/ 163169 h 3686657"/>
                <a:gd name="connsiteX22" fmla="*/ 1442720 w 2080961"/>
                <a:gd name="connsiteY22" fmla="*/ 94081 h 3686657"/>
                <a:gd name="connsiteX23" fmla="*/ 1556512 w 2080961"/>
                <a:gd name="connsiteY23" fmla="*/ 53441 h 3686657"/>
                <a:gd name="connsiteX24" fmla="*/ 1643539 w 2080961"/>
                <a:gd name="connsiteY24" fmla="*/ 21913 h 3686657"/>
                <a:gd name="connsiteX25" fmla="*/ 1717390 w 2080961"/>
                <a:gd name="connsiteY25" fmla="*/ 2577 h 3686657"/>
                <a:gd name="connsiteX26" fmla="*/ 1786192 w 2080961"/>
                <a:gd name="connsiteY26" fmla="*/ 2292 h 3686657"/>
                <a:gd name="connsiteX27" fmla="*/ 1845056 w 2080961"/>
                <a:gd name="connsiteY27" fmla="*/ 16865 h 3686657"/>
                <a:gd name="connsiteX28" fmla="*/ 1920304 w 2080961"/>
                <a:gd name="connsiteY28" fmla="*/ 46995 h 3686657"/>
                <a:gd name="connsiteX29" fmla="*/ 1983232 w 2080961"/>
                <a:gd name="connsiteY29" fmla="*/ 102209 h 3686657"/>
                <a:gd name="connsiteX30" fmla="*/ 2015744 w 2080961"/>
                <a:gd name="connsiteY30" fmla="*/ 155041 h 3686657"/>
                <a:gd name="connsiteX31" fmla="*/ 2048256 w 2080961"/>
                <a:gd name="connsiteY31" fmla="*/ 220065 h 3686657"/>
                <a:gd name="connsiteX32" fmla="*/ 2064512 w 2080961"/>
                <a:gd name="connsiteY32" fmla="*/ 285089 h 3686657"/>
                <a:gd name="connsiteX33" fmla="*/ 2080768 w 2080961"/>
                <a:gd name="connsiteY33" fmla="*/ 358241 h 3686657"/>
                <a:gd name="connsiteX34" fmla="*/ 2072640 w 2080961"/>
                <a:gd name="connsiteY34" fmla="*/ 431393 h 3686657"/>
                <a:gd name="connsiteX35" fmla="*/ 2060448 w 2080961"/>
                <a:gd name="connsiteY35" fmla="*/ 508609 h 3686657"/>
                <a:gd name="connsiteX36" fmla="*/ 2027936 w 2080961"/>
                <a:gd name="connsiteY36" fmla="*/ 618337 h 3686657"/>
                <a:gd name="connsiteX37" fmla="*/ 1975104 w 2080961"/>
                <a:gd name="connsiteY37" fmla="*/ 760577 h 3686657"/>
                <a:gd name="connsiteX38" fmla="*/ 1918208 w 2080961"/>
                <a:gd name="connsiteY38" fmla="*/ 886561 h 3686657"/>
                <a:gd name="connsiteX39" fmla="*/ 1845056 w 2080961"/>
                <a:gd name="connsiteY39" fmla="*/ 1040993 h 3686657"/>
                <a:gd name="connsiteX40" fmla="*/ 1763776 w 2080961"/>
                <a:gd name="connsiteY40" fmla="*/ 1183233 h 3686657"/>
                <a:gd name="connsiteX41" fmla="*/ 1666240 w 2080961"/>
                <a:gd name="connsiteY41" fmla="*/ 1362049 h 3686657"/>
                <a:gd name="connsiteX42" fmla="*/ 1552448 w 2080961"/>
                <a:gd name="connsiteY42" fmla="*/ 1524609 h 3686657"/>
                <a:gd name="connsiteX43" fmla="*/ 1381760 w 2080961"/>
                <a:gd name="connsiteY43" fmla="*/ 1788769 h 3686657"/>
                <a:gd name="connsiteX44" fmla="*/ 1247648 w 2080961"/>
                <a:gd name="connsiteY44" fmla="*/ 1967585 h 3686657"/>
                <a:gd name="connsiteX45" fmla="*/ 1060704 w 2080961"/>
                <a:gd name="connsiteY45" fmla="*/ 2207361 h 3686657"/>
                <a:gd name="connsiteX46" fmla="*/ 898144 w 2080961"/>
                <a:gd name="connsiteY46" fmla="*/ 2418689 h 3686657"/>
                <a:gd name="connsiteX47" fmla="*/ 548640 w 2080961"/>
                <a:gd name="connsiteY47" fmla="*/ 2873857 h 3686657"/>
                <a:gd name="connsiteX48" fmla="*/ 308864 w 2080961"/>
                <a:gd name="connsiteY48" fmla="*/ 3186785 h 3686657"/>
                <a:gd name="connsiteX49" fmla="*/ 65024 w 2080961"/>
                <a:gd name="connsiteY49" fmla="*/ 3572865 h 3686657"/>
                <a:gd name="connsiteX50" fmla="*/ 0 w 2080961"/>
                <a:gd name="connsiteY50" fmla="*/ 3686657 h 3686657"/>
                <a:gd name="connsiteX0" fmla="*/ 666496 w 2080961"/>
                <a:gd name="connsiteY0" fmla="*/ 514874 h 3684794"/>
                <a:gd name="connsiteX1" fmla="*/ 743712 w 2080961"/>
                <a:gd name="connsiteY1" fmla="*/ 653050 h 3684794"/>
                <a:gd name="connsiteX2" fmla="*/ 798926 w 2080961"/>
                <a:gd name="connsiteY2" fmla="*/ 760397 h 3684794"/>
                <a:gd name="connsiteX3" fmla="*/ 841248 w 2080961"/>
                <a:gd name="connsiteY3" fmla="*/ 860314 h 3684794"/>
                <a:gd name="connsiteX4" fmla="*/ 853440 w 2080961"/>
                <a:gd name="connsiteY4" fmla="*/ 974106 h 3684794"/>
                <a:gd name="connsiteX5" fmla="*/ 826390 w 2080961"/>
                <a:gd name="connsiteY5" fmla="*/ 1044591 h 3684794"/>
                <a:gd name="connsiteX6" fmla="*/ 776636 w 2080961"/>
                <a:gd name="connsiteY6" fmla="*/ 1086216 h 3684794"/>
                <a:gd name="connsiteX7" fmla="*/ 715264 w 2080961"/>
                <a:gd name="connsiteY7" fmla="*/ 1108218 h 3684794"/>
                <a:gd name="connsiteX8" fmla="*/ 646176 w 2080961"/>
                <a:gd name="connsiteY8" fmla="*/ 1104154 h 3684794"/>
                <a:gd name="connsiteX9" fmla="*/ 593344 w 2080961"/>
                <a:gd name="connsiteY9" fmla="*/ 1079770 h 3684794"/>
                <a:gd name="connsiteX10" fmla="*/ 540512 w 2080961"/>
                <a:gd name="connsiteY10" fmla="*/ 1014746 h 3684794"/>
                <a:gd name="connsiteX11" fmla="*/ 524256 w 2080961"/>
                <a:gd name="connsiteY11" fmla="*/ 953786 h 3684794"/>
                <a:gd name="connsiteX12" fmla="*/ 528320 w 2080961"/>
                <a:gd name="connsiteY12" fmla="*/ 868442 h 3684794"/>
                <a:gd name="connsiteX13" fmla="*/ 556768 w 2080961"/>
                <a:gd name="connsiteY13" fmla="*/ 787162 h 3684794"/>
                <a:gd name="connsiteX14" fmla="*/ 593344 w 2080961"/>
                <a:gd name="connsiteY14" fmla="*/ 734330 h 3684794"/>
                <a:gd name="connsiteX15" fmla="*/ 650240 w 2080961"/>
                <a:gd name="connsiteY15" fmla="*/ 669306 h 3684794"/>
                <a:gd name="connsiteX16" fmla="*/ 703072 w 2080961"/>
                <a:gd name="connsiteY16" fmla="*/ 604282 h 3684794"/>
                <a:gd name="connsiteX17" fmla="*/ 784352 w 2080961"/>
                <a:gd name="connsiteY17" fmla="*/ 527066 h 3684794"/>
                <a:gd name="connsiteX18" fmla="*/ 885952 w 2080961"/>
                <a:gd name="connsiteY18" fmla="*/ 441722 h 3684794"/>
                <a:gd name="connsiteX19" fmla="*/ 999744 w 2080961"/>
                <a:gd name="connsiteY19" fmla="*/ 356378 h 3684794"/>
                <a:gd name="connsiteX20" fmla="*/ 1129792 w 2080961"/>
                <a:gd name="connsiteY20" fmla="*/ 262906 h 3684794"/>
                <a:gd name="connsiteX21" fmla="*/ 1300480 w 2080961"/>
                <a:gd name="connsiteY21" fmla="*/ 161306 h 3684794"/>
                <a:gd name="connsiteX22" fmla="*/ 1442720 w 2080961"/>
                <a:gd name="connsiteY22" fmla="*/ 92218 h 3684794"/>
                <a:gd name="connsiteX23" fmla="*/ 1556512 w 2080961"/>
                <a:gd name="connsiteY23" fmla="*/ 51578 h 3684794"/>
                <a:gd name="connsiteX24" fmla="*/ 1643539 w 2080961"/>
                <a:gd name="connsiteY24" fmla="*/ 20050 h 3684794"/>
                <a:gd name="connsiteX25" fmla="*/ 1717390 w 2080961"/>
                <a:gd name="connsiteY25" fmla="*/ 714 h 3684794"/>
                <a:gd name="connsiteX26" fmla="*/ 1786192 w 2080961"/>
                <a:gd name="connsiteY26" fmla="*/ 5191 h 3684794"/>
                <a:gd name="connsiteX27" fmla="*/ 1845056 w 2080961"/>
                <a:gd name="connsiteY27" fmla="*/ 15002 h 3684794"/>
                <a:gd name="connsiteX28" fmla="*/ 1920304 w 2080961"/>
                <a:gd name="connsiteY28" fmla="*/ 45132 h 3684794"/>
                <a:gd name="connsiteX29" fmla="*/ 1983232 w 2080961"/>
                <a:gd name="connsiteY29" fmla="*/ 100346 h 3684794"/>
                <a:gd name="connsiteX30" fmla="*/ 2015744 w 2080961"/>
                <a:gd name="connsiteY30" fmla="*/ 153178 h 3684794"/>
                <a:gd name="connsiteX31" fmla="*/ 2048256 w 2080961"/>
                <a:gd name="connsiteY31" fmla="*/ 218202 h 3684794"/>
                <a:gd name="connsiteX32" fmla="*/ 2064512 w 2080961"/>
                <a:gd name="connsiteY32" fmla="*/ 283226 h 3684794"/>
                <a:gd name="connsiteX33" fmla="*/ 2080768 w 2080961"/>
                <a:gd name="connsiteY33" fmla="*/ 356378 h 3684794"/>
                <a:gd name="connsiteX34" fmla="*/ 2072640 w 2080961"/>
                <a:gd name="connsiteY34" fmla="*/ 429530 h 3684794"/>
                <a:gd name="connsiteX35" fmla="*/ 2060448 w 2080961"/>
                <a:gd name="connsiteY35" fmla="*/ 506746 h 3684794"/>
                <a:gd name="connsiteX36" fmla="*/ 2027936 w 2080961"/>
                <a:gd name="connsiteY36" fmla="*/ 616474 h 3684794"/>
                <a:gd name="connsiteX37" fmla="*/ 1975104 w 2080961"/>
                <a:gd name="connsiteY37" fmla="*/ 758714 h 3684794"/>
                <a:gd name="connsiteX38" fmla="*/ 1918208 w 2080961"/>
                <a:gd name="connsiteY38" fmla="*/ 884698 h 3684794"/>
                <a:gd name="connsiteX39" fmla="*/ 1845056 w 2080961"/>
                <a:gd name="connsiteY39" fmla="*/ 1039130 h 3684794"/>
                <a:gd name="connsiteX40" fmla="*/ 1763776 w 2080961"/>
                <a:gd name="connsiteY40" fmla="*/ 1181370 h 3684794"/>
                <a:gd name="connsiteX41" fmla="*/ 1666240 w 2080961"/>
                <a:gd name="connsiteY41" fmla="*/ 1360186 h 3684794"/>
                <a:gd name="connsiteX42" fmla="*/ 1552448 w 2080961"/>
                <a:gd name="connsiteY42" fmla="*/ 1522746 h 3684794"/>
                <a:gd name="connsiteX43" fmla="*/ 1381760 w 2080961"/>
                <a:gd name="connsiteY43" fmla="*/ 1786906 h 3684794"/>
                <a:gd name="connsiteX44" fmla="*/ 1247648 w 2080961"/>
                <a:gd name="connsiteY44" fmla="*/ 1965722 h 3684794"/>
                <a:gd name="connsiteX45" fmla="*/ 1060704 w 2080961"/>
                <a:gd name="connsiteY45" fmla="*/ 2205498 h 3684794"/>
                <a:gd name="connsiteX46" fmla="*/ 898144 w 2080961"/>
                <a:gd name="connsiteY46" fmla="*/ 2416826 h 3684794"/>
                <a:gd name="connsiteX47" fmla="*/ 548640 w 2080961"/>
                <a:gd name="connsiteY47" fmla="*/ 2871994 h 3684794"/>
                <a:gd name="connsiteX48" fmla="*/ 308864 w 2080961"/>
                <a:gd name="connsiteY48" fmla="*/ 3184922 h 3684794"/>
                <a:gd name="connsiteX49" fmla="*/ 65024 w 2080961"/>
                <a:gd name="connsiteY49" fmla="*/ 3571002 h 3684794"/>
                <a:gd name="connsiteX50" fmla="*/ 0 w 2080961"/>
                <a:gd name="connsiteY50" fmla="*/ 3684794 h 3684794"/>
                <a:gd name="connsiteX0" fmla="*/ 666496 w 2080961"/>
                <a:gd name="connsiteY0" fmla="*/ 509802 h 3679722"/>
                <a:gd name="connsiteX1" fmla="*/ 743712 w 2080961"/>
                <a:gd name="connsiteY1" fmla="*/ 647978 h 3679722"/>
                <a:gd name="connsiteX2" fmla="*/ 798926 w 2080961"/>
                <a:gd name="connsiteY2" fmla="*/ 755325 h 3679722"/>
                <a:gd name="connsiteX3" fmla="*/ 841248 w 2080961"/>
                <a:gd name="connsiteY3" fmla="*/ 855242 h 3679722"/>
                <a:gd name="connsiteX4" fmla="*/ 853440 w 2080961"/>
                <a:gd name="connsiteY4" fmla="*/ 969034 h 3679722"/>
                <a:gd name="connsiteX5" fmla="*/ 826390 w 2080961"/>
                <a:gd name="connsiteY5" fmla="*/ 1039519 h 3679722"/>
                <a:gd name="connsiteX6" fmla="*/ 776636 w 2080961"/>
                <a:gd name="connsiteY6" fmla="*/ 1081144 h 3679722"/>
                <a:gd name="connsiteX7" fmla="*/ 715264 w 2080961"/>
                <a:gd name="connsiteY7" fmla="*/ 1103146 h 3679722"/>
                <a:gd name="connsiteX8" fmla="*/ 646176 w 2080961"/>
                <a:gd name="connsiteY8" fmla="*/ 1099082 h 3679722"/>
                <a:gd name="connsiteX9" fmla="*/ 593344 w 2080961"/>
                <a:gd name="connsiteY9" fmla="*/ 1074698 h 3679722"/>
                <a:gd name="connsiteX10" fmla="*/ 540512 w 2080961"/>
                <a:gd name="connsiteY10" fmla="*/ 1009674 h 3679722"/>
                <a:gd name="connsiteX11" fmla="*/ 524256 w 2080961"/>
                <a:gd name="connsiteY11" fmla="*/ 948714 h 3679722"/>
                <a:gd name="connsiteX12" fmla="*/ 528320 w 2080961"/>
                <a:gd name="connsiteY12" fmla="*/ 863370 h 3679722"/>
                <a:gd name="connsiteX13" fmla="*/ 556768 w 2080961"/>
                <a:gd name="connsiteY13" fmla="*/ 782090 h 3679722"/>
                <a:gd name="connsiteX14" fmla="*/ 593344 w 2080961"/>
                <a:gd name="connsiteY14" fmla="*/ 729258 h 3679722"/>
                <a:gd name="connsiteX15" fmla="*/ 650240 w 2080961"/>
                <a:gd name="connsiteY15" fmla="*/ 664234 h 3679722"/>
                <a:gd name="connsiteX16" fmla="*/ 703072 w 2080961"/>
                <a:gd name="connsiteY16" fmla="*/ 599210 h 3679722"/>
                <a:gd name="connsiteX17" fmla="*/ 784352 w 2080961"/>
                <a:gd name="connsiteY17" fmla="*/ 521994 h 3679722"/>
                <a:gd name="connsiteX18" fmla="*/ 885952 w 2080961"/>
                <a:gd name="connsiteY18" fmla="*/ 436650 h 3679722"/>
                <a:gd name="connsiteX19" fmla="*/ 999744 w 2080961"/>
                <a:gd name="connsiteY19" fmla="*/ 351306 h 3679722"/>
                <a:gd name="connsiteX20" fmla="*/ 1129792 w 2080961"/>
                <a:gd name="connsiteY20" fmla="*/ 257834 h 3679722"/>
                <a:gd name="connsiteX21" fmla="*/ 1300480 w 2080961"/>
                <a:gd name="connsiteY21" fmla="*/ 156234 h 3679722"/>
                <a:gd name="connsiteX22" fmla="*/ 1442720 w 2080961"/>
                <a:gd name="connsiteY22" fmla="*/ 87146 h 3679722"/>
                <a:gd name="connsiteX23" fmla="*/ 1556512 w 2080961"/>
                <a:gd name="connsiteY23" fmla="*/ 46506 h 3679722"/>
                <a:gd name="connsiteX24" fmla="*/ 1643539 w 2080961"/>
                <a:gd name="connsiteY24" fmla="*/ 14978 h 3679722"/>
                <a:gd name="connsiteX25" fmla="*/ 1717390 w 2080961"/>
                <a:gd name="connsiteY25" fmla="*/ 5167 h 3679722"/>
                <a:gd name="connsiteX26" fmla="*/ 1786192 w 2080961"/>
                <a:gd name="connsiteY26" fmla="*/ 119 h 3679722"/>
                <a:gd name="connsiteX27" fmla="*/ 1845056 w 2080961"/>
                <a:gd name="connsiteY27" fmla="*/ 9930 h 3679722"/>
                <a:gd name="connsiteX28" fmla="*/ 1920304 w 2080961"/>
                <a:gd name="connsiteY28" fmla="*/ 40060 h 3679722"/>
                <a:gd name="connsiteX29" fmla="*/ 1983232 w 2080961"/>
                <a:gd name="connsiteY29" fmla="*/ 95274 h 3679722"/>
                <a:gd name="connsiteX30" fmla="*/ 2015744 w 2080961"/>
                <a:gd name="connsiteY30" fmla="*/ 148106 h 3679722"/>
                <a:gd name="connsiteX31" fmla="*/ 2048256 w 2080961"/>
                <a:gd name="connsiteY31" fmla="*/ 213130 h 3679722"/>
                <a:gd name="connsiteX32" fmla="*/ 2064512 w 2080961"/>
                <a:gd name="connsiteY32" fmla="*/ 278154 h 3679722"/>
                <a:gd name="connsiteX33" fmla="*/ 2080768 w 2080961"/>
                <a:gd name="connsiteY33" fmla="*/ 351306 h 3679722"/>
                <a:gd name="connsiteX34" fmla="*/ 2072640 w 2080961"/>
                <a:gd name="connsiteY34" fmla="*/ 424458 h 3679722"/>
                <a:gd name="connsiteX35" fmla="*/ 2060448 w 2080961"/>
                <a:gd name="connsiteY35" fmla="*/ 501674 h 3679722"/>
                <a:gd name="connsiteX36" fmla="*/ 2027936 w 2080961"/>
                <a:gd name="connsiteY36" fmla="*/ 611402 h 3679722"/>
                <a:gd name="connsiteX37" fmla="*/ 1975104 w 2080961"/>
                <a:gd name="connsiteY37" fmla="*/ 753642 h 3679722"/>
                <a:gd name="connsiteX38" fmla="*/ 1918208 w 2080961"/>
                <a:gd name="connsiteY38" fmla="*/ 879626 h 3679722"/>
                <a:gd name="connsiteX39" fmla="*/ 1845056 w 2080961"/>
                <a:gd name="connsiteY39" fmla="*/ 1034058 h 3679722"/>
                <a:gd name="connsiteX40" fmla="*/ 1763776 w 2080961"/>
                <a:gd name="connsiteY40" fmla="*/ 1176298 h 3679722"/>
                <a:gd name="connsiteX41" fmla="*/ 1666240 w 2080961"/>
                <a:gd name="connsiteY41" fmla="*/ 1355114 h 3679722"/>
                <a:gd name="connsiteX42" fmla="*/ 1552448 w 2080961"/>
                <a:gd name="connsiteY42" fmla="*/ 1517674 h 3679722"/>
                <a:gd name="connsiteX43" fmla="*/ 1381760 w 2080961"/>
                <a:gd name="connsiteY43" fmla="*/ 1781834 h 3679722"/>
                <a:gd name="connsiteX44" fmla="*/ 1247648 w 2080961"/>
                <a:gd name="connsiteY44" fmla="*/ 1960650 h 3679722"/>
                <a:gd name="connsiteX45" fmla="*/ 1060704 w 2080961"/>
                <a:gd name="connsiteY45" fmla="*/ 2200426 h 3679722"/>
                <a:gd name="connsiteX46" fmla="*/ 898144 w 2080961"/>
                <a:gd name="connsiteY46" fmla="*/ 2411754 h 3679722"/>
                <a:gd name="connsiteX47" fmla="*/ 548640 w 2080961"/>
                <a:gd name="connsiteY47" fmla="*/ 2866922 h 3679722"/>
                <a:gd name="connsiteX48" fmla="*/ 308864 w 2080961"/>
                <a:gd name="connsiteY48" fmla="*/ 3179850 h 3679722"/>
                <a:gd name="connsiteX49" fmla="*/ 65024 w 2080961"/>
                <a:gd name="connsiteY49" fmla="*/ 3565930 h 3679722"/>
                <a:gd name="connsiteX50" fmla="*/ 0 w 2080961"/>
                <a:gd name="connsiteY50" fmla="*/ 3679722 h 3679722"/>
                <a:gd name="connsiteX0" fmla="*/ 666496 w 2080961"/>
                <a:gd name="connsiteY0" fmla="*/ 509802 h 3679722"/>
                <a:gd name="connsiteX1" fmla="*/ 743712 w 2080961"/>
                <a:gd name="connsiteY1" fmla="*/ 647978 h 3679722"/>
                <a:gd name="connsiteX2" fmla="*/ 798926 w 2080961"/>
                <a:gd name="connsiteY2" fmla="*/ 755325 h 3679722"/>
                <a:gd name="connsiteX3" fmla="*/ 841248 w 2080961"/>
                <a:gd name="connsiteY3" fmla="*/ 855242 h 3679722"/>
                <a:gd name="connsiteX4" fmla="*/ 853440 w 2080961"/>
                <a:gd name="connsiteY4" fmla="*/ 969034 h 3679722"/>
                <a:gd name="connsiteX5" fmla="*/ 826390 w 2080961"/>
                <a:gd name="connsiteY5" fmla="*/ 1039519 h 3679722"/>
                <a:gd name="connsiteX6" fmla="*/ 776636 w 2080961"/>
                <a:gd name="connsiteY6" fmla="*/ 1081144 h 3679722"/>
                <a:gd name="connsiteX7" fmla="*/ 715264 w 2080961"/>
                <a:gd name="connsiteY7" fmla="*/ 1103146 h 3679722"/>
                <a:gd name="connsiteX8" fmla="*/ 646176 w 2080961"/>
                <a:gd name="connsiteY8" fmla="*/ 1099082 h 3679722"/>
                <a:gd name="connsiteX9" fmla="*/ 593344 w 2080961"/>
                <a:gd name="connsiteY9" fmla="*/ 1074698 h 3679722"/>
                <a:gd name="connsiteX10" fmla="*/ 540512 w 2080961"/>
                <a:gd name="connsiteY10" fmla="*/ 1009674 h 3679722"/>
                <a:gd name="connsiteX11" fmla="*/ 524256 w 2080961"/>
                <a:gd name="connsiteY11" fmla="*/ 948714 h 3679722"/>
                <a:gd name="connsiteX12" fmla="*/ 528320 w 2080961"/>
                <a:gd name="connsiteY12" fmla="*/ 863370 h 3679722"/>
                <a:gd name="connsiteX13" fmla="*/ 556768 w 2080961"/>
                <a:gd name="connsiteY13" fmla="*/ 782090 h 3679722"/>
                <a:gd name="connsiteX14" fmla="*/ 593344 w 2080961"/>
                <a:gd name="connsiteY14" fmla="*/ 729258 h 3679722"/>
                <a:gd name="connsiteX15" fmla="*/ 650240 w 2080961"/>
                <a:gd name="connsiteY15" fmla="*/ 664234 h 3679722"/>
                <a:gd name="connsiteX16" fmla="*/ 703072 w 2080961"/>
                <a:gd name="connsiteY16" fmla="*/ 599210 h 3679722"/>
                <a:gd name="connsiteX17" fmla="*/ 784352 w 2080961"/>
                <a:gd name="connsiteY17" fmla="*/ 521994 h 3679722"/>
                <a:gd name="connsiteX18" fmla="*/ 885952 w 2080961"/>
                <a:gd name="connsiteY18" fmla="*/ 436650 h 3679722"/>
                <a:gd name="connsiteX19" fmla="*/ 999744 w 2080961"/>
                <a:gd name="connsiteY19" fmla="*/ 351306 h 3679722"/>
                <a:gd name="connsiteX20" fmla="*/ 1129792 w 2080961"/>
                <a:gd name="connsiteY20" fmla="*/ 257834 h 3679722"/>
                <a:gd name="connsiteX21" fmla="*/ 1300480 w 2080961"/>
                <a:gd name="connsiteY21" fmla="*/ 156234 h 3679722"/>
                <a:gd name="connsiteX22" fmla="*/ 1442720 w 2080961"/>
                <a:gd name="connsiteY22" fmla="*/ 87146 h 3679722"/>
                <a:gd name="connsiteX23" fmla="*/ 1551750 w 2080961"/>
                <a:gd name="connsiteY23" fmla="*/ 36981 h 3679722"/>
                <a:gd name="connsiteX24" fmla="*/ 1643539 w 2080961"/>
                <a:gd name="connsiteY24" fmla="*/ 14978 h 3679722"/>
                <a:gd name="connsiteX25" fmla="*/ 1717390 w 2080961"/>
                <a:gd name="connsiteY25" fmla="*/ 5167 h 3679722"/>
                <a:gd name="connsiteX26" fmla="*/ 1786192 w 2080961"/>
                <a:gd name="connsiteY26" fmla="*/ 119 h 3679722"/>
                <a:gd name="connsiteX27" fmla="*/ 1845056 w 2080961"/>
                <a:gd name="connsiteY27" fmla="*/ 9930 h 3679722"/>
                <a:gd name="connsiteX28" fmla="*/ 1920304 w 2080961"/>
                <a:gd name="connsiteY28" fmla="*/ 40060 h 3679722"/>
                <a:gd name="connsiteX29" fmla="*/ 1983232 w 2080961"/>
                <a:gd name="connsiteY29" fmla="*/ 95274 h 3679722"/>
                <a:gd name="connsiteX30" fmla="*/ 2015744 w 2080961"/>
                <a:gd name="connsiteY30" fmla="*/ 148106 h 3679722"/>
                <a:gd name="connsiteX31" fmla="*/ 2048256 w 2080961"/>
                <a:gd name="connsiteY31" fmla="*/ 213130 h 3679722"/>
                <a:gd name="connsiteX32" fmla="*/ 2064512 w 2080961"/>
                <a:gd name="connsiteY32" fmla="*/ 278154 h 3679722"/>
                <a:gd name="connsiteX33" fmla="*/ 2080768 w 2080961"/>
                <a:gd name="connsiteY33" fmla="*/ 351306 h 3679722"/>
                <a:gd name="connsiteX34" fmla="*/ 2072640 w 2080961"/>
                <a:gd name="connsiteY34" fmla="*/ 424458 h 3679722"/>
                <a:gd name="connsiteX35" fmla="*/ 2060448 w 2080961"/>
                <a:gd name="connsiteY35" fmla="*/ 501674 h 3679722"/>
                <a:gd name="connsiteX36" fmla="*/ 2027936 w 2080961"/>
                <a:gd name="connsiteY36" fmla="*/ 611402 h 3679722"/>
                <a:gd name="connsiteX37" fmla="*/ 1975104 w 2080961"/>
                <a:gd name="connsiteY37" fmla="*/ 753642 h 3679722"/>
                <a:gd name="connsiteX38" fmla="*/ 1918208 w 2080961"/>
                <a:gd name="connsiteY38" fmla="*/ 879626 h 3679722"/>
                <a:gd name="connsiteX39" fmla="*/ 1845056 w 2080961"/>
                <a:gd name="connsiteY39" fmla="*/ 1034058 h 3679722"/>
                <a:gd name="connsiteX40" fmla="*/ 1763776 w 2080961"/>
                <a:gd name="connsiteY40" fmla="*/ 1176298 h 3679722"/>
                <a:gd name="connsiteX41" fmla="*/ 1666240 w 2080961"/>
                <a:gd name="connsiteY41" fmla="*/ 1355114 h 3679722"/>
                <a:gd name="connsiteX42" fmla="*/ 1552448 w 2080961"/>
                <a:gd name="connsiteY42" fmla="*/ 1517674 h 3679722"/>
                <a:gd name="connsiteX43" fmla="*/ 1381760 w 2080961"/>
                <a:gd name="connsiteY43" fmla="*/ 1781834 h 3679722"/>
                <a:gd name="connsiteX44" fmla="*/ 1247648 w 2080961"/>
                <a:gd name="connsiteY44" fmla="*/ 1960650 h 3679722"/>
                <a:gd name="connsiteX45" fmla="*/ 1060704 w 2080961"/>
                <a:gd name="connsiteY45" fmla="*/ 2200426 h 3679722"/>
                <a:gd name="connsiteX46" fmla="*/ 898144 w 2080961"/>
                <a:gd name="connsiteY46" fmla="*/ 2411754 h 3679722"/>
                <a:gd name="connsiteX47" fmla="*/ 548640 w 2080961"/>
                <a:gd name="connsiteY47" fmla="*/ 2866922 h 3679722"/>
                <a:gd name="connsiteX48" fmla="*/ 308864 w 2080961"/>
                <a:gd name="connsiteY48" fmla="*/ 3179850 h 3679722"/>
                <a:gd name="connsiteX49" fmla="*/ 65024 w 2080961"/>
                <a:gd name="connsiteY49" fmla="*/ 3565930 h 3679722"/>
                <a:gd name="connsiteX50" fmla="*/ 0 w 2080961"/>
                <a:gd name="connsiteY50" fmla="*/ 3679722 h 3679722"/>
                <a:gd name="connsiteX0" fmla="*/ 666496 w 2080961"/>
                <a:gd name="connsiteY0" fmla="*/ 509802 h 3679722"/>
                <a:gd name="connsiteX1" fmla="*/ 743712 w 2080961"/>
                <a:gd name="connsiteY1" fmla="*/ 647978 h 3679722"/>
                <a:gd name="connsiteX2" fmla="*/ 798926 w 2080961"/>
                <a:gd name="connsiteY2" fmla="*/ 755325 h 3679722"/>
                <a:gd name="connsiteX3" fmla="*/ 841248 w 2080961"/>
                <a:gd name="connsiteY3" fmla="*/ 855242 h 3679722"/>
                <a:gd name="connsiteX4" fmla="*/ 853440 w 2080961"/>
                <a:gd name="connsiteY4" fmla="*/ 969034 h 3679722"/>
                <a:gd name="connsiteX5" fmla="*/ 826390 w 2080961"/>
                <a:gd name="connsiteY5" fmla="*/ 1039519 h 3679722"/>
                <a:gd name="connsiteX6" fmla="*/ 776636 w 2080961"/>
                <a:gd name="connsiteY6" fmla="*/ 1081144 h 3679722"/>
                <a:gd name="connsiteX7" fmla="*/ 715264 w 2080961"/>
                <a:gd name="connsiteY7" fmla="*/ 1103146 h 3679722"/>
                <a:gd name="connsiteX8" fmla="*/ 646176 w 2080961"/>
                <a:gd name="connsiteY8" fmla="*/ 1099082 h 3679722"/>
                <a:gd name="connsiteX9" fmla="*/ 593344 w 2080961"/>
                <a:gd name="connsiteY9" fmla="*/ 1074698 h 3679722"/>
                <a:gd name="connsiteX10" fmla="*/ 540512 w 2080961"/>
                <a:gd name="connsiteY10" fmla="*/ 1009674 h 3679722"/>
                <a:gd name="connsiteX11" fmla="*/ 524256 w 2080961"/>
                <a:gd name="connsiteY11" fmla="*/ 948714 h 3679722"/>
                <a:gd name="connsiteX12" fmla="*/ 528320 w 2080961"/>
                <a:gd name="connsiteY12" fmla="*/ 863370 h 3679722"/>
                <a:gd name="connsiteX13" fmla="*/ 556768 w 2080961"/>
                <a:gd name="connsiteY13" fmla="*/ 782090 h 3679722"/>
                <a:gd name="connsiteX14" fmla="*/ 593344 w 2080961"/>
                <a:gd name="connsiteY14" fmla="*/ 729258 h 3679722"/>
                <a:gd name="connsiteX15" fmla="*/ 650240 w 2080961"/>
                <a:gd name="connsiteY15" fmla="*/ 664234 h 3679722"/>
                <a:gd name="connsiteX16" fmla="*/ 703072 w 2080961"/>
                <a:gd name="connsiteY16" fmla="*/ 599210 h 3679722"/>
                <a:gd name="connsiteX17" fmla="*/ 784352 w 2080961"/>
                <a:gd name="connsiteY17" fmla="*/ 521994 h 3679722"/>
                <a:gd name="connsiteX18" fmla="*/ 885952 w 2080961"/>
                <a:gd name="connsiteY18" fmla="*/ 436650 h 3679722"/>
                <a:gd name="connsiteX19" fmla="*/ 999744 w 2080961"/>
                <a:gd name="connsiteY19" fmla="*/ 351306 h 3679722"/>
                <a:gd name="connsiteX20" fmla="*/ 1129792 w 2080961"/>
                <a:gd name="connsiteY20" fmla="*/ 267359 h 3679722"/>
                <a:gd name="connsiteX21" fmla="*/ 1300480 w 2080961"/>
                <a:gd name="connsiteY21" fmla="*/ 156234 h 3679722"/>
                <a:gd name="connsiteX22" fmla="*/ 1442720 w 2080961"/>
                <a:gd name="connsiteY22" fmla="*/ 87146 h 3679722"/>
                <a:gd name="connsiteX23" fmla="*/ 1551750 w 2080961"/>
                <a:gd name="connsiteY23" fmla="*/ 36981 h 3679722"/>
                <a:gd name="connsiteX24" fmla="*/ 1643539 w 2080961"/>
                <a:gd name="connsiteY24" fmla="*/ 14978 h 3679722"/>
                <a:gd name="connsiteX25" fmla="*/ 1717390 w 2080961"/>
                <a:gd name="connsiteY25" fmla="*/ 5167 h 3679722"/>
                <a:gd name="connsiteX26" fmla="*/ 1786192 w 2080961"/>
                <a:gd name="connsiteY26" fmla="*/ 119 h 3679722"/>
                <a:gd name="connsiteX27" fmla="*/ 1845056 w 2080961"/>
                <a:gd name="connsiteY27" fmla="*/ 9930 h 3679722"/>
                <a:gd name="connsiteX28" fmla="*/ 1920304 w 2080961"/>
                <a:gd name="connsiteY28" fmla="*/ 40060 h 3679722"/>
                <a:gd name="connsiteX29" fmla="*/ 1983232 w 2080961"/>
                <a:gd name="connsiteY29" fmla="*/ 95274 h 3679722"/>
                <a:gd name="connsiteX30" fmla="*/ 2015744 w 2080961"/>
                <a:gd name="connsiteY30" fmla="*/ 148106 h 3679722"/>
                <a:gd name="connsiteX31" fmla="*/ 2048256 w 2080961"/>
                <a:gd name="connsiteY31" fmla="*/ 213130 h 3679722"/>
                <a:gd name="connsiteX32" fmla="*/ 2064512 w 2080961"/>
                <a:gd name="connsiteY32" fmla="*/ 278154 h 3679722"/>
                <a:gd name="connsiteX33" fmla="*/ 2080768 w 2080961"/>
                <a:gd name="connsiteY33" fmla="*/ 351306 h 3679722"/>
                <a:gd name="connsiteX34" fmla="*/ 2072640 w 2080961"/>
                <a:gd name="connsiteY34" fmla="*/ 424458 h 3679722"/>
                <a:gd name="connsiteX35" fmla="*/ 2060448 w 2080961"/>
                <a:gd name="connsiteY35" fmla="*/ 501674 h 3679722"/>
                <a:gd name="connsiteX36" fmla="*/ 2027936 w 2080961"/>
                <a:gd name="connsiteY36" fmla="*/ 611402 h 3679722"/>
                <a:gd name="connsiteX37" fmla="*/ 1975104 w 2080961"/>
                <a:gd name="connsiteY37" fmla="*/ 753642 h 3679722"/>
                <a:gd name="connsiteX38" fmla="*/ 1918208 w 2080961"/>
                <a:gd name="connsiteY38" fmla="*/ 879626 h 3679722"/>
                <a:gd name="connsiteX39" fmla="*/ 1845056 w 2080961"/>
                <a:gd name="connsiteY39" fmla="*/ 1034058 h 3679722"/>
                <a:gd name="connsiteX40" fmla="*/ 1763776 w 2080961"/>
                <a:gd name="connsiteY40" fmla="*/ 1176298 h 3679722"/>
                <a:gd name="connsiteX41" fmla="*/ 1666240 w 2080961"/>
                <a:gd name="connsiteY41" fmla="*/ 1355114 h 3679722"/>
                <a:gd name="connsiteX42" fmla="*/ 1552448 w 2080961"/>
                <a:gd name="connsiteY42" fmla="*/ 1517674 h 3679722"/>
                <a:gd name="connsiteX43" fmla="*/ 1381760 w 2080961"/>
                <a:gd name="connsiteY43" fmla="*/ 1781834 h 3679722"/>
                <a:gd name="connsiteX44" fmla="*/ 1247648 w 2080961"/>
                <a:gd name="connsiteY44" fmla="*/ 1960650 h 3679722"/>
                <a:gd name="connsiteX45" fmla="*/ 1060704 w 2080961"/>
                <a:gd name="connsiteY45" fmla="*/ 2200426 h 3679722"/>
                <a:gd name="connsiteX46" fmla="*/ 898144 w 2080961"/>
                <a:gd name="connsiteY46" fmla="*/ 2411754 h 3679722"/>
                <a:gd name="connsiteX47" fmla="*/ 548640 w 2080961"/>
                <a:gd name="connsiteY47" fmla="*/ 2866922 h 3679722"/>
                <a:gd name="connsiteX48" fmla="*/ 308864 w 2080961"/>
                <a:gd name="connsiteY48" fmla="*/ 3179850 h 3679722"/>
                <a:gd name="connsiteX49" fmla="*/ 65024 w 2080961"/>
                <a:gd name="connsiteY49" fmla="*/ 3565930 h 3679722"/>
                <a:gd name="connsiteX50" fmla="*/ 0 w 2080961"/>
                <a:gd name="connsiteY50" fmla="*/ 3679722 h 3679722"/>
                <a:gd name="connsiteX0" fmla="*/ 666496 w 2080772"/>
                <a:gd name="connsiteY0" fmla="*/ 509802 h 3679722"/>
                <a:gd name="connsiteX1" fmla="*/ 743712 w 2080772"/>
                <a:gd name="connsiteY1" fmla="*/ 647978 h 3679722"/>
                <a:gd name="connsiteX2" fmla="*/ 798926 w 2080772"/>
                <a:gd name="connsiteY2" fmla="*/ 755325 h 3679722"/>
                <a:gd name="connsiteX3" fmla="*/ 841248 w 2080772"/>
                <a:gd name="connsiteY3" fmla="*/ 855242 h 3679722"/>
                <a:gd name="connsiteX4" fmla="*/ 853440 w 2080772"/>
                <a:gd name="connsiteY4" fmla="*/ 969034 h 3679722"/>
                <a:gd name="connsiteX5" fmla="*/ 826390 w 2080772"/>
                <a:gd name="connsiteY5" fmla="*/ 1039519 h 3679722"/>
                <a:gd name="connsiteX6" fmla="*/ 776636 w 2080772"/>
                <a:gd name="connsiteY6" fmla="*/ 1081144 h 3679722"/>
                <a:gd name="connsiteX7" fmla="*/ 715264 w 2080772"/>
                <a:gd name="connsiteY7" fmla="*/ 1103146 h 3679722"/>
                <a:gd name="connsiteX8" fmla="*/ 646176 w 2080772"/>
                <a:gd name="connsiteY8" fmla="*/ 1099082 h 3679722"/>
                <a:gd name="connsiteX9" fmla="*/ 593344 w 2080772"/>
                <a:gd name="connsiteY9" fmla="*/ 1074698 h 3679722"/>
                <a:gd name="connsiteX10" fmla="*/ 540512 w 2080772"/>
                <a:gd name="connsiteY10" fmla="*/ 1009674 h 3679722"/>
                <a:gd name="connsiteX11" fmla="*/ 524256 w 2080772"/>
                <a:gd name="connsiteY11" fmla="*/ 948714 h 3679722"/>
                <a:gd name="connsiteX12" fmla="*/ 528320 w 2080772"/>
                <a:gd name="connsiteY12" fmla="*/ 863370 h 3679722"/>
                <a:gd name="connsiteX13" fmla="*/ 556768 w 2080772"/>
                <a:gd name="connsiteY13" fmla="*/ 782090 h 3679722"/>
                <a:gd name="connsiteX14" fmla="*/ 593344 w 2080772"/>
                <a:gd name="connsiteY14" fmla="*/ 729258 h 3679722"/>
                <a:gd name="connsiteX15" fmla="*/ 650240 w 2080772"/>
                <a:gd name="connsiteY15" fmla="*/ 664234 h 3679722"/>
                <a:gd name="connsiteX16" fmla="*/ 703072 w 2080772"/>
                <a:gd name="connsiteY16" fmla="*/ 599210 h 3679722"/>
                <a:gd name="connsiteX17" fmla="*/ 784352 w 2080772"/>
                <a:gd name="connsiteY17" fmla="*/ 521994 h 3679722"/>
                <a:gd name="connsiteX18" fmla="*/ 885952 w 2080772"/>
                <a:gd name="connsiteY18" fmla="*/ 436650 h 3679722"/>
                <a:gd name="connsiteX19" fmla="*/ 999744 w 2080772"/>
                <a:gd name="connsiteY19" fmla="*/ 351306 h 3679722"/>
                <a:gd name="connsiteX20" fmla="*/ 1129792 w 2080772"/>
                <a:gd name="connsiteY20" fmla="*/ 267359 h 3679722"/>
                <a:gd name="connsiteX21" fmla="*/ 1300480 w 2080772"/>
                <a:gd name="connsiteY21" fmla="*/ 156234 h 3679722"/>
                <a:gd name="connsiteX22" fmla="*/ 1442720 w 2080772"/>
                <a:gd name="connsiteY22" fmla="*/ 87146 h 3679722"/>
                <a:gd name="connsiteX23" fmla="*/ 1551750 w 2080772"/>
                <a:gd name="connsiteY23" fmla="*/ 36981 h 3679722"/>
                <a:gd name="connsiteX24" fmla="*/ 1643539 w 2080772"/>
                <a:gd name="connsiteY24" fmla="*/ 14978 h 3679722"/>
                <a:gd name="connsiteX25" fmla="*/ 1717390 w 2080772"/>
                <a:gd name="connsiteY25" fmla="*/ 5167 h 3679722"/>
                <a:gd name="connsiteX26" fmla="*/ 1786192 w 2080772"/>
                <a:gd name="connsiteY26" fmla="*/ 119 h 3679722"/>
                <a:gd name="connsiteX27" fmla="*/ 1845056 w 2080772"/>
                <a:gd name="connsiteY27" fmla="*/ 9930 h 3679722"/>
                <a:gd name="connsiteX28" fmla="*/ 1920304 w 2080772"/>
                <a:gd name="connsiteY28" fmla="*/ 40060 h 3679722"/>
                <a:gd name="connsiteX29" fmla="*/ 1983232 w 2080772"/>
                <a:gd name="connsiteY29" fmla="*/ 95274 h 3679722"/>
                <a:gd name="connsiteX30" fmla="*/ 2015744 w 2080772"/>
                <a:gd name="connsiteY30" fmla="*/ 148106 h 3679722"/>
                <a:gd name="connsiteX31" fmla="*/ 2048256 w 2080772"/>
                <a:gd name="connsiteY31" fmla="*/ 213130 h 3679722"/>
                <a:gd name="connsiteX32" fmla="*/ 2071656 w 2080772"/>
                <a:gd name="connsiteY32" fmla="*/ 275773 h 3679722"/>
                <a:gd name="connsiteX33" fmla="*/ 2080768 w 2080772"/>
                <a:gd name="connsiteY33" fmla="*/ 351306 h 3679722"/>
                <a:gd name="connsiteX34" fmla="*/ 2072640 w 2080772"/>
                <a:gd name="connsiteY34" fmla="*/ 424458 h 3679722"/>
                <a:gd name="connsiteX35" fmla="*/ 2060448 w 2080772"/>
                <a:gd name="connsiteY35" fmla="*/ 501674 h 3679722"/>
                <a:gd name="connsiteX36" fmla="*/ 2027936 w 2080772"/>
                <a:gd name="connsiteY36" fmla="*/ 611402 h 3679722"/>
                <a:gd name="connsiteX37" fmla="*/ 1975104 w 2080772"/>
                <a:gd name="connsiteY37" fmla="*/ 753642 h 3679722"/>
                <a:gd name="connsiteX38" fmla="*/ 1918208 w 2080772"/>
                <a:gd name="connsiteY38" fmla="*/ 879626 h 3679722"/>
                <a:gd name="connsiteX39" fmla="*/ 1845056 w 2080772"/>
                <a:gd name="connsiteY39" fmla="*/ 1034058 h 3679722"/>
                <a:gd name="connsiteX40" fmla="*/ 1763776 w 2080772"/>
                <a:gd name="connsiteY40" fmla="*/ 1176298 h 3679722"/>
                <a:gd name="connsiteX41" fmla="*/ 1666240 w 2080772"/>
                <a:gd name="connsiteY41" fmla="*/ 1355114 h 3679722"/>
                <a:gd name="connsiteX42" fmla="*/ 1552448 w 2080772"/>
                <a:gd name="connsiteY42" fmla="*/ 1517674 h 3679722"/>
                <a:gd name="connsiteX43" fmla="*/ 1381760 w 2080772"/>
                <a:gd name="connsiteY43" fmla="*/ 1781834 h 3679722"/>
                <a:gd name="connsiteX44" fmla="*/ 1247648 w 2080772"/>
                <a:gd name="connsiteY44" fmla="*/ 1960650 h 3679722"/>
                <a:gd name="connsiteX45" fmla="*/ 1060704 w 2080772"/>
                <a:gd name="connsiteY45" fmla="*/ 2200426 h 3679722"/>
                <a:gd name="connsiteX46" fmla="*/ 898144 w 2080772"/>
                <a:gd name="connsiteY46" fmla="*/ 2411754 h 3679722"/>
                <a:gd name="connsiteX47" fmla="*/ 548640 w 2080772"/>
                <a:gd name="connsiteY47" fmla="*/ 2866922 h 3679722"/>
                <a:gd name="connsiteX48" fmla="*/ 308864 w 2080772"/>
                <a:gd name="connsiteY48" fmla="*/ 3179850 h 3679722"/>
                <a:gd name="connsiteX49" fmla="*/ 65024 w 2080772"/>
                <a:gd name="connsiteY49" fmla="*/ 3565930 h 3679722"/>
                <a:gd name="connsiteX50" fmla="*/ 0 w 2080772"/>
                <a:gd name="connsiteY50" fmla="*/ 3679722 h 3679722"/>
                <a:gd name="connsiteX0" fmla="*/ 666496 w 2080772"/>
                <a:gd name="connsiteY0" fmla="*/ 509783 h 3679703"/>
                <a:gd name="connsiteX1" fmla="*/ 743712 w 2080772"/>
                <a:gd name="connsiteY1" fmla="*/ 647959 h 3679703"/>
                <a:gd name="connsiteX2" fmla="*/ 798926 w 2080772"/>
                <a:gd name="connsiteY2" fmla="*/ 755306 h 3679703"/>
                <a:gd name="connsiteX3" fmla="*/ 841248 w 2080772"/>
                <a:gd name="connsiteY3" fmla="*/ 855223 h 3679703"/>
                <a:gd name="connsiteX4" fmla="*/ 853440 w 2080772"/>
                <a:gd name="connsiteY4" fmla="*/ 969015 h 3679703"/>
                <a:gd name="connsiteX5" fmla="*/ 826390 w 2080772"/>
                <a:gd name="connsiteY5" fmla="*/ 1039500 h 3679703"/>
                <a:gd name="connsiteX6" fmla="*/ 776636 w 2080772"/>
                <a:gd name="connsiteY6" fmla="*/ 1081125 h 3679703"/>
                <a:gd name="connsiteX7" fmla="*/ 715264 w 2080772"/>
                <a:gd name="connsiteY7" fmla="*/ 1103127 h 3679703"/>
                <a:gd name="connsiteX8" fmla="*/ 646176 w 2080772"/>
                <a:gd name="connsiteY8" fmla="*/ 1099063 h 3679703"/>
                <a:gd name="connsiteX9" fmla="*/ 593344 w 2080772"/>
                <a:gd name="connsiteY9" fmla="*/ 1074679 h 3679703"/>
                <a:gd name="connsiteX10" fmla="*/ 540512 w 2080772"/>
                <a:gd name="connsiteY10" fmla="*/ 1009655 h 3679703"/>
                <a:gd name="connsiteX11" fmla="*/ 524256 w 2080772"/>
                <a:gd name="connsiteY11" fmla="*/ 948695 h 3679703"/>
                <a:gd name="connsiteX12" fmla="*/ 528320 w 2080772"/>
                <a:gd name="connsiteY12" fmla="*/ 863351 h 3679703"/>
                <a:gd name="connsiteX13" fmla="*/ 556768 w 2080772"/>
                <a:gd name="connsiteY13" fmla="*/ 782071 h 3679703"/>
                <a:gd name="connsiteX14" fmla="*/ 593344 w 2080772"/>
                <a:gd name="connsiteY14" fmla="*/ 729239 h 3679703"/>
                <a:gd name="connsiteX15" fmla="*/ 650240 w 2080772"/>
                <a:gd name="connsiteY15" fmla="*/ 664215 h 3679703"/>
                <a:gd name="connsiteX16" fmla="*/ 703072 w 2080772"/>
                <a:gd name="connsiteY16" fmla="*/ 599191 h 3679703"/>
                <a:gd name="connsiteX17" fmla="*/ 784352 w 2080772"/>
                <a:gd name="connsiteY17" fmla="*/ 521975 h 3679703"/>
                <a:gd name="connsiteX18" fmla="*/ 885952 w 2080772"/>
                <a:gd name="connsiteY18" fmla="*/ 436631 h 3679703"/>
                <a:gd name="connsiteX19" fmla="*/ 999744 w 2080772"/>
                <a:gd name="connsiteY19" fmla="*/ 351287 h 3679703"/>
                <a:gd name="connsiteX20" fmla="*/ 1129792 w 2080772"/>
                <a:gd name="connsiteY20" fmla="*/ 267340 h 3679703"/>
                <a:gd name="connsiteX21" fmla="*/ 1300480 w 2080772"/>
                <a:gd name="connsiteY21" fmla="*/ 156215 h 3679703"/>
                <a:gd name="connsiteX22" fmla="*/ 1442720 w 2080772"/>
                <a:gd name="connsiteY22" fmla="*/ 87127 h 3679703"/>
                <a:gd name="connsiteX23" fmla="*/ 1551750 w 2080772"/>
                <a:gd name="connsiteY23" fmla="*/ 36962 h 3679703"/>
                <a:gd name="connsiteX24" fmla="*/ 1643539 w 2080772"/>
                <a:gd name="connsiteY24" fmla="*/ 10197 h 3679703"/>
                <a:gd name="connsiteX25" fmla="*/ 1717390 w 2080772"/>
                <a:gd name="connsiteY25" fmla="*/ 5148 h 3679703"/>
                <a:gd name="connsiteX26" fmla="*/ 1786192 w 2080772"/>
                <a:gd name="connsiteY26" fmla="*/ 100 h 3679703"/>
                <a:gd name="connsiteX27" fmla="*/ 1845056 w 2080772"/>
                <a:gd name="connsiteY27" fmla="*/ 9911 h 3679703"/>
                <a:gd name="connsiteX28" fmla="*/ 1920304 w 2080772"/>
                <a:gd name="connsiteY28" fmla="*/ 40041 h 3679703"/>
                <a:gd name="connsiteX29" fmla="*/ 1983232 w 2080772"/>
                <a:gd name="connsiteY29" fmla="*/ 95255 h 3679703"/>
                <a:gd name="connsiteX30" fmla="*/ 2015744 w 2080772"/>
                <a:gd name="connsiteY30" fmla="*/ 148087 h 3679703"/>
                <a:gd name="connsiteX31" fmla="*/ 2048256 w 2080772"/>
                <a:gd name="connsiteY31" fmla="*/ 213111 h 3679703"/>
                <a:gd name="connsiteX32" fmla="*/ 2071656 w 2080772"/>
                <a:gd name="connsiteY32" fmla="*/ 275754 h 3679703"/>
                <a:gd name="connsiteX33" fmla="*/ 2080768 w 2080772"/>
                <a:gd name="connsiteY33" fmla="*/ 351287 h 3679703"/>
                <a:gd name="connsiteX34" fmla="*/ 2072640 w 2080772"/>
                <a:gd name="connsiteY34" fmla="*/ 424439 h 3679703"/>
                <a:gd name="connsiteX35" fmla="*/ 2060448 w 2080772"/>
                <a:gd name="connsiteY35" fmla="*/ 501655 h 3679703"/>
                <a:gd name="connsiteX36" fmla="*/ 2027936 w 2080772"/>
                <a:gd name="connsiteY36" fmla="*/ 611383 h 3679703"/>
                <a:gd name="connsiteX37" fmla="*/ 1975104 w 2080772"/>
                <a:gd name="connsiteY37" fmla="*/ 753623 h 3679703"/>
                <a:gd name="connsiteX38" fmla="*/ 1918208 w 2080772"/>
                <a:gd name="connsiteY38" fmla="*/ 879607 h 3679703"/>
                <a:gd name="connsiteX39" fmla="*/ 1845056 w 2080772"/>
                <a:gd name="connsiteY39" fmla="*/ 1034039 h 3679703"/>
                <a:gd name="connsiteX40" fmla="*/ 1763776 w 2080772"/>
                <a:gd name="connsiteY40" fmla="*/ 1176279 h 3679703"/>
                <a:gd name="connsiteX41" fmla="*/ 1666240 w 2080772"/>
                <a:gd name="connsiteY41" fmla="*/ 1355095 h 3679703"/>
                <a:gd name="connsiteX42" fmla="*/ 1552448 w 2080772"/>
                <a:gd name="connsiteY42" fmla="*/ 1517655 h 3679703"/>
                <a:gd name="connsiteX43" fmla="*/ 1381760 w 2080772"/>
                <a:gd name="connsiteY43" fmla="*/ 1781815 h 3679703"/>
                <a:gd name="connsiteX44" fmla="*/ 1247648 w 2080772"/>
                <a:gd name="connsiteY44" fmla="*/ 1960631 h 3679703"/>
                <a:gd name="connsiteX45" fmla="*/ 1060704 w 2080772"/>
                <a:gd name="connsiteY45" fmla="*/ 2200407 h 3679703"/>
                <a:gd name="connsiteX46" fmla="*/ 898144 w 2080772"/>
                <a:gd name="connsiteY46" fmla="*/ 2411735 h 3679703"/>
                <a:gd name="connsiteX47" fmla="*/ 548640 w 2080772"/>
                <a:gd name="connsiteY47" fmla="*/ 2866903 h 3679703"/>
                <a:gd name="connsiteX48" fmla="*/ 308864 w 2080772"/>
                <a:gd name="connsiteY48" fmla="*/ 3179831 h 3679703"/>
                <a:gd name="connsiteX49" fmla="*/ 65024 w 2080772"/>
                <a:gd name="connsiteY49" fmla="*/ 3565911 h 3679703"/>
                <a:gd name="connsiteX50" fmla="*/ 0 w 2080772"/>
                <a:gd name="connsiteY50" fmla="*/ 3679703 h 367970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15744 w 2080772"/>
                <a:gd name="connsiteY30" fmla="*/ 149077 h 3680693"/>
                <a:gd name="connsiteX31" fmla="*/ 2048256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6240 w 2080772"/>
                <a:gd name="connsiteY41" fmla="*/ 1356085 h 3680693"/>
                <a:gd name="connsiteX42" fmla="*/ 1552448 w 2080772"/>
                <a:gd name="connsiteY42" fmla="*/ 1518645 h 3680693"/>
                <a:gd name="connsiteX43" fmla="*/ 1381760 w 2080772"/>
                <a:gd name="connsiteY43" fmla="*/ 1782805 h 3680693"/>
                <a:gd name="connsiteX44" fmla="*/ 1247648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08864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15744 w 2080772"/>
                <a:gd name="connsiteY30" fmla="*/ 149077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6240 w 2080772"/>
                <a:gd name="connsiteY41" fmla="*/ 1356085 h 3680693"/>
                <a:gd name="connsiteX42" fmla="*/ 1552448 w 2080772"/>
                <a:gd name="connsiteY42" fmla="*/ 1518645 h 3680693"/>
                <a:gd name="connsiteX43" fmla="*/ 1381760 w 2080772"/>
                <a:gd name="connsiteY43" fmla="*/ 1782805 h 3680693"/>
                <a:gd name="connsiteX44" fmla="*/ 1247648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08864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20507 w 2080772"/>
                <a:gd name="connsiteY30" fmla="*/ 144314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6240 w 2080772"/>
                <a:gd name="connsiteY41" fmla="*/ 1356085 h 3680693"/>
                <a:gd name="connsiteX42" fmla="*/ 1552448 w 2080772"/>
                <a:gd name="connsiteY42" fmla="*/ 1518645 h 3680693"/>
                <a:gd name="connsiteX43" fmla="*/ 1381760 w 2080772"/>
                <a:gd name="connsiteY43" fmla="*/ 1782805 h 3680693"/>
                <a:gd name="connsiteX44" fmla="*/ 1247648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08864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20507 w 2080772"/>
                <a:gd name="connsiteY30" fmla="*/ 144314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1477 w 2080772"/>
                <a:gd name="connsiteY41" fmla="*/ 1353703 h 3680693"/>
                <a:gd name="connsiteX42" fmla="*/ 1552448 w 2080772"/>
                <a:gd name="connsiteY42" fmla="*/ 1518645 h 3680693"/>
                <a:gd name="connsiteX43" fmla="*/ 1381760 w 2080772"/>
                <a:gd name="connsiteY43" fmla="*/ 1782805 h 3680693"/>
                <a:gd name="connsiteX44" fmla="*/ 1247648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08864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20507 w 2080772"/>
                <a:gd name="connsiteY30" fmla="*/ 144314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1477 w 2080772"/>
                <a:gd name="connsiteY41" fmla="*/ 1353703 h 3680693"/>
                <a:gd name="connsiteX42" fmla="*/ 1552448 w 2080772"/>
                <a:gd name="connsiteY42" fmla="*/ 1518645 h 3680693"/>
                <a:gd name="connsiteX43" fmla="*/ 1372235 w 2080772"/>
                <a:gd name="connsiteY43" fmla="*/ 1782805 h 3680693"/>
                <a:gd name="connsiteX44" fmla="*/ 1247648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08864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20507 w 2080772"/>
                <a:gd name="connsiteY30" fmla="*/ 144314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1477 w 2080772"/>
                <a:gd name="connsiteY41" fmla="*/ 1353703 h 3680693"/>
                <a:gd name="connsiteX42" fmla="*/ 1552448 w 2080772"/>
                <a:gd name="connsiteY42" fmla="*/ 1518645 h 3680693"/>
                <a:gd name="connsiteX43" fmla="*/ 1372235 w 2080772"/>
                <a:gd name="connsiteY43" fmla="*/ 1782805 h 3680693"/>
                <a:gd name="connsiteX44" fmla="*/ 1247648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16008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20507 w 2080772"/>
                <a:gd name="connsiteY30" fmla="*/ 144314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0597 h 3680693"/>
                <a:gd name="connsiteX39" fmla="*/ 1845056 w 2080772"/>
                <a:gd name="connsiteY39" fmla="*/ 1035029 h 3680693"/>
                <a:gd name="connsiteX40" fmla="*/ 1763776 w 2080772"/>
                <a:gd name="connsiteY40" fmla="*/ 1177269 h 3680693"/>
                <a:gd name="connsiteX41" fmla="*/ 1661477 w 2080772"/>
                <a:gd name="connsiteY41" fmla="*/ 1353703 h 3680693"/>
                <a:gd name="connsiteX42" fmla="*/ 1552448 w 2080772"/>
                <a:gd name="connsiteY42" fmla="*/ 1518645 h 3680693"/>
                <a:gd name="connsiteX43" fmla="*/ 1372235 w 2080772"/>
                <a:gd name="connsiteY43" fmla="*/ 1782805 h 3680693"/>
                <a:gd name="connsiteX44" fmla="*/ 1242885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16008 w 2080772"/>
                <a:gd name="connsiteY48" fmla="*/ 3180821 h 3680693"/>
                <a:gd name="connsiteX49" fmla="*/ 65024 w 2080772"/>
                <a:gd name="connsiteY49" fmla="*/ 3566901 h 3680693"/>
                <a:gd name="connsiteX50" fmla="*/ 0 w 2080772"/>
                <a:gd name="connsiteY50" fmla="*/ 3680693 h 3680693"/>
                <a:gd name="connsiteX0" fmla="*/ 666496 w 2080772"/>
                <a:gd name="connsiteY0" fmla="*/ 510773 h 3680693"/>
                <a:gd name="connsiteX1" fmla="*/ 743712 w 2080772"/>
                <a:gd name="connsiteY1" fmla="*/ 648949 h 3680693"/>
                <a:gd name="connsiteX2" fmla="*/ 798926 w 2080772"/>
                <a:gd name="connsiteY2" fmla="*/ 756296 h 3680693"/>
                <a:gd name="connsiteX3" fmla="*/ 841248 w 2080772"/>
                <a:gd name="connsiteY3" fmla="*/ 856213 h 3680693"/>
                <a:gd name="connsiteX4" fmla="*/ 853440 w 2080772"/>
                <a:gd name="connsiteY4" fmla="*/ 970005 h 3680693"/>
                <a:gd name="connsiteX5" fmla="*/ 826390 w 2080772"/>
                <a:gd name="connsiteY5" fmla="*/ 1040490 h 3680693"/>
                <a:gd name="connsiteX6" fmla="*/ 776636 w 2080772"/>
                <a:gd name="connsiteY6" fmla="*/ 1082115 h 3680693"/>
                <a:gd name="connsiteX7" fmla="*/ 715264 w 2080772"/>
                <a:gd name="connsiteY7" fmla="*/ 1104117 h 3680693"/>
                <a:gd name="connsiteX8" fmla="*/ 646176 w 2080772"/>
                <a:gd name="connsiteY8" fmla="*/ 1100053 h 3680693"/>
                <a:gd name="connsiteX9" fmla="*/ 593344 w 2080772"/>
                <a:gd name="connsiteY9" fmla="*/ 1075669 h 3680693"/>
                <a:gd name="connsiteX10" fmla="*/ 540512 w 2080772"/>
                <a:gd name="connsiteY10" fmla="*/ 1010645 h 3680693"/>
                <a:gd name="connsiteX11" fmla="*/ 524256 w 2080772"/>
                <a:gd name="connsiteY11" fmla="*/ 949685 h 3680693"/>
                <a:gd name="connsiteX12" fmla="*/ 528320 w 2080772"/>
                <a:gd name="connsiteY12" fmla="*/ 864341 h 3680693"/>
                <a:gd name="connsiteX13" fmla="*/ 556768 w 2080772"/>
                <a:gd name="connsiteY13" fmla="*/ 783061 h 3680693"/>
                <a:gd name="connsiteX14" fmla="*/ 593344 w 2080772"/>
                <a:gd name="connsiteY14" fmla="*/ 730229 h 3680693"/>
                <a:gd name="connsiteX15" fmla="*/ 650240 w 2080772"/>
                <a:gd name="connsiteY15" fmla="*/ 665205 h 3680693"/>
                <a:gd name="connsiteX16" fmla="*/ 703072 w 2080772"/>
                <a:gd name="connsiteY16" fmla="*/ 600181 h 3680693"/>
                <a:gd name="connsiteX17" fmla="*/ 784352 w 2080772"/>
                <a:gd name="connsiteY17" fmla="*/ 522965 h 3680693"/>
                <a:gd name="connsiteX18" fmla="*/ 885952 w 2080772"/>
                <a:gd name="connsiteY18" fmla="*/ 437621 h 3680693"/>
                <a:gd name="connsiteX19" fmla="*/ 999744 w 2080772"/>
                <a:gd name="connsiteY19" fmla="*/ 352277 h 3680693"/>
                <a:gd name="connsiteX20" fmla="*/ 1129792 w 2080772"/>
                <a:gd name="connsiteY20" fmla="*/ 268330 h 3680693"/>
                <a:gd name="connsiteX21" fmla="*/ 1300480 w 2080772"/>
                <a:gd name="connsiteY21" fmla="*/ 157205 h 3680693"/>
                <a:gd name="connsiteX22" fmla="*/ 1442720 w 2080772"/>
                <a:gd name="connsiteY22" fmla="*/ 88117 h 3680693"/>
                <a:gd name="connsiteX23" fmla="*/ 1551750 w 2080772"/>
                <a:gd name="connsiteY23" fmla="*/ 37952 h 3680693"/>
                <a:gd name="connsiteX24" fmla="*/ 1643539 w 2080772"/>
                <a:gd name="connsiteY24" fmla="*/ 11187 h 3680693"/>
                <a:gd name="connsiteX25" fmla="*/ 1717390 w 2080772"/>
                <a:gd name="connsiteY25" fmla="*/ 1375 h 3680693"/>
                <a:gd name="connsiteX26" fmla="*/ 1786192 w 2080772"/>
                <a:gd name="connsiteY26" fmla="*/ 1090 h 3680693"/>
                <a:gd name="connsiteX27" fmla="*/ 1845056 w 2080772"/>
                <a:gd name="connsiteY27" fmla="*/ 10901 h 3680693"/>
                <a:gd name="connsiteX28" fmla="*/ 1920304 w 2080772"/>
                <a:gd name="connsiteY28" fmla="*/ 41031 h 3680693"/>
                <a:gd name="connsiteX29" fmla="*/ 1983232 w 2080772"/>
                <a:gd name="connsiteY29" fmla="*/ 96245 h 3680693"/>
                <a:gd name="connsiteX30" fmla="*/ 2020507 w 2080772"/>
                <a:gd name="connsiteY30" fmla="*/ 144314 h 3680693"/>
                <a:gd name="connsiteX31" fmla="*/ 2053018 w 2080772"/>
                <a:gd name="connsiteY31" fmla="*/ 214101 h 3680693"/>
                <a:gd name="connsiteX32" fmla="*/ 2071656 w 2080772"/>
                <a:gd name="connsiteY32" fmla="*/ 276744 h 3680693"/>
                <a:gd name="connsiteX33" fmla="*/ 2080768 w 2080772"/>
                <a:gd name="connsiteY33" fmla="*/ 352277 h 3680693"/>
                <a:gd name="connsiteX34" fmla="*/ 2072640 w 2080772"/>
                <a:gd name="connsiteY34" fmla="*/ 425429 h 3680693"/>
                <a:gd name="connsiteX35" fmla="*/ 2060448 w 2080772"/>
                <a:gd name="connsiteY35" fmla="*/ 502645 h 3680693"/>
                <a:gd name="connsiteX36" fmla="*/ 2027936 w 2080772"/>
                <a:gd name="connsiteY36" fmla="*/ 612373 h 3680693"/>
                <a:gd name="connsiteX37" fmla="*/ 1975104 w 2080772"/>
                <a:gd name="connsiteY37" fmla="*/ 754613 h 3680693"/>
                <a:gd name="connsiteX38" fmla="*/ 1918208 w 2080772"/>
                <a:gd name="connsiteY38" fmla="*/ 887740 h 3680693"/>
                <a:gd name="connsiteX39" fmla="*/ 1845056 w 2080772"/>
                <a:gd name="connsiteY39" fmla="*/ 1035029 h 3680693"/>
                <a:gd name="connsiteX40" fmla="*/ 1763776 w 2080772"/>
                <a:gd name="connsiteY40" fmla="*/ 1177269 h 3680693"/>
                <a:gd name="connsiteX41" fmla="*/ 1661477 w 2080772"/>
                <a:gd name="connsiteY41" fmla="*/ 1353703 h 3680693"/>
                <a:gd name="connsiteX42" fmla="*/ 1552448 w 2080772"/>
                <a:gd name="connsiteY42" fmla="*/ 1518645 h 3680693"/>
                <a:gd name="connsiteX43" fmla="*/ 1372235 w 2080772"/>
                <a:gd name="connsiteY43" fmla="*/ 1782805 h 3680693"/>
                <a:gd name="connsiteX44" fmla="*/ 1242885 w 2080772"/>
                <a:gd name="connsiteY44" fmla="*/ 1961621 h 3680693"/>
                <a:gd name="connsiteX45" fmla="*/ 1060704 w 2080772"/>
                <a:gd name="connsiteY45" fmla="*/ 2201397 h 3680693"/>
                <a:gd name="connsiteX46" fmla="*/ 898144 w 2080772"/>
                <a:gd name="connsiteY46" fmla="*/ 2412725 h 3680693"/>
                <a:gd name="connsiteX47" fmla="*/ 548640 w 2080772"/>
                <a:gd name="connsiteY47" fmla="*/ 2867893 h 3680693"/>
                <a:gd name="connsiteX48" fmla="*/ 316008 w 2080772"/>
                <a:gd name="connsiteY48" fmla="*/ 3180821 h 3680693"/>
                <a:gd name="connsiteX49" fmla="*/ 65024 w 2080772"/>
                <a:gd name="connsiteY49" fmla="*/ 3566901 h 3680693"/>
                <a:gd name="connsiteX50" fmla="*/ 0 w 2080772"/>
                <a:gd name="connsiteY50" fmla="*/ 3680693 h 3680693"/>
                <a:gd name="connsiteX0" fmla="*/ 666496 w 2080837"/>
                <a:gd name="connsiteY0" fmla="*/ 510773 h 3680693"/>
                <a:gd name="connsiteX1" fmla="*/ 743712 w 2080837"/>
                <a:gd name="connsiteY1" fmla="*/ 648949 h 3680693"/>
                <a:gd name="connsiteX2" fmla="*/ 798926 w 2080837"/>
                <a:gd name="connsiteY2" fmla="*/ 756296 h 3680693"/>
                <a:gd name="connsiteX3" fmla="*/ 841248 w 2080837"/>
                <a:gd name="connsiteY3" fmla="*/ 856213 h 3680693"/>
                <a:gd name="connsiteX4" fmla="*/ 853440 w 2080837"/>
                <a:gd name="connsiteY4" fmla="*/ 970005 h 3680693"/>
                <a:gd name="connsiteX5" fmla="*/ 826390 w 2080837"/>
                <a:gd name="connsiteY5" fmla="*/ 1040490 h 3680693"/>
                <a:gd name="connsiteX6" fmla="*/ 776636 w 2080837"/>
                <a:gd name="connsiteY6" fmla="*/ 1082115 h 3680693"/>
                <a:gd name="connsiteX7" fmla="*/ 715264 w 2080837"/>
                <a:gd name="connsiteY7" fmla="*/ 1104117 h 3680693"/>
                <a:gd name="connsiteX8" fmla="*/ 646176 w 2080837"/>
                <a:gd name="connsiteY8" fmla="*/ 1100053 h 3680693"/>
                <a:gd name="connsiteX9" fmla="*/ 593344 w 2080837"/>
                <a:gd name="connsiteY9" fmla="*/ 1075669 h 3680693"/>
                <a:gd name="connsiteX10" fmla="*/ 540512 w 2080837"/>
                <a:gd name="connsiteY10" fmla="*/ 1010645 h 3680693"/>
                <a:gd name="connsiteX11" fmla="*/ 524256 w 2080837"/>
                <a:gd name="connsiteY11" fmla="*/ 949685 h 3680693"/>
                <a:gd name="connsiteX12" fmla="*/ 528320 w 2080837"/>
                <a:gd name="connsiteY12" fmla="*/ 864341 h 3680693"/>
                <a:gd name="connsiteX13" fmla="*/ 556768 w 2080837"/>
                <a:gd name="connsiteY13" fmla="*/ 783061 h 3680693"/>
                <a:gd name="connsiteX14" fmla="*/ 593344 w 2080837"/>
                <a:gd name="connsiteY14" fmla="*/ 730229 h 3680693"/>
                <a:gd name="connsiteX15" fmla="*/ 650240 w 2080837"/>
                <a:gd name="connsiteY15" fmla="*/ 665205 h 3680693"/>
                <a:gd name="connsiteX16" fmla="*/ 703072 w 2080837"/>
                <a:gd name="connsiteY16" fmla="*/ 600181 h 3680693"/>
                <a:gd name="connsiteX17" fmla="*/ 784352 w 2080837"/>
                <a:gd name="connsiteY17" fmla="*/ 522965 h 3680693"/>
                <a:gd name="connsiteX18" fmla="*/ 885952 w 2080837"/>
                <a:gd name="connsiteY18" fmla="*/ 437621 h 3680693"/>
                <a:gd name="connsiteX19" fmla="*/ 999744 w 2080837"/>
                <a:gd name="connsiteY19" fmla="*/ 352277 h 3680693"/>
                <a:gd name="connsiteX20" fmla="*/ 1129792 w 2080837"/>
                <a:gd name="connsiteY20" fmla="*/ 268330 h 3680693"/>
                <a:gd name="connsiteX21" fmla="*/ 1300480 w 2080837"/>
                <a:gd name="connsiteY21" fmla="*/ 157205 h 3680693"/>
                <a:gd name="connsiteX22" fmla="*/ 1442720 w 2080837"/>
                <a:gd name="connsiteY22" fmla="*/ 88117 h 3680693"/>
                <a:gd name="connsiteX23" fmla="*/ 1551750 w 2080837"/>
                <a:gd name="connsiteY23" fmla="*/ 37952 h 3680693"/>
                <a:gd name="connsiteX24" fmla="*/ 1643539 w 2080837"/>
                <a:gd name="connsiteY24" fmla="*/ 11187 h 3680693"/>
                <a:gd name="connsiteX25" fmla="*/ 1717390 w 2080837"/>
                <a:gd name="connsiteY25" fmla="*/ 1375 h 3680693"/>
                <a:gd name="connsiteX26" fmla="*/ 1786192 w 2080837"/>
                <a:gd name="connsiteY26" fmla="*/ 1090 h 3680693"/>
                <a:gd name="connsiteX27" fmla="*/ 1845056 w 2080837"/>
                <a:gd name="connsiteY27" fmla="*/ 10901 h 3680693"/>
                <a:gd name="connsiteX28" fmla="*/ 1920304 w 2080837"/>
                <a:gd name="connsiteY28" fmla="*/ 41031 h 3680693"/>
                <a:gd name="connsiteX29" fmla="*/ 1983232 w 2080837"/>
                <a:gd name="connsiteY29" fmla="*/ 96245 h 3680693"/>
                <a:gd name="connsiteX30" fmla="*/ 2020507 w 2080837"/>
                <a:gd name="connsiteY30" fmla="*/ 144314 h 3680693"/>
                <a:gd name="connsiteX31" fmla="*/ 2053018 w 2080837"/>
                <a:gd name="connsiteY31" fmla="*/ 214101 h 3680693"/>
                <a:gd name="connsiteX32" fmla="*/ 2071656 w 2080837"/>
                <a:gd name="connsiteY32" fmla="*/ 276744 h 3680693"/>
                <a:gd name="connsiteX33" fmla="*/ 2080768 w 2080837"/>
                <a:gd name="connsiteY33" fmla="*/ 352277 h 3680693"/>
                <a:gd name="connsiteX34" fmla="*/ 2075021 w 2080837"/>
                <a:gd name="connsiteY34" fmla="*/ 430191 h 3680693"/>
                <a:gd name="connsiteX35" fmla="*/ 2060448 w 2080837"/>
                <a:gd name="connsiteY35" fmla="*/ 502645 h 3680693"/>
                <a:gd name="connsiteX36" fmla="*/ 2027936 w 2080837"/>
                <a:gd name="connsiteY36" fmla="*/ 612373 h 3680693"/>
                <a:gd name="connsiteX37" fmla="*/ 1975104 w 2080837"/>
                <a:gd name="connsiteY37" fmla="*/ 754613 h 3680693"/>
                <a:gd name="connsiteX38" fmla="*/ 1918208 w 2080837"/>
                <a:gd name="connsiteY38" fmla="*/ 887740 h 3680693"/>
                <a:gd name="connsiteX39" fmla="*/ 1845056 w 2080837"/>
                <a:gd name="connsiteY39" fmla="*/ 1035029 h 3680693"/>
                <a:gd name="connsiteX40" fmla="*/ 1763776 w 2080837"/>
                <a:gd name="connsiteY40" fmla="*/ 1177269 h 3680693"/>
                <a:gd name="connsiteX41" fmla="*/ 1661477 w 2080837"/>
                <a:gd name="connsiteY41" fmla="*/ 1353703 h 3680693"/>
                <a:gd name="connsiteX42" fmla="*/ 1552448 w 2080837"/>
                <a:gd name="connsiteY42" fmla="*/ 1518645 h 3680693"/>
                <a:gd name="connsiteX43" fmla="*/ 1372235 w 2080837"/>
                <a:gd name="connsiteY43" fmla="*/ 1782805 h 3680693"/>
                <a:gd name="connsiteX44" fmla="*/ 1242885 w 2080837"/>
                <a:gd name="connsiteY44" fmla="*/ 1961621 h 3680693"/>
                <a:gd name="connsiteX45" fmla="*/ 1060704 w 2080837"/>
                <a:gd name="connsiteY45" fmla="*/ 2201397 h 3680693"/>
                <a:gd name="connsiteX46" fmla="*/ 898144 w 2080837"/>
                <a:gd name="connsiteY46" fmla="*/ 2412725 h 3680693"/>
                <a:gd name="connsiteX47" fmla="*/ 548640 w 2080837"/>
                <a:gd name="connsiteY47" fmla="*/ 2867893 h 3680693"/>
                <a:gd name="connsiteX48" fmla="*/ 316008 w 2080837"/>
                <a:gd name="connsiteY48" fmla="*/ 3180821 h 3680693"/>
                <a:gd name="connsiteX49" fmla="*/ 65024 w 2080837"/>
                <a:gd name="connsiteY49" fmla="*/ 3566901 h 3680693"/>
                <a:gd name="connsiteX50" fmla="*/ 0 w 2080837"/>
                <a:gd name="connsiteY50" fmla="*/ 3680693 h 3680693"/>
                <a:gd name="connsiteX0" fmla="*/ 666496 w 2080837"/>
                <a:gd name="connsiteY0" fmla="*/ 510773 h 3680693"/>
                <a:gd name="connsiteX1" fmla="*/ 743712 w 2080837"/>
                <a:gd name="connsiteY1" fmla="*/ 648949 h 3680693"/>
                <a:gd name="connsiteX2" fmla="*/ 798926 w 2080837"/>
                <a:gd name="connsiteY2" fmla="*/ 756296 h 3680693"/>
                <a:gd name="connsiteX3" fmla="*/ 841248 w 2080837"/>
                <a:gd name="connsiteY3" fmla="*/ 856213 h 3680693"/>
                <a:gd name="connsiteX4" fmla="*/ 853440 w 2080837"/>
                <a:gd name="connsiteY4" fmla="*/ 970005 h 3680693"/>
                <a:gd name="connsiteX5" fmla="*/ 826390 w 2080837"/>
                <a:gd name="connsiteY5" fmla="*/ 1040490 h 3680693"/>
                <a:gd name="connsiteX6" fmla="*/ 776636 w 2080837"/>
                <a:gd name="connsiteY6" fmla="*/ 1082115 h 3680693"/>
                <a:gd name="connsiteX7" fmla="*/ 715264 w 2080837"/>
                <a:gd name="connsiteY7" fmla="*/ 1104117 h 3680693"/>
                <a:gd name="connsiteX8" fmla="*/ 646176 w 2080837"/>
                <a:gd name="connsiteY8" fmla="*/ 1100053 h 3680693"/>
                <a:gd name="connsiteX9" fmla="*/ 593344 w 2080837"/>
                <a:gd name="connsiteY9" fmla="*/ 1075669 h 3680693"/>
                <a:gd name="connsiteX10" fmla="*/ 540512 w 2080837"/>
                <a:gd name="connsiteY10" fmla="*/ 1010645 h 3680693"/>
                <a:gd name="connsiteX11" fmla="*/ 524256 w 2080837"/>
                <a:gd name="connsiteY11" fmla="*/ 949685 h 3680693"/>
                <a:gd name="connsiteX12" fmla="*/ 528320 w 2080837"/>
                <a:gd name="connsiteY12" fmla="*/ 864341 h 3680693"/>
                <a:gd name="connsiteX13" fmla="*/ 556768 w 2080837"/>
                <a:gd name="connsiteY13" fmla="*/ 783061 h 3680693"/>
                <a:gd name="connsiteX14" fmla="*/ 593344 w 2080837"/>
                <a:gd name="connsiteY14" fmla="*/ 730229 h 3680693"/>
                <a:gd name="connsiteX15" fmla="*/ 650240 w 2080837"/>
                <a:gd name="connsiteY15" fmla="*/ 665205 h 3680693"/>
                <a:gd name="connsiteX16" fmla="*/ 703072 w 2080837"/>
                <a:gd name="connsiteY16" fmla="*/ 600181 h 3680693"/>
                <a:gd name="connsiteX17" fmla="*/ 784352 w 2080837"/>
                <a:gd name="connsiteY17" fmla="*/ 522965 h 3680693"/>
                <a:gd name="connsiteX18" fmla="*/ 885952 w 2080837"/>
                <a:gd name="connsiteY18" fmla="*/ 437621 h 3680693"/>
                <a:gd name="connsiteX19" fmla="*/ 999744 w 2080837"/>
                <a:gd name="connsiteY19" fmla="*/ 352277 h 3680693"/>
                <a:gd name="connsiteX20" fmla="*/ 1129792 w 2080837"/>
                <a:gd name="connsiteY20" fmla="*/ 268330 h 3680693"/>
                <a:gd name="connsiteX21" fmla="*/ 1300480 w 2080837"/>
                <a:gd name="connsiteY21" fmla="*/ 157205 h 3680693"/>
                <a:gd name="connsiteX22" fmla="*/ 1440339 w 2080837"/>
                <a:gd name="connsiteY22" fmla="*/ 85736 h 3680693"/>
                <a:gd name="connsiteX23" fmla="*/ 1551750 w 2080837"/>
                <a:gd name="connsiteY23" fmla="*/ 37952 h 3680693"/>
                <a:gd name="connsiteX24" fmla="*/ 1643539 w 2080837"/>
                <a:gd name="connsiteY24" fmla="*/ 11187 h 3680693"/>
                <a:gd name="connsiteX25" fmla="*/ 1717390 w 2080837"/>
                <a:gd name="connsiteY25" fmla="*/ 1375 h 3680693"/>
                <a:gd name="connsiteX26" fmla="*/ 1786192 w 2080837"/>
                <a:gd name="connsiteY26" fmla="*/ 1090 h 3680693"/>
                <a:gd name="connsiteX27" fmla="*/ 1845056 w 2080837"/>
                <a:gd name="connsiteY27" fmla="*/ 10901 h 3680693"/>
                <a:gd name="connsiteX28" fmla="*/ 1920304 w 2080837"/>
                <a:gd name="connsiteY28" fmla="*/ 41031 h 3680693"/>
                <a:gd name="connsiteX29" fmla="*/ 1983232 w 2080837"/>
                <a:gd name="connsiteY29" fmla="*/ 96245 h 3680693"/>
                <a:gd name="connsiteX30" fmla="*/ 2020507 w 2080837"/>
                <a:gd name="connsiteY30" fmla="*/ 144314 h 3680693"/>
                <a:gd name="connsiteX31" fmla="*/ 2053018 w 2080837"/>
                <a:gd name="connsiteY31" fmla="*/ 214101 h 3680693"/>
                <a:gd name="connsiteX32" fmla="*/ 2071656 w 2080837"/>
                <a:gd name="connsiteY32" fmla="*/ 276744 h 3680693"/>
                <a:gd name="connsiteX33" fmla="*/ 2080768 w 2080837"/>
                <a:gd name="connsiteY33" fmla="*/ 352277 h 3680693"/>
                <a:gd name="connsiteX34" fmla="*/ 2075021 w 2080837"/>
                <a:gd name="connsiteY34" fmla="*/ 430191 h 3680693"/>
                <a:gd name="connsiteX35" fmla="*/ 2060448 w 2080837"/>
                <a:gd name="connsiteY35" fmla="*/ 502645 h 3680693"/>
                <a:gd name="connsiteX36" fmla="*/ 2027936 w 2080837"/>
                <a:gd name="connsiteY36" fmla="*/ 612373 h 3680693"/>
                <a:gd name="connsiteX37" fmla="*/ 1975104 w 2080837"/>
                <a:gd name="connsiteY37" fmla="*/ 754613 h 3680693"/>
                <a:gd name="connsiteX38" fmla="*/ 1918208 w 2080837"/>
                <a:gd name="connsiteY38" fmla="*/ 887740 h 3680693"/>
                <a:gd name="connsiteX39" fmla="*/ 1845056 w 2080837"/>
                <a:gd name="connsiteY39" fmla="*/ 1035029 h 3680693"/>
                <a:gd name="connsiteX40" fmla="*/ 1763776 w 2080837"/>
                <a:gd name="connsiteY40" fmla="*/ 1177269 h 3680693"/>
                <a:gd name="connsiteX41" fmla="*/ 1661477 w 2080837"/>
                <a:gd name="connsiteY41" fmla="*/ 1353703 h 3680693"/>
                <a:gd name="connsiteX42" fmla="*/ 1552448 w 2080837"/>
                <a:gd name="connsiteY42" fmla="*/ 1518645 h 3680693"/>
                <a:gd name="connsiteX43" fmla="*/ 1372235 w 2080837"/>
                <a:gd name="connsiteY43" fmla="*/ 1782805 h 3680693"/>
                <a:gd name="connsiteX44" fmla="*/ 1242885 w 2080837"/>
                <a:gd name="connsiteY44" fmla="*/ 1961621 h 3680693"/>
                <a:gd name="connsiteX45" fmla="*/ 1060704 w 2080837"/>
                <a:gd name="connsiteY45" fmla="*/ 2201397 h 3680693"/>
                <a:gd name="connsiteX46" fmla="*/ 898144 w 2080837"/>
                <a:gd name="connsiteY46" fmla="*/ 2412725 h 3680693"/>
                <a:gd name="connsiteX47" fmla="*/ 548640 w 2080837"/>
                <a:gd name="connsiteY47" fmla="*/ 2867893 h 3680693"/>
                <a:gd name="connsiteX48" fmla="*/ 316008 w 2080837"/>
                <a:gd name="connsiteY48" fmla="*/ 3180821 h 3680693"/>
                <a:gd name="connsiteX49" fmla="*/ 65024 w 2080837"/>
                <a:gd name="connsiteY49" fmla="*/ 3566901 h 3680693"/>
                <a:gd name="connsiteX50" fmla="*/ 0 w 2080837"/>
                <a:gd name="connsiteY50" fmla="*/ 3680693 h 3680693"/>
                <a:gd name="connsiteX0" fmla="*/ 666496 w 2080837"/>
                <a:gd name="connsiteY0" fmla="*/ 510773 h 3680693"/>
                <a:gd name="connsiteX1" fmla="*/ 743712 w 2080837"/>
                <a:gd name="connsiteY1" fmla="*/ 648949 h 3680693"/>
                <a:gd name="connsiteX2" fmla="*/ 798926 w 2080837"/>
                <a:gd name="connsiteY2" fmla="*/ 756296 h 3680693"/>
                <a:gd name="connsiteX3" fmla="*/ 841248 w 2080837"/>
                <a:gd name="connsiteY3" fmla="*/ 856213 h 3680693"/>
                <a:gd name="connsiteX4" fmla="*/ 853440 w 2080837"/>
                <a:gd name="connsiteY4" fmla="*/ 970005 h 3680693"/>
                <a:gd name="connsiteX5" fmla="*/ 826390 w 2080837"/>
                <a:gd name="connsiteY5" fmla="*/ 1040490 h 3680693"/>
                <a:gd name="connsiteX6" fmla="*/ 776636 w 2080837"/>
                <a:gd name="connsiteY6" fmla="*/ 1082115 h 3680693"/>
                <a:gd name="connsiteX7" fmla="*/ 715264 w 2080837"/>
                <a:gd name="connsiteY7" fmla="*/ 1104117 h 3680693"/>
                <a:gd name="connsiteX8" fmla="*/ 646176 w 2080837"/>
                <a:gd name="connsiteY8" fmla="*/ 1100053 h 3680693"/>
                <a:gd name="connsiteX9" fmla="*/ 593344 w 2080837"/>
                <a:gd name="connsiteY9" fmla="*/ 1075669 h 3680693"/>
                <a:gd name="connsiteX10" fmla="*/ 540512 w 2080837"/>
                <a:gd name="connsiteY10" fmla="*/ 1010645 h 3680693"/>
                <a:gd name="connsiteX11" fmla="*/ 524256 w 2080837"/>
                <a:gd name="connsiteY11" fmla="*/ 949685 h 3680693"/>
                <a:gd name="connsiteX12" fmla="*/ 528320 w 2080837"/>
                <a:gd name="connsiteY12" fmla="*/ 864341 h 3680693"/>
                <a:gd name="connsiteX13" fmla="*/ 556768 w 2080837"/>
                <a:gd name="connsiteY13" fmla="*/ 783061 h 3680693"/>
                <a:gd name="connsiteX14" fmla="*/ 593344 w 2080837"/>
                <a:gd name="connsiteY14" fmla="*/ 730229 h 3680693"/>
                <a:gd name="connsiteX15" fmla="*/ 650240 w 2080837"/>
                <a:gd name="connsiteY15" fmla="*/ 665205 h 3680693"/>
                <a:gd name="connsiteX16" fmla="*/ 703072 w 2080837"/>
                <a:gd name="connsiteY16" fmla="*/ 600181 h 3680693"/>
                <a:gd name="connsiteX17" fmla="*/ 784352 w 2080837"/>
                <a:gd name="connsiteY17" fmla="*/ 522965 h 3680693"/>
                <a:gd name="connsiteX18" fmla="*/ 885952 w 2080837"/>
                <a:gd name="connsiteY18" fmla="*/ 437621 h 3680693"/>
                <a:gd name="connsiteX19" fmla="*/ 999744 w 2080837"/>
                <a:gd name="connsiteY19" fmla="*/ 352277 h 3680693"/>
                <a:gd name="connsiteX20" fmla="*/ 1129792 w 2080837"/>
                <a:gd name="connsiteY20" fmla="*/ 268330 h 3680693"/>
                <a:gd name="connsiteX21" fmla="*/ 1300480 w 2080837"/>
                <a:gd name="connsiteY21" fmla="*/ 157205 h 3680693"/>
                <a:gd name="connsiteX22" fmla="*/ 1440339 w 2080837"/>
                <a:gd name="connsiteY22" fmla="*/ 85736 h 3680693"/>
                <a:gd name="connsiteX23" fmla="*/ 1551750 w 2080837"/>
                <a:gd name="connsiteY23" fmla="*/ 37952 h 3680693"/>
                <a:gd name="connsiteX24" fmla="*/ 1643539 w 2080837"/>
                <a:gd name="connsiteY24" fmla="*/ 11187 h 3680693"/>
                <a:gd name="connsiteX25" fmla="*/ 1717390 w 2080837"/>
                <a:gd name="connsiteY25" fmla="*/ 1375 h 3680693"/>
                <a:gd name="connsiteX26" fmla="*/ 1786192 w 2080837"/>
                <a:gd name="connsiteY26" fmla="*/ 1090 h 3680693"/>
                <a:gd name="connsiteX27" fmla="*/ 1845056 w 2080837"/>
                <a:gd name="connsiteY27" fmla="*/ 10901 h 3680693"/>
                <a:gd name="connsiteX28" fmla="*/ 1920304 w 2080837"/>
                <a:gd name="connsiteY28" fmla="*/ 41031 h 3680693"/>
                <a:gd name="connsiteX29" fmla="*/ 1983232 w 2080837"/>
                <a:gd name="connsiteY29" fmla="*/ 96245 h 3680693"/>
                <a:gd name="connsiteX30" fmla="*/ 2020507 w 2080837"/>
                <a:gd name="connsiteY30" fmla="*/ 144314 h 3680693"/>
                <a:gd name="connsiteX31" fmla="*/ 2053018 w 2080837"/>
                <a:gd name="connsiteY31" fmla="*/ 214101 h 3680693"/>
                <a:gd name="connsiteX32" fmla="*/ 2071656 w 2080837"/>
                <a:gd name="connsiteY32" fmla="*/ 276744 h 3680693"/>
                <a:gd name="connsiteX33" fmla="*/ 2080768 w 2080837"/>
                <a:gd name="connsiteY33" fmla="*/ 352277 h 3680693"/>
                <a:gd name="connsiteX34" fmla="*/ 2075021 w 2080837"/>
                <a:gd name="connsiteY34" fmla="*/ 430191 h 3680693"/>
                <a:gd name="connsiteX35" fmla="*/ 2060448 w 2080837"/>
                <a:gd name="connsiteY35" fmla="*/ 502645 h 3680693"/>
                <a:gd name="connsiteX36" fmla="*/ 2027936 w 2080837"/>
                <a:gd name="connsiteY36" fmla="*/ 612373 h 3680693"/>
                <a:gd name="connsiteX37" fmla="*/ 1975104 w 2080837"/>
                <a:gd name="connsiteY37" fmla="*/ 754613 h 3680693"/>
                <a:gd name="connsiteX38" fmla="*/ 1918208 w 2080837"/>
                <a:gd name="connsiteY38" fmla="*/ 887740 h 3680693"/>
                <a:gd name="connsiteX39" fmla="*/ 1845056 w 2080837"/>
                <a:gd name="connsiteY39" fmla="*/ 1035029 h 3680693"/>
                <a:gd name="connsiteX40" fmla="*/ 1763776 w 2080837"/>
                <a:gd name="connsiteY40" fmla="*/ 1177269 h 3680693"/>
                <a:gd name="connsiteX41" fmla="*/ 1661477 w 2080837"/>
                <a:gd name="connsiteY41" fmla="*/ 1353703 h 3680693"/>
                <a:gd name="connsiteX42" fmla="*/ 1552448 w 2080837"/>
                <a:gd name="connsiteY42" fmla="*/ 1518645 h 3680693"/>
                <a:gd name="connsiteX43" fmla="*/ 1372235 w 2080837"/>
                <a:gd name="connsiteY43" fmla="*/ 1782805 h 3680693"/>
                <a:gd name="connsiteX44" fmla="*/ 1242885 w 2080837"/>
                <a:gd name="connsiteY44" fmla="*/ 1961621 h 3680693"/>
                <a:gd name="connsiteX45" fmla="*/ 1060704 w 2080837"/>
                <a:gd name="connsiteY45" fmla="*/ 2201397 h 3680693"/>
                <a:gd name="connsiteX46" fmla="*/ 898144 w 2080837"/>
                <a:gd name="connsiteY46" fmla="*/ 2412725 h 3680693"/>
                <a:gd name="connsiteX47" fmla="*/ 548640 w 2080837"/>
                <a:gd name="connsiteY47" fmla="*/ 2867893 h 3680693"/>
                <a:gd name="connsiteX48" fmla="*/ 316008 w 2080837"/>
                <a:gd name="connsiteY48" fmla="*/ 3180821 h 3680693"/>
                <a:gd name="connsiteX49" fmla="*/ 65024 w 2080837"/>
                <a:gd name="connsiteY49" fmla="*/ 3566901 h 3680693"/>
                <a:gd name="connsiteX50" fmla="*/ 0 w 2080837"/>
                <a:gd name="connsiteY50" fmla="*/ 3680693 h 3680693"/>
                <a:gd name="connsiteX0" fmla="*/ 666496 w 2080837"/>
                <a:gd name="connsiteY0" fmla="*/ 510773 h 3680693"/>
                <a:gd name="connsiteX1" fmla="*/ 743712 w 2080837"/>
                <a:gd name="connsiteY1" fmla="*/ 648949 h 3680693"/>
                <a:gd name="connsiteX2" fmla="*/ 798926 w 2080837"/>
                <a:gd name="connsiteY2" fmla="*/ 756296 h 3680693"/>
                <a:gd name="connsiteX3" fmla="*/ 841248 w 2080837"/>
                <a:gd name="connsiteY3" fmla="*/ 856213 h 3680693"/>
                <a:gd name="connsiteX4" fmla="*/ 853440 w 2080837"/>
                <a:gd name="connsiteY4" fmla="*/ 970005 h 3680693"/>
                <a:gd name="connsiteX5" fmla="*/ 826390 w 2080837"/>
                <a:gd name="connsiteY5" fmla="*/ 1040490 h 3680693"/>
                <a:gd name="connsiteX6" fmla="*/ 776636 w 2080837"/>
                <a:gd name="connsiteY6" fmla="*/ 1082115 h 3680693"/>
                <a:gd name="connsiteX7" fmla="*/ 715264 w 2080837"/>
                <a:gd name="connsiteY7" fmla="*/ 1104117 h 3680693"/>
                <a:gd name="connsiteX8" fmla="*/ 646176 w 2080837"/>
                <a:gd name="connsiteY8" fmla="*/ 1100053 h 3680693"/>
                <a:gd name="connsiteX9" fmla="*/ 593344 w 2080837"/>
                <a:gd name="connsiteY9" fmla="*/ 1075669 h 3680693"/>
                <a:gd name="connsiteX10" fmla="*/ 540512 w 2080837"/>
                <a:gd name="connsiteY10" fmla="*/ 1010645 h 3680693"/>
                <a:gd name="connsiteX11" fmla="*/ 524256 w 2080837"/>
                <a:gd name="connsiteY11" fmla="*/ 949685 h 3680693"/>
                <a:gd name="connsiteX12" fmla="*/ 528320 w 2080837"/>
                <a:gd name="connsiteY12" fmla="*/ 864341 h 3680693"/>
                <a:gd name="connsiteX13" fmla="*/ 556768 w 2080837"/>
                <a:gd name="connsiteY13" fmla="*/ 783061 h 3680693"/>
                <a:gd name="connsiteX14" fmla="*/ 593344 w 2080837"/>
                <a:gd name="connsiteY14" fmla="*/ 730229 h 3680693"/>
                <a:gd name="connsiteX15" fmla="*/ 650240 w 2080837"/>
                <a:gd name="connsiteY15" fmla="*/ 665205 h 3680693"/>
                <a:gd name="connsiteX16" fmla="*/ 703072 w 2080837"/>
                <a:gd name="connsiteY16" fmla="*/ 600181 h 3680693"/>
                <a:gd name="connsiteX17" fmla="*/ 784352 w 2080837"/>
                <a:gd name="connsiteY17" fmla="*/ 522965 h 3680693"/>
                <a:gd name="connsiteX18" fmla="*/ 885952 w 2080837"/>
                <a:gd name="connsiteY18" fmla="*/ 437621 h 3680693"/>
                <a:gd name="connsiteX19" fmla="*/ 999744 w 2080837"/>
                <a:gd name="connsiteY19" fmla="*/ 352277 h 3680693"/>
                <a:gd name="connsiteX20" fmla="*/ 1127411 w 2080837"/>
                <a:gd name="connsiteY20" fmla="*/ 263567 h 3680693"/>
                <a:gd name="connsiteX21" fmla="*/ 1300480 w 2080837"/>
                <a:gd name="connsiteY21" fmla="*/ 157205 h 3680693"/>
                <a:gd name="connsiteX22" fmla="*/ 1440339 w 2080837"/>
                <a:gd name="connsiteY22" fmla="*/ 85736 h 3680693"/>
                <a:gd name="connsiteX23" fmla="*/ 1551750 w 2080837"/>
                <a:gd name="connsiteY23" fmla="*/ 37952 h 3680693"/>
                <a:gd name="connsiteX24" fmla="*/ 1643539 w 2080837"/>
                <a:gd name="connsiteY24" fmla="*/ 11187 h 3680693"/>
                <a:gd name="connsiteX25" fmla="*/ 1717390 w 2080837"/>
                <a:gd name="connsiteY25" fmla="*/ 1375 h 3680693"/>
                <a:gd name="connsiteX26" fmla="*/ 1786192 w 2080837"/>
                <a:gd name="connsiteY26" fmla="*/ 1090 h 3680693"/>
                <a:gd name="connsiteX27" fmla="*/ 1845056 w 2080837"/>
                <a:gd name="connsiteY27" fmla="*/ 10901 h 3680693"/>
                <a:gd name="connsiteX28" fmla="*/ 1920304 w 2080837"/>
                <a:gd name="connsiteY28" fmla="*/ 41031 h 3680693"/>
                <a:gd name="connsiteX29" fmla="*/ 1983232 w 2080837"/>
                <a:gd name="connsiteY29" fmla="*/ 96245 h 3680693"/>
                <a:gd name="connsiteX30" fmla="*/ 2020507 w 2080837"/>
                <a:gd name="connsiteY30" fmla="*/ 144314 h 3680693"/>
                <a:gd name="connsiteX31" fmla="*/ 2053018 w 2080837"/>
                <a:gd name="connsiteY31" fmla="*/ 214101 h 3680693"/>
                <a:gd name="connsiteX32" fmla="*/ 2071656 w 2080837"/>
                <a:gd name="connsiteY32" fmla="*/ 276744 h 3680693"/>
                <a:gd name="connsiteX33" fmla="*/ 2080768 w 2080837"/>
                <a:gd name="connsiteY33" fmla="*/ 352277 h 3680693"/>
                <a:gd name="connsiteX34" fmla="*/ 2075021 w 2080837"/>
                <a:gd name="connsiteY34" fmla="*/ 430191 h 3680693"/>
                <a:gd name="connsiteX35" fmla="*/ 2060448 w 2080837"/>
                <a:gd name="connsiteY35" fmla="*/ 502645 h 3680693"/>
                <a:gd name="connsiteX36" fmla="*/ 2027936 w 2080837"/>
                <a:gd name="connsiteY36" fmla="*/ 612373 h 3680693"/>
                <a:gd name="connsiteX37" fmla="*/ 1975104 w 2080837"/>
                <a:gd name="connsiteY37" fmla="*/ 754613 h 3680693"/>
                <a:gd name="connsiteX38" fmla="*/ 1918208 w 2080837"/>
                <a:gd name="connsiteY38" fmla="*/ 887740 h 3680693"/>
                <a:gd name="connsiteX39" fmla="*/ 1845056 w 2080837"/>
                <a:gd name="connsiteY39" fmla="*/ 1035029 h 3680693"/>
                <a:gd name="connsiteX40" fmla="*/ 1763776 w 2080837"/>
                <a:gd name="connsiteY40" fmla="*/ 1177269 h 3680693"/>
                <a:gd name="connsiteX41" fmla="*/ 1661477 w 2080837"/>
                <a:gd name="connsiteY41" fmla="*/ 1353703 h 3680693"/>
                <a:gd name="connsiteX42" fmla="*/ 1552448 w 2080837"/>
                <a:gd name="connsiteY42" fmla="*/ 1518645 h 3680693"/>
                <a:gd name="connsiteX43" fmla="*/ 1372235 w 2080837"/>
                <a:gd name="connsiteY43" fmla="*/ 1782805 h 3680693"/>
                <a:gd name="connsiteX44" fmla="*/ 1242885 w 2080837"/>
                <a:gd name="connsiteY44" fmla="*/ 1961621 h 3680693"/>
                <a:gd name="connsiteX45" fmla="*/ 1060704 w 2080837"/>
                <a:gd name="connsiteY45" fmla="*/ 2201397 h 3680693"/>
                <a:gd name="connsiteX46" fmla="*/ 898144 w 2080837"/>
                <a:gd name="connsiteY46" fmla="*/ 2412725 h 3680693"/>
                <a:gd name="connsiteX47" fmla="*/ 548640 w 2080837"/>
                <a:gd name="connsiteY47" fmla="*/ 2867893 h 3680693"/>
                <a:gd name="connsiteX48" fmla="*/ 316008 w 2080837"/>
                <a:gd name="connsiteY48" fmla="*/ 3180821 h 3680693"/>
                <a:gd name="connsiteX49" fmla="*/ 65024 w 2080837"/>
                <a:gd name="connsiteY49" fmla="*/ 3566901 h 3680693"/>
                <a:gd name="connsiteX50" fmla="*/ 0 w 2080837"/>
                <a:gd name="connsiteY50" fmla="*/ 3680693 h 3680693"/>
                <a:gd name="connsiteX0" fmla="*/ 666496 w 2080837"/>
                <a:gd name="connsiteY0" fmla="*/ 510773 h 3680693"/>
                <a:gd name="connsiteX1" fmla="*/ 743712 w 2080837"/>
                <a:gd name="connsiteY1" fmla="*/ 648949 h 3680693"/>
                <a:gd name="connsiteX2" fmla="*/ 798926 w 2080837"/>
                <a:gd name="connsiteY2" fmla="*/ 756296 h 3680693"/>
                <a:gd name="connsiteX3" fmla="*/ 841248 w 2080837"/>
                <a:gd name="connsiteY3" fmla="*/ 856213 h 3680693"/>
                <a:gd name="connsiteX4" fmla="*/ 853440 w 2080837"/>
                <a:gd name="connsiteY4" fmla="*/ 970005 h 3680693"/>
                <a:gd name="connsiteX5" fmla="*/ 826390 w 2080837"/>
                <a:gd name="connsiteY5" fmla="*/ 1040490 h 3680693"/>
                <a:gd name="connsiteX6" fmla="*/ 776636 w 2080837"/>
                <a:gd name="connsiteY6" fmla="*/ 1082115 h 3680693"/>
                <a:gd name="connsiteX7" fmla="*/ 715264 w 2080837"/>
                <a:gd name="connsiteY7" fmla="*/ 1104117 h 3680693"/>
                <a:gd name="connsiteX8" fmla="*/ 646176 w 2080837"/>
                <a:gd name="connsiteY8" fmla="*/ 1100053 h 3680693"/>
                <a:gd name="connsiteX9" fmla="*/ 593344 w 2080837"/>
                <a:gd name="connsiteY9" fmla="*/ 1075669 h 3680693"/>
                <a:gd name="connsiteX10" fmla="*/ 540512 w 2080837"/>
                <a:gd name="connsiteY10" fmla="*/ 1010645 h 3680693"/>
                <a:gd name="connsiteX11" fmla="*/ 524256 w 2080837"/>
                <a:gd name="connsiteY11" fmla="*/ 949685 h 3680693"/>
                <a:gd name="connsiteX12" fmla="*/ 528320 w 2080837"/>
                <a:gd name="connsiteY12" fmla="*/ 864341 h 3680693"/>
                <a:gd name="connsiteX13" fmla="*/ 556768 w 2080837"/>
                <a:gd name="connsiteY13" fmla="*/ 783061 h 3680693"/>
                <a:gd name="connsiteX14" fmla="*/ 593344 w 2080837"/>
                <a:gd name="connsiteY14" fmla="*/ 730229 h 3680693"/>
                <a:gd name="connsiteX15" fmla="*/ 650240 w 2080837"/>
                <a:gd name="connsiteY15" fmla="*/ 665205 h 3680693"/>
                <a:gd name="connsiteX16" fmla="*/ 703072 w 2080837"/>
                <a:gd name="connsiteY16" fmla="*/ 600181 h 3680693"/>
                <a:gd name="connsiteX17" fmla="*/ 784352 w 2080837"/>
                <a:gd name="connsiteY17" fmla="*/ 522965 h 3680693"/>
                <a:gd name="connsiteX18" fmla="*/ 885952 w 2080837"/>
                <a:gd name="connsiteY18" fmla="*/ 437621 h 3680693"/>
                <a:gd name="connsiteX19" fmla="*/ 999744 w 2080837"/>
                <a:gd name="connsiteY19" fmla="*/ 352277 h 3680693"/>
                <a:gd name="connsiteX20" fmla="*/ 1127411 w 2080837"/>
                <a:gd name="connsiteY20" fmla="*/ 263567 h 3680693"/>
                <a:gd name="connsiteX21" fmla="*/ 1300480 w 2080837"/>
                <a:gd name="connsiteY21" fmla="*/ 157205 h 3680693"/>
                <a:gd name="connsiteX22" fmla="*/ 1440339 w 2080837"/>
                <a:gd name="connsiteY22" fmla="*/ 85736 h 3680693"/>
                <a:gd name="connsiteX23" fmla="*/ 1551750 w 2080837"/>
                <a:gd name="connsiteY23" fmla="*/ 37952 h 3680693"/>
                <a:gd name="connsiteX24" fmla="*/ 1643539 w 2080837"/>
                <a:gd name="connsiteY24" fmla="*/ 11187 h 3680693"/>
                <a:gd name="connsiteX25" fmla="*/ 1717390 w 2080837"/>
                <a:gd name="connsiteY25" fmla="*/ 1375 h 3680693"/>
                <a:gd name="connsiteX26" fmla="*/ 1786192 w 2080837"/>
                <a:gd name="connsiteY26" fmla="*/ 1090 h 3680693"/>
                <a:gd name="connsiteX27" fmla="*/ 1845056 w 2080837"/>
                <a:gd name="connsiteY27" fmla="*/ 10901 h 3680693"/>
                <a:gd name="connsiteX28" fmla="*/ 1920304 w 2080837"/>
                <a:gd name="connsiteY28" fmla="*/ 41031 h 3680693"/>
                <a:gd name="connsiteX29" fmla="*/ 1983232 w 2080837"/>
                <a:gd name="connsiteY29" fmla="*/ 96245 h 3680693"/>
                <a:gd name="connsiteX30" fmla="*/ 2020507 w 2080837"/>
                <a:gd name="connsiteY30" fmla="*/ 144314 h 3680693"/>
                <a:gd name="connsiteX31" fmla="*/ 2057780 w 2080837"/>
                <a:gd name="connsiteY31" fmla="*/ 214101 h 3680693"/>
                <a:gd name="connsiteX32" fmla="*/ 2071656 w 2080837"/>
                <a:gd name="connsiteY32" fmla="*/ 276744 h 3680693"/>
                <a:gd name="connsiteX33" fmla="*/ 2080768 w 2080837"/>
                <a:gd name="connsiteY33" fmla="*/ 352277 h 3680693"/>
                <a:gd name="connsiteX34" fmla="*/ 2075021 w 2080837"/>
                <a:gd name="connsiteY34" fmla="*/ 430191 h 3680693"/>
                <a:gd name="connsiteX35" fmla="*/ 2060448 w 2080837"/>
                <a:gd name="connsiteY35" fmla="*/ 502645 h 3680693"/>
                <a:gd name="connsiteX36" fmla="*/ 2027936 w 2080837"/>
                <a:gd name="connsiteY36" fmla="*/ 612373 h 3680693"/>
                <a:gd name="connsiteX37" fmla="*/ 1975104 w 2080837"/>
                <a:gd name="connsiteY37" fmla="*/ 754613 h 3680693"/>
                <a:gd name="connsiteX38" fmla="*/ 1918208 w 2080837"/>
                <a:gd name="connsiteY38" fmla="*/ 887740 h 3680693"/>
                <a:gd name="connsiteX39" fmla="*/ 1845056 w 2080837"/>
                <a:gd name="connsiteY39" fmla="*/ 1035029 h 3680693"/>
                <a:gd name="connsiteX40" fmla="*/ 1763776 w 2080837"/>
                <a:gd name="connsiteY40" fmla="*/ 1177269 h 3680693"/>
                <a:gd name="connsiteX41" fmla="*/ 1661477 w 2080837"/>
                <a:gd name="connsiteY41" fmla="*/ 1353703 h 3680693"/>
                <a:gd name="connsiteX42" fmla="*/ 1552448 w 2080837"/>
                <a:gd name="connsiteY42" fmla="*/ 1518645 h 3680693"/>
                <a:gd name="connsiteX43" fmla="*/ 1372235 w 2080837"/>
                <a:gd name="connsiteY43" fmla="*/ 1782805 h 3680693"/>
                <a:gd name="connsiteX44" fmla="*/ 1242885 w 2080837"/>
                <a:gd name="connsiteY44" fmla="*/ 1961621 h 3680693"/>
                <a:gd name="connsiteX45" fmla="*/ 1060704 w 2080837"/>
                <a:gd name="connsiteY45" fmla="*/ 2201397 h 3680693"/>
                <a:gd name="connsiteX46" fmla="*/ 898144 w 2080837"/>
                <a:gd name="connsiteY46" fmla="*/ 2412725 h 3680693"/>
                <a:gd name="connsiteX47" fmla="*/ 548640 w 2080837"/>
                <a:gd name="connsiteY47" fmla="*/ 2867893 h 3680693"/>
                <a:gd name="connsiteX48" fmla="*/ 316008 w 2080837"/>
                <a:gd name="connsiteY48" fmla="*/ 3180821 h 3680693"/>
                <a:gd name="connsiteX49" fmla="*/ 65024 w 2080837"/>
                <a:gd name="connsiteY49" fmla="*/ 3566901 h 3680693"/>
                <a:gd name="connsiteX50" fmla="*/ 0 w 2080837"/>
                <a:gd name="connsiteY50" fmla="*/ 3680693 h 3680693"/>
                <a:gd name="connsiteX0" fmla="*/ 666496 w 2080837"/>
                <a:gd name="connsiteY0" fmla="*/ 510773 h 3680693"/>
                <a:gd name="connsiteX1" fmla="*/ 743712 w 2080837"/>
                <a:gd name="connsiteY1" fmla="*/ 648949 h 3680693"/>
                <a:gd name="connsiteX2" fmla="*/ 798926 w 2080837"/>
                <a:gd name="connsiteY2" fmla="*/ 756296 h 3680693"/>
                <a:gd name="connsiteX3" fmla="*/ 841248 w 2080837"/>
                <a:gd name="connsiteY3" fmla="*/ 856213 h 3680693"/>
                <a:gd name="connsiteX4" fmla="*/ 853440 w 2080837"/>
                <a:gd name="connsiteY4" fmla="*/ 970005 h 3680693"/>
                <a:gd name="connsiteX5" fmla="*/ 826390 w 2080837"/>
                <a:gd name="connsiteY5" fmla="*/ 1040490 h 3680693"/>
                <a:gd name="connsiteX6" fmla="*/ 776636 w 2080837"/>
                <a:gd name="connsiteY6" fmla="*/ 1082115 h 3680693"/>
                <a:gd name="connsiteX7" fmla="*/ 715264 w 2080837"/>
                <a:gd name="connsiteY7" fmla="*/ 1104117 h 3680693"/>
                <a:gd name="connsiteX8" fmla="*/ 646176 w 2080837"/>
                <a:gd name="connsiteY8" fmla="*/ 1100053 h 3680693"/>
                <a:gd name="connsiteX9" fmla="*/ 593344 w 2080837"/>
                <a:gd name="connsiteY9" fmla="*/ 1075669 h 3680693"/>
                <a:gd name="connsiteX10" fmla="*/ 540512 w 2080837"/>
                <a:gd name="connsiteY10" fmla="*/ 1010645 h 3680693"/>
                <a:gd name="connsiteX11" fmla="*/ 524256 w 2080837"/>
                <a:gd name="connsiteY11" fmla="*/ 949685 h 3680693"/>
                <a:gd name="connsiteX12" fmla="*/ 528320 w 2080837"/>
                <a:gd name="connsiteY12" fmla="*/ 864341 h 3680693"/>
                <a:gd name="connsiteX13" fmla="*/ 556768 w 2080837"/>
                <a:gd name="connsiteY13" fmla="*/ 783061 h 3680693"/>
                <a:gd name="connsiteX14" fmla="*/ 593344 w 2080837"/>
                <a:gd name="connsiteY14" fmla="*/ 730229 h 3680693"/>
                <a:gd name="connsiteX15" fmla="*/ 650240 w 2080837"/>
                <a:gd name="connsiteY15" fmla="*/ 665205 h 3680693"/>
                <a:gd name="connsiteX16" fmla="*/ 703072 w 2080837"/>
                <a:gd name="connsiteY16" fmla="*/ 600181 h 3680693"/>
                <a:gd name="connsiteX17" fmla="*/ 784352 w 2080837"/>
                <a:gd name="connsiteY17" fmla="*/ 522965 h 3680693"/>
                <a:gd name="connsiteX18" fmla="*/ 885952 w 2080837"/>
                <a:gd name="connsiteY18" fmla="*/ 437621 h 3680693"/>
                <a:gd name="connsiteX19" fmla="*/ 999744 w 2080837"/>
                <a:gd name="connsiteY19" fmla="*/ 352277 h 3680693"/>
                <a:gd name="connsiteX20" fmla="*/ 1127411 w 2080837"/>
                <a:gd name="connsiteY20" fmla="*/ 263567 h 3680693"/>
                <a:gd name="connsiteX21" fmla="*/ 1300480 w 2080837"/>
                <a:gd name="connsiteY21" fmla="*/ 157205 h 3680693"/>
                <a:gd name="connsiteX22" fmla="*/ 1440339 w 2080837"/>
                <a:gd name="connsiteY22" fmla="*/ 85736 h 3680693"/>
                <a:gd name="connsiteX23" fmla="*/ 1551750 w 2080837"/>
                <a:gd name="connsiteY23" fmla="*/ 37952 h 3680693"/>
                <a:gd name="connsiteX24" fmla="*/ 1643539 w 2080837"/>
                <a:gd name="connsiteY24" fmla="*/ 11187 h 3680693"/>
                <a:gd name="connsiteX25" fmla="*/ 1717390 w 2080837"/>
                <a:gd name="connsiteY25" fmla="*/ 1375 h 3680693"/>
                <a:gd name="connsiteX26" fmla="*/ 1786192 w 2080837"/>
                <a:gd name="connsiteY26" fmla="*/ 1090 h 3680693"/>
                <a:gd name="connsiteX27" fmla="*/ 1845056 w 2080837"/>
                <a:gd name="connsiteY27" fmla="*/ 10901 h 3680693"/>
                <a:gd name="connsiteX28" fmla="*/ 1920304 w 2080837"/>
                <a:gd name="connsiteY28" fmla="*/ 41031 h 3680693"/>
                <a:gd name="connsiteX29" fmla="*/ 1983232 w 2080837"/>
                <a:gd name="connsiteY29" fmla="*/ 96245 h 3680693"/>
                <a:gd name="connsiteX30" fmla="*/ 2020507 w 2080837"/>
                <a:gd name="connsiteY30" fmla="*/ 144314 h 3680693"/>
                <a:gd name="connsiteX31" fmla="*/ 2057780 w 2080837"/>
                <a:gd name="connsiteY31" fmla="*/ 214101 h 3680693"/>
                <a:gd name="connsiteX32" fmla="*/ 2071656 w 2080837"/>
                <a:gd name="connsiteY32" fmla="*/ 276744 h 3680693"/>
                <a:gd name="connsiteX33" fmla="*/ 2080768 w 2080837"/>
                <a:gd name="connsiteY33" fmla="*/ 352277 h 3680693"/>
                <a:gd name="connsiteX34" fmla="*/ 2075021 w 2080837"/>
                <a:gd name="connsiteY34" fmla="*/ 430191 h 3680693"/>
                <a:gd name="connsiteX35" fmla="*/ 2060448 w 2080837"/>
                <a:gd name="connsiteY35" fmla="*/ 502645 h 3680693"/>
                <a:gd name="connsiteX36" fmla="*/ 2027936 w 2080837"/>
                <a:gd name="connsiteY36" fmla="*/ 612373 h 3680693"/>
                <a:gd name="connsiteX37" fmla="*/ 1975104 w 2080837"/>
                <a:gd name="connsiteY37" fmla="*/ 754613 h 3680693"/>
                <a:gd name="connsiteX38" fmla="*/ 1918208 w 2080837"/>
                <a:gd name="connsiteY38" fmla="*/ 887740 h 3680693"/>
                <a:gd name="connsiteX39" fmla="*/ 1845056 w 2080837"/>
                <a:gd name="connsiteY39" fmla="*/ 1035029 h 3680693"/>
                <a:gd name="connsiteX40" fmla="*/ 1763776 w 2080837"/>
                <a:gd name="connsiteY40" fmla="*/ 1177269 h 3680693"/>
                <a:gd name="connsiteX41" fmla="*/ 1661477 w 2080837"/>
                <a:gd name="connsiteY41" fmla="*/ 1353703 h 3680693"/>
                <a:gd name="connsiteX42" fmla="*/ 1552448 w 2080837"/>
                <a:gd name="connsiteY42" fmla="*/ 1518645 h 3680693"/>
                <a:gd name="connsiteX43" fmla="*/ 1372235 w 2080837"/>
                <a:gd name="connsiteY43" fmla="*/ 1782805 h 3680693"/>
                <a:gd name="connsiteX44" fmla="*/ 1242885 w 2080837"/>
                <a:gd name="connsiteY44" fmla="*/ 1961621 h 3680693"/>
                <a:gd name="connsiteX45" fmla="*/ 1060704 w 2080837"/>
                <a:gd name="connsiteY45" fmla="*/ 2201397 h 3680693"/>
                <a:gd name="connsiteX46" fmla="*/ 898144 w 2080837"/>
                <a:gd name="connsiteY46" fmla="*/ 2412725 h 3680693"/>
                <a:gd name="connsiteX47" fmla="*/ 548640 w 2080837"/>
                <a:gd name="connsiteY47" fmla="*/ 2867893 h 3680693"/>
                <a:gd name="connsiteX48" fmla="*/ 316008 w 2080837"/>
                <a:gd name="connsiteY48" fmla="*/ 3180821 h 3680693"/>
                <a:gd name="connsiteX49" fmla="*/ 65024 w 2080837"/>
                <a:gd name="connsiteY49" fmla="*/ 3566901 h 3680693"/>
                <a:gd name="connsiteX50" fmla="*/ 0 w 2080837"/>
                <a:gd name="connsiteY50" fmla="*/ 3680693 h 3680693"/>
                <a:gd name="connsiteX0" fmla="*/ 601472 w 2015813"/>
                <a:gd name="connsiteY0" fmla="*/ 510773 h 3566901"/>
                <a:gd name="connsiteX1" fmla="*/ 678688 w 2015813"/>
                <a:gd name="connsiteY1" fmla="*/ 648949 h 3566901"/>
                <a:gd name="connsiteX2" fmla="*/ 733902 w 2015813"/>
                <a:gd name="connsiteY2" fmla="*/ 756296 h 3566901"/>
                <a:gd name="connsiteX3" fmla="*/ 776224 w 2015813"/>
                <a:gd name="connsiteY3" fmla="*/ 856213 h 3566901"/>
                <a:gd name="connsiteX4" fmla="*/ 788416 w 2015813"/>
                <a:gd name="connsiteY4" fmla="*/ 970005 h 3566901"/>
                <a:gd name="connsiteX5" fmla="*/ 761366 w 2015813"/>
                <a:gd name="connsiteY5" fmla="*/ 1040490 h 3566901"/>
                <a:gd name="connsiteX6" fmla="*/ 711612 w 2015813"/>
                <a:gd name="connsiteY6" fmla="*/ 1082115 h 3566901"/>
                <a:gd name="connsiteX7" fmla="*/ 650240 w 2015813"/>
                <a:gd name="connsiteY7" fmla="*/ 1104117 h 3566901"/>
                <a:gd name="connsiteX8" fmla="*/ 581152 w 2015813"/>
                <a:gd name="connsiteY8" fmla="*/ 1100053 h 3566901"/>
                <a:gd name="connsiteX9" fmla="*/ 528320 w 2015813"/>
                <a:gd name="connsiteY9" fmla="*/ 1075669 h 3566901"/>
                <a:gd name="connsiteX10" fmla="*/ 475488 w 2015813"/>
                <a:gd name="connsiteY10" fmla="*/ 1010645 h 3566901"/>
                <a:gd name="connsiteX11" fmla="*/ 459232 w 2015813"/>
                <a:gd name="connsiteY11" fmla="*/ 949685 h 3566901"/>
                <a:gd name="connsiteX12" fmla="*/ 463296 w 2015813"/>
                <a:gd name="connsiteY12" fmla="*/ 864341 h 3566901"/>
                <a:gd name="connsiteX13" fmla="*/ 491744 w 2015813"/>
                <a:gd name="connsiteY13" fmla="*/ 783061 h 3566901"/>
                <a:gd name="connsiteX14" fmla="*/ 528320 w 2015813"/>
                <a:gd name="connsiteY14" fmla="*/ 730229 h 3566901"/>
                <a:gd name="connsiteX15" fmla="*/ 585216 w 2015813"/>
                <a:gd name="connsiteY15" fmla="*/ 665205 h 3566901"/>
                <a:gd name="connsiteX16" fmla="*/ 638048 w 2015813"/>
                <a:gd name="connsiteY16" fmla="*/ 600181 h 3566901"/>
                <a:gd name="connsiteX17" fmla="*/ 719328 w 2015813"/>
                <a:gd name="connsiteY17" fmla="*/ 522965 h 3566901"/>
                <a:gd name="connsiteX18" fmla="*/ 820928 w 2015813"/>
                <a:gd name="connsiteY18" fmla="*/ 437621 h 3566901"/>
                <a:gd name="connsiteX19" fmla="*/ 934720 w 2015813"/>
                <a:gd name="connsiteY19" fmla="*/ 352277 h 3566901"/>
                <a:gd name="connsiteX20" fmla="*/ 1062387 w 2015813"/>
                <a:gd name="connsiteY20" fmla="*/ 263567 h 3566901"/>
                <a:gd name="connsiteX21" fmla="*/ 1235456 w 2015813"/>
                <a:gd name="connsiteY21" fmla="*/ 157205 h 3566901"/>
                <a:gd name="connsiteX22" fmla="*/ 1375315 w 2015813"/>
                <a:gd name="connsiteY22" fmla="*/ 85736 h 3566901"/>
                <a:gd name="connsiteX23" fmla="*/ 1486726 w 2015813"/>
                <a:gd name="connsiteY23" fmla="*/ 37952 h 3566901"/>
                <a:gd name="connsiteX24" fmla="*/ 1578515 w 2015813"/>
                <a:gd name="connsiteY24" fmla="*/ 11187 h 3566901"/>
                <a:gd name="connsiteX25" fmla="*/ 1652366 w 2015813"/>
                <a:gd name="connsiteY25" fmla="*/ 1375 h 3566901"/>
                <a:gd name="connsiteX26" fmla="*/ 1721168 w 2015813"/>
                <a:gd name="connsiteY26" fmla="*/ 1090 h 3566901"/>
                <a:gd name="connsiteX27" fmla="*/ 1780032 w 2015813"/>
                <a:gd name="connsiteY27" fmla="*/ 10901 h 3566901"/>
                <a:gd name="connsiteX28" fmla="*/ 1855280 w 2015813"/>
                <a:gd name="connsiteY28" fmla="*/ 41031 h 3566901"/>
                <a:gd name="connsiteX29" fmla="*/ 1918208 w 2015813"/>
                <a:gd name="connsiteY29" fmla="*/ 96245 h 3566901"/>
                <a:gd name="connsiteX30" fmla="*/ 1955483 w 2015813"/>
                <a:gd name="connsiteY30" fmla="*/ 144314 h 3566901"/>
                <a:gd name="connsiteX31" fmla="*/ 1992756 w 2015813"/>
                <a:gd name="connsiteY31" fmla="*/ 214101 h 3566901"/>
                <a:gd name="connsiteX32" fmla="*/ 2006632 w 2015813"/>
                <a:gd name="connsiteY32" fmla="*/ 276744 h 3566901"/>
                <a:gd name="connsiteX33" fmla="*/ 2015744 w 2015813"/>
                <a:gd name="connsiteY33" fmla="*/ 352277 h 3566901"/>
                <a:gd name="connsiteX34" fmla="*/ 2009997 w 2015813"/>
                <a:gd name="connsiteY34" fmla="*/ 430191 h 3566901"/>
                <a:gd name="connsiteX35" fmla="*/ 1995424 w 2015813"/>
                <a:gd name="connsiteY35" fmla="*/ 502645 h 3566901"/>
                <a:gd name="connsiteX36" fmla="*/ 1962912 w 2015813"/>
                <a:gd name="connsiteY36" fmla="*/ 612373 h 3566901"/>
                <a:gd name="connsiteX37" fmla="*/ 1910080 w 2015813"/>
                <a:gd name="connsiteY37" fmla="*/ 754613 h 3566901"/>
                <a:gd name="connsiteX38" fmla="*/ 1853184 w 2015813"/>
                <a:gd name="connsiteY38" fmla="*/ 887740 h 3566901"/>
                <a:gd name="connsiteX39" fmla="*/ 1780032 w 2015813"/>
                <a:gd name="connsiteY39" fmla="*/ 1035029 h 3566901"/>
                <a:gd name="connsiteX40" fmla="*/ 1698752 w 2015813"/>
                <a:gd name="connsiteY40" fmla="*/ 1177269 h 3566901"/>
                <a:gd name="connsiteX41" fmla="*/ 1596453 w 2015813"/>
                <a:gd name="connsiteY41" fmla="*/ 1353703 h 3566901"/>
                <a:gd name="connsiteX42" fmla="*/ 1487424 w 2015813"/>
                <a:gd name="connsiteY42" fmla="*/ 1518645 h 3566901"/>
                <a:gd name="connsiteX43" fmla="*/ 1307211 w 2015813"/>
                <a:gd name="connsiteY43" fmla="*/ 1782805 h 3566901"/>
                <a:gd name="connsiteX44" fmla="*/ 1177861 w 2015813"/>
                <a:gd name="connsiteY44" fmla="*/ 1961621 h 3566901"/>
                <a:gd name="connsiteX45" fmla="*/ 995680 w 2015813"/>
                <a:gd name="connsiteY45" fmla="*/ 2201397 h 3566901"/>
                <a:gd name="connsiteX46" fmla="*/ 833120 w 2015813"/>
                <a:gd name="connsiteY46" fmla="*/ 2412725 h 3566901"/>
                <a:gd name="connsiteX47" fmla="*/ 483616 w 2015813"/>
                <a:gd name="connsiteY47" fmla="*/ 2867893 h 3566901"/>
                <a:gd name="connsiteX48" fmla="*/ 250984 w 2015813"/>
                <a:gd name="connsiteY48" fmla="*/ 3180821 h 3566901"/>
                <a:gd name="connsiteX49" fmla="*/ 0 w 2015813"/>
                <a:gd name="connsiteY49" fmla="*/ 3566901 h 3566901"/>
                <a:gd name="connsiteX0" fmla="*/ 651500 w 2065841"/>
                <a:gd name="connsiteY0" fmla="*/ 510773 h 3650283"/>
                <a:gd name="connsiteX1" fmla="*/ 728716 w 2065841"/>
                <a:gd name="connsiteY1" fmla="*/ 648949 h 3650283"/>
                <a:gd name="connsiteX2" fmla="*/ 783930 w 2065841"/>
                <a:gd name="connsiteY2" fmla="*/ 756296 h 3650283"/>
                <a:gd name="connsiteX3" fmla="*/ 826252 w 2065841"/>
                <a:gd name="connsiteY3" fmla="*/ 856213 h 3650283"/>
                <a:gd name="connsiteX4" fmla="*/ 838444 w 2065841"/>
                <a:gd name="connsiteY4" fmla="*/ 970005 h 3650283"/>
                <a:gd name="connsiteX5" fmla="*/ 811394 w 2065841"/>
                <a:gd name="connsiteY5" fmla="*/ 1040490 h 3650283"/>
                <a:gd name="connsiteX6" fmla="*/ 761640 w 2065841"/>
                <a:gd name="connsiteY6" fmla="*/ 1082115 h 3650283"/>
                <a:gd name="connsiteX7" fmla="*/ 700268 w 2065841"/>
                <a:gd name="connsiteY7" fmla="*/ 1104117 h 3650283"/>
                <a:gd name="connsiteX8" fmla="*/ 631180 w 2065841"/>
                <a:gd name="connsiteY8" fmla="*/ 1100053 h 3650283"/>
                <a:gd name="connsiteX9" fmla="*/ 578348 w 2065841"/>
                <a:gd name="connsiteY9" fmla="*/ 1075669 h 3650283"/>
                <a:gd name="connsiteX10" fmla="*/ 525516 w 2065841"/>
                <a:gd name="connsiteY10" fmla="*/ 1010645 h 3650283"/>
                <a:gd name="connsiteX11" fmla="*/ 509260 w 2065841"/>
                <a:gd name="connsiteY11" fmla="*/ 949685 h 3650283"/>
                <a:gd name="connsiteX12" fmla="*/ 513324 w 2065841"/>
                <a:gd name="connsiteY12" fmla="*/ 864341 h 3650283"/>
                <a:gd name="connsiteX13" fmla="*/ 541772 w 2065841"/>
                <a:gd name="connsiteY13" fmla="*/ 783061 h 3650283"/>
                <a:gd name="connsiteX14" fmla="*/ 578348 w 2065841"/>
                <a:gd name="connsiteY14" fmla="*/ 730229 h 3650283"/>
                <a:gd name="connsiteX15" fmla="*/ 635244 w 2065841"/>
                <a:gd name="connsiteY15" fmla="*/ 665205 h 3650283"/>
                <a:gd name="connsiteX16" fmla="*/ 688076 w 2065841"/>
                <a:gd name="connsiteY16" fmla="*/ 600181 h 3650283"/>
                <a:gd name="connsiteX17" fmla="*/ 769356 w 2065841"/>
                <a:gd name="connsiteY17" fmla="*/ 522965 h 3650283"/>
                <a:gd name="connsiteX18" fmla="*/ 870956 w 2065841"/>
                <a:gd name="connsiteY18" fmla="*/ 437621 h 3650283"/>
                <a:gd name="connsiteX19" fmla="*/ 984748 w 2065841"/>
                <a:gd name="connsiteY19" fmla="*/ 352277 h 3650283"/>
                <a:gd name="connsiteX20" fmla="*/ 1112415 w 2065841"/>
                <a:gd name="connsiteY20" fmla="*/ 263567 h 3650283"/>
                <a:gd name="connsiteX21" fmla="*/ 1285484 w 2065841"/>
                <a:gd name="connsiteY21" fmla="*/ 157205 h 3650283"/>
                <a:gd name="connsiteX22" fmla="*/ 1425343 w 2065841"/>
                <a:gd name="connsiteY22" fmla="*/ 85736 h 3650283"/>
                <a:gd name="connsiteX23" fmla="*/ 1536754 w 2065841"/>
                <a:gd name="connsiteY23" fmla="*/ 37952 h 3650283"/>
                <a:gd name="connsiteX24" fmla="*/ 1628543 w 2065841"/>
                <a:gd name="connsiteY24" fmla="*/ 11187 h 3650283"/>
                <a:gd name="connsiteX25" fmla="*/ 1702394 w 2065841"/>
                <a:gd name="connsiteY25" fmla="*/ 1375 h 3650283"/>
                <a:gd name="connsiteX26" fmla="*/ 1771196 w 2065841"/>
                <a:gd name="connsiteY26" fmla="*/ 1090 h 3650283"/>
                <a:gd name="connsiteX27" fmla="*/ 1830060 w 2065841"/>
                <a:gd name="connsiteY27" fmla="*/ 10901 h 3650283"/>
                <a:gd name="connsiteX28" fmla="*/ 1905308 w 2065841"/>
                <a:gd name="connsiteY28" fmla="*/ 41031 h 3650283"/>
                <a:gd name="connsiteX29" fmla="*/ 1968236 w 2065841"/>
                <a:gd name="connsiteY29" fmla="*/ 96245 h 3650283"/>
                <a:gd name="connsiteX30" fmla="*/ 2005511 w 2065841"/>
                <a:gd name="connsiteY30" fmla="*/ 144314 h 3650283"/>
                <a:gd name="connsiteX31" fmla="*/ 2042784 w 2065841"/>
                <a:gd name="connsiteY31" fmla="*/ 214101 h 3650283"/>
                <a:gd name="connsiteX32" fmla="*/ 2056660 w 2065841"/>
                <a:gd name="connsiteY32" fmla="*/ 276744 h 3650283"/>
                <a:gd name="connsiteX33" fmla="*/ 2065772 w 2065841"/>
                <a:gd name="connsiteY33" fmla="*/ 352277 h 3650283"/>
                <a:gd name="connsiteX34" fmla="*/ 2060025 w 2065841"/>
                <a:gd name="connsiteY34" fmla="*/ 430191 h 3650283"/>
                <a:gd name="connsiteX35" fmla="*/ 2045452 w 2065841"/>
                <a:gd name="connsiteY35" fmla="*/ 502645 h 3650283"/>
                <a:gd name="connsiteX36" fmla="*/ 2012940 w 2065841"/>
                <a:gd name="connsiteY36" fmla="*/ 612373 h 3650283"/>
                <a:gd name="connsiteX37" fmla="*/ 1960108 w 2065841"/>
                <a:gd name="connsiteY37" fmla="*/ 754613 h 3650283"/>
                <a:gd name="connsiteX38" fmla="*/ 1903212 w 2065841"/>
                <a:gd name="connsiteY38" fmla="*/ 887740 h 3650283"/>
                <a:gd name="connsiteX39" fmla="*/ 1830060 w 2065841"/>
                <a:gd name="connsiteY39" fmla="*/ 1035029 h 3650283"/>
                <a:gd name="connsiteX40" fmla="*/ 1748780 w 2065841"/>
                <a:gd name="connsiteY40" fmla="*/ 1177269 h 3650283"/>
                <a:gd name="connsiteX41" fmla="*/ 1646481 w 2065841"/>
                <a:gd name="connsiteY41" fmla="*/ 1353703 h 3650283"/>
                <a:gd name="connsiteX42" fmla="*/ 1537452 w 2065841"/>
                <a:gd name="connsiteY42" fmla="*/ 1518645 h 3650283"/>
                <a:gd name="connsiteX43" fmla="*/ 1357239 w 2065841"/>
                <a:gd name="connsiteY43" fmla="*/ 1782805 h 3650283"/>
                <a:gd name="connsiteX44" fmla="*/ 1227889 w 2065841"/>
                <a:gd name="connsiteY44" fmla="*/ 1961621 h 3650283"/>
                <a:gd name="connsiteX45" fmla="*/ 1045708 w 2065841"/>
                <a:gd name="connsiteY45" fmla="*/ 2201397 h 3650283"/>
                <a:gd name="connsiteX46" fmla="*/ 883148 w 2065841"/>
                <a:gd name="connsiteY46" fmla="*/ 2412725 h 3650283"/>
                <a:gd name="connsiteX47" fmla="*/ 533644 w 2065841"/>
                <a:gd name="connsiteY47" fmla="*/ 2867893 h 3650283"/>
                <a:gd name="connsiteX48" fmla="*/ 301012 w 2065841"/>
                <a:gd name="connsiteY48" fmla="*/ 3180821 h 3650283"/>
                <a:gd name="connsiteX49" fmla="*/ 0 w 2065841"/>
                <a:gd name="connsiteY49" fmla="*/ 3650283 h 3650283"/>
                <a:gd name="connsiteX0" fmla="*/ 651500 w 2065841"/>
                <a:gd name="connsiteY0" fmla="*/ 510773 h 3650283"/>
                <a:gd name="connsiteX1" fmla="*/ 728716 w 2065841"/>
                <a:gd name="connsiteY1" fmla="*/ 648949 h 3650283"/>
                <a:gd name="connsiteX2" fmla="*/ 783930 w 2065841"/>
                <a:gd name="connsiteY2" fmla="*/ 756296 h 3650283"/>
                <a:gd name="connsiteX3" fmla="*/ 826252 w 2065841"/>
                <a:gd name="connsiteY3" fmla="*/ 856213 h 3650283"/>
                <a:gd name="connsiteX4" fmla="*/ 838444 w 2065841"/>
                <a:gd name="connsiteY4" fmla="*/ 970005 h 3650283"/>
                <a:gd name="connsiteX5" fmla="*/ 811394 w 2065841"/>
                <a:gd name="connsiteY5" fmla="*/ 1040490 h 3650283"/>
                <a:gd name="connsiteX6" fmla="*/ 761640 w 2065841"/>
                <a:gd name="connsiteY6" fmla="*/ 1082115 h 3650283"/>
                <a:gd name="connsiteX7" fmla="*/ 700268 w 2065841"/>
                <a:gd name="connsiteY7" fmla="*/ 1104117 h 3650283"/>
                <a:gd name="connsiteX8" fmla="*/ 631180 w 2065841"/>
                <a:gd name="connsiteY8" fmla="*/ 1100053 h 3650283"/>
                <a:gd name="connsiteX9" fmla="*/ 578348 w 2065841"/>
                <a:gd name="connsiteY9" fmla="*/ 1075669 h 3650283"/>
                <a:gd name="connsiteX10" fmla="*/ 525516 w 2065841"/>
                <a:gd name="connsiteY10" fmla="*/ 1010645 h 3650283"/>
                <a:gd name="connsiteX11" fmla="*/ 509260 w 2065841"/>
                <a:gd name="connsiteY11" fmla="*/ 949685 h 3650283"/>
                <a:gd name="connsiteX12" fmla="*/ 513324 w 2065841"/>
                <a:gd name="connsiteY12" fmla="*/ 864341 h 3650283"/>
                <a:gd name="connsiteX13" fmla="*/ 541772 w 2065841"/>
                <a:gd name="connsiteY13" fmla="*/ 783061 h 3650283"/>
                <a:gd name="connsiteX14" fmla="*/ 578348 w 2065841"/>
                <a:gd name="connsiteY14" fmla="*/ 730229 h 3650283"/>
                <a:gd name="connsiteX15" fmla="*/ 635244 w 2065841"/>
                <a:gd name="connsiteY15" fmla="*/ 665205 h 3650283"/>
                <a:gd name="connsiteX16" fmla="*/ 688076 w 2065841"/>
                <a:gd name="connsiteY16" fmla="*/ 600181 h 3650283"/>
                <a:gd name="connsiteX17" fmla="*/ 769356 w 2065841"/>
                <a:gd name="connsiteY17" fmla="*/ 522965 h 3650283"/>
                <a:gd name="connsiteX18" fmla="*/ 870956 w 2065841"/>
                <a:gd name="connsiteY18" fmla="*/ 437621 h 3650283"/>
                <a:gd name="connsiteX19" fmla="*/ 984748 w 2065841"/>
                <a:gd name="connsiteY19" fmla="*/ 352277 h 3650283"/>
                <a:gd name="connsiteX20" fmla="*/ 1112415 w 2065841"/>
                <a:gd name="connsiteY20" fmla="*/ 263567 h 3650283"/>
                <a:gd name="connsiteX21" fmla="*/ 1285484 w 2065841"/>
                <a:gd name="connsiteY21" fmla="*/ 157205 h 3650283"/>
                <a:gd name="connsiteX22" fmla="*/ 1425343 w 2065841"/>
                <a:gd name="connsiteY22" fmla="*/ 85736 h 3650283"/>
                <a:gd name="connsiteX23" fmla="*/ 1536754 w 2065841"/>
                <a:gd name="connsiteY23" fmla="*/ 37952 h 3650283"/>
                <a:gd name="connsiteX24" fmla="*/ 1628543 w 2065841"/>
                <a:gd name="connsiteY24" fmla="*/ 11187 h 3650283"/>
                <a:gd name="connsiteX25" fmla="*/ 1702394 w 2065841"/>
                <a:gd name="connsiteY25" fmla="*/ 1375 h 3650283"/>
                <a:gd name="connsiteX26" fmla="*/ 1771196 w 2065841"/>
                <a:gd name="connsiteY26" fmla="*/ 1090 h 3650283"/>
                <a:gd name="connsiteX27" fmla="*/ 1830060 w 2065841"/>
                <a:gd name="connsiteY27" fmla="*/ 10901 h 3650283"/>
                <a:gd name="connsiteX28" fmla="*/ 1905308 w 2065841"/>
                <a:gd name="connsiteY28" fmla="*/ 41031 h 3650283"/>
                <a:gd name="connsiteX29" fmla="*/ 1968236 w 2065841"/>
                <a:gd name="connsiteY29" fmla="*/ 96245 h 3650283"/>
                <a:gd name="connsiteX30" fmla="*/ 2005511 w 2065841"/>
                <a:gd name="connsiteY30" fmla="*/ 144314 h 3650283"/>
                <a:gd name="connsiteX31" fmla="*/ 2042784 w 2065841"/>
                <a:gd name="connsiteY31" fmla="*/ 214101 h 3650283"/>
                <a:gd name="connsiteX32" fmla="*/ 2056660 w 2065841"/>
                <a:gd name="connsiteY32" fmla="*/ 276744 h 3650283"/>
                <a:gd name="connsiteX33" fmla="*/ 2065772 w 2065841"/>
                <a:gd name="connsiteY33" fmla="*/ 352277 h 3650283"/>
                <a:gd name="connsiteX34" fmla="*/ 2060025 w 2065841"/>
                <a:gd name="connsiteY34" fmla="*/ 430191 h 3650283"/>
                <a:gd name="connsiteX35" fmla="*/ 2045452 w 2065841"/>
                <a:gd name="connsiteY35" fmla="*/ 502645 h 3650283"/>
                <a:gd name="connsiteX36" fmla="*/ 2012940 w 2065841"/>
                <a:gd name="connsiteY36" fmla="*/ 612373 h 3650283"/>
                <a:gd name="connsiteX37" fmla="*/ 1960108 w 2065841"/>
                <a:gd name="connsiteY37" fmla="*/ 754613 h 3650283"/>
                <a:gd name="connsiteX38" fmla="*/ 1903212 w 2065841"/>
                <a:gd name="connsiteY38" fmla="*/ 887740 h 3650283"/>
                <a:gd name="connsiteX39" fmla="*/ 1830060 w 2065841"/>
                <a:gd name="connsiteY39" fmla="*/ 1035029 h 3650283"/>
                <a:gd name="connsiteX40" fmla="*/ 1748780 w 2065841"/>
                <a:gd name="connsiteY40" fmla="*/ 1177269 h 3650283"/>
                <a:gd name="connsiteX41" fmla="*/ 1646481 w 2065841"/>
                <a:gd name="connsiteY41" fmla="*/ 1353703 h 3650283"/>
                <a:gd name="connsiteX42" fmla="*/ 1537452 w 2065841"/>
                <a:gd name="connsiteY42" fmla="*/ 1518645 h 3650283"/>
                <a:gd name="connsiteX43" fmla="*/ 1357239 w 2065841"/>
                <a:gd name="connsiteY43" fmla="*/ 1782805 h 3650283"/>
                <a:gd name="connsiteX44" fmla="*/ 1227889 w 2065841"/>
                <a:gd name="connsiteY44" fmla="*/ 1961621 h 3650283"/>
                <a:gd name="connsiteX45" fmla="*/ 1045708 w 2065841"/>
                <a:gd name="connsiteY45" fmla="*/ 2201397 h 3650283"/>
                <a:gd name="connsiteX46" fmla="*/ 883148 w 2065841"/>
                <a:gd name="connsiteY46" fmla="*/ 2412725 h 3650283"/>
                <a:gd name="connsiteX47" fmla="*/ 533644 w 2065841"/>
                <a:gd name="connsiteY47" fmla="*/ 2867893 h 3650283"/>
                <a:gd name="connsiteX48" fmla="*/ 301012 w 2065841"/>
                <a:gd name="connsiteY48" fmla="*/ 3180821 h 3650283"/>
                <a:gd name="connsiteX49" fmla="*/ 0 w 2065841"/>
                <a:gd name="connsiteY49" fmla="*/ 3650283 h 3650283"/>
                <a:gd name="connsiteX0" fmla="*/ 651500 w 2065841"/>
                <a:gd name="connsiteY0" fmla="*/ 510773 h 3650283"/>
                <a:gd name="connsiteX1" fmla="*/ 728716 w 2065841"/>
                <a:gd name="connsiteY1" fmla="*/ 648949 h 3650283"/>
                <a:gd name="connsiteX2" fmla="*/ 783930 w 2065841"/>
                <a:gd name="connsiteY2" fmla="*/ 756296 h 3650283"/>
                <a:gd name="connsiteX3" fmla="*/ 826252 w 2065841"/>
                <a:gd name="connsiteY3" fmla="*/ 856213 h 3650283"/>
                <a:gd name="connsiteX4" fmla="*/ 838444 w 2065841"/>
                <a:gd name="connsiteY4" fmla="*/ 970005 h 3650283"/>
                <a:gd name="connsiteX5" fmla="*/ 811394 w 2065841"/>
                <a:gd name="connsiteY5" fmla="*/ 1040490 h 3650283"/>
                <a:gd name="connsiteX6" fmla="*/ 761640 w 2065841"/>
                <a:gd name="connsiteY6" fmla="*/ 1082115 h 3650283"/>
                <a:gd name="connsiteX7" fmla="*/ 700268 w 2065841"/>
                <a:gd name="connsiteY7" fmla="*/ 1104117 h 3650283"/>
                <a:gd name="connsiteX8" fmla="*/ 631180 w 2065841"/>
                <a:gd name="connsiteY8" fmla="*/ 1100053 h 3650283"/>
                <a:gd name="connsiteX9" fmla="*/ 578348 w 2065841"/>
                <a:gd name="connsiteY9" fmla="*/ 1075669 h 3650283"/>
                <a:gd name="connsiteX10" fmla="*/ 525516 w 2065841"/>
                <a:gd name="connsiteY10" fmla="*/ 1010645 h 3650283"/>
                <a:gd name="connsiteX11" fmla="*/ 509260 w 2065841"/>
                <a:gd name="connsiteY11" fmla="*/ 949685 h 3650283"/>
                <a:gd name="connsiteX12" fmla="*/ 513324 w 2065841"/>
                <a:gd name="connsiteY12" fmla="*/ 864341 h 3650283"/>
                <a:gd name="connsiteX13" fmla="*/ 541772 w 2065841"/>
                <a:gd name="connsiteY13" fmla="*/ 783061 h 3650283"/>
                <a:gd name="connsiteX14" fmla="*/ 578348 w 2065841"/>
                <a:gd name="connsiteY14" fmla="*/ 730229 h 3650283"/>
                <a:gd name="connsiteX15" fmla="*/ 635244 w 2065841"/>
                <a:gd name="connsiteY15" fmla="*/ 665205 h 3650283"/>
                <a:gd name="connsiteX16" fmla="*/ 688076 w 2065841"/>
                <a:gd name="connsiteY16" fmla="*/ 600181 h 3650283"/>
                <a:gd name="connsiteX17" fmla="*/ 769356 w 2065841"/>
                <a:gd name="connsiteY17" fmla="*/ 522965 h 3650283"/>
                <a:gd name="connsiteX18" fmla="*/ 870956 w 2065841"/>
                <a:gd name="connsiteY18" fmla="*/ 437621 h 3650283"/>
                <a:gd name="connsiteX19" fmla="*/ 984748 w 2065841"/>
                <a:gd name="connsiteY19" fmla="*/ 352277 h 3650283"/>
                <a:gd name="connsiteX20" fmla="*/ 1112415 w 2065841"/>
                <a:gd name="connsiteY20" fmla="*/ 263567 h 3650283"/>
                <a:gd name="connsiteX21" fmla="*/ 1285484 w 2065841"/>
                <a:gd name="connsiteY21" fmla="*/ 157205 h 3650283"/>
                <a:gd name="connsiteX22" fmla="*/ 1425343 w 2065841"/>
                <a:gd name="connsiteY22" fmla="*/ 85736 h 3650283"/>
                <a:gd name="connsiteX23" fmla="*/ 1536754 w 2065841"/>
                <a:gd name="connsiteY23" fmla="*/ 37952 h 3650283"/>
                <a:gd name="connsiteX24" fmla="*/ 1628543 w 2065841"/>
                <a:gd name="connsiteY24" fmla="*/ 11187 h 3650283"/>
                <a:gd name="connsiteX25" fmla="*/ 1702394 w 2065841"/>
                <a:gd name="connsiteY25" fmla="*/ 1375 h 3650283"/>
                <a:gd name="connsiteX26" fmla="*/ 1771196 w 2065841"/>
                <a:gd name="connsiteY26" fmla="*/ 1090 h 3650283"/>
                <a:gd name="connsiteX27" fmla="*/ 1830060 w 2065841"/>
                <a:gd name="connsiteY27" fmla="*/ 10901 h 3650283"/>
                <a:gd name="connsiteX28" fmla="*/ 1905308 w 2065841"/>
                <a:gd name="connsiteY28" fmla="*/ 41031 h 3650283"/>
                <a:gd name="connsiteX29" fmla="*/ 1968236 w 2065841"/>
                <a:gd name="connsiteY29" fmla="*/ 96245 h 3650283"/>
                <a:gd name="connsiteX30" fmla="*/ 2005511 w 2065841"/>
                <a:gd name="connsiteY30" fmla="*/ 144314 h 3650283"/>
                <a:gd name="connsiteX31" fmla="*/ 2042784 w 2065841"/>
                <a:gd name="connsiteY31" fmla="*/ 214101 h 3650283"/>
                <a:gd name="connsiteX32" fmla="*/ 2056660 w 2065841"/>
                <a:gd name="connsiteY32" fmla="*/ 276744 h 3650283"/>
                <a:gd name="connsiteX33" fmla="*/ 2065772 w 2065841"/>
                <a:gd name="connsiteY33" fmla="*/ 352277 h 3650283"/>
                <a:gd name="connsiteX34" fmla="*/ 2060025 w 2065841"/>
                <a:gd name="connsiteY34" fmla="*/ 430191 h 3650283"/>
                <a:gd name="connsiteX35" fmla="*/ 2045452 w 2065841"/>
                <a:gd name="connsiteY35" fmla="*/ 502645 h 3650283"/>
                <a:gd name="connsiteX36" fmla="*/ 2012940 w 2065841"/>
                <a:gd name="connsiteY36" fmla="*/ 612373 h 3650283"/>
                <a:gd name="connsiteX37" fmla="*/ 1960108 w 2065841"/>
                <a:gd name="connsiteY37" fmla="*/ 754613 h 3650283"/>
                <a:gd name="connsiteX38" fmla="*/ 1903212 w 2065841"/>
                <a:gd name="connsiteY38" fmla="*/ 887740 h 3650283"/>
                <a:gd name="connsiteX39" fmla="*/ 1830060 w 2065841"/>
                <a:gd name="connsiteY39" fmla="*/ 1035029 h 3650283"/>
                <a:gd name="connsiteX40" fmla="*/ 1748780 w 2065841"/>
                <a:gd name="connsiteY40" fmla="*/ 1177269 h 3650283"/>
                <a:gd name="connsiteX41" fmla="*/ 1646481 w 2065841"/>
                <a:gd name="connsiteY41" fmla="*/ 1353703 h 3650283"/>
                <a:gd name="connsiteX42" fmla="*/ 1537452 w 2065841"/>
                <a:gd name="connsiteY42" fmla="*/ 1518645 h 3650283"/>
                <a:gd name="connsiteX43" fmla="*/ 1357239 w 2065841"/>
                <a:gd name="connsiteY43" fmla="*/ 1782805 h 3650283"/>
                <a:gd name="connsiteX44" fmla="*/ 1227889 w 2065841"/>
                <a:gd name="connsiteY44" fmla="*/ 1961621 h 3650283"/>
                <a:gd name="connsiteX45" fmla="*/ 1045708 w 2065841"/>
                <a:gd name="connsiteY45" fmla="*/ 2201397 h 3650283"/>
                <a:gd name="connsiteX46" fmla="*/ 883148 w 2065841"/>
                <a:gd name="connsiteY46" fmla="*/ 2412725 h 3650283"/>
                <a:gd name="connsiteX47" fmla="*/ 533644 w 2065841"/>
                <a:gd name="connsiteY47" fmla="*/ 2867893 h 3650283"/>
                <a:gd name="connsiteX48" fmla="*/ 301012 w 2065841"/>
                <a:gd name="connsiteY48" fmla="*/ 3180821 h 3650283"/>
                <a:gd name="connsiteX49" fmla="*/ 0 w 2065841"/>
                <a:gd name="connsiteY49" fmla="*/ 3650283 h 3650283"/>
                <a:gd name="connsiteX0" fmla="*/ 640384 w 2054725"/>
                <a:gd name="connsiteY0" fmla="*/ 510773 h 3666960"/>
                <a:gd name="connsiteX1" fmla="*/ 717600 w 2054725"/>
                <a:gd name="connsiteY1" fmla="*/ 648949 h 3666960"/>
                <a:gd name="connsiteX2" fmla="*/ 772814 w 2054725"/>
                <a:gd name="connsiteY2" fmla="*/ 756296 h 3666960"/>
                <a:gd name="connsiteX3" fmla="*/ 815136 w 2054725"/>
                <a:gd name="connsiteY3" fmla="*/ 856213 h 3666960"/>
                <a:gd name="connsiteX4" fmla="*/ 827328 w 2054725"/>
                <a:gd name="connsiteY4" fmla="*/ 970005 h 3666960"/>
                <a:gd name="connsiteX5" fmla="*/ 800278 w 2054725"/>
                <a:gd name="connsiteY5" fmla="*/ 1040490 h 3666960"/>
                <a:gd name="connsiteX6" fmla="*/ 750524 w 2054725"/>
                <a:gd name="connsiteY6" fmla="*/ 1082115 h 3666960"/>
                <a:gd name="connsiteX7" fmla="*/ 689152 w 2054725"/>
                <a:gd name="connsiteY7" fmla="*/ 1104117 h 3666960"/>
                <a:gd name="connsiteX8" fmla="*/ 620064 w 2054725"/>
                <a:gd name="connsiteY8" fmla="*/ 1100053 h 3666960"/>
                <a:gd name="connsiteX9" fmla="*/ 567232 w 2054725"/>
                <a:gd name="connsiteY9" fmla="*/ 1075669 h 3666960"/>
                <a:gd name="connsiteX10" fmla="*/ 514400 w 2054725"/>
                <a:gd name="connsiteY10" fmla="*/ 1010645 h 3666960"/>
                <a:gd name="connsiteX11" fmla="*/ 498144 w 2054725"/>
                <a:gd name="connsiteY11" fmla="*/ 949685 h 3666960"/>
                <a:gd name="connsiteX12" fmla="*/ 502208 w 2054725"/>
                <a:gd name="connsiteY12" fmla="*/ 864341 h 3666960"/>
                <a:gd name="connsiteX13" fmla="*/ 530656 w 2054725"/>
                <a:gd name="connsiteY13" fmla="*/ 783061 h 3666960"/>
                <a:gd name="connsiteX14" fmla="*/ 567232 w 2054725"/>
                <a:gd name="connsiteY14" fmla="*/ 730229 h 3666960"/>
                <a:gd name="connsiteX15" fmla="*/ 624128 w 2054725"/>
                <a:gd name="connsiteY15" fmla="*/ 665205 h 3666960"/>
                <a:gd name="connsiteX16" fmla="*/ 676960 w 2054725"/>
                <a:gd name="connsiteY16" fmla="*/ 600181 h 3666960"/>
                <a:gd name="connsiteX17" fmla="*/ 758240 w 2054725"/>
                <a:gd name="connsiteY17" fmla="*/ 522965 h 3666960"/>
                <a:gd name="connsiteX18" fmla="*/ 859840 w 2054725"/>
                <a:gd name="connsiteY18" fmla="*/ 437621 h 3666960"/>
                <a:gd name="connsiteX19" fmla="*/ 973632 w 2054725"/>
                <a:gd name="connsiteY19" fmla="*/ 352277 h 3666960"/>
                <a:gd name="connsiteX20" fmla="*/ 1101299 w 2054725"/>
                <a:gd name="connsiteY20" fmla="*/ 263567 h 3666960"/>
                <a:gd name="connsiteX21" fmla="*/ 1274368 w 2054725"/>
                <a:gd name="connsiteY21" fmla="*/ 157205 h 3666960"/>
                <a:gd name="connsiteX22" fmla="*/ 1414227 w 2054725"/>
                <a:gd name="connsiteY22" fmla="*/ 85736 h 3666960"/>
                <a:gd name="connsiteX23" fmla="*/ 1525638 w 2054725"/>
                <a:gd name="connsiteY23" fmla="*/ 37952 h 3666960"/>
                <a:gd name="connsiteX24" fmla="*/ 1617427 w 2054725"/>
                <a:gd name="connsiteY24" fmla="*/ 11187 h 3666960"/>
                <a:gd name="connsiteX25" fmla="*/ 1691278 w 2054725"/>
                <a:gd name="connsiteY25" fmla="*/ 1375 h 3666960"/>
                <a:gd name="connsiteX26" fmla="*/ 1760080 w 2054725"/>
                <a:gd name="connsiteY26" fmla="*/ 1090 h 3666960"/>
                <a:gd name="connsiteX27" fmla="*/ 1818944 w 2054725"/>
                <a:gd name="connsiteY27" fmla="*/ 10901 h 3666960"/>
                <a:gd name="connsiteX28" fmla="*/ 1894192 w 2054725"/>
                <a:gd name="connsiteY28" fmla="*/ 41031 h 3666960"/>
                <a:gd name="connsiteX29" fmla="*/ 1957120 w 2054725"/>
                <a:gd name="connsiteY29" fmla="*/ 96245 h 3666960"/>
                <a:gd name="connsiteX30" fmla="*/ 1994395 w 2054725"/>
                <a:gd name="connsiteY30" fmla="*/ 144314 h 3666960"/>
                <a:gd name="connsiteX31" fmla="*/ 2031668 w 2054725"/>
                <a:gd name="connsiteY31" fmla="*/ 214101 h 3666960"/>
                <a:gd name="connsiteX32" fmla="*/ 2045544 w 2054725"/>
                <a:gd name="connsiteY32" fmla="*/ 276744 h 3666960"/>
                <a:gd name="connsiteX33" fmla="*/ 2054656 w 2054725"/>
                <a:gd name="connsiteY33" fmla="*/ 352277 h 3666960"/>
                <a:gd name="connsiteX34" fmla="*/ 2048909 w 2054725"/>
                <a:gd name="connsiteY34" fmla="*/ 430191 h 3666960"/>
                <a:gd name="connsiteX35" fmla="*/ 2034336 w 2054725"/>
                <a:gd name="connsiteY35" fmla="*/ 502645 h 3666960"/>
                <a:gd name="connsiteX36" fmla="*/ 2001824 w 2054725"/>
                <a:gd name="connsiteY36" fmla="*/ 612373 h 3666960"/>
                <a:gd name="connsiteX37" fmla="*/ 1948992 w 2054725"/>
                <a:gd name="connsiteY37" fmla="*/ 754613 h 3666960"/>
                <a:gd name="connsiteX38" fmla="*/ 1892096 w 2054725"/>
                <a:gd name="connsiteY38" fmla="*/ 887740 h 3666960"/>
                <a:gd name="connsiteX39" fmla="*/ 1818944 w 2054725"/>
                <a:gd name="connsiteY39" fmla="*/ 1035029 h 3666960"/>
                <a:gd name="connsiteX40" fmla="*/ 1737664 w 2054725"/>
                <a:gd name="connsiteY40" fmla="*/ 1177269 h 3666960"/>
                <a:gd name="connsiteX41" fmla="*/ 1635365 w 2054725"/>
                <a:gd name="connsiteY41" fmla="*/ 1353703 h 3666960"/>
                <a:gd name="connsiteX42" fmla="*/ 1526336 w 2054725"/>
                <a:gd name="connsiteY42" fmla="*/ 1518645 h 3666960"/>
                <a:gd name="connsiteX43" fmla="*/ 1346123 w 2054725"/>
                <a:gd name="connsiteY43" fmla="*/ 1782805 h 3666960"/>
                <a:gd name="connsiteX44" fmla="*/ 1216773 w 2054725"/>
                <a:gd name="connsiteY44" fmla="*/ 1961621 h 3666960"/>
                <a:gd name="connsiteX45" fmla="*/ 1034592 w 2054725"/>
                <a:gd name="connsiteY45" fmla="*/ 2201397 h 3666960"/>
                <a:gd name="connsiteX46" fmla="*/ 872032 w 2054725"/>
                <a:gd name="connsiteY46" fmla="*/ 2412725 h 3666960"/>
                <a:gd name="connsiteX47" fmla="*/ 522528 w 2054725"/>
                <a:gd name="connsiteY47" fmla="*/ 2867893 h 3666960"/>
                <a:gd name="connsiteX48" fmla="*/ 289896 w 2054725"/>
                <a:gd name="connsiteY48" fmla="*/ 3180821 h 3666960"/>
                <a:gd name="connsiteX49" fmla="*/ 0 w 2054725"/>
                <a:gd name="connsiteY49" fmla="*/ 3666960 h 3666960"/>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79477 w 2088079"/>
                <a:gd name="connsiteY43" fmla="*/ 1782805 h 3661402"/>
                <a:gd name="connsiteX44" fmla="*/ 1250127 w 2088079"/>
                <a:gd name="connsiteY44" fmla="*/ 1961621 h 3661402"/>
                <a:gd name="connsiteX45" fmla="*/ 1067946 w 2088079"/>
                <a:gd name="connsiteY45" fmla="*/ 2201397 h 3661402"/>
                <a:gd name="connsiteX46" fmla="*/ 905386 w 2088079"/>
                <a:gd name="connsiteY46" fmla="*/ 2412725 h 3661402"/>
                <a:gd name="connsiteX47" fmla="*/ 555882 w 2088079"/>
                <a:gd name="connsiteY47" fmla="*/ 2867893 h 3661402"/>
                <a:gd name="connsiteX48" fmla="*/ 323250 w 2088079"/>
                <a:gd name="connsiteY48" fmla="*/ 3180821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79477 w 2088079"/>
                <a:gd name="connsiteY43" fmla="*/ 1782805 h 3661402"/>
                <a:gd name="connsiteX44" fmla="*/ 1250127 w 2088079"/>
                <a:gd name="connsiteY44" fmla="*/ 1961621 h 3661402"/>
                <a:gd name="connsiteX45" fmla="*/ 1067946 w 2088079"/>
                <a:gd name="connsiteY45" fmla="*/ 2201397 h 3661402"/>
                <a:gd name="connsiteX46" fmla="*/ 905386 w 2088079"/>
                <a:gd name="connsiteY46" fmla="*/ 2412725 h 3661402"/>
                <a:gd name="connsiteX47" fmla="*/ 555882 w 2088079"/>
                <a:gd name="connsiteY47" fmla="*/ 2867893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79477 w 2088079"/>
                <a:gd name="connsiteY43" fmla="*/ 1782805 h 3661402"/>
                <a:gd name="connsiteX44" fmla="*/ 1250127 w 2088079"/>
                <a:gd name="connsiteY44" fmla="*/ 1961621 h 3661402"/>
                <a:gd name="connsiteX45" fmla="*/ 1067946 w 2088079"/>
                <a:gd name="connsiteY45" fmla="*/ 2201397 h 3661402"/>
                <a:gd name="connsiteX46" fmla="*/ 905386 w 2088079"/>
                <a:gd name="connsiteY46" fmla="*/ 2412725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79477 w 2088079"/>
                <a:gd name="connsiteY43" fmla="*/ 1782805 h 3661402"/>
                <a:gd name="connsiteX44" fmla="*/ 1250127 w 2088079"/>
                <a:gd name="connsiteY44" fmla="*/ 1961621 h 3661402"/>
                <a:gd name="connsiteX45" fmla="*/ 1067946 w 2088079"/>
                <a:gd name="connsiteY45" fmla="*/ 2201397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79477 w 2088079"/>
                <a:gd name="connsiteY43" fmla="*/ 1782805 h 3661402"/>
                <a:gd name="connsiteX44" fmla="*/ 1250127 w 2088079"/>
                <a:gd name="connsiteY44" fmla="*/ 1961621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79477 w 2088079"/>
                <a:gd name="connsiteY43" fmla="*/ 1782805 h 3661402"/>
                <a:gd name="connsiteX44" fmla="*/ 1266803 w 2088079"/>
                <a:gd name="connsiteY44" fmla="*/ 1933826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62800 w 2088079"/>
                <a:gd name="connsiteY43" fmla="*/ 1755012 h 3661402"/>
                <a:gd name="connsiteX44" fmla="*/ 1266803 w 2088079"/>
                <a:gd name="connsiteY44" fmla="*/ 1933826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59690 w 2088079"/>
                <a:gd name="connsiteY42" fmla="*/ 1518645 h 3661402"/>
                <a:gd name="connsiteX43" fmla="*/ 1362800 w 2088079"/>
                <a:gd name="connsiteY43" fmla="*/ 1755012 h 3661402"/>
                <a:gd name="connsiteX44" fmla="*/ 1239010 w 2088079"/>
                <a:gd name="connsiteY44" fmla="*/ 1933826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68719 w 2088079"/>
                <a:gd name="connsiteY41" fmla="*/ 1353703 h 3661402"/>
                <a:gd name="connsiteX42" fmla="*/ 1548574 w 2088079"/>
                <a:gd name="connsiteY42" fmla="*/ 1507529 h 3661402"/>
                <a:gd name="connsiteX43" fmla="*/ 1362800 w 2088079"/>
                <a:gd name="connsiteY43" fmla="*/ 1755012 h 3661402"/>
                <a:gd name="connsiteX44" fmla="*/ 1239010 w 2088079"/>
                <a:gd name="connsiteY44" fmla="*/ 1933826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71018 w 2088079"/>
                <a:gd name="connsiteY40" fmla="*/ 1177269 h 3661402"/>
                <a:gd name="connsiteX41" fmla="*/ 1652043 w 2088079"/>
                <a:gd name="connsiteY41" fmla="*/ 1348142 h 3661402"/>
                <a:gd name="connsiteX42" fmla="*/ 1548574 w 2088079"/>
                <a:gd name="connsiteY42" fmla="*/ 1507529 h 3661402"/>
                <a:gd name="connsiteX43" fmla="*/ 1362800 w 2088079"/>
                <a:gd name="connsiteY43" fmla="*/ 1755012 h 3661402"/>
                <a:gd name="connsiteX44" fmla="*/ 1239010 w 2088079"/>
                <a:gd name="connsiteY44" fmla="*/ 1933826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53418 w 2088079"/>
                <a:gd name="connsiteY8" fmla="*/ 1100053 h 3661402"/>
                <a:gd name="connsiteX9" fmla="*/ 600586 w 2088079"/>
                <a:gd name="connsiteY9" fmla="*/ 1075669 h 3661402"/>
                <a:gd name="connsiteX10" fmla="*/ 547754 w 2088079"/>
                <a:gd name="connsiteY10" fmla="*/ 1010645 h 3661402"/>
                <a:gd name="connsiteX11" fmla="*/ 531498 w 2088079"/>
                <a:gd name="connsiteY11" fmla="*/ 949685 h 3661402"/>
                <a:gd name="connsiteX12" fmla="*/ 535562 w 2088079"/>
                <a:gd name="connsiteY12" fmla="*/ 864341 h 3661402"/>
                <a:gd name="connsiteX13" fmla="*/ 564010 w 2088079"/>
                <a:gd name="connsiteY13" fmla="*/ 783061 h 3661402"/>
                <a:gd name="connsiteX14" fmla="*/ 600586 w 2088079"/>
                <a:gd name="connsiteY14" fmla="*/ 730229 h 3661402"/>
                <a:gd name="connsiteX15" fmla="*/ 657482 w 2088079"/>
                <a:gd name="connsiteY15" fmla="*/ 665205 h 3661402"/>
                <a:gd name="connsiteX16" fmla="*/ 710314 w 2088079"/>
                <a:gd name="connsiteY16" fmla="*/ 600181 h 3661402"/>
                <a:gd name="connsiteX17" fmla="*/ 791594 w 2088079"/>
                <a:gd name="connsiteY17" fmla="*/ 522965 h 3661402"/>
                <a:gd name="connsiteX18" fmla="*/ 893194 w 2088079"/>
                <a:gd name="connsiteY18" fmla="*/ 437621 h 3661402"/>
                <a:gd name="connsiteX19" fmla="*/ 1006986 w 2088079"/>
                <a:gd name="connsiteY19" fmla="*/ 352277 h 3661402"/>
                <a:gd name="connsiteX20" fmla="*/ 1134653 w 2088079"/>
                <a:gd name="connsiteY20" fmla="*/ 263567 h 3661402"/>
                <a:gd name="connsiteX21" fmla="*/ 1307722 w 2088079"/>
                <a:gd name="connsiteY21" fmla="*/ 157205 h 3661402"/>
                <a:gd name="connsiteX22" fmla="*/ 1447581 w 2088079"/>
                <a:gd name="connsiteY22" fmla="*/ 85736 h 3661402"/>
                <a:gd name="connsiteX23" fmla="*/ 1558992 w 2088079"/>
                <a:gd name="connsiteY23" fmla="*/ 37952 h 3661402"/>
                <a:gd name="connsiteX24" fmla="*/ 1650781 w 2088079"/>
                <a:gd name="connsiteY24" fmla="*/ 11187 h 3661402"/>
                <a:gd name="connsiteX25" fmla="*/ 1724632 w 2088079"/>
                <a:gd name="connsiteY25" fmla="*/ 1375 h 3661402"/>
                <a:gd name="connsiteX26" fmla="*/ 1793434 w 2088079"/>
                <a:gd name="connsiteY26" fmla="*/ 1090 h 3661402"/>
                <a:gd name="connsiteX27" fmla="*/ 1852298 w 2088079"/>
                <a:gd name="connsiteY27" fmla="*/ 10901 h 3661402"/>
                <a:gd name="connsiteX28" fmla="*/ 1927546 w 2088079"/>
                <a:gd name="connsiteY28" fmla="*/ 41031 h 3661402"/>
                <a:gd name="connsiteX29" fmla="*/ 1990474 w 2088079"/>
                <a:gd name="connsiteY29" fmla="*/ 96245 h 3661402"/>
                <a:gd name="connsiteX30" fmla="*/ 2027749 w 2088079"/>
                <a:gd name="connsiteY30" fmla="*/ 144314 h 3661402"/>
                <a:gd name="connsiteX31" fmla="*/ 2065022 w 2088079"/>
                <a:gd name="connsiteY31" fmla="*/ 214101 h 3661402"/>
                <a:gd name="connsiteX32" fmla="*/ 2078898 w 2088079"/>
                <a:gd name="connsiteY32" fmla="*/ 276744 h 3661402"/>
                <a:gd name="connsiteX33" fmla="*/ 2088010 w 2088079"/>
                <a:gd name="connsiteY33" fmla="*/ 352277 h 3661402"/>
                <a:gd name="connsiteX34" fmla="*/ 2082263 w 2088079"/>
                <a:gd name="connsiteY34" fmla="*/ 430191 h 3661402"/>
                <a:gd name="connsiteX35" fmla="*/ 2067690 w 2088079"/>
                <a:gd name="connsiteY35" fmla="*/ 502645 h 3661402"/>
                <a:gd name="connsiteX36" fmla="*/ 2035178 w 2088079"/>
                <a:gd name="connsiteY36" fmla="*/ 612373 h 3661402"/>
                <a:gd name="connsiteX37" fmla="*/ 1982346 w 2088079"/>
                <a:gd name="connsiteY37" fmla="*/ 754613 h 3661402"/>
                <a:gd name="connsiteX38" fmla="*/ 1925450 w 2088079"/>
                <a:gd name="connsiteY38" fmla="*/ 887740 h 3661402"/>
                <a:gd name="connsiteX39" fmla="*/ 1852298 w 2088079"/>
                <a:gd name="connsiteY39" fmla="*/ 1035029 h 3661402"/>
                <a:gd name="connsiteX40" fmla="*/ 1765456 w 2088079"/>
                <a:gd name="connsiteY40" fmla="*/ 1171710 h 3661402"/>
                <a:gd name="connsiteX41" fmla="*/ 1652043 w 2088079"/>
                <a:gd name="connsiteY41" fmla="*/ 1348142 h 3661402"/>
                <a:gd name="connsiteX42" fmla="*/ 1548574 w 2088079"/>
                <a:gd name="connsiteY42" fmla="*/ 1507529 h 3661402"/>
                <a:gd name="connsiteX43" fmla="*/ 1362800 w 2088079"/>
                <a:gd name="connsiteY43" fmla="*/ 1755012 h 3661402"/>
                <a:gd name="connsiteX44" fmla="*/ 1239010 w 2088079"/>
                <a:gd name="connsiteY44" fmla="*/ 1933826 h 3661402"/>
                <a:gd name="connsiteX45" fmla="*/ 1062389 w 2088079"/>
                <a:gd name="connsiteY45" fmla="*/ 2173603 h 3661402"/>
                <a:gd name="connsiteX46" fmla="*/ 905386 w 2088079"/>
                <a:gd name="connsiteY46" fmla="*/ 2384932 h 3661402"/>
                <a:gd name="connsiteX47" fmla="*/ 544764 w 2088079"/>
                <a:gd name="connsiteY47" fmla="*/ 2834542 h 3661402"/>
                <a:gd name="connsiteX48" fmla="*/ 301016 w 2088079"/>
                <a:gd name="connsiteY48" fmla="*/ 3169703 h 3661402"/>
                <a:gd name="connsiteX49" fmla="*/ 0 w 2088079"/>
                <a:gd name="connsiteY49"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00586 w 2088079"/>
                <a:gd name="connsiteY8" fmla="*/ 1075669 h 3661402"/>
                <a:gd name="connsiteX9" fmla="*/ 547754 w 2088079"/>
                <a:gd name="connsiteY9" fmla="*/ 1010645 h 3661402"/>
                <a:gd name="connsiteX10" fmla="*/ 531498 w 2088079"/>
                <a:gd name="connsiteY10" fmla="*/ 949685 h 3661402"/>
                <a:gd name="connsiteX11" fmla="*/ 535562 w 2088079"/>
                <a:gd name="connsiteY11" fmla="*/ 864341 h 3661402"/>
                <a:gd name="connsiteX12" fmla="*/ 564010 w 2088079"/>
                <a:gd name="connsiteY12" fmla="*/ 783061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28382 w 2088079"/>
                <a:gd name="connsiteY8" fmla="*/ 1075669 h 3661402"/>
                <a:gd name="connsiteX9" fmla="*/ 547754 w 2088079"/>
                <a:gd name="connsiteY9" fmla="*/ 1010645 h 3661402"/>
                <a:gd name="connsiteX10" fmla="*/ 531498 w 2088079"/>
                <a:gd name="connsiteY10" fmla="*/ 949685 h 3661402"/>
                <a:gd name="connsiteX11" fmla="*/ 535562 w 2088079"/>
                <a:gd name="connsiteY11" fmla="*/ 864341 h 3661402"/>
                <a:gd name="connsiteX12" fmla="*/ 564010 w 2088079"/>
                <a:gd name="connsiteY12" fmla="*/ 783061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28382 w 2088079"/>
                <a:gd name="connsiteY8" fmla="*/ 1075669 h 3661402"/>
                <a:gd name="connsiteX9" fmla="*/ 553313 w 2088079"/>
                <a:gd name="connsiteY9" fmla="*/ 993968 h 3661402"/>
                <a:gd name="connsiteX10" fmla="*/ 531498 w 2088079"/>
                <a:gd name="connsiteY10" fmla="*/ 949685 h 3661402"/>
                <a:gd name="connsiteX11" fmla="*/ 535562 w 2088079"/>
                <a:gd name="connsiteY11" fmla="*/ 864341 h 3661402"/>
                <a:gd name="connsiteX12" fmla="*/ 564010 w 2088079"/>
                <a:gd name="connsiteY12" fmla="*/ 783061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28382 w 2088079"/>
                <a:gd name="connsiteY8" fmla="*/ 1075669 h 3661402"/>
                <a:gd name="connsiteX9" fmla="*/ 553313 w 2088079"/>
                <a:gd name="connsiteY9" fmla="*/ 993968 h 3661402"/>
                <a:gd name="connsiteX10" fmla="*/ 542617 w 2088079"/>
                <a:gd name="connsiteY10" fmla="*/ 938566 h 3661402"/>
                <a:gd name="connsiteX11" fmla="*/ 535562 w 2088079"/>
                <a:gd name="connsiteY11" fmla="*/ 864341 h 3661402"/>
                <a:gd name="connsiteX12" fmla="*/ 564010 w 2088079"/>
                <a:gd name="connsiteY12" fmla="*/ 783061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28382 w 2088079"/>
                <a:gd name="connsiteY8" fmla="*/ 1075669 h 3661402"/>
                <a:gd name="connsiteX9" fmla="*/ 553313 w 2088079"/>
                <a:gd name="connsiteY9" fmla="*/ 993968 h 3661402"/>
                <a:gd name="connsiteX10" fmla="*/ 542617 w 2088079"/>
                <a:gd name="connsiteY10" fmla="*/ 938566 h 3661402"/>
                <a:gd name="connsiteX11" fmla="*/ 546681 w 2088079"/>
                <a:gd name="connsiteY11" fmla="*/ 864340 h 3661402"/>
                <a:gd name="connsiteX12" fmla="*/ 564010 w 2088079"/>
                <a:gd name="connsiteY12" fmla="*/ 783061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28382 w 2088079"/>
                <a:gd name="connsiteY8" fmla="*/ 1075669 h 3661402"/>
                <a:gd name="connsiteX9" fmla="*/ 553313 w 2088079"/>
                <a:gd name="connsiteY9" fmla="*/ 993968 h 3661402"/>
                <a:gd name="connsiteX10" fmla="*/ 542617 w 2088079"/>
                <a:gd name="connsiteY10" fmla="*/ 938566 h 3661402"/>
                <a:gd name="connsiteX11" fmla="*/ 546681 w 2088079"/>
                <a:gd name="connsiteY11" fmla="*/ 864340 h 3661402"/>
                <a:gd name="connsiteX12" fmla="*/ 575130 w 2088079"/>
                <a:gd name="connsiteY12" fmla="*/ 783062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83878 w 2088079"/>
                <a:gd name="connsiteY6" fmla="*/ 1082115 h 3661402"/>
                <a:gd name="connsiteX7" fmla="*/ 722506 w 2088079"/>
                <a:gd name="connsiteY7" fmla="*/ 1104117 h 3661402"/>
                <a:gd name="connsiteX8" fmla="*/ 628382 w 2088079"/>
                <a:gd name="connsiteY8" fmla="*/ 1075669 h 3661402"/>
                <a:gd name="connsiteX9" fmla="*/ 558871 w 2088079"/>
                <a:gd name="connsiteY9" fmla="*/ 993968 h 3661402"/>
                <a:gd name="connsiteX10" fmla="*/ 542617 w 2088079"/>
                <a:gd name="connsiteY10" fmla="*/ 938566 h 3661402"/>
                <a:gd name="connsiteX11" fmla="*/ 546681 w 2088079"/>
                <a:gd name="connsiteY11" fmla="*/ 864340 h 3661402"/>
                <a:gd name="connsiteX12" fmla="*/ 575130 w 2088079"/>
                <a:gd name="connsiteY12" fmla="*/ 783062 h 3661402"/>
                <a:gd name="connsiteX13" fmla="*/ 600586 w 2088079"/>
                <a:gd name="connsiteY13" fmla="*/ 730229 h 3661402"/>
                <a:gd name="connsiteX14" fmla="*/ 657482 w 2088079"/>
                <a:gd name="connsiteY14" fmla="*/ 665205 h 3661402"/>
                <a:gd name="connsiteX15" fmla="*/ 710314 w 2088079"/>
                <a:gd name="connsiteY15" fmla="*/ 600181 h 3661402"/>
                <a:gd name="connsiteX16" fmla="*/ 791594 w 2088079"/>
                <a:gd name="connsiteY16" fmla="*/ 522965 h 3661402"/>
                <a:gd name="connsiteX17" fmla="*/ 893194 w 2088079"/>
                <a:gd name="connsiteY17" fmla="*/ 437621 h 3661402"/>
                <a:gd name="connsiteX18" fmla="*/ 1006986 w 2088079"/>
                <a:gd name="connsiteY18" fmla="*/ 352277 h 3661402"/>
                <a:gd name="connsiteX19" fmla="*/ 1134653 w 2088079"/>
                <a:gd name="connsiteY19" fmla="*/ 263567 h 3661402"/>
                <a:gd name="connsiteX20" fmla="*/ 1307722 w 2088079"/>
                <a:gd name="connsiteY20" fmla="*/ 157205 h 3661402"/>
                <a:gd name="connsiteX21" fmla="*/ 1447581 w 2088079"/>
                <a:gd name="connsiteY21" fmla="*/ 85736 h 3661402"/>
                <a:gd name="connsiteX22" fmla="*/ 1558992 w 2088079"/>
                <a:gd name="connsiteY22" fmla="*/ 37952 h 3661402"/>
                <a:gd name="connsiteX23" fmla="*/ 1650781 w 2088079"/>
                <a:gd name="connsiteY23" fmla="*/ 11187 h 3661402"/>
                <a:gd name="connsiteX24" fmla="*/ 1724632 w 2088079"/>
                <a:gd name="connsiteY24" fmla="*/ 1375 h 3661402"/>
                <a:gd name="connsiteX25" fmla="*/ 1793434 w 2088079"/>
                <a:gd name="connsiteY25" fmla="*/ 1090 h 3661402"/>
                <a:gd name="connsiteX26" fmla="*/ 1852298 w 2088079"/>
                <a:gd name="connsiteY26" fmla="*/ 10901 h 3661402"/>
                <a:gd name="connsiteX27" fmla="*/ 1927546 w 2088079"/>
                <a:gd name="connsiteY27" fmla="*/ 41031 h 3661402"/>
                <a:gd name="connsiteX28" fmla="*/ 1990474 w 2088079"/>
                <a:gd name="connsiteY28" fmla="*/ 96245 h 3661402"/>
                <a:gd name="connsiteX29" fmla="*/ 2027749 w 2088079"/>
                <a:gd name="connsiteY29" fmla="*/ 144314 h 3661402"/>
                <a:gd name="connsiteX30" fmla="*/ 2065022 w 2088079"/>
                <a:gd name="connsiteY30" fmla="*/ 214101 h 3661402"/>
                <a:gd name="connsiteX31" fmla="*/ 2078898 w 2088079"/>
                <a:gd name="connsiteY31" fmla="*/ 276744 h 3661402"/>
                <a:gd name="connsiteX32" fmla="*/ 2088010 w 2088079"/>
                <a:gd name="connsiteY32" fmla="*/ 352277 h 3661402"/>
                <a:gd name="connsiteX33" fmla="*/ 2082263 w 2088079"/>
                <a:gd name="connsiteY33" fmla="*/ 430191 h 3661402"/>
                <a:gd name="connsiteX34" fmla="*/ 2067690 w 2088079"/>
                <a:gd name="connsiteY34" fmla="*/ 502645 h 3661402"/>
                <a:gd name="connsiteX35" fmla="*/ 2035178 w 2088079"/>
                <a:gd name="connsiteY35" fmla="*/ 612373 h 3661402"/>
                <a:gd name="connsiteX36" fmla="*/ 1982346 w 2088079"/>
                <a:gd name="connsiteY36" fmla="*/ 754613 h 3661402"/>
                <a:gd name="connsiteX37" fmla="*/ 1925450 w 2088079"/>
                <a:gd name="connsiteY37" fmla="*/ 887740 h 3661402"/>
                <a:gd name="connsiteX38" fmla="*/ 1852298 w 2088079"/>
                <a:gd name="connsiteY38" fmla="*/ 1035029 h 3661402"/>
                <a:gd name="connsiteX39" fmla="*/ 1765456 w 2088079"/>
                <a:gd name="connsiteY39" fmla="*/ 1171710 h 3661402"/>
                <a:gd name="connsiteX40" fmla="*/ 1652043 w 2088079"/>
                <a:gd name="connsiteY40" fmla="*/ 1348142 h 3661402"/>
                <a:gd name="connsiteX41" fmla="*/ 1548574 w 2088079"/>
                <a:gd name="connsiteY41" fmla="*/ 1507529 h 3661402"/>
                <a:gd name="connsiteX42" fmla="*/ 1362800 w 2088079"/>
                <a:gd name="connsiteY42" fmla="*/ 1755012 h 3661402"/>
                <a:gd name="connsiteX43" fmla="*/ 1239010 w 2088079"/>
                <a:gd name="connsiteY43" fmla="*/ 1933826 h 3661402"/>
                <a:gd name="connsiteX44" fmla="*/ 1062389 w 2088079"/>
                <a:gd name="connsiteY44" fmla="*/ 2173603 h 3661402"/>
                <a:gd name="connsiteX45" fmla="*/ 905386 w 2088079"/>
                <a:gd name="connsiteY45" fmla="*/ 2384932 h 3661402"/>
                <a:gd name="connsiteX46" fmla="*/ 544764 w 2088079"/>
                <a:gd name="connsiteY46" fmla="*/ 2834542 h 3661402"/>
                <a:gd name="connsiteX47" fmla="*/ 301016 w 2088079"/>
                <a:gd name="connsiteY47" fmla="*/ 3169703 h 3661402"/>
                <a:gd name="connsiteX48" fmla="*/ 0 w 2088079"/>
                <a:gd name="connsiteY48"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33632 w 2088079"/>
                <a:gd name="connsiteY5" fmla="*/ 1040490 h 3661402"/>
                <a:gd name="connsiteX6" fmla="*/ 722506 w 2088079"/>
                <a:gd name="connsiteY6" fmla="*/ 1104117 h 3661402"/>
                <a:gd name="connsiteX7" fmla="*/ 628382 w 2088079"/>
                <a:gd name="connsiteY7" fmla="*/ 1075669 h 3661402"/>
                <a:gd name="connsiteX8" fmla="*/ 558871 w 2088079"/>
                <a:gd name="connsiteY8" fmla="*/ 993968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22506 w 2088079"/>
                <a:gd name="connsiteY6" fmla="*/ 1104117 h 3661402"/>
                <a:gd name="connsiteX7" fmla="*/ 628382 w 2088079"/>
                <a:gd name="connsiteY7" fmla="*/ 1075669 h 3661402"/>
                <a:gd name="connsiteX8" fmla="*/ 558871 w 2088079"/>
                <a:gd name="connsiteY8" fmla="*/ 993968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22506 w 2088079"/>
                <a:gd name="connsiteY6" fmla="*/ 1087441 h 3661402"/>
                <a:gd name="connsiteX7" fmla="*/ 628382 w 2088079"/>
                <a:gd name="connsiteY7" fmla="*/ 1075669 h 3661402"/>
                <a:gd name="connsiteX8" fmla="*/ 558871 w 2088079"/>
                <a:gd name="connsiteY8" fmla="*/ 993968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22506 w 2088079"/>
                <a:gd name="connsiteY6" fmla="*/ 1087441 h 3661402"/>
                <a:gd name="connsiteX7" fmla="*/ 650616 w 2088079"/>
                <a:gd name="connsiteY7" fmla="*/ 1064553 h 3661402"/>
                <a:gd name="connsiteX8" fmla="*/ 558871 w 2088079"/>
                <a:gd name="connsiteY8" fmla="*/ 993968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22506 w 2088079"/>
                <a:gd name="connsiteY6" fmla="*/ 1087441 h 3661402"/>
                <a:gd name="connsiteX7" fmla="*/ 633940 w 2088079"/>
                <a:gd name="connsiteY7" fmla="*/ 1075671 h 3661402"/>
                <a:gd name="connsiteX8" fmla="*/ 558871 w 2088079"/>
                <a:gd name="connsiteY8" fmla="*/ 993968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39183 w 2088079"/>
                <a:gd name="connsiteY6" fmla="*/ 1087441 h 3661402"/>
                <a:gd name="connsiteX7" fmla="*/ 633940 w 2088079"/>
                <a:gd name="connsiteY7" fmla="*/ 1075671 h 3661402"/>
                <a:gd name="connsiteX8" fmla="*/ 558871 w 2088079"/>
                <a:gd name="connsiteY8" fmla="*/ 993968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39183 w 2088079"/>
                <a:gd name="connsiteY6" fmla="*/ 1087441 h 3661402"/>
                <a:gd name="connsiteX7" fmla="*/ 633940 w 2088079"/>
                <a:gd name="connsiteY7" fmla="*/ 1075671 h 3661402"/>
                <a:gd name="connsiteX8" fmla="*/ 569987 w 2088079"/>
                <a:gd name="connsiteY8" fmla="*/ 1005087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8 w 2088079"/>
                <a:gd name="connsiteY34" fmla="*/ 612373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39183 w 2088079"/>
                <a:gd name="connsiteY6" fmla="*/ 1087441 h 3661402"/>
                <a:gd name="connsiteX7" fmla="*/ 633940 w 2088079"/>
                <a:gd name="connsiteY7" fmla="*/ 1075671 h 3661402"/>
                <a:gd name="connsiteX8" fmla="*/ 569987 w 2088079"/>
                <a:gd name="connsiteY8" fmla="*/ 1005087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7 w 2088079"/>
                <a:gd name="connsiteY34" fmla="*/ 634607 h 3661402"/>
                <a:gd name="connsiteX35" fmla="*/ 1982346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39183 w 2088079"/>
                <a:gd name="connsiteY6" fmla="*/ 1087441 h 3661402"/>
                <a:gd name="connsiteX7" fmla="*/ 633940 w 2088079"/>
                <a:gd name="connsiteY7" fmla="*/ 1075671 h 3661402"/>
                <a:gd name="connsiteX8" fmla="*/ 569987 w 2088079"/>
                <a:gd name="connsiteY8" fmla="*/ 1005087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7 w 2088079"/>
                <a:gd name="connsiteY34" fmla="*/ 634607 h 3661402"/>
                <a:gd name="connsiteX35" fmla="*/ 1993462 w 2088079"/>
                <a:gd name="connsiteY35" fmla="*/ 754613 h 3661402"/>
                <a:gd name="connsiteX36" fmla="*/ 1925450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 name="connsiteX0" fmla="*/ 673738 w 2088079"/>
                <a:gd name="connsiteY0" fmla="*/ 510773 h 3661402"/>
                <a:gd name="connsiteX1" fmla="*/ 750954 w 2088079"/>
                <a:gd name="connsiteY1" fmla="*/ 648949 h 3661402"/>
                <a:gd name="connsiteX2" fmla="*/ 806168 w 2088079"/>
                <a:gd name="connsiteY2" fmla="*/ 756296 h 3661402"/>
                <a:gd name="connsiteX3" fmla="*/ 848490 w 2088079"/>
                <a:gd name="connsiteY3" fmla="*/ 856213 h 3661402"/>
                <a:gd name="connsiteX4" fmla="*/ 860682 w 2088079"/>
                <a:gd name="connsiteY4" fmla="*/ 970005 h 3661402"/>
                <a:gd name="connsiteX5" fmla="*/ 828073 w 2088079"/>
                <a:gd name="connsiteY5" fmla="*/ 1034932 h 3661402"/>
                <a:gd name="connsiteX6" fmla="*/ 739183 w 2088079"/>
                <a:gd name="connsiteY6" fmla="*/ 1087441 h 3661402"/>
                <a:gd name="connsiteX7" fmla="*/ 633940 w 2088079"/>
                <a:gd name="connsiteY7" fmla="*/ 1075671 h 3661402"/>
                <a:gd name="connsiteX8" fmla="*/ 569987 w 2088079"/>
                <a:gd name="connsiteY8" fmla="*/ 1005087 h 3661402"/>
                <a:gd name="connsiteX9" fmla="*/ 542617 w 2088079"/>
                <a:gd name="connsiteY9" fmla="*/ 938566 h 3661402"/>
                <a:gd name="connsiteX10" fmla="*/ 546681 w 2088079"/>
                <a:gd name="connsiteY10" fmla="*/ 864340 h 3661402"/>
                <a:gd name="connsiteX11" fmla="*/ 575130 w 2088079"/>
                <a:gd name="connsiteY11" fmla="*/ 783062 h 3661402"/>
                <a:gd name="connsiteX12" fmla="*/ 600586 w 2088079"/>
                <a:gd name="connsiteY12" fmla="*/ 730229 h 3661402"/>
                <a:gd name="connsiteX13" fmla="*/ 657482 w 2088079"/>
                <a:gd name="connsiteY13" fmla="*/ 665205 h 3661402"/>
                <a:gd name="connsiteX14" fmla="*/ 710314 w 2088079"/>
                <a:gd name="connsiteY14" fmla="*/ 600181 h 3661402"/>
                <a:gd name="connsiteX15" fmla="*/ 791594 w 2088079"/>
                <a:gd name="connsiteY15" fmla="*/ 522965 h 3661402"/>
                <a:gd name="connsiteX16" fmla="*/ 893194 w 2088079"/>
                <a:gd name="connsiteY16" fmla="*/ 437621 h 3661402"/>
                <a:gd name="connsiteX17" fmla="*/ 1006986 w 2088079"/>
                <a:gd name="connsiteY17" fmla="*/ 352277 h 3661402"/>
                <a:gd name="connsiteX18" fmla="*/ 1134653 w 2088079"/>
                <a:gd name="connsiteY18" fmla="*/ 263567 h 3661402"/>
                <a:gd name="connsiteX19" fmla="*/ 1307722 w 2088079"/>
                <a:gd name="connsiteY19" fmla="*/ 157205 h 3661402"/>
                <a:gd name="connsiteX20" fmla="*/ 1447581 w 2088079"/>
                <a:gd name="connsiteY20" fmla="*/ 85736 h 3661402"/>
                <a:gd name="connsiteX21" fmla="*/ 1558992 w 2088079"/>
                <a:gd name="connsiteY21" fmla="*/ 37952 h 3661402"/>
                <a:gd name="connsiteX22" fmla="*/ 1650781 w 2088079"/>
                <a:gd name="connsiteY22" fmla="*/ 11187 h 3661402"/>
                <a:gd name="connsiteX23" fmla="*/ 1724632 w 2088079"/>
                <a:gd name="connsiteY23" fmla="*/ 1375 h 3661402"/>
                <a:gd name="connsiteX24" fmla="*/ 1793434 w 2088079"/>
                <a:gd name="connsiteY24" fmla="*/ 1090 h 3661402"/>
                <a:gd name="connsiteX25" fmla="*/ 1852298 w 2088079"/>
                <a:gd name="connsiteY25" fmla="*/ 10901 h 3661402"/>
                <a:gd name="connsiteX26" fmla="*/ 1927546 w 2088079"/>
                <a:gd name="connsiteY26" fmla="*/ 41031 h 3661402"/>
                <a:gd name="connsiteX27" fmla="*/ 1990474 w 2088079"/>
                <a:gd name="connsiteY27" fmla="*/ 96245 h 3661402"/>
                <a:gd name="connsiteX28" fmla="*/ 2027749 w 2088079"/>
                <a:gd name="connsiteY28" fmla="*/ 144314 h 3661402"/>
                <a:gd name="connsiteX29" fmla="*/ 2065022 w 2088079"/>
                <a:gd name="connsiteY29" fmla="*/ 214101 h 3661402"/>
                <a:gd name="connsiteX30" fmla="*/ 2078898 w 2088079"/>
                <a:gd name="connsiteY30" fmla="*/ 276744 h 3661402"/>
                <a:gd name="connsiteX31" fmla="*/ 2088010 w 2088079"/>
                <a:gd name="connsiteY31" fmla="*/ 352277 h 3661402"/>
                <a:gd name="connsiteX32" fmla="*/ 2082263 w 2088079"/>
                <a:gd name="connsiteY32" fmla="*/ 430191 h 3661402"/>
                <a:gd name="connsiteX33" fmla="*/ 2067690 w 2088079"/>
                <a:gd name="connsiteY33" fmla="*/ 502645 h 3661402"/>
                <a:gd name="connsiteX34" fmla="*/ 2035177 w 2088079"/>
                <a:gd name="connsiteY34" fmla="*/ 634607 h 3661402"/>
                <a:gd name="connsiteX35" fmla="*/ 1993462 w 2088079"/>
                <a:gd name="connsiteY35" fmla="*/ 754613 h 3661402"/>
                <a:gd name="connsiteX36" fmla="*/ 1931008 w 2088079"/>
                <a:gd name="connsiteY36" fmla="*/ 887740 h 3661402"/>
                <a:gd name="connsiteX37" fmla="*/ 1852298 w 2088079"/>
                <a:gd name="connsiteY37" fmla="*/ 1035029 h 3661402"/>
                <a:gd name="connsiteX38" fmla="*/ 1765456 w 2088079"/>
                <a:gd name="connsiteY38" fmla="*/ 1171710 h 3661402"/>
                <a:gd name="connsiteX39" fmla="*/ 1652043 w 2088079"/>
                <a:gd name="connsiteY39" fmla="*/ 1348142 h 3661402"/>
                <a:gd name="connsiteX40" fmla="*/ 1548574 w 2088079"/>
                <a:gd name="connsiteY40" fmla="*/ 1507529 h 3661402"/>
                <a:gd name="connsiteX41" fmla="*/ 1362800 w 2088079"/>
                <a:gd name="connsiteY41" fmla="*/ 1755012 h 3661402"/>
                <a:gd name="connsiteX42" fmla="*/ 1239010 w 2088079"/>
                <a:gd name="connsiteY42" fmla="*/ 1933826 h 3661402"/>
                <a:gd name="connsiteX43" fmla="*/ 1062389 w 2088079"/>
                <a:gd name="connsiteY43" fmla="*/ 2173603 h 3661402"/>
                <a:gd name="connsiteX44" fmla="*/ 905386 w 2088079"/>
                <a:gd name="connsiteY44" fmla="*/ 2384932 h 3661402"/>
                <a:gd name="connsiteX45" fmla="*/ 544764 w 2088079"/>
                <a:gd name="connsiteY45" fmla="*/ 2834542 h 3661402"/>
                <a:gd name="connsiteX46" fmla="*/ 301016 w 2088079"/>
                <a:gd name="connsiteY46" fmla="*/ 3169703 h 3661402"/>
                <a:gd name="connsiteX47" fmla="*/ 0 w 2088079"/>
                <a:gd name="connsiteY47" fmla="*/ 3661402 h 366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088079" h="3661402">
                  <a:moveTo>
                    <a:pt x="673738" y="510773"/>
                  </a:moveTo>
                  <a:lnTo>
                    <a:pt x="750954" y="648949"/>
                  </a:lnTo>
                  <a:lnTo>
                    <a:pt x="806168" y="756296"/>
                  </a:lnTo>
                  <a:cubicBezTo>
                    <a:pt x="822424" y="794904"/>
                    <a:pt x="839404" y="820595"/>
                    <a:pt x="848490" y="856213"/>
                  </a:cubicBezTo>
                  <a:cubicBezTo>
                    <a:pt x="857576" y="891831"/>
                    <a:pt x="864085" y="940219"/>
                    <a:pt x="860682" y="970005"/>
                  </a:cubicBezTo>
                  <a:cubicBezTo>
                    <a:pt x="857279" y="999792"/>
                    <a:pt x="848323" y="1015359"/>
                    <a:pt x="828073" y="1034932"/>
                  </a:cubicBezTo>
                  <a:cubicBezTo>
                    <a:pt x="807823" y="1054505"/>
                    <a:pt x="771539" y="1080651"/>
                    <a:pt x="739183" y="1087441"/>
                  </a:cubicBezTo>
                  <a:cubicBezTo>
                    <a:pt x="706828" y="1094231"/>
                    <a:pt x="663065" y="1091250"/>
                    <a:pt x="633940" y="1075671"/>
                  </a:cubicBezTo>
                  <a:cubicBezTo>
                    <a:pt x="604815" y="1060092"/>
                    <a:pt x="585207" y="1027938"/>
                    <a:pt x="569987" y="1005087"/>
                  </a:cubicBezTo>
                  <a:cubicBezTo>
                    <a:pt x="554767" y="982236"/>
                    <a:pt x="546501" y="962024"/>
                    <a:pt x="542617" y="938566"/>
                  </a:cubicBezTo>
                  <a:cubicBezTo>
                    <a:pt x="538733" y="915108"/>
                    <a:pt x="541262" y="890257"/>
                    <a:pt x="546681" y="864340"/>
                  </a:cubicBezTo>
                  <a:cubicBezTo>
                    <a:pt x="552100" y="838423"/>
                    <a:pt x="564293" y="805414"/>
                    <a:pt x="575130" y="783062"/>
                  </a:cubicBezTo>
                  <a:lnTo>
                    <a:pt x="600586" y="730229"/>
                  </a:lnTo>
                  <a:lnTo>
                    <a:pt x="657482" y="665205"/>
                  </a:lnTo>
                  <a:lnTo>
                    <a:pt x="710314" y="600181"/>
                  </a:lnTo>
                  <a:lnTo>
                    <a:pt x="791594" y="522965"/>
                  </a:lnTo>
                  <a:lnTo>
                    <a:pt x="893194" y="437621"/>
                  </a:lnTo>
                  <a:lnTo>
                    <a:pt x="1006986" y="352277"/>
                  </a:lnTo>
                  <a:lnTo>
                    <a:pt x="1134653" y="263567"/>
                  </a:lnTo>
                  <a:lnTo>
                    <a:pt x="1307722" y="157205"/>
                  </a:lnTo>
                  <a:lnTo>
                    <a:pt x="1447581" y="85736"/>
                  </a:lnTo>
                  <a:lnTo>
                    <a:pt x="1558992" y="37952"/>
                  </a:lnTo>
                  <a:cubicBezTo>
                    <a:pt x="1592462" y="25924"/>
                    <a:pt x="1623174" y="17283"/>
                    <a:pt x="1650781" y="11187"/>
                  </a:cubicBezTo>
                  <a:cubicBezTo>
                    <a:pt x="1678388" y="5091"/>
                    <a:pt x="1700857" y="3058"/>
                    <a:pt x="1724632" y="1375"/>
                  </a:cubicBezTo>
                  <a:cubicBezTo>
                    <a:pt x="1748407" y="-308"/>
                    <a:pt x="1772156" y="-498"/>
                    <a:pt x="1793434" y="1090"/>
                  </a:cubicBezTo>
                  <a:cubicBezTo>
                    <a:pt x="1814712" y="2678"/>
                    <a:pt x="1829946" y="3450"/>
                    <a:pt x="1852298" y="10901"/>
                  </a:cubicBezTo>
                  <a:cubicBezTo>
                    <a:pt x="1877381" y="20944"/>
                    <a:pt x="1909607" y="26225"/>
                    <a:pt x="1927546" y="41031"/>
                  </a:cubicBezTo>
                  <a:cubicBezTo>
                    <a:pt x="1945485" y="55837"/>
                    <a:pt x="1973774" y="79031"/>
                    <a:pt x="1990474" y="96245"/>
                  </a:cubicBezTo>
                  <a:cubicBezTo>
                    <a:pt x="2007174" y="113459"/>
                    <a:pt x="2016912" y="124671"/>
                    <a:pt x="2027749" y="144314"/>
                  </a:cubicBezTo>
                  <a:lnTo>
                    <a:pt x="2065022" y="214101"/>
                  </a:lnTo>
                  <a:lnTo>
                    <a:pt x="2078898" y="276744"/>
                  </a:lnTo>
                  <a:cubicBezTo>
                    <a:pt x="2084317" y="299773"/>
                    <a:pt x="2087449" y="326703"/>
                    <a:pt x="2088010" y="352277"/>
                  </a:cubicBezTo>
                  <a:cubicBezTo>
                    <a:pt x="2088571" y="377851"/>
                    <a:pt x="2085650" y="405130"/>
                    <a:pt x="2082263" y="430191"/>
                  </a:cubicBezTo>
                  <a:lnTo>
                    <a:pt x="2067690" y="502645"/>
                  </a:lnTo>
                  <a:lnTo>
                    <a:pt x="2035177" y="634607"/>
                  </a:lnTo>
                  <a:lnTo>
                    <a:pt x="1993462" y="754613"/>
                  </a:lnTo>
                  <a:lnTo>
                    <a:pt x="1931008" y="887740"/>
                  </a:lnTo>
                  <a:lnTo>
                    <a:pt x="1852298" y="1035029"/>
                  </a:lnTo>
                  <a:lnTo>
                    <a:pt x="1765456" y="1171710"/>
                  </a:lnTo>
                  <a:lnTo>
                    <a:pt x="1652043" y="1348142"/>
                  </a:lnTo>
                  <a:lnTo>
                    <a:pt x="1548574" y="1507529"/>
                  </a:lnTo>
                  <a:lnTo>
                    <a:pt x="1362800" y="1755012"/>
                  </a:lnTo>
                  <a:lnTo>
                    <a:pt x="1239010" y="1933826"/>
                  </a:lnTo>
                  <a:cubicBezTo>
                    <a:pt x="1178283" y="2013751"/>
                    <a:pt x="1117993" y="2098419"/>
                    <a:pt x="1062389" y="2173603"/>
                  </a:cubicBezTo>
                  <a:cubicBezTo>
                    <a:pt x="1006785" y="2248787"/>
                    <a:pt x="991657" y="2274776"/>
                    <a:pt x="905386" y="2384932"/>
                  </a:cubicBezTo>
                  <a:cubicBezTo>
                    <a:pt x="819115" y="2495088"/>
                    <a:pt x="645492" y="2703747"/>
                    <a:pt x="544764" y="2834542"/>
                  </a:cubicBezTo>
                  <a:cubicBezTo>
                    <a:pt x="444036" y="2965337"/>
                    <a:pt x="378560" y="3065394"/>
                    <a:pt x="301016" y="3169703"/>
                  </a:cubicBezTo>
                  <a:cubicBezTo>
                    <a:pt x="200679" y="3326190"/>
                    <a:pt x="72541" y="3499357"/>
                    <a:pt x="0" y="3661402"/>
                  </a:cubicBezTo>
                </a:path>
              </a:pathLst>
            </a:custGeom>
            <a:noFill/>
            <a:ln w="88900" cap="rnd"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 name="Title 2"/>
          <p:cNvSpPr txBox="1">
            <a:spLocks/>
          </p:cNvSpPr>
          <p:nvPr/>
        </p:nvSpPr>
        <p:spPr>
          <a:xfrm>
            <a:off x="5498256" y="1833743"/>
            <a:ext cx="6405878" cy="3119341"/>
          </a:xfrm>
          <a:prstGeom prst="rect">
            <a:avLst/>
          </a:prstGeom>
          <a:ln cap="rnd">
            <a:noFill/>
          </a:ln>
        </p:spPr>
        <p:txBody>
          <a:bodyPr vert="horz" wrap="square" lIns="0" tIns="0" rIns="0" bIns="0" rtlCol="0" anchor="t">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sym typeface="Trebuchet MS" panose="020B0603020202020204" pitchFamily="34" charset="0"/>
              </a:defRPr>
            </a:lvl1pPr>
          </a:lstStyle>
          <a:p>
            <a:pPr>
              <a:lnSpc>
                <a:spcPct val="100000"/>
              </a:lnSpc>
              <a:spcAft>
                <a:spcPts val="5400"/>
              </a:spcAft>
            </a:pPr>
            <a:r>
              <a:rPr lang="en-US" sz="2000" dirty="0">
                <a:solidFill>
                  <a:srgbClr val="575757"/>
                </a:solidFill>
                <a:ea typeface="Times New Roman" panose="02020603050405020304" pitchFamily="18" charset="0"/>
              </a:rPr>
              <a:t>Activated purpose through nationwide leadership events, followed up by tangible actions</a:t>
            </a:r>
          </a:p>
          <a:p>
            <a:pPr>
              <a:lnSpc>
                <a:spcPct val="100000"/>
              </a:lnSpc>
              <a:spcAft>
                <a:spcPts val="5400"/>
              </a:spcAft>
            </a:pPr>
            <a:r>
              <a:rPr lang="en-US" sz="2000" dirty="0">
                <a:solidFill>
                  <a:srgbClr val="575757"/>
                </a:solidFill>
                <a:ea typeface="Times New Roman" panose="02020603050405020304" pitchFamily="18" charset="0"/>
              </a:rPr>
              <a:t>Articulated culture behaviors consistent with purpose and are aligning the context to sustain culture</a:t>
            </a:r>
          </a:p>
          <a:p>
            <a:pPr>
              <a:lnSpc>
                <a:spcPct val="100000"/>
              </a:lnSpc>
              <a:spcAft>
                <a:spcPts val="5400"/>
              </a:spcAft>
            </a:pPr>
            <a:r>
              <a:rPr lang="en-US" sz="2000" dirty="0">
                <a:solidFill>
                  <a:srgbClr val="575757"/>
                </a:solidFill>
                <a:ea typeface="Times New Roman" panose="02020603050405020304" pitchFamily="18" charset="0"/>
              </a:rPr>
              <a:t>Proactively put in place programs for employees disrupted by the change</a:t>
            </a:r>
          </a:p>
          <a:p>
            <a:pPr>
              <a:lnSpc>
                <a:spcPct val="100000"/>
              </a:lnSpc>
              <a:spcAft>
                <a:spcPts val="5400"/>
              </a:spcAft>
            </a:pPr>
            <a:r>
              <a:rPr lang="en-US" sz="2000" dirty="0">
                <a:solidFill>
                  <a:srgbClr val="575757"/>
                </a:solidFill>
                <a:ea typeface="Times New Roman" panose="02020603050405020304" pitchFamily="18" charset="0"/>
              </a:rPr>
              <a:t>Implemented a new leadership model </a:t>
            </a:r>
          </a:p>
        </p:txBody>
      </p:sp>
      <p:grpSp>
        <p:nvGrpSpPr>
          <p:cNvPr id="15" name="Group 14"/>
          <p:cNvGrpSpPr>
            <a:grpSpLocks noChangeAspect="1"/>
          </p:cNvGrpSpPr>
          <p:nvPr/>
        </p:nvGrpSpPr>
        <p:grpSpPr>
          <a:xfrm>
            <a:off x="4429487" y="2927779"/>
            <a:ext cx="835314" cy="836088"/>
            <a:chOff x="5273801" y="2606040"/>
            <a:chExt cx="1644396" cy="1645920"/>
          </a:xfrm>
        </p:grpSpPr>
        <p:sp>
          <p:nvSpPr>
            <p:cNvPr id="17" name="AutoShape 24">
              <a:extLst>
                <a:ext uri="{FF2B5EF4-FFF2-40B4-BE49-F238E27FC236}">
                  <a16:creationId xmlns:a16="http://schemas.microsoft.com/office/drawing/2014/main" id="{A69478BB-EBFA-483F-8C8D-799925468139}"/>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8" name="Group 17"/>
            <p:cNvGrpSpPr/>
            <p:nvPr/>
          </p:nvGrpSpPr>
          <p:grpSpPr>
            <a:xfrm>
              <a:off x="5343905" y="2937510"/>
              <a:ext cx="1532763" cy="1001649"/>
              <a:chOff x="5343905" y="2937510"/>
              <a:chExt cx="1532763" cy="1001649"/>
            </a:xfrm>
          </p:grpSpPr>
          <p:sp>
            <p:nvSpPr>
              <p:cNvPr id="19" name="Freeform 26">
                <a:extLst>
                  <a:ext uri="{FF2B5EF4-FFF2-40B4-BE49-F238E27FC236}">
                    <a16:creationId xmlns:a16="http://schemas.microsoft.com/office/drawing/2014/main" id="{F467AB91-1AAD-43A1-942C-9E985E74232A}"/>
                  </a:ext>
                </a:extLst>
              </p:cNvPr>
              <p:cNvSpPr>
                <a:spLocks noEditPoints="1"/>
              </p:cNvSpPr>
              <p:nvPr/>
            </p:nvSpPr>
            <p:spPr bwMode="auto">
              <a:xfrm>
                <a:off x="5456681" y="3173349"/>
                <a:ext cx="1304544" cy="300609"/>
              </a:xfrm>
              <a:custGeom>
                <a:avLst/>
                <a:gdLst>
                  <a:gd name="T0" fmla="*/ 100 w 1828"/>
                  <a:gd name="T1" fmla="*/ 22 h 421"/>
                  <a:gd name="T2" fmla="*/ 515 w 1828"/>
                  <a:gd name="T3" fmla="*/ 239 h 421"/>
                  <a:gd name="T4" fmla="*/ 507 w 1828"/>
                  <a:gd name="T5" fmla="*/ 309 h 421"/>
                  <a:gd name="T6" fmla="*/ 31 w 1828"/>
                  <a:gd name="T7" fmla="*/ 100 h 421"/>
                  <a:gd name="T8" fmla="*/ 63 w 1828"/>
                  <a:gd name="T9" fmla="*/ 6 h 421"/>
                  <a:gd name="T10" fmla="*/ 271 w 1828"/>
                  <a:gd name="T11" fmla="*/ 124 h 421"/>
                  <a:gd name="T12" fmla="*/ 123 w 1828"/>
                  <a:gd name="T13" fmla="*/ 0 h 421"/>
                  <a:gd name="T14" fmla="*/ 159 w 1828"/>
                  <a:gd name="T15" fmla="*/ 239 h 421"/>
                  <a:gd name="T16" fmla="*/ 148 w 1828"/>
                  <a:gd name="T17" fmla="*/ 233 h 421"/>
                  <a:gd name="T18" fmla="*/ 73 w 1828"/>
                  <a:gd name="T19" fmla="*/ 421 h 421"/>
                  <a:gd name="T20" fmla="*/ 320 w 1828"/>
                  <a:gd name="T21" fmla="*/ 287 h 421"/>
                  <a:gd name="T22" fmla="*/ 1355 w 1828"/>
                  <a:gd name="T23" fmla="*/ 6 h 421"/>
                  <a:gd name="T24" fmla="*/ 1323 w 1828"/>
                  <a:gd name="T25" fmla="*/ 100 h 421"/>
                  <a:gd name="T26" fmla="*/ 1799 w 1828"/>
                  <a:gd name="T27" fmla="*/ 309 h 421"/>
                  <a:gd name="T28" fmla="*/ 1807 w 1828"/>
                  <a:gd name="T29" fmla="*/ 239 h 421"/>
                  <a:gd name="T30" fmla="*/ 1392 w 1828"/>
                  <a:gd name="T31" fmla="*/ 22 h 421"/>
                  <a:gd name="T32" fmla="*/ 1526 w 1828"/>
                  <a:gd name="T33" fmla="*/ 112 h 421"/>
                  <a:gd name="T34" fmla="*/ 1563 w 1828"/>
                  <a:gd name="T35" fmla="*/ 123 h 421"/>
                  <a:gd name="T36" fmla="*/ 1526 w 1828"/>
                  <a:gd name="T37" fmla="*/ 112 h 421"/>
                  <a:gd name="T38" fmla="*/ 1445 w 1828"/>
                  <a:gd name="T39" fmla="*/ 237 h 421"/>
                  <a:gd name="T40" fmla="*/ 1311 w 1828"/>
                  <a:gd name="T41" fmla="*/ 131 h 421"/>
                  <a:gd name="T42" fmla="*/ 1631 w 1828"/>
                  <a:gd name="T43" fmla="*/ 350 h 421"/>
                  <a:gd name="T44" fmla="*/ 1451 w 1828"/>
                  <a:gd name="T45" fmla="*/ 239 h 421"/>
                  <a:gd name="T46" fmla="*/ 686 w 1828"/>
                  <a:gd name="T47" fmla="*/ 12 h 421"/>
                  <a:gd name="T48" fmla="*/ 814 w 1828"/>
                  <a:gd name="T49" fmla="*/ 208 h 421"/>
                  <a:gd name="T50" fmla="*/ 1173 w 1828"/>
                  <a:gd name="T51" fmla="*/ 277 h 421"/>
                  <a:gd name="T52" fmla="*/ 863 w 1828"/>
                  <a:gd name="T53" fmla="*/ 140 h 421"/>
                  <a:gd name="T54" fmla="*/ 709 w 1828"/>
                  <a:gd name="T55" fmla="*/ 6 h 421"/>
                  <a:gd name="T56" fmla="*/ 917 w 1828"/>
                  <a:gd name="T57" fmla="*/ 124 h 421"/>
                  <a:gd name="T58" fmla="*/ 769 w 1828"/>
                  <a:gd name="T59" fmla="*/ 0 h 421"/>
                  <a:gd name="T60" fmla="*/ 805 w 1828"/>
                  <a:gd name="T61" fmla="*/ 239 h 421"/>
                  <a:gd name="T62" fmla="*/ 794 w 1828"/>
                  <a:gd name="T63" fmla="*/ 233 h 421"/>
                  <a:gd name="T64" fmla="*/ 719 w 1828"/>
                  <a:gd name="T65" fmla="*/ 421 h 421"/>
                  <a:gd name="T66" fmla="*/ 966 w 1828"/>
                  <a:gd name="T67" fmla="*/ 287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28" h="421">
                    <a:moveTo>
                      <a:pt x="63" y="6"/>
                    </a:moveTo>
                    <a:cubicBezTo>
                      <a:pt x="77" y="6"/>
                      <a:pt x="90" y="12"/>
                      <a:pt x="100" y="22"/>
                    </a:cubicBezTo>
                    <a:cubicBezTo>
                      <a:pt x="217" y="140"/>
                      <a:pt x="217" y="140"/>
                      <a:pt x="217" y="140"/>
                    </a:cubicBezTo>
                    <a:cubicBezTo>
                      <a:pt x="515" y="239"/>
                      <a:pt x="515" y="239"/>
                      <a:pt x="515" y="239"/>
                    </a:cubicBezTo>
                    <a:cubicBezTo>
                      <a:pt x="530" y="245"/>
                      <a:pt x="536" y="263"/>
                      <a:pt x="527" y="277"/>
                    </a:cubicBezTo>
                    <a:cubicBezTo>
                      <a:pt x="507" y="309"/>
                      <a:pt x="507" y="309"/>
                      <a:pt x="507" y="309"/>
                    </a:cubicBezTo>
                    <a:cubicBezTo>
                      <a:pt x="168" y="208"/>
                      <a:pt x="168" y="208"/>
                      <a:pt x="168" y="208"/>
                    </a:cubicBezTo>
                    <a:cubicBezTo>
                      <a:pt x="31" y="100"/>
                      <a:pt x="31" y="100"/>
                      <a:pt x="31" y="100"/>
                    </a:cubicBezTo>
                    <a:cubicBezTo>
                      <a:pt x="0" y="76"/>
                      <a:pt x="5" y="29"/>
                      <a:pt x="40" y="12"/>
                    </a:cubicBezTo>
                    <a:cubicBezTo>
                      <a:pt x="47" y="8"/>
                      <a:pt x="55" y="6"/>
                      <a:pt x="63" y="6"/>
                    </a:cubicBezTo>
                    <a:moveTo>
                      <a:pt x="234" y="112"/>
                    </a:moveTo>
                    <a:cubicBezTo>
                      <a:pt x="271" y="124"/>
                      <a:pt x="271" y="124"/>
                      <a:pt x="271" y="124"/>
                    </a:cubicBezTo>
                    <a:cubicBezTo>
                      <a:pt x="271" y="123"/>
                      <a:pt x="271" y="123"/>
                      <a:pt x="271" y="123"/>
                    </a:cubicBezTo>
                    <a:cubicBezTo>
                      <a:pt x="250" y="55"/>
                      <a:pt x="191" y="8"/>
                      <a:pt x="123" y="0"/>
                    </a:cubicBezTo>
                    <a:lnTo>
                      <a:pt x="234" y="112"/>
                    </a:lnTo>
                    <a:close/>
                    <a:moveTo>
                      <a:pt x="159" y="239"/>
                    </a:moveTo>
                    <a:cubicBezTo>
                      <a:pt x="153" y="237"/>
                      <a:pt x="153" y="237"/>
                      <a:pt x="153" y="237"/>
                    </a:cubicBezTo>
                    <a:cubicBezTo>
                      <a:pt x="148" y="233"/>
                      <a:pt x="148" y="233"/>
                      <a:pt x="148" y="233"/>
                    </a:cubicBezTo>
                    <a:cubicBezTo>
                      <a:pt x="19" y="131"/>
                      <a:pt x="19" y="131"/>
                      <a:pt x="19" y="131"/>
                    </a:cubicBezTo>
                    <a:cubicBezTo>
                      <a:pt x="73" y="421"/>
                      <a:pt x="73" y="421"/>
                      <a:pt x="73" y="421"/>
                    </a:cubicBezTo>
                    <a:cubicBezTo>
                      <a:pt x="190" y="407"/>
                      <a:pt x="297" y="370"/>
                      <a:pt x="339" y="350"/>
                    </a:cubicBezTo>
                    <a:cubicBezTo>
                      <a:pt x="320" y="287"/>
                      <a:pt x="320" y="287"/>
                      <a:pt x="320" y="287"/>
                    </a:cubicBezTo>
                    <a:lnTo>
                      <a:pt x="159" y="239"/>
                    </a:lnTo>
                    <a:close/>
                    <a:moveTo>
                      <a:pt x="1355" y="6"/>
                    </a:moveTo>
                    <a:cubicBezTo>
                      <a:pt x="1347" y="6"/>
                      <a:pt x="1339" y="8"/>
                      <a:pt x="1332" y="12"/>
                    </a:cubicBezTo>
                    <a:cubicBezTo>
                      <a:pt x="1297" y="29"/>
                      <a:pt x="1292" y="76"/>
                      <a:pt x="1323" y="100"/>
                    </a:cubicBezTo>
                    <a:cubicBezTo>
                      <a:pt x="1460" y="208"/>
                      <a:pt x="1460" y="208"/>
                      <a:pt x="1460" y="208"/>
                    </a:cubicBezTo>
                    <a:cubicBezTo>
                      <a:pt x="1799" y="309"/>
                      <a:pt x="1799" y="309"/>
                      <a:pt x="1799" y="309"/>
                    </a:cubicBezTo>
                    <a:cubicBezTo>
                      <a:pt x="1819" y="277"/>
                      <a:pt x="1819" y="277"/>
                      <a:pt x="1819" y="277"/>
                    </a:cubicBezTo>
                    <a:cubicBezTo>
                      <a:pt x="1828" y="263"/>
                      <a:pt x="1822" y="245"/>
                      <a:pt x="1807" y="239"/>
                    </a:cubicBezTo>
                    <a:cubicBezTo>
                      <a:pt x="1509" y="140"/>
                      <a:pt x="1509" y="140"/>
                      <a:pt x="1509" y="140"/>
                    </a:cubicBezTo>
                    <a:cubicBezTo>
                      <a:pt x="1392" y="22"/>
                      <a:pt x="1392" y="22"/>
                      <a:pt x="1392" y="22"/>
                    </a:cubicBezTo>
                    <a:cubicBezTo>
                      <a:pt x="1382" y="12"/>
                      <a:pt x="1369" y="6"/>
                      <a:pt x="1355" y="6"/>
                    </a:cubicBezTo>
                    <a:moveTo>
                      <a:pt x="1526" y="112"/>
                    </a:moveTo>
                    <a:cubicBezTo>
                      <a:pt x="1563" y="124"/>
                      <a:pt x="1563" y="124"/>
                      <a:pt x="1563" y="124"/>
                    </a:cubicBezTo>
                    <a:cubicBezTo>
                      <a:pt x="1563" y="123"/>
                      <a:pt x="1563" y="123"/>
                      <a:pt x="1563" y="123"/>
                    </a:cubicBezTo>
                    <a:cubicBezTo>
                      <a:pt x="1542" y="55"/>
                      <a:pt x="1483" y="8"/>
                      <a:pt x="1415" y="0"/>
                    </a:cubicBezTo>
                    <a:lnTo>
                      <a:pt x="1526" y="112"/>
                    </a:lnTo>
                    <a:close/>
                    <a:moveTo>
                      <a:pt x="1451" y="239"/>
                    </a:moveTo>
                    <a:cubicBezTo>
                      <a:pt x="1445" y="237"/>
                      <a:pt x="1445" y="237"/>
                      <a:pt x="1445" y="237"/>
                    </a:cubicBezTo>
                    <a:cubicBezTo>
                      <a:pt x="1440" y="233"/>
                      <a:pt x="1440" y="233"/>
                      <a:pt x="1440" y="233"/>
                    </a:cubicBezTo>
                    <a:cubicBezTo>
                      <a:pt x="1311" y="131"/>
                      <a:pt x="1311" y="131"/>
                      <a:pt x="1311" y="131"/>
                    </a:cubicBezTo>
                    <a:cubicBezTo>
                      <a:pt x="1365" y="421"/>
                      <a:pt x="1365" y="421"/>
                      <a:pt x="1365" y="421"/>
                    </a:cubicBezTo>
                    <a:cubicBezTo>
                      <a:pt x="1482" y="407"/>
                      <a:pt x="1589" y="370"/>
                      <a:pt x="1631" y="350"/>
                    </a:cubicBezTo>
                    <a:cubicBezTo>
                      <a:pt x="1612" y="287"/>
                      <a:pt x="1612" y="287"/>
                      <a:pt x="1612" y="287"/>
                    </a:cubicBezTo>
                    <a:lnTo>
                      <a:pt x="1451" y="239"/>
                    </a:lnTo>
                    <a:close/>
                    <a:moveTo>
                      <a:pt x="709" y="6"/>
                    </a:moveTo>
                    <a:cubicBezTo>
                      <a:pt x="701" y="6"/>
                      <a:pt x="693" y="8"/>
                      <a:pt x="686" y="12"/>
                    </a:cubicBezTo>
                    <a:cubicBezTo>
                      <a:pt x="651" y="29"/>
                      <a:pt x="646" y="76"/>
                      <a:pt x="677" y="100"/>
                    </a:cubicBezTo>
                    <a:cubicBezTo>
                      <a:pt x="814" y="208"/>
                      <a:pt x="814" y="208"/>
                      <a:pt x="814" y="208"/>
                    </a:cubicBezTo>
                    <a:cubicBezTo>
                      <a:pt x="1153" y="309"/>
                      <a:pt x="1153" y="309"/>
                      <a:pt x="1153" y="309"/>
                    </a:cubicBezTo>
                    <a:cubicBezTo>
                      <a:pt x="1173" y="277"/>
                      <a:pt x="1173" y="277"/>
                      <a:pt x="1173" y="277"/>
                    </a:cubicBezTo>
                    <a:cubicBezTo>
                      <a:pt x="1182" y="263"/>
                      <a:pt x="1176" y="245"/>
                      <a:pt x="1161" y="239"/>
                    </a:cubicBezTo>
                    <a:cubicBezTo>
                      <a:pt x="863" y="140"/>
                      <a:pt x="863" y="140"/>
                      <a:pt x="863" y="140"/>
                    </a:cubicBezTo>
                    <a:cubicBezTo>
                      <a:pt x="746" y="22"/>
                      <a:pt x="746" y="22"/>
                      <a:pt x="746" y="22"/>
                    </a:cubicBezTo>
                    <a:cubicBezTo>
                      <a:pt x="736" y="12"/>
                      <a:pt x="723" y="6"/>
                      <a:pt x="709" y="6"/>
                    </a:cubicBezTo>
                    <a:moveTo>
                      <a:pt x="880" y="112"/>
                    </a:moveTo>
                    <a:cubicBezTo>
                      <a:pt x="917" y="124"/>
                      <a:pt x="917" y="124"/>
                      <a:pt x="917" y="124"/>
                    </a:cubicBezTo>
                    <a:cubicBezTo>
                      <a:pt x="917" y="123"/>
                      <a:pt x="917" y="123"/>
                      <a:pt x="917" y="123"/>
                    </a:cubicBezTo>
                    <a:cubicBezTo>
                      <a:pt x="896" y="55"/>
                      <a:pt x="837" y="8"/>
                      <a:pt x="769" y="0"/>
                    </a:cubicBezTo>
                    <a:lnTo>
                      <a:pt x="880" y="112"/>
                    </a:lnTo>
                    <a:close/>
                    <a:moveTo>
                      <a:pt x="805" y="239"/>
                    </a:moveTo>
                    <a:cubicBezTo>
                      <a:pt x="799" y="237"/>
                      <a:pt x="799" y="237"/>
                      <a:pt x="799" y="237"/>
                    </a:cubicBezTo>
                    <a:cubicBezTo>
                      <a:pt x="794" y="233"/>
                      <a:pt x="794" y="233"/>
                      <a:pt x="794" y="233"/>
                    </a:cubicBezTo>
                    <a:cubicBezTo>
                      <a:pt x="665" y="131"/>
                      <a:pt x="665" y="131"/>
                      <a:pt x="665" y="131"/>
                    </a:cubicBezTo>
                    <a:cubicBezTo>
                      <a:pt x="719" y="421"/>
                      <a:pt x="719" y="421"/>
                      <a:pt x="719" y="421"/>
                    </a:cubicBezTo>
                    <a:cubicBezTo>
                      <a:pt x="836" y="407"/>
                      <a:pt x="943" y="370"/>
                      <a:pt x="985" y="350"/>
                    </a:cubicBezTo>
                    <a:cubicBezTo>
                      <a:pt x="966" y="287"/>
                      <a:pt x="966" y="287"/>
                      <a:pt x="966" y="287"/>
                    </a:cubicBezTo>
                    <a:lnTo>
                      <a:pt x="805" y="23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27">
                <a:extLst>
                  <a:ext uri="{FF2B5EF4-FFF2-40B4-BE49-F238E27FC236}">
                    <a16:creationId xmlns:a16="http://schemas.microsoft.com/office/drawing/2014/main" id="{1D41D8E8-841D-4A04-8D5A-AFB1919A69B8}"/>
                  </a:ext>
                </a:extLst>
              </p:cNvPr>
              <p:cNvSpPr>
                <a:spLocks noEditPoints="1"/>
              </p:cNvSpPr>
              <p:nvPr/>
            </p:nvSpPr>
            <p:spPr bwMode="auto">
              <a:xfrm>
                <a:off x="5343905" y="2937510"/>
                <a:ext cx="1532763" cy="1001649"/>
              </a:xfrm>
              <a:custGeom>
                <a:avLst/>
                <a:gdLst>
                  <a:gd name="T0" fmla="*/ 744 w 2148"/>
                  <a:gd name="T1" fmla="*/ 1402 h 1402"/>
                  <a:gd name="T2" fmla="*/ 305 w 2148"/>
                  <a:gd name="T3" fmla="*/ 899 h 1402"/>
                  <a:gd name="T4" fmla="*/ 291 w 2148"/>
                  <a:gd name="T5" fmla="*/ 786 h 1402"/>
                  <a:gd name="T6" fmla="*/ 322 w 2148"/>
                  <a:gd name="T7" fmla="*/ 859 h 1402"/>
                  <a:gd name="T8" fmla="*/ 754 w 2148"/>
                  <a:gd name="T9" fmla="*/ 1350 h 1402"/>
                  <a:gd name="T10" fmla="*/ 648 w 2148"/>
                  <a:gd name="T11" fmla="*/ 944 h 1402"/>
                  <a:gd name="T12" fmla="*/ 683 w 2148"/>
                  <a:gd name="T13" fmla="*/ 917 h 1402"/>
                  <a:gd name="T14" fmla="*/ 805 w 2148"/>
                  <a:gd name="T15" fmla="*/ 1356 h 1402"/>
                  <a:gd name="T16" fmla="*/ 372 w 2148"/>
                  <a:gd name="T17" fmla="*/ 117 h 1402"/>
                  <a:gd name="T18" fmla="*/ 343 w 2148"/>
                  <a:gd name="T19" fmla="*/ 243 h 1402"/>
                  <a:gd name="T20" fmla="*/ 279 w 2148"/>
                  <a:gd name="T21" fmla="*/ 274 h 1402"/>
                  <a:gd name="T22" fmla="*/ 342 w 2148"/>
                  <a:gd name="T23" fmla="*/ 248 h 1402"/>
                  <a:gd name="T24" fmla="*/ 269 w 2148"/>
                  <a:gd name="T25" fmla="*/ 4 h 1402"/>
                  <a:gd name="T26" fmla="*/ 185 w 2148"/>
                  <a:gd name="T27" fmla="*/ 242 h 1402"/>
                  <a:gd name="T28" fmla="*/ 195 w 2148"/>
                  <a:gd name="T29" fmla="*/ 112 h 1402"/>
                  <a:gd name="T30" fmla="*/ 254 w 2148"/>
                  <a:gd name="T31" fmla="*/ 150 h 1402"/>
                  <a:gd name="T32" fmla="*/ 375 w 2148"/>
                  <a:gd name="T33" fmla="*/ 73 h 1402"/>
                  <a:gd name="T34" fmla="*/ 1980 w 2148"/>
                  <a:gd name="T35" fmla="*/ 925 h 1402"/>
                  <a:gd name="T36" fmla="*/ 1745 w 2148"/>
                  <a:gd name="T37" fmla="*/ 745 h 1402"/>
                  <a:gd name="T38" fmla="*/ 2057 w 2148"/>
                  <a:gd name="T39" fmla="*/ 1336 h 1402"/>
                  <a:gd name="T40" fmla="*/ 1863 w 2148"/>
                  <a:gd name="T41" fmla="*/ 993 h 1402"/>
                  <a:gd name="T42" fmla="*/ 1585 w 2148"/>
                  <a:gd name="T43" fmla="*/ 798 h 1402"/>
                  <a:gd name="T44" fmla="*/ 1542 w 2148"/>
                  <a:gd name="T45" fmla="*/ 804 h 1402"/>
                  <a:gd name="T46" fmla="*/ 2017 w 2148"/>
                  <a:gd name="T47" fmla="*/ 1390 h 1402"/>
                  <a:gd name="T48" fmla="*/ 2097 w 2148"/>
                  <a:gd name="T49" fmla="*/ 1356 h 1402"/>
                  <a:gd name="T50" fmla="*/ 1664 w 2148"/>
                  <a:gd name="T51" fmla="*/ 258 h 1402"/>
                  <a:gd name="T52" fmla="*/ 1636 w 2148"/>
                  <a:gd name="T53" fmla="*/ 133 h 1402"/>
                  <a:gd name="T54" fmla="*/ 1557 w 2148"/>
                  <a:gd name="T55" fmla="*/ 256 h 1402"/>
                  <a:gd name="T56" fmla="*/ 1652 w 2148"/>
                  <a:gd name="T57" fmla="*/ 273 h 1402"/>
                  <a:gd name="T58" fmla="*/ 1688 w 2148"/>
                  <a:gd name="T59" fmla="*/ 33 h 1402"/>
                  <a:gd name="T60" fmla="*/ 1475 w 2148"/>
                  <a:gd name="T61" fmla="*/ 243 h 1402"/>
                  <a:gd name="T62" fmla="*/ 1481 w 2148"/>
                  <a:gd name="T63" fmla="*/ 187 h 1402"/>
                  <a:gd name="T64" fmla="*/ 1525 w 2148"/>
                  <a:gd name="T65" fmla="*/ 150 h 1402"/>
                  <a:gd name="T66" fmla="*/ 1666 w 2148"/>
                  <a:gd name="T67" fmla="*/ 74 h 1402"/>
                  <a:gd name="T68" fmla="*/ 1456 w 2148"/>
                  <a:gd name="T69" fmla="*/ 1286 h 1402"/>
                  <a:gd name="T70" fmla="*/ 1144 w 2148"/>
                  <a:gd name="T71" fmla="*/ 728 h 1402"/>
                  <a:gd name="T72" fmla="*/ 1414 w 2148"/>
                  <a:gd name="T73" fmla="*/ 1300 h 1402"/>
                  <a:gd name="T74" fmla="*/ 1226 w 2148"/>
                  <a:gd name="T75" fmla="*/ 1002 h 1402"/>
                  <a:gd name="T76" fmla="*/ 940 w 2148"/>
                  <a:gd name="T77" fmla="*/ 802 h 1402"/>
                  <a:gd name="T78" fmla="*/ 894 w 2148"/>
                  <a:gd name="T79" fmla="*/ 793 h 1402"/>
                  <a:gd name="T80" fmla="*/ 1190 w 2148"/>
                  <a:gd name="T81" fmla="*/ 1028 h 1402"/>
                  <a:gd name="T82" fmla="*/ 1397 w 2148"/>
                  <a:gd name="T83" fmla="*/ 1401 h 1402"/>
                  <a:gd name="T84" fmla="*/ 1006 w 2148"/>
                  <a:gd name="T85" fmla="*/ 273 h 1402"/>
                  <a:gd name="T86" fmla="*/ 996 w 2148"/>
                  <a:gd name="T87" fmla="*/ 111 h 1402"/>
                  <a:gd name="T88" fmla="*/ 929 w 2148"/>
                  <a:gd name="T89" fmla="*/ 242 h 1402"/>
                  <a:gd name="T90" fmla="*/ 969 w 2148"/>
                  <a:gd name="T91" fmla="*/ 276 h 1402"/>
                  <a:gd name="T92" fmla="*/ 988 w 2148"/>
                  <a:gd name="T93" fmla="*/ 248 h 1402"/>
                  <a:gd name="T94" fmla="*/ 787 w 2148"/>
                  <a:gd name="T95" fmla="*/ 74 h 1402"/>
                  <a:gd name="T96" fmla="*/ 835 w 2148"/>
                  <a:gd name="T97" fmla="*/ 187 h 1402"/>
                  <a:gd name="T98" fmla="*/ 878 w 2148"/>
                  <a:gd name="T99" fmla="*/ 149 h 1402"/>
                  <a:gd name="T100" fmla="*/ 933 w 2148"/>
                  <a:gd name="T101" fmla="*/ 87 h 1402"/>
                  <a:gd name="T102" fmla="*/ 1042 w 2148"/>
                  <a:gd name="T103" fmla="*/ 33 h 1402"/>
                  <a:gd name="T104" fmla="*/ 0 w 2148"/>
                  <a:gd name="T105" fmla="*/ 1061 h 1402"/>
                  <a:gd name="T106" fmla="*/ 44 w 2148"/>
                  <a:gd name="T107" fmla="*/ 768 h 1402"/>
                  <a:gd name="T108" fmla="*/ 713 w 2148"/>
                  <a:gd name="T109" fmla="*/ 623 h 1402"/>
                  <a:gd name="T110" fmla="*/ 719 w 2148"/>
                  <a:gd name="T111" fmla="*/ 579 h 1402"/>
                  <a:gd name="T112" fmla="*/ 1454 w 2148"/>
                  <a:gd name="T113" fmla="*/ 623 h 1402"/>
                  <a:gd name="T114" fmla="*/ 1359 w 2148"/>
                  <a:gd name="T115" fmla="*/ 623 h 1402"/>
                  <a:gd name="T116" fmla="*/ 2005 w 2148"/>
                  <a:gd name="T117" fmla="*/ 623 h 1402"/>
                  <a:gd name="T118" fmla="*/ 2126 w 2148"/>
                  <a:gd name="T119" fmla="*/ 579 h 1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48" h="1402">
                    <a:moveTo>
                      <a:pt x="805" y="1356"/>
                    </a:moveTo>
                    <a:cubicBezTo>
                      <a:pt x="793" y="1378"/>
                      <a:pt x="774" y="1394"/>
                      <a:pt x="751" y="1401"/>
                    </a:cubicBezTo>
                    <a:cubicBezTo>
                      <a:pt x="749" y="1402"/>
                      <a:pt x="746" y="1402"/>
                      <a:pt x="744" y="1402"/>
                    </a:cubicBezTo>
                    <a:cubicBezTo>
                      <a:pt x="736" y="1402"/>
                      <a:pt x="728" y="1397"/>
                      <a:pt x="725" y="1390"/>
                    </a:cubicBezTo>
                    <a:cubicBezTo>
                      <a:pt x="544" y="1028"/>
                      <a:pt x="544" y="1028"/>
                      <a:pt x="544" y="1028"/>
                    </a:cubicBezTo>
                    <a:cubicBezTo>
                      <a:pt x="510" y="1009"/>
                      <a:pt x="343" y="916"/>
                      <a:pt x="305" y="899"/>
                    </a:cubicBezTo>
                    <a:cubicBezTo>
                      <a:pt x="254" y="877"/>
                      <a:pt x="250" y="817"/>
                      <a:pt x="250" y="804"/>
                    </a:cubicBezTo>
                    <a:cubicBezTo>
                      <a:pt x="248" y="793"/>
                      <a:pt x="248" y="793"/>
                      <a:pt x="248" y="793"/>
                    </a:cubicBezTo>
                    <a:cubicBezTo>
                      <a:pt x="262" y="791"/>
                      <a:pt x="277" y="789"/>
                      <a:pt x="291" y="786"/>
                    </a:cubicBezTo>
                    <a:cubicBezTo>
                      <a:pt x="293" y="798"/>
                      <a:pt x="293" y="798"/>
                      <a:pt x="293" y="798"/>
                    </a:cubicBezTo>
                    <a:cubicBezTo>
                      <a:pt x="293" y="799"/>
                      <a:pt x="294" y="801"/>
                      <a:pt x="294" y="802"/>
                    </a:cubicBezTo>
                    <a:cubicBezTo>
                      <a:pt x="294" y="803"/>
                      <a:pt x="293" y="846"/>
                      <a:pt x="322" y="859"/>
                    </a:cubicBezTo>
                    <a:cubicBezTo>
                      <a:pt x="367" y="878"/>
                      <a:pt x="563" y="988"/>
                      <a:pt x="571" y="993"/>
                    </a:cubicBezTo>
                    <a:cubicBezTo>
                      <a:pt x="575" y="995"/>
                      <a:pt x="578" y="998"/>
                      <a:pt x="580" y="1002"/>
                    </a:cubicBezTo>
                    <a:cubicBezTo>
                      <a:pt x="754" y="1350"/>
                      <a:pt x="754" y="1350"/>
                      <a:pt x="754" y="1350"/>
                    </a:cubicBezTo>
                    <a:cubicBezTo>
                      <a:pt x="759" y="1346"/>
                      <a:pt x="763" y="1342"/>
                      <a:pt x="765" y="1336"/>
                    </a:cubicBezTo>
                    <a:cubicBezTo>
                      <a:pt x="771" y="1325"/>
                      <a:pt x="772" y="1312"/>
                      <a:pt x="768" y="1300"/>
                    </a:cubicBezTo>
                    <a:cubicBezTo>
                      <a:pt x="648" y="944"/>
                      <a:pt x="648" y="944"/>
                      <a:pt x="648" y="944"/>
                    </a:cubicBezTo>
                    <a:cubicBezTo>
                      <a:pt x="453" y="745"/>
                      <a:pt x="453" y="745"/>
                      <a:pt x="453" y="745"/>
                    </a:cubicBezTo>
                    <a:cubicBezTo>
                      <a:pt x="470" y="739"/>
                      <a:pt x="485" y="733"/>
                      <a:pt x="498" y="728"/>
                    </a:cubicBezTo>
                    <a:cubicBezTo>
                      <a:pt x="683" y="917"/>
                      <a:pt x="683" y="917"/>
                      <a:pt x="683" y="917"/>
                    </a:cubicBezTo>
                    <a:cubicBezTo>
                      <a:pt x="685" y="919"/>
                      <a:pt x="687" y="922"/>
                      <a:pt x="688" y="925"/>
                    </a:cubicBezTo>
                    <a:cubicBezTo>
                      <a:pt x="810" y="1286"/>
                      <a:pt x="810" y="1286"/>
                      <a:pt x="810" y="1286"/>
                    </a:cubicBezTo>
                    <a:cubicBezTo>
                      <a:pt x="818" y="1310"/>
                      <a:pt x="816" y="1334"/>
                      <a:pt x="805" y="1356"/>
                    </a:cubicBezTo>
                    <a:close/>
                    <a:moveTo>
                      <a:pt x="360" y="273"/>
                    </a:moveTo>
                    <a:cubicBezTo>
                      <a:pt x="368" y="270"/>
                      <a:pt x="371" y="262"/>
                      <a:pt x="372" y="258"/>
                    </a:cubicBezTo>
                    <a:cubicBezTo>
                      <a:pt x="381" y="235"/>
                      <a:pt x="396" y="160"/>
                      <a:pt x="372" y="117"/>
                    </a:cubicBezTo>
                    <a:cubicBezTo>
                      <a:pt x="368" y="110"/>
                      <a:pt x="358" y="107"/>
                      <a:pt x="350" y="111"/>
                    </a:cubicBezTo>
                    <a:cubicBezTo>
                      <a:pt x="343" y="115"/>
                      <a:pt x="340" y="125"/>
                      <a:pt x="344" y="133"/>
                    </a:cubicBezTo>
                    <a:cubicBezTo>
                      <a:pt x="361" y="163"/>
                      <a:pt x="350" y="224"/>
                      <a:pt x="343" y="243"/>
                    </a:cubicBezTo>
                    <a:cubicBezTo>
                      <a:pt x="334" y="244"/>
                      <a:pt x="313" y="245"/>
                      <a:pt x="283" y="242"/>
                    </a:cubicBezTo>
                    <a:cubicBezTo>
                      <a:pt x="274" y="241"/>
                      <a:pt x="266" y="247"/>
                      <a:pt x="265" y="256"/>
                    </a:cubicBezTo>
                    <a:cubicBezTo>
                      <a:pt x="264" y="265"/>
                      <a:pt x="271" y="273"/>
                      <a:pt x="279" y="274"/>
                    </a:cubicBezTo>
                    <a:cubicBezTo>
                      <a:pt x="296" y="276"/>
                      <a:pt x="310" y="276"/>
                      <a:pt x="323" y="276"/>
                    </a:cubicBezTo>
                    <a:cubicBezTo>
                      <a:pt x="341" y="276"/>
                      <a:pt x="354" y="275"/>
                      <a:pt x="360" y="273"/>
                    </a:cubicBezTo>
                    <a:close/>
                    <a:moveTo>
                      <a:pt x="342" y="248"/>
                    </a:moveTo>
                    <a:cubicBezTo>
                      <a:pt x="342" y="248"/>
                      <a:pt x="342" y="248"/>
                      <a:pt x="342" y="248"/>
                    </a:cubicBezTo>
                    <a:close/>
                    <a:moveTo>
                      <a:pt x="396" y="33"/>
                    </a:moveTo>
                    <a:cubicBezTo>
                      <a:pt x="322" y="29"/>
                      <a:pt x="350" y="10"/>
                      <a:pt x="269" y="4"/>
                    </a:cubicBezTo>
                    <a:cubicBezTo>
                      <a:pt x="199" y="0"/>
                      <a:pt x="161" y="39"/>
                      <a:pt x="141" y="74"/>
                    </a:cubicBezTo>
                    <a:cubicBezTo>
                      <a:pt x="100" y="148"/>
                      <a:pt x="171" y="230"/>
                      <a:pt x="183" y="243"/>
                    </a:cubicBezTo>
                    <a:cubicBezTo>
                      <a:pt x="184" y="244"/>
                      <a:pt x="185" y="244"/>
                      <a:pt x="185" y="242"/>
                    </a:cubicBezTo>
                    <a:cubicBezTo>
                      <a:pt x="185" y="242"/>
                      <a:pt x="185" y="242"/>
                      <a:pt x="189" y="187"/>
                    </a:cubicBezTo>
                    <a:cubicBezTo>
                      <a:pt x="189" y="187"/>
                      <a:pt x="189" y="187"/>
                      <a:pt x="189" y="187"/>
                    </a:cubicBezTo>
                    <a:cubicBezTo>
                      <a:pt x="188" y="182"/>
                      <a:pt x="164" y="125"/>
                      <a:pt x="195" y="112"/>
                    </a:cubicBezTo>
                    <a:cubicBezTo>
                      <a:pt x="227" y="97"/>
                      <a:pt x="232" y="142"/>
                      <a:pt x="232" y="149"/>
                    </a:cubicBezTo>
                    <a:cubicBezTo>
                      <a:pt x="232" y="150"/>
                      <a:pt x="233" y="150"/>
                      <a:pt x="233" y="150"/>
                    </a:cubicBezTo>
                    <a:cubicBezTo>
                      <a:pt x="237" y="151"/>
                      <a:pt x="253" y="154"/>
                      <a:pt x="254" y="150"/>
                    </a:cubicBezTo>
                    <a:cubicBezTo>
                      <a:pt x="256" y="116"/>
                      <a:pt x="270" y="98"/>
                      <a:pt x="287" y="87"/>
                    </a:cubicBezTo>
                    <a:cubicBezTo>
                      <a:pt x="320" y="67"/>
                      <a:pt x="366" y="76"/>
                      <a:pt x="374" y="74"/>
                    </a:cubicBezTo>
                    <a:cubicBezTo>
                      <a:pt x="374" y="73"/>
                      <a:pt x="375" y="73"/>
                      <a:pt x="375" y="73"/>
                    </a:cubicBezTo>
                    <a:cubicBezTo>
                      <a:pt x="380" y="57"/>
                      <a:pt x="404" y="33"/>
                      <a:pt x="396" y="33"/>
                    </a:cubicBezTo>
                    <a:close/>
                    <a:moveTo>
                      <a:pt x="2102" y="1286"/>
                    </a:moveTo>
                    <a:cubicBezTo>
                      <a:pt x="1980" y="925"/>
                      <a:pt x="1980" y="925"/>
                      <a:pt x="1980" y="925"/>
                    </a:cubicBezTo>
                    <a:cubicBezTo>
                      <a:pt x="1979" y="922"/>
                      <a:pt x="1977" y="919"/>
                      <a:pt x="1975" y="917"/>
                    </a:cubicBezTo>
                    <a:cubicBezTo>
                      <a:pt x="1790" y="728"/>
                      <a:pt x="1790" y="728"/>
                      <a:pt x="1790" y="728"/>
                    </a:cubicBezTo>
                    <a:cubicBezTo>
                      <a:pt x="1777" y="733"/>
                      <a:pt x="1762" y="739"/>
                      <a:pt x="1745" y="745"/>
                    </a:cubicBezTo>
                    <a:cubicBezTo>
                      <a:pt x="1940" y="944"/>
                      <a:pt x="1940" y="944"/>
                      <a:pt x="1940" y="944"/>
                    </a:cubicBezTo>
                    <a:cubicBezTo>
                      <a:pt x="2060" y="1300"/>
                      <a:pt x="2060" y="1300"/>
                      <a:pt x="2060" y="1300"/>
                    </a:cubicBezTo>
                    <a:cubicBezTo>
                      <a:pt x="2064" y="1312"/>
                      <a:pt x="2063" y="1325"/>
                      <a:pt x="2057" y="1336"/>
                    </a:cubicBezTo>
                    <a:cubicBezTo>
                      <a:pt x="2055" y="1342"/>
                      <a:pt x="2051" y="1346"/>
                      <a:pt x="2046" y="1350"/>
                    </a:cubicBezTo>
                    <a:cubicBezTo>
                      <a:pt x="1872" y="1002"/>
                      <a:pt x="1872" y="1002"/>
                      <a:pt x="1872" y="1002"/>
                    </a:cubicBezTo>
                    <a:cubicBezTo>
                      <a:pt x="1870" y="998"/>
                      <a:pt x="1867" y="995"/>
                      <a:pt x="1863" y="993"/>
                    </a:cubicBezTo>
                    <a:cubicBezTo>
                      <a:pt x="1855" y="988"/>
                      <a:pt x="1659" y="878"/>
                      <a:pt x="1615" y="859"/>
                    </a:cubicBezTo>
                    <a:cubicBezTo>
                      <a:pt x="1585" y="846"/>
                      <a:pt x="1586" y="803"/>
                      <a:pt x="1586" y="802"/>
                    </a:cubicBezTo>
                    <a:cubicBezTo>
                      <a:pt x="1586" y="801"/>
                      <a:pt x="1585" y="799"/>
                      <a:pt x="1585" y="798"/>
                    </a:cubicBezTo>
                    <a:cubicBezTo>
                      <a:pt x="1583" y="786"/>
                      <a:pt x="1583" y="786"/>
                      <a:pt x="1583" y="786"/>
                    </a:cubicBezTo>
                    <a:cubicBezTo>
                      <a:pt x="1569" y="789"/>
                      <a:pt x="1554" y="791"/>
                      <a:pt x="1540" y="793"/>
                    </a:cubicBezTo>
                    <a:cubicBezTo>
                      <a:pt x="1542" y="804"/>
                      <a:pt x="1542" y="804"/>
                      <a:pt x="1542" y="804"/>
                    </a:cubicBezTo>
                    <a:cubicBezTo>
                      <a:pt x="1542" y="817"/>
                      <a:pt x="1546" y="877"/>
                      <a:pt x="1597" y="899"/>
                    </a:cubicBezTo>
                    <a:cubicBezTo>
                      <a:pt x="1635" y="916"/>
                      <a:pt x="1802" y="1009"/>
                      <a:pt x="1836" y="1028"/>
                    </a:cubicBezTo>
                    <a:cubicBezTo>
                      <a:pt x="2017" y="1390"/>
                      <a:pt x="2017" y="1390"/>
                      <a:pt x="2017" y="1390"/>
                    </a:cubicBezTo>
                    <a:cubicBezTo>
                      <a:pt x="2020" y="1397"/>
                      <a:pt x="2028" y="1402"/>
                      <a:pt x="2036" y="1402"/>
                    </a:cubicBezTo>
                    <a:cubicBezTo>
                      <a:pt x="2038" y="1402"/>
                      <a:pt x="2041" y="1402"/>
                      <a:pt x="2043" y="1401"/>
                    </a:cubicBezTo>
                    <a:cubicBezTo>
                      <a:pt x="2066" y="1394"/>
                      <a:pt x="2085" y="1378"/>
                      <a:pt x="2097" y="1356"/>
                    </a:cubicBezTo>
                    <a:cubicBezTo>
                      <a:pt x="2108" y="1334"/>
                      <a:pt x="2110" y="1310"/>
                      <a:pt x="2102" y="1286"/>
                    </a:cubicBezTo>
                    <a:close/>
                    <a:moveTo>
                      <a:pt x="1652" y="273"/>
                    </a:moveTo>
                    <a:cubicBezTo>
                      <a:pt x="1660" y="270"/>
                      <a:pt x="1663" y="262"/>
                      <a:pt x="1664" y="258"/>
                    </a:cubicBezTo>
                    <a:cubicBezTo>
                      <a:pt x="1673" y="235"/>
                      <a:pt x="1688" y="160"/>
                      <a:pt x="1664" y="117"/>
                    </a:cubicBezTo>
                    <a:cubicBezTo>
                      <a:pt x="1660" y="110"/>
                      <a:pt x="1650" y="107"/>
                      <a:pt x="1642" y="111"/>
                    </a:cubicBezTo>
                    <a:cubicBezTo>
                      <a:pt x="1635" y="115"/>
                      <a:pt x="1632" y="125"/>
                      <a:pt x="1636" y="133"/>
                    </a:cubicBezTo>
                    <a:cubicBezTo>
                      <a:pt x="1653" y="163"/>
                      <a:pt x="1642" y="224"/>
                      <a:pt x="1635" y="243"/>
                    </a:cubicBezTo>
                    <a:cubicBezTo>
                      <a:pt x="1626" y="244"/>
                      <a:pt x="1605" y="245"/>
                      <a:pt x="1575" y="242"/>
                    </a:cubicBezTo>
                    <a:cubicBezTo>
                      <a:pt x="1566" y="241"/>
                      <a:pt x="1558" y="247"/>
                      <a:pt x="1557" y="256"/>
                    </a:cubicBezTo>
                    <a:cubicBezTo>
                      <a:pt x="1556" y="265"/>
                      <a:pt x="1563" y="273"/>
                      <a:pt x="1571" y="274"/>
                    </a:cubicBezTo>
                    <a:cubicBezTo>
                      <a:pt x="1588" y="276"/>
                      <a:pt x="1602" y="276"/>
                      <a:pt x="1615" y="276"/>
                    </a:cubicBezTo>
                    <a:cubicBezTo>
                      <a:pt x="1633" y="276"/>
                      <a:pt x="1646" y="275"/>
                      <a:pt x="1652" y="273"/>
                    </a:cubicBezTo>
                    <a:close/>
                    <a:moveTo>
                      <a:pt x="1634" y="248"/>
                    </a:moveTo>
                    <a:cubicBezTo>
                      <a:pt x="1634" y="248"/>
                      <a:pt x="1634" y="248"/>
                      <a:pt x="1634" y="248"/>
                    </a:cubicBezTo>
                    <a:close/>
                    <a:moveTo>
                      <a:pt x="1688" y="33"/>
                    </a:moveTo>
                    <a:cubicBezTo>
                      <a:pt x="1614" y="29"/>
                      <a:pt x="1642" y="10"/>
                      <a:pt x="1561" y="4"/>
                    </a:cubicBezTo>
                    <a:cubicBezTo>
                      <a:pt x="1491" y="0"/>
                      <a:pt x="1453" y="39"/>
                      <a:pt x="1433" y="74"/>
                    </a:cubicBezTo>
                    <a:cubicBezTo>
                      <a:pt x="1392" y="148"/>
                      <a:pt x="1463" y="230"/>
                      <a:pt x="1475" y="243"/>
                    </a:cubicBezTo>
                    <a:cubicBezTo>
                      <a:pt x="1476" y="244"/>
                      <a:pt x="1477" y="244"/>
                      <a:pt x="1477" y="242"/>
                    </a:cubicBezTo>
                    <a:cubicBezTo>
                      <a:pt x="1477" y="242"/>
                      <a:pt x="1477" y="242"/>
                      <a:pt x="1481" y="187"/>
                    </a:cubicBezTo>
                    <a:cubicBezTo>
                      <a:pt x="1481" y="187"/>
                      <a:pt x="1481" y="187"/>
                      <a:pt x="1481" y="187"/>
                    </a:cubicBezTo>
                    <a:cubicBezTo>
                      <a:pt x="1480" y="182"/>
                      <a:pt x="1456" y="125"/>
                      <a:pt x="1487" y="112"/>
                    </a:cubicBezTo>
                    <a:cubicBezTo>
                      <a:pt x="1519" y="97"/>
                      <a:pt x="1524" y="142"/>
                      <a:pt x="1524" y="149"/>
                    </a:cubicBezTo>
                    <a:cubicBezTo>
                      <a:pt x="1524" y="150"/>
                      <a:pt x="1525" y="150"/>
                      <a:pt x="1525" y="150"/>
                    </a:cubicBezTo>
                    <a:cubicBezTo>
                      <a:pt x="1529" y="151"/>
                      <a:pt x="1545" y="154"/>
                      <a:pt x="1546" y="150"/>
                    </a:cubicBezTo>
                    <a:cubicBezTo>
                      <a:pt x="1548" y="116"/>
                      <a:pt x="1562" y="98"/>
                      <a:pt x="1579" y="87"/>
                    </a:cubicBezTo>
                    <a:cubicBezTo>
                      <a:pt x="1612" y="67"/>
                      <a:pt x="1658" y="76"/>
                      <a:pt x="1666" y="74"/>
                    </a:cubicBezTo>
                    <a:cubicBezTo>
                      <a:pt x="1666" y="73"/>
                      <a:pt x="1667" y="73"/>
                      <a:pt x="1667" y="73"/>
                    </a:cubicBezTo>
                    <a:cubicBezTo>
                      <a:pt x="1672" y="57"/>
                      <a:pt x="1696" y="33"/>
                      <a:pt x="1688" y="33"/>
                    </a:cubicBezTo>
                    <a:close/>
                    <a:moveTo>
                      <a:pt x="1456" y="1286"/>
                    </a:moveTo>
                    <a:cubicBezTo>
                      <a:pt x="1334" y="925"/>
                      <a:pt x="1334" y="925"/>
                      <a:pt x="1334" y="925"/>
                    </a:cubicBezTo>
                    <a:cubicBezTo>
                      <a:pt x="1333" y="922"/>
                      <a:pt x="1331" y="919"/>
                      <a:pt x="1329" y="917"/>
                    </a:cubicBezTo>
                    <a:cubicBezTo>
                      <a:pt x="1144" y="728"/>
                      <a:pt x="1144" y="728"/>
                      <a:pt x="1144" y="728"/>
                    </a:cubicBezTo>
                    <a:cubicBezTo>
                      <a:pt x="1131" y="733"/>
                      <a:pt x="1116" y="739"/>
                      <a:pt x="1099" y="745"/>
                    </a:cubicBezTo>
                    <a:cubicBezTo>
                      <a:pt x="1294" y="944"/>
                      <a:pt x="1294" y="944"/>
                      <a:pt x="1294" y="944"/>
                    </a:cubicBezTo>
                    <a:cubicBezTo>
                      <a:pt x="1414" y="1300"/>
                      <a:pt x="1414" y="1300"/>
                      <a:pt x="1414" y="1300"/>
                    </a:cubicBezTo>
                    <a:cubicBezTo>
                      <a:pt x="1418" y="1312"/>
                      <a:pt x="1417" y="1325"/>
                      <a:pt x="1411" y="1336"/>
                    </a:cubicBezTo>
                    <a:cubicBezTo>
                      <a:pt x="1409" y="1342"/>
                      <a:pt x="1405" y="1346"/>
                      <a:pt x="1400" y="1350"/>
                    </a:cubicBezTo>
                    <a:cubicBezTo>
                      <a:pt x="1226" y="1002"/>
                      <a:pt x="1226" y="1002"/>
                      <a:pt x="1226" y="1002"/>
                    </a:cubicBezTo>
                    <a:cubicBezTo>
                      <a:pt x="1224" y="998"/>
                      <a:pt x="1221" y="995"/>
                      <a:pt x="1217" y="993"/>
                    </a:cubicBezTo>
                    <a:cubicBezTo>
                      <a:pt x="1209" y="988"/>
                      <a:pt x="1013" y="878"/>
                      <a:pt x="969" y="859"/>
                    </a:cubicBezTo>
                    <a:cubicBezTo>
                      <a:pt x="939" y="846"/>
                      <a:pt x="940" y="803"/>
                      <a:pt x="940" y="802"/>
                    </a:cubicBezTo>
                    <a:cubicBezTo>
                      <a:pt x="940" y="801"/>
                      <a:pt x="939" y="799"/>
                      <a:pt x="939" y="798"/>
                    </a:cubicBezTo>
                    <a:cubicBezTo>
                      <a:pt x="937" y="786"/>
                      <a:pt x="937" y="786"/>
                      <a:pt x="937" y="786"/>
                    </a:cubicBezTo>
                    <a:cubicBezTo>
                      <a:pt x="923" y="789"/>
                      <a:pt x="908" y="791"/>
                      <a:pt x="894" y="793"/>
                    </a:cubicBezTo>
                    <a:cubicBezTo>
                      <a:pt x="896" y="804"/>
                      <a:pt x="896" y="804"/>
                      <a:pt x="896" y="804"/>
                    </a:cubicBezTo>
                    <a:cubicBezTo>
                      <a:pt x="896" y="817"/>
                      <a:pt x="900" y="877"/>
                      <a:pt x="951" y="899"/>
                    </a:cubicBezTo>
                    <a:cubicBezTo>
                      <a:pt x="989" y="916"/>
                      <a:pt x="1156" y="1009"/>
                      <a:pt x="1190" y="1028"/>
                    </a:cubicBezTo>
                    <a:cubicBezTo>
                      <a:pt x="1371" y="1390"/>
                      <a:pt x="1371" y="1390"/>
                      <a:pt x="1371" y="1390"/>
                    </a:cubicBezTo>
                    <a:cubicBezTo>
                      <a:pt x="1374" y="1397"/>
                      <a:pt x="1382" y="1402"/>
                      <a:pt x="1390" y="1402"/>
                    </a:cubicBezTo>
                    <a:cubicBezTo>
                      <a:pt x="1392" y="1402"/>
                      <a:pt x="1395" y="1402"/>
                      <a:pt x="1397" y="1401"/>
                    </a:cubicBezTo>
                    <a:cubicBezTo>
                      <a:pt x="1420" y="1394"/>
                      <a:pt x="1439" y="1378"/>
                      <a:pt x="1451" y="1356"/>
                    </a:cubicBezTo>
                    <a:cubicBezTo>
                      <a:pt x="1462" y="1334"/>
                      <a:pt x="1464" y="1310"/>
                      <a:pt x="1456" y="1286"/>
                    </a:cubicBezTo>
                    <a:close/>
                    <a:moveTo>
                      <a:pt x="1006" y="273"/>
                    </a:moveTo>
                    <a:cubicBezTo>
                      <a:pt x="1014" y="270"/>
                      <a:pt x="1017" y="262"/>
                      <a:pt x="1018" y="258"/>
                    </a:cubicBezTo>
                    <a:cubicBezTo>
                      <a:pt x="1027" y="235"/>
                      <a:pt x="1042" y="160"/>
                      <a:pt x="1018" y="117"/>
                    </a:cubicBezTo>
                    <a:cubicBezTo>
                      <a:pt x="1014" y="110"/>
                      <a:pt x="1004" y="107"/>
                      <a:pt x="996" y="111"/>
                    </a:cubicBezTo>
                    <a:cubicBezTo>
                      <a:pt x="989" y="115"/>
                      <a:pt x="986" y="125"/>
                      <a:pt x="990" y="133"/>
                    </a:cubicBezTo>
                    <a:cubicBezTo>
                      <a:pt x="1007" y="163"/>
                      <a:pt x="996" y="224"/>
                      <a:pt x="989" y="243"/>
                    </a:cubicBezTo>
                    <a:cubicBezTo>
                      <a:pt x="980" y="244"/>
                      <a:pt x="959" y="245"/>
                      <a:pt x="929" y="242"/>
                    </a:cubicBezTo>
                    <a:cubicBezTo>
                      <a:pt x="920" y="241"/>
                      <a:pt x="912" y="247"/>
                      <a:pt x="911" y="256"/>
                    </a:cubicBezTo>
                    <a:cubicBezTo>
                      <a:pt x="910" y="265"/>
                      <a:pt x="917" y="273"/>
                      <a:pt x="925" y="274"/>
                    </a:cubicBezTo>
                    <a:cubicBezTo>
                      <a:pt x="942" y="276"/>
                      <a:pt x="956" y="276"/>
                      <a:pt x="969" y="276"/>
                    </a:cubicBezTo>
                    <a:cubicBezTo>
                      <a:pt x="987" y="276"/>
                      <a:pt x="1000" y="275"/>
                      <a:pt x="1006" y="273"/>
                    </a:cubicBezTo>
                    <a:close/>
                    <a:moveTo>
                      <a:pt x="988" y="248"/>
                    </a:moveTo>
                    <a:cubicBezTo>
                      <a:pt x="988" y="248"/>
                      <a:pt x="988" y="248"/>
                      <a:pt x="988" y="248"/>
                    </a:cubicBezTo>
                    <a:close/>
                    <a:moveTo>
                      <a:pt x="1042" y="33"/>
                    </a:moveTo>
                    <a:cubicBezTo>
                      <a:pt x="968" y="29"/>
                      <a:pt x="996" y="10"/>
                      <a:pt x="915" y="4"/>
                    </a:cubicBezTo>
                    <a:cubicBezTo>
                      <a:pt x="845" y="0"/>
                      <a:pt x="807" y="39"/>
                      <a:pt x="787" y="74"/>
                    </a:cubicBezTo>
                    <a:cubicBezTo>
                      <a:pt x="746" y="148"/>
                      <a:pt x="817" y="230"/>
                      <a:pt x="829" y="243"/>
                    </a:cubicBezTo>
                    <a:cubicBezTo>
                      <a:pt x="830" y="244"/>
                      <a:pt x="831" y="244"/>
                      <a:pt x="831" y="242"/>
                    </a:cubicBezTo>
                    <a:cubicBezTo>
                      <a:pt x="831" y="242"/>
                      <a:pt x="831" y="242"/>
                      <a:pt x="835" y="187"/>
                    </a:cubicBezTo>
                    <a:cubicBezTo>
                      <a:pt x="835" y="187"/>
                      <a:pt x="835" y="187"/>
                      <a:pt x="835" y="187"/>
                    </a:cubicBezTo>
                    <a:cubicBezTo>
                      <a:pt x="834" y="182"/>
                      <a:pt x="810" y="125"/>
                      <a:pt x="841" y="112"/>
                    </a:cubicBezTo>
                    <a:cubicBezTo>
                      <a:pt x="873" y="97"/>
                      <a:pt x="878" y="142"/>
                      <a:pt x="878" y="149"/>
                    </a:cubicBezTo>
                    <a:cubicBezTo>
                      <a:pt x="878" y="150"/>
                      <a:pt x="879" y="150"/>
                      <a:pt x="879" y="150"/>
                    </a:cubicBezTo>
                    <a:cubicBezTo>
                      <a:pt x="883" y="151"/>
                      <a:pt x="899" y="154"/>
                      <a:pt x="900" y="150"/>
                    </a:cubicBezTo>
                    <a:cubicBezTo>
                      <a:pt x="902" y="116"/>
                      <a:pt x="916" y="98"/>
                      <a:pt x="933" y="87"/>
                    </a:cubicBezTo>
                    <a:cubicBezTo>
                      <a:pt x="966" y="67"/>
                      <a:pt x="1012" y="76"/>
                      <a:pt x="1020" y="74"/>
                    </a:cubicBezTo>
                    <a:cubicBezTo>
                      <a:pt x="1020" y="73"/>
                      <a:pt x="1021" y="73"/>
                      <a:pt x="1021" y="73"/>
                    </a:cubicBezTo>
                    <a:cubicBezTo>
                      <a:pt x="1026" y="57"/>
                      <a:pt x="1050" y="33"/>
                      <a:pt x="1042" y="33"/>
                    </a:cubicBezTo>
                    <a:close/>
                    <a:moveTo>
                      <a:pt x="155" y="582"/>
                    </a:moveTo>
                    <a:cubicBezTo>
                      <a:pt x="67" y="598"/>
                      <a:pt x="0" y="676"/>
                      <a:pt x="0" y="768"/>
                    </a:cubicBezTo>
                    <a:cubicBezTo>
                      <a:pt x="0" y="1061"/>
                      <a:pt x="0" y="1061"/>
                      <a:pt x="0" y="1061"/>
                    </a:cubicBezTo>
                    <a:cubicBezTo>
                      <a:pt x="0" y="1073"/>
                      <a:pt x="10" y="1083"/>
                      <a:pt x="22" y="1083"/>
                    </a:cubicBezTo>
                    <a:cubicBezTo>
                      <a:pt x="34" y="1083"/>
                      <a:pt x="44" y="1073"/>
                      <a:pt x="44" y="1061"/>
                    </a:cubicBezTo>
                    <a:cubicBezTo>
                      <a:pt x="44" y="768"/>
                      <a:pt x="44" y="768"/>
                      <a:pt x="44" y="768"/>
                    </a:cubicBezTo>
                    <a:cubicBezTo>
                      <a:pt x="44" y="697"/>
                      <a:pt x="95" y="638"/>
                      <a:pt x="163" y="625"/>
                    </a:cubicBezTo>
                    <a:lnTo>
                      <a:pt x="155" y="582"/>
                    </a:lnTo>
                    <a:close/>
                    <a:moveTo>
                      <a:pt x="713" y="623"/>
                    </a:moveTo>
                    <a:cubicBezTo>
                      <a:pt x="808" y="623"/>
                      <a:pt x="808" y="623"/>
                      <a:pt x="808" y="623"/>
                    </a:cubicBezTo>
                    <a:cubicBezTo>
                      <a:pt x="800" y="579"/>
                      <a:pt x="800" y="579"/>
                      <a:pt x="800" y="579"/>
                    </a:cubicBezTo>
                    <a:cubicBezTo>
                      <a:pt x="719" y="579"/>
                      <a:pt x="719" y="579"/>
                      <a:pt x="719" y="579"/>
                    </a:cubicBezTo>
                    <a:cubicBezTo>
                      <a:pt x="723" y="594"/>
                      <a:pt x="721" y="610"/>
                      <a:pt x="713" y="623"/>
                    </a:cubicBezTo>
                    <a:close/>
                    <a:moveTo>
                      <a:pt x="1359" y="623"/>
                    </a:moveTo>
                    <a:cubicBezTo>
                      <a:pt x="1454" y="623"/>
                      <a:pt x="1454" y="623"/>
                      <a:pt x="1454" y="623"/>
                    </a:cubicBezTo>
                    <a:cubicBezTo>
                      <a:pt x="1446" y="579"/>
                      <a:pt x="1446" y="579"/>
                      <a:pt x="1446" y="579"/>
                    </a:cubicBezTo>
                    <a:cubicBezTo>
                      <a:pt x="1365" y="579"/>
                      <a:pt x="1365" y="579"/>
                      <a:pt x="1365" y="579"/>
                    </a:cubicBezTo>
                    <a:cubicBezTo>
                      <a:pt x="1369" y="594"/>
                      <a:pt x="1367" y="610"/>
                      <a:pt x="1359" y="623"/>
                    </a:cubicBezTo>
                    <a:close/>
                    <a:moveTo>
                      <a:pt x="2126" y="579"/>
                    </a:moveTo>
                    <a:cubicBezTo>
                      <a:pt x="2011" y="579"/>
                      <a:pt x="2011" y="579"/>
                      <a:pt x="2011" y="579"/>
                    </a:cubicBezTo>
                    <a:cubicBezTo>
                      <a:pt x="2015" y="594"/>
                      <a:pt x="2013" y="610"/>
                      <a:pt x="2005" y="623"/>
                    </a:cubicBezTo>
                    <a:cubicBezTo>
                      <a:pt x="2126" y="623"/>
                      <a:pt x="2126" y="623"/>
                      <a:pt x="2126" y="623"/>
                    </a:cubicBezTo>
                    <a:cubicBezTo>
                      <a:pt x="2138" y="623"/>
                      <a:pt x="2148" y="613"/>
                      <a:pt x="2148" y="601"/>
                    </a:cubicBezTo>
                    <a:cubicBezTo>
                      <a:pt x="2148" y="589"/>
                      <a:pt x="2138" y="579"/>
                      <a:pt x="2126" y="57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7" name="bcgIcons_Bridge">
            <a:extLst>
              <a:ext uri="{FF2B5EF4-FFF2-40B4-BE49-F238E27FC236}">
                <a16:creationId xmlns:a16="http://schemas.microsoft.com/office/drawing/2014/main" id="{ED456EBD-E690-4998-9897-888F820AFA4A}"/>
              </a:ext>
            </a:extLst>
          </p:cNvPr>
          <p:cNvGrpSpPr>
            <a:grpSpLocks noChangeAspect="1"/>
          </p:cNvGrpSpPr>
          <p:nvPr/>
        </p:nvGrpSpPr>
        <p:grpSpPr bwMode="auto">
          <a:xfrm>
            <a:off x="4432811" y="4185488"/>
            <a:ext cx="919915" cy="920768"/>
            <a:chOff x="1682" y="0"/>
            <a:chExt cx="4316" cy="4320"/>
          </a:xfrm>
        </p:grpSpPr>
        <p:sp>
          <p:nvSpPr>
            <p:cNvPr id="28" name="AutoShape 8">
              <a:extLst>
                <a:ext uri="{FF2B5EF4-FFF2-40B4-BE49-F238E27FC236}">
                  <a16:creationId xmlns:a16="http://schemas.microsoft.com/office/drawing/2014/main" id="{BC490DFF-85E9-44E1-A64E-98398DF7DF3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0">
              <a:extLst>
                <a:ext uri="{FF2B5EF4-FFF2-40B4-BE49-F238E27FC236}">
                  <a16:creationId xmlns:a16="http://schemas.microsoft.com/office/drawing/2014/main" id="{24DF3A42-6C52-4293-98CA-5848A0B244FC}"/>
                </a:ext>
              </a:extLst>
            </p:cNvPr>
            <p:cNvSpPr>
              <a:spLocks noEditPoints="1"/>
            </p:cNvSpPr>
            <p:nvPr/>
          </p:nvSpPr>
          <p:spPr bwMode="auto">
            <a:xfrm>
              <a:off x="2096" y="1481"/>
              <a:ext cx="3492" cy="1212"/>
            </a:xfrm>
            <a:custGeom>
              <a:avLst/>
              <a:gdLst>
                <a:gd name="T0" fmla="*/ 196 w 1864"/>
                <a:gd name="T1" fmla="*/ 0 h 646"/>
                <a:gd name="T2" fmla="*/ 59 w 1864"/>
                <a:gd name="T3" fmla="*/ 0 h 646"/>
                <a:gd name="T4" fmla="*/ 0 w 1864"/>
                <a:gd name="T5" fmla="*/ 646 h 646"/>
                <a:gd name="T6" fmla="*/ 255 w 1864"/>
                <a:gd name="T7" fmla="*/ 646 h 646"/>
                <a:gd name="T8" fmla="*/ 196 w 1864"/>
                <a:gd name="T9" fmla="*/ 0 h 646"/>
                <a:gd name="T10" fmla="*/ 128 w 1864"/>
                <a:gd name="T11" fmla="*/ 119 h 646"/>
                <a:gd name="T12" fmla="*/ 98 w 1864"/>
                <a:gd name="T13" fmla="*/ 90 h 646"/>
                <a:gd name="T14" fmla="*/ 128 w 1864"/>
                <a:gd name="T15" fmla="*/ 61 h 646"/>
                <a:gd name="T16" fmla="*/ 157 w 1864"/>
                <a:gd name="T17" fmla="*/ 90 h 646"/>
                <a:gd name="T18" fmla="*/ 128 w 1864"/>
                <a:gd name="T19" fmla="*/ 119 h 646"/>
                <a:gd name="T20" fmla="*/ 1805 w 1864"/>
                <a:gd name="T21" fmla="*/ 0 h 646"/>
                <a:gd name="T22" fmla="*/ 1668 w 1864"/>
                <a:gd name="T23" fmla="*/ 0 h 646"/>
                <a:gd name="T24" fmla="*/ 1609 w 1864"/>
                <a:gd name="T25" fmla="*/ 646 h 646"/>
                <a:gd name="T26" fmla="*/ 1864 w 1864"/>
                <a:gd name="T27" fmla="*/ 646 h 646"/>
                <a:gd name="T28" fmla="*/ 1805 w 1864"/>
                <a:gd name="T29" fmla="*/ 0 h 646"/>
                <a:gd name="T30" fmla="*/ 1736 w 1864"/>
                <a:gd name="T31" fmla="*/ 119 h 646"/>
                <a:gd name="T32" fmla="*/ 1707 w 1864"/>
                <a:gd name="T33" fmla="*/ 90 h 646"/>
                <a:gd name="T34" fmla="*/ 1736 w 1864"/>
                <a:gd name="T35" fmla="*/ 61 h 646"/>
                <a:gd name="T36" fmla="*/ 1766 w 1864"/>
                <a:gd name="T37" fmla="*/ 90 h 646"/>
                <a:gd name="T38" fmla="*/ 1736 w 1864"/>
                <a:gd name="T39" fmla="*/ 119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64" h="646">
                  <a:moveTo>
                    <a:pt x="196" y="0"/>
                  </a:moveTo>
                  <a:cubicBezTo>
                    <a:pt x="59" y="0"/>
                    <a:pt x="59" y="0"/>
                    <a:pt x="59" y="0"/>
                  </a:cubicBezTo>
                  <a:cubicBezTo>
                    <a:pt x="0" y="646"/>
                    <a:pt x="0" y="646"/>
                    <a:pt x="0" y="646"/>
                  </a:cubicBezTo>
                  <a:cubicBezTo>
                    <a:pt x="255" y="646"/>
                    <a:pt x="255" y="646"/>
                    <a:pt x="255" y="646"/>
                  </a:cubicBezTo>
                  <a:lnTo>
                    <a:pt x="196" y="0"/>
                  </a:lnTo>
                  <a:close/>
                  <a:moveTo>
                    <a:pt x="128" y="119"/>
                  </a:moveTo>
                  <a:cubicBezTo>
                    <a:pt x="111" y="119"/>
                    <a:pt x="98" y="106"/>
                    <a:pt x="98" y="90"/>
                  </a:cubicBezTo>
                  <a:cubicBezTo>
                    <a:pt x="98" y="74"/>
                    <a:pt x="111" y="61"/>
                    <a:pt x="128" y="61"/>
                  </a:cubicBezTo>
                  <a:cubicBezTo>
                    <a:pt x="144" y="61"/>
                    <a:pt x="157" y="74"/>
                    <a:pt x="157" y="90"/>
                  </a:cubicBezTo>
                  <a:cubicBezTo>
                    <a:pt x="157" y="106"/>
                    <a:pt x="144" y="119"/>
                    <a:pt x="128" y="119"/>
                  </a:cubicBezTo>
                  <a:close/>
                  <a:moveTo>
                    <a:pt x="1805" y="0"/>
                  </a:moveTo>
                  <a:cubicBezTo>
                    <a:pt x="1668" y="0"/>
                    <a:pt x="1668" y="0"/>
                    <a:pt x="1668" y="0"/>
                  </a:cubicBezTo>
                  <a:cubicBezTo>
                    <a:pt x="1609" y="646"/>
                    <a:pt x="1609" y="646"/>
                    <a:pt x="1609" y="646"/>
                  </a:cubicBezTo>
                  <a:cubicBezTo>
                    <a:pt x="1864" y="646"/>
                    <a:pt x="1864" y="646"/>
                    <a:pt x="1864" y="646"/>
                  </a:cubicBezTo>
                  <a:lnTo>
                    <a:pt x="1805" y="0"/>
                  </a:lnTo>
                  <a:close/>
                  <a:moveTo>
                    <a:pt x="1736" y="119"/>
                  </a:moveTo>
                  <a:cubicBezTo>
                    <a:pt x="1720" y="119"/>
                    <a:pt x="1707" y="106"/>
                    <a:pt x="1707" y="90"/>
                  </a:cubicBezTo>
                  <a:cubicBezTo>
                    <a:pt x="1707" y="74"/>
                    <a:pt x="1720" y="61"/>
                    <a:pt x="1736" y="61"/>
                  </a:cubicBezTo>
                  <a:cubicBezTo>
                    <a:pt x="1753" y="61"/>
                    <a:pt x="1766" y="74"/>
                    <a:pt x="1766" y="90"/>
                  </a:cubicBezTo>
                  <a:cubicBezTo>
                    <a:pt x="1766" y="106"/>
                    <a:pt x="1753" y="119"/>
                    <a:pt x="1736" y="1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1">
              <a:extLst>
                <a:ext uri="{FF2B5EF4-FFF2-40B4-BE49-F238E27FC236}">
                  <a16:creationId xmlns:a16="http://schemas.microsoft.com/office/drawing/2014/main" id="{34852F61-1868-44C4-B150-B89FF920F726}"/>
                </a:ext>
              </a:extLst>
            </p:cNvPr>
            <p:cNvSpPr>
              <a:spLocks noEditPoints="1"/>
            </p:cNvSpPr>
            <p:nvPr/>
          </p:nvSpPr>
          <p:spPr bwMode="auto">
            <a:xfrm>
              <a:off x="1931" y="1236"/>
              <a:ext cx="3822" cy="1860"/>
            </a:xfrm>
            <a:custGeom>
              <a:avLst/>
              <a:gdLst>
                <a:gd name="T0" fmla="*/ 431 w 2040"/>
                <a:gd name="T1" fmla="*/ 970 h 992"/>
                <a:gd name="T2" fmla="*/ 370 w 2040"/>
                <a:gd name="T3" fmla="*/ 992 h 992"/>
                <a:gd name="T4" fmla="*/ 22 w 2040"/>
                <a:gd name="T5" fmla="*/ 992 h 992"/>
                <a:gd name="T6" fmla="*/ 0 w 2040"/>
                <a:gd name="T7" fmla="*/ 911 h 992"/>
                <a:gd name="T8" fmla="*/ 38 w 2040"/>
                <a:gd name="T9" fmla="*/ 889 h 992"/>
                <a:gd name="T10" fmla="*/ 61 w 2040"/>
                <a:gd name="T11" fmla="*/ 824 h 992"/>
                <a:gd name="T12" fmla="*/ 393 w 2040"/>
                <a:gd name="T13" fmla="*/ 847 h 992"/>
                <a:gd name="T14" fmla="*/ 409 w 2040"/>
                <a:gd name="T15" fmla="*/ 889 h 992"/>
                <a:gd name="T16" fmla="*/ 1684 w 2040"/>
                <a:gd name="T17" fmla="*/ 433 h 992"/>
                <a:gd name="T18" fmla="*/ 352 w 2040"/>
                <a:gd name="T19" fmla="*/ 389 h 992"/>
                <a:gd name="T20" fmla="*/ 551 w 2040"/>
                <a:gd name="T21" fmla="*/ 166 h 992"/>
                <a:gd name="T22" fmla="*/ 339 w 2040"/>
                <a:gd name="T23" fmla="*/ 244 h 992"/>
                <a:gd name="T24" fmla="*/ 568 w 2040"/>
                <a:gd name="T25" fmla="*/ 110 h 992"/>
                <a:gd name="T26" fmla="*/ 1472 w 2040"/>
                <a:gd name="T27" fmla="*/ 110 h 992"/>
                <a:gd name="T28" fmla="*/ 1701 w 2040"/>
                <a:gd name="T29" fmla="*/ 244 h 992"/>
                <a:gd name="T30" fmla="*/ 1489 w 2040"/>
                <a:gd name="T31" fmla="*/ 166 h 992"/>
                <a:gd name="T32" fmla="*/ 1688 w 2040"/>
                <a:gd name="T33" fmla="*/ 389 h 992"/>
                <a:gd name="T34" fmla="*/ 775 w 2040"/>
                <a:gd name="T35" fmla="*/ 88 h 992"/>
                <a:gd name="T36" fmla="*/ 595 w 2040"/>
                <a:gd name="T37" fmla="*/ 389 h 992"/>
                <a:gd name="T38" fmla="*/ 775 w 2040"/>
                <a:gd name="T39" fmla="*/ 88 h 992"/>
                <a:gd name="T40" fmla="*/ 819 w 2040"/>
                <a:gd name="T41" fmla="*/ 79 h 992"/>
                <a:gd name="T42" fmla="*/ 998 w 2040"/>
                <a:gd name="T43" fmla="*/ 389 h 992"/>
                <a:gd name="T44" fmla="*/ 1221 w 2040"/>
                <a:gd name="T45" fmla="*/ 79 h 992"/>
                <a:gd name="T46" fmla="*/ 1042 w 2040"/>
                <a:gd name="T47" fmla="*/ 389 h 992"/>
                <a:gd name="T48" fmla="*/ 1221 w 2040"/>
                <a:gd name="T49" fmla="*/ 79 h 992"/>
                <a:gd name="T50" fmla="*/ 1265 w 2040"/>
                <a:gd name="T51" fmla="*/ 88 h 992"/>
                <a:gd name="T52" fmla="*/ 1445 w 2040"/>
                <a:gd name="T53" fmla="*/ 389 h 992"/>
                <a:gd name="T54" fmla="*/ 2018 w 2040"/>
                <a:gd name="T55" fmla="*/ 889 h 992"/>
                <a:gd name="T56" fmla="*/ 2002 w 2040"/>
                <a:gd name="T57" fmla="*/ 847 h 992"/>
                <a:gd name="T58" fmla="*/ 1670 w 2040"/>
                <a:gd name="T59" fmla="*/ 824 h 992"/>
                <a:gd name="T60" fmla="*/ 1647 w 2040"/>
                <a:gd name="T61" fmla="*/ 889 h 992"/>
                <a:gd name="T62" fmla="*/ 1609 w 2040"/>
                <a:gd name="T63" fmla="*/ 911 h 992"/>
                <a:gd name="T64" fmla="*/ 1631 w 2040"/>
                <a:gd name="T65" fmla="*/ 992 h 992"/>
                <a:gd name="T66" fmla="*/ 1979 w 2040"/>
                <a:gd name="T67" fmla="*/ 992 h 992"/>
                <a:gd name="T68" fmla="*/ 2040 w 2040"/>
                <a:gd name="T69" fmla="*/ 970 h 992"/>
                <a:gd name="T70" fmla="*/ 2018 w 2040"/>
                <a:gd name="T71" fmla="*/ 889 h 992"/>
                <a:gd name="T72" fmla="*/ 152 w 2040"/>
                <a:gd name="T73" fmla="*/ 87 h 992"/>
                <a:gd name="T74" fmla="*/ 234 w 2040"/>
                <a:gd name="T75" fmla="*/ 14 h 992"/>
                <a:gd name="T76" fmla="*/ 1806 w 2040"/>
                <a:gd name="T77" fmla="*/ 14 h 992"/>
                <a:gd name="T78" fmla="*/ 1888 w 2040"/>
                <a:gd name="T79" fmla="*/ 87 h 992"/>
                <a:gd name="T80" fmla="*/ 1806 w 2040"/>
                <a:gd name="T81" fmla="*/ 14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40" h="992">
                  <a:moveTo>
                    <a:pt x="431" y="911"/>
                  </a:moveTo>
                  <a:cubicBezTo>
                    <a:pt x="431" y="970"/>
                    <a:pt x="431" y="970"/>
                    <a:pt x="431" y="970"/>
                  </a:cubicBezTo>
                  <a:cubicBezTo>
                    <a:pt x="431" y="982"/>
                    <a:pt x="421" y="992"/>
                    <a:pt x="409" y="992"/>
                  </a:cubicBezTo>
                  <a:cubicBezTo>
                    <a:pt x="370" y="992"/>
                    <a:pt x="370" y="992"/>
                    <a:pt x="370" y="992"/>
                  </a:cubicBezTo>
                  <a:cubicBezTo>
                    <a:pt x="61" y="992"/>
                    <a:pt x="61" y="992"/>
                    <a:pt x="61" y="992"/>
                  </a:cubicBezTo>
                  <a:cubicBezTo>
                    <a:pt x="22" y="992"/>
                    <a:pt x="22" y="992"/>
                    <a:pt x="22" y="992"/>
                  </a:cubicBezTo>
                  <a:cubicBezTo>
                    <a:pt x="10" y="992"/>
                    <a:pt x="0" y="982"/>
                    <a:pt x="0" y="970"/>
                  </a:cubicBezTo>
                  <a:cubicBezTo>
                    <a:pt x="0" y="911"/>
                    <a:pt x="0" y="911"/>
                    <a:pt x="0" y="911"/>
                  </a:cubicBezTo>
                  <a:cubicBezTo>
                    <a:pt x="0" y="899"/>
                    <a:pt x="10" y="889"/>
                    <a:pt x="22" y="889"/>
                  </a:cubicBezTo>
                  <a:cubicBezTo>
                    <a:pt x="38" y="889"/>
                    <a:pt x="38" y="889"/>
                    <a:pt x="38" y="889"/>
                  </a:cubicBezTo>
                  <a:cubicBezTo>
                    <a:pt x="38" y="847"/>
                    <a:pt x="38" y="847"/>
                    <a:pt x="38" y="847"/>
                  </a:cubicBezTo>
                  <a:cubicBezTo>
                    <a:pt x="38" y="834"/>
                    <a:pt x="48" y="824"/>
                    <a:pt x="61" y="824"/>
                  </a:cubicBezTo>
                  <a:cubicBezTo>
                    <a:pt x="370" y="824"/>
                    <a:pt x="370" y="824"/>
                    <a:pt x="370" y="824"/>
                  </a:cubicBezTo>
                  <a:cubicBezTo>
                    <a:pt x="383" y="824"/>
                    <a:pt x="393" y="834"/>
                    <a:pt x="393" y="847"/>
                  </a:cubicBezTo>
                  <a:cubicBezTo>
                    <a:pt x="393" y="889"/>
                    <a:pt x="393" y="889"/>
                    <a:pt x="393" y="889"/>
                  </a:cubicBezTo>
                  <a:cubicBezTo>
                    <a:pt x="409" y="889"/>
                    <a:pt x="409" y="889"/>
                    <a:pt x="409" y="889"/>
                  </a:cubicBezTo>
                  <a:cubicBezTo>
                    <a:pt x="421" y="889"/>
                    <a:pt x="431" y="899"/>
                    <a:pt x="431" y="911"/>
                  </a:cubicBezTo>
                  <a:close/>
                  <a:moveTo>
                    <a:pt x="1684" y="433"/>
                  </a:moveTo>
                  <a:cubicBezTo>
                    <a:pt x="356" y="433"/>
                    <a:pt x="356" y="433"/>
                    <a:pt x="356" y="433"/>
                  </a:cubicBezTo>
                  <a:cubicBezTo>
                    <a:pt x="352" y="389"/>
                    <a:pt x="352" y="389"/>
                    <a:pt x="352" y="389"/>
                  </a:cubicBezTo>
                  <a:cubicBezTo>
                    <a:pt x="551" y="389"/>
                    <a:pt x="551" y="389"/>
                    <a:pt x="551" y="389"/>
                  </a:cubicBezTo>
                  <a:cubicBezTo>
                    <a:pt x="551" y="166"/>
                    <a:pt x="551" y="166"/>
                    <a:pt x="551" y="166"/>
                  </a:cubicBezTo>
                  <a:cubicBezTo>
                    <a:pt x="478" y="201"/>
                    <a:pt x="408" y="244"/>
                    <a:pt x="343" y="296"/>
                  </a:cubicBezTo>
                  <a:cubicBezTo>
                    <a:pt x="339" y="244"/>
                    <a:pt x="339" y="244"/>
                    <a:pt x="339" y="244"/>
                  </a:cubicBezTo>
                  <a:cubicBezTo>
                    <a:pt x="408" y="192"/>
                    <a:pt x="483" y="148"/>
                    <a:pt x="561" y="113"/>
                  </a:cubicBezTo>
                  <a:cubicBezTo>
                    <a:pt x="563" y="112"/>
                    <a:pt x="565" y="111"/>
                    <a:pt x="568" y="110"/>
                  </a:cubicBezTo>
                  <a:cubicBezTo>
                    <a:pt x="709" y="49"/>
                    <a:pt x="862" y="17"/>
                    <a:pt x="1020" y="17"/>
                  </a:cubicBezTo>
                  <a:cubicBezTo>
                    <a:pt x="1178" y="17"/>
                    <a:pt x="1331" y="49"/>
                    <a:pt x="1472" y="110"/>
                  </a:cubicBezTo>
                  <a:cubicBezTo>
                    <a:pt x="1475" y="111"/>
                    <a:pt x="1477" y="112"/>
                    <a:pt x="1479" y="113"/>
                  </a:cubicBezTo>
                  <a:cubicBezTo>
                    <a:pt x="1557" y="148"/>
                    <a:pt x="1632" y="192"/>
                    <a:pt x="1701" y="244"/>
                  </a:cubicBezTo>
                  <a:cubicBezTo>
                    <a:pt x="1697" y="296"/>
                    <a:pt x="1697" y="296"/>
                    <a:pt x="1697" y="296"/>
                  </a:cubicBezTo>
                  <a:cubicBezTo>
                    <a:pt x="1632" y="244"/>
                    <a:pt x="1562" y="201"/>
                    <a:pt x="1489" y="166"/>
                  </a:cubicBezTo>
                  <a:cubicBezTo>
                    <a:pt x="1489" y="389"/>
                    <a:pt x="1489" y="389"/>
                    <a:pt x="1489" y="389"/>
                  </a:cubicBezTo>
                  <a:cubicBezTo>
                    <a:pt x="1688" y="389"/>
                    <a:pt x="1688" y="389"/>
                    <a:pt x="1688" y="389"/>
                  </a:cubicBezTo>
                  <a:lnTo>
                    <a:pt x="1684" y="433"/>
                  </a:lnTo>
                  <a:close/>
                  <a:moveTo>
                    <a:pt x="775" y="88"/>
                  </a:moveTo>
                  <a:cubicBezTo>
                    <a:pt x="713" y="103"/>
                    <a:pt x="653" y="122"/>
                    <a:pt x="595" y="146"/>
                  </a:cubicBezTo>
                  <a:cubicBezTo>
                    <a:pt x="595" y="389"/>
                    <a:pt x="595" y="389"/>
                    <a:pt x="595" y="389"/>
                  </a:cubicBezTo>
                  <a:cubicBezTo>
                    <a:pt x="775" y="389"/>
                    <a:pt x="775" y="389"/>
                    <a:pt x="775" y="389"/>
                  </a:cubicBezTo>
                  <a:lnTo>
                    <a:pt x="775" y="88"/>
                  </a:lnTo>
                  <a:close/>
                  <a:moveTo>
                    <a:pt x="998" y="61"/>
                  </a:moveTo>
                  <a:cubicBezTo>
                    <a:pt x="937" y="62"/>
                    <a:pt x="877" y="68"/>
                    <a:pt x="819" y="79"/>
                  </a:cubicBezTo>
                  <a:cubicBezTo>
                    <a:pt x="819" y="389"/>
                    <a:pt x="819" y="389"/>
                    <a:pt x="819" y="389"/>
                  </a:cubicBezTo>
                  <a:cubicBezTo>
                    <a:pt x="998" y="389"/>
                    <a:pt x="998" y="389"/>
                    <a:pt x="998" y="389"/>
                  </a:cubicBezTo>
                  <a:lnTo>
                    <a:pt x="998" y="61"/>
                  </a:lnTo>
                  <a:close/>
                  <a:moveTo>
                    <a:pt x="1221" y="79"/>
                  </a:moveTo>
                  <a:cubicBezTo>
                    <a:pt x="1163" y="68"/>
                    <a:pt x="1103" y="62"/>
                    <a:pt x="1042" y="61"/>
                  </a:cubicBezTo>
                  <a:cubicBezTo>
                    <a:pt x="1042" y="389"/>
                    <a:pt x="1042" y="389"/>
                    <a:pt x="1042" y="389"/>
                  </a:cubicBezTo>
                  <a:cubicBezTo>
                    <a:pt x="1221" y="389"/>
                    <a:pt x="1221" y="389"/>
                    <a:pt x="1221" y="389"/>
                  </a:cubicBezTo>
                  <a:lnTo>
                    <a:pt x="1221" y="79"/>
                  </a:lnTo>
                  <a:close/>
                  <a:moveTo>
                    <a:pt x="1445" y="146"/>
                  </a:moveTo>
                  <a:cubicBezTo>
                    <a:pt x="1387" y="122"/>
                    <a:pt x="1327" y="103"/>
                    <a:pt x="1265" y="88"/>
                  </a:cubicBezTo>
                  <a:cubicBezTo>
                    <a:pt x="1265" y="389"/>
                    <a:pt x="1265" y="389"/>
                    <a:pt x="1265" y="389"/>
                  </a:cubicBezTo>
                  <a:cubicBezTo>
                    <a:pt x="1445" y="389"/>
                    <a:pt x="1445" y="389"/>
                    <a:pt x="1445" y="389"/>
                  </a:cubicBezTo>
                  <a:lnTo>
                    <a:pt x="1445" y="146"/>
                  </a:lnTo>
                  <a:close/>
                  <a:moveTo>
                    <a:pt x="2018" y="889"/>
                  </a:moveTo>
                  <a:cubicBezTo>
                    <a:pt x="2002" y="889"/>
                    <a:pt x="2002" y="889"/>
                    <a:pt x="2002" y="889"/>
                  </a:cubicBezTo>
                  <a:cubicBezTo>
                    <a:pt x="2002" y="847"/>
                    <a:pt x="2002" y="847"/>
                    <a:pt x="2002" y="847"/>
                  </a:cubicBezTo>
                  <a:cubicBezTo>
                    <a:pt x="2002" y="834"/>
                    <a:pt x="1992" y="824"/>
                    <a:pt x="1979" y="824"/>
                  </a:cubicBezTo>
                  <a:cubicBezTo>
                    <a:pt x="1670" y="824"/>
                    <a:pt x="1670" y="824"/>
                    <a:pt x="1670" y="824"/>
                  </a:cubicBezTo>
                  <a:cubicBezTo>
                    <a:pt x="1657" y="824"/>
                    <a:pt x="1647" y="834"/>
                    <a:pt x="1647" y="847"/>
                  </a:cubicBezTo>
                  <a:cubicBezTo>
                    <a:pt x="1647" y="889"/>
                    <a:pt x="1647" y="889"/>
                    <a:pt x="1647" y="889"/>
                  </a:cubicBezTo>
                  <a:cubicBezTo>
                    <a:pt x="1631" y="889"/>
                    <a:pt x="1631" y="889"/>
                    <a:pt x="1631" y="889"/>
                  </a:cubicBezTo>
                  <a:cubicBezTo>
                    <a:pt x="1619" y="889"/>
                    <a:pt x="1609" y="899"/>
                    <a:pt x="1609" y="911"/>
                  </a:cubicBezTo>
                  <a:cubicBezTo>
                    <a:pt x="1609" y="970"/>
                    <a:pt x="1609" y="970"/>
                    <a:pt x="1609" y="970"/>
                  </a:cubicBezTo>
                  <a:cubicBezTo>
                    <a:pt x="1609" y="982"/>
                    <a:pt x="1619" y="992"/>
                    <a:pt x="1631" y="992"/>
                  </a:cubicBezTo>
                  <a:cubicBezTo>
                    <a:pt x="1670" y="992"/>
                    <a:pt x="1670" y="992"/>
                    <a:pt x="1670" y="992"/>
                  </a:cubicBezTo>
                  <a:cubicBezTo>
                    <a:pt x="1979" y="992"/>
                    <a:pt x="1979" y="992"/>
                    <a:pt x="1979" y="992"/>
                  </a:cubicBezTo>
                  <a:cubicBezTo>
                    <a:pt x="2018" y="992"/>
                    <a:pt x="2018" y="992"/>
                    <a:pt x="2018" y="992"/>
                  </a:cubicBezTo>
                  <a:cubicBezTo>
                    <a:pt x="2030" y="992"/>
                    <a:pt x="2040" y="982"/>
                    <a:pt x="2040" y="970"/>
                  </a:cubicBezTo>
                  <a:cubicBezTo>
                    <a:pt x="2040" y="911"/>
                    <a:pt x="2040" y="911"/>
                    <a:pt x="2040" y="911"/>
                  </a:cubicBezTo>
                  <a:cubicBezTo>
                    <a:pt x="2040" y="899"/>
                    <a:pt x="2030" y="889"/>
                    <a:pt x="2018" y="889"/>
                  </a:cubicBezTo>
                  <a:close/>
                  <a:moveTo>
                    <a:pt x="197" y="14"/>
                  </a:moveTo>
                  <a:cubicBezTo>
                    <a:pt x="152" y="87"/>
                    <a:pt x="152" y="87"/>
                    <a:pt x="152" y="87"/>
                  </a:cubicBezTo>
                  <a:cubicBezTo>
                    <a:pt x="279" y="87"/>
                    <a:pt x="279" y="87"/>
                    <a:pt x="279" y="87"/>
                  </a:cubicBezTo>
                  <a:cubicBezTo>
                    <a:pt x="234" y="14"/>
                    <a:pt x="234" y="14"/>
                    <a:pt x="234" y="14"/>
                  </a:cubicBezTo>
                  <a:cubicBezTo>
                    <a:pt x="226" y="0"/>
                    <a:pt x="205" y="0"/>
                    <a:pt x="197" y="14"/>
                  </a:cubicBezTo>
                  <a:close/>
                  <a:moveTo>
                    <a:pt x="1806" y="14"/>
                  </a:moveTo>
                  <a:cubicBezTo>
                    <a:pt x="1761" y="87"/>
                    <a:pt x="1761" y="87"/>
                    <a:pt x="1761" y="87"/>
                  </a:cubicBezTo>
                  <a:cubicBezTo>
                    <a:pt x="1888" y="87"/>
                    <a:pt x="1888" y="87"/>
                    <a:pt x="1888" y="87"/>
                  </a:cubicBezTo>
                  <a:cubicBezTo>
                    <a:pt x="1843" y="14"/>
                    <a:pt x="1843" y="14"/>
                    <a:pt x="1843" y="14"/>
                  </a:cubicBezTo>
                  <a:cubicBezTo>
                    <a:pt x="1835" y="0"/>
                    <a:pt x="1814" y="0"/>
                    <a:pt x="1806" y="1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 name="Group 14">
            <a:extLst>
              <a:ext uri="{FF2B5EF4-FFF2-40B4-BE49-F238E27FC236}">
                <a16:creationId xmlns:a16="http://schemas.microsoft.com/office/drawing/2014/main" id="{6D891BD4-DDDD-4217-96EA-2E5C82FBED0C}"/>
              </a:ext>
            </a:extLst>
          </p:cNvPr>
          <p:cNvGrpSpPr>
            <a:grpSpLocks noChangeAspect="1"/>
          </p:cNvGrpSpPr>
          <p:nvPr/>
        </p:nvGrpSpPr>
        <p:grpSpPr bwMode="auto">
          <a:xfrm>
            <a:off x="4485883" y="5497338"/>
            <a:ext cx="935676" cy="936543"/>
            <a:chOff x="1682" y="0"/>
            <a:chExt cx="4316" cy="4320"/>
          </a:xfrm>
        </p:grpSpPr>
        <p:sp>
          <p:nvSpPr>
            <p:cNvPr id="33" name="AutoShape 13">
              <a:extLst>
                <a:ext uri="{FF2B5EF4-FFF2-40B4-BE49-F238E27FC236}">
                  <a16:creationId xmlns:a16="http://schemas.microsoft.com/office/drawing/2014/main" id="{EBF20D5D-71F7-4408-B1CB-4EFBA0CF072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5">
              <a:extLst>
                <a:ext uri="{FF2B5EF4-FFF2-40B4-BE49-F238E27FC236}">
                  <a16:creationId xmlns:a16="http://schemas.microsoft.com/office/drawing/2014/main" id="{C016E4AE-7D52-4D19-A722-96C41ABF8A00}"/>
                </a:ext>
              </a:extLst>
            </p:cNvPr>
            <p:cNvSpPr>
              <a:spLocks noEditPoints="1"/>
            </p:cNvSpPr>
            <p:nvPr/>
          </p:nvSpPr>
          <p:spPr bwMode="auto">
            <a:xfrm>
              <a:off x="2452" y="1241"/>
              <a:ext cx="2772" cy="2580"/>
            </a:xfrm>
            <a:custGeom>
              <a:avLst/>
              <a:gdLst>
                <a:gd name="T0" fmla="*/ 481 w 1480"/>
                <a:gd name="T1" fmla="*/ 994 h 1376"/>
                <a:gd name="T2" fmla="*/ 388 w 1480"/>
                <a:gd name="T3" fmla="*/ 1000 h 1376"/>
                <a:gd name="T4" fmla="*/ 300 w 1480"/>
                <a:gd name="T5" fmla="*/ 941 h 1376"/>
                <a:gd name="T6" fmla="*/ 392 w 1480"/>
                <a:gd name="T7" fmla="*/ 758 h 1376"/>
                <a:gd name="T8" fmla="*/ 481 w 1480"/>
                <a:gd name="T9" fmla="*/ 939 h 1376"/>
                <a:gd name="T10" fmla="*/ 481 w 1480"/>
                <a:gd name="T11" fmla="*/ 994 h 1376"/>
                <a:gd name="T12" fmla="*/ 1088 w 1480"/>
                <a:gd name="T13" fmla="*/ 759 h 1376"/>
                <a:gd name="T14" fmla="*/ 999 w 1480"/>
                <a:gd name="T15" fmla="*/ 939 h 1376"/>
                <a:gd name="T16" fmla="*/ 999 w 1480"/>
                <a:gd name="T17" fmla="*/ 994 h 1376"/>
                <a:gd name="T18" fmla="*/ 1092 w 1480"/>
                <a:gd name="T19" fmla="*/ 1001 h 1376"/>
                <a:gd name="T20" fmla="*/ 1180 w 1480"/>
                <a:gd name="T21" fmla="*/ 941 h 1376"/>
                <a:gd name="T22" fmla="*/ 1088 w 1480"/>
                <a:gd name="T23" fmla="*/ 759 h 1376"/>
                <a:gd name="T24" fmla="*/ 1127 w 1480"/>
                <a:gd name="T25" fmla="*/ 392 h 1376"/>
                <a:gd name="T26" fmla="*/ 740 w 1480"/>
                <a:gd name="T27" fmla="*/ 0 h 1376"/>
                <a:gd name="T28" fmla="*/ 353 w 1480"/>
                <a:gd name="T29" fmla="*/ 392 h 1376"/>
                <a:gd name="T30" fmla="*/ 375 w 1480"/>
                <a:gd name="T31" fmla="*/ 553 h 1376"/>
                <a:gd name="T32" fmla="*/ 375 w 1480"/>
                <a:gd name="T33" fmla="*/ 553 h 1376"/>
                <a:gd name="T34" fmla="*/ 526 w 1480"/>
                <a:gd name="T35" fmla="*/ 315 h 1376"/>
                <a:gd name="T36" fmla="*/ 530 w 1480"/>
                <a:gd name="T37" fmla="*/ 316 h 1376"/>
                <a:gd name="T38" fmla="*/ 1039 w 1480"/>
                <a:gd name="T39" fmla="*/ 585 h 1376"/>
                <a:gd name="T40" fmla="*/ 1042 w 1480"/>
                <a:gd name="T41" fmla="*/ 586 h 1376"/>
                <a:gd name="T42" fmla="*/ 1066 w 1480"/>
                <a:gd name="T43" fmla="*/ 586 h 1376"/>
                <a:gd name="T44" fmla="*/ 1070 w 1480"/>
                <a:gd name="T45" fmla="*/ 584 h 1376"/>
                <a:gd name="T46" fmla="*/ 1113 w 1480"/>
                <a:gd name="T47" fmla="*/ 524 h 1376"/>
                <a:gd name="T48" fmla="*/ 1113 w 1480"/>
                <a:gd name="T49" fmla="*/ 525 h 1376"/>
                <a:gd name="T50" fmla="*/ 1127 w 1480"/>
                <a:gd name="T51" fmla="*/ 392 h 1376"/>
                <a:gd name="T52" fmla="*/ 745 w 1480"/>
                <a:gd name="T53" fmla="*/ 1229 h 1376"/>
                <a:gd name="T54" fmla="*/ 735 w 1480"/>
                <a:gd name="T55" fmla="*/ 1229 h 1376"/>
                <a:gd name="T56" fmla="*/ 501 w 1480"/>
                <a:gd name="T57" fmla="*/ 1038 h 1376"/>
                <a:gd name="T58" fmla="*/ 501 w 1480"/>
                <a:gd name="T59" fmla="*/ 1038 h 1376"/>
                <a:gd name="T60" fmla="*/ 183 w 1480"/>
                <a:gd name="T61" fmla="*/ 1092 h 1376"/>
                <a:gd name="T62" fmla="*/ 4 w 1480"/>
                <a:gd name="T63" fmla="*/ 1352 h 1376"/>
                <a:gd name="T64" fmla="*/ 21 w 1480"/>
                <a:gd name="T65" fmla="*/ 1376 h 1376"/>
                <a:gd name="T66" fmla="*/ 1459 w 1480"/>
                <a:gd name="T67" fmla="*/ 1376 h 1376"/>
                <a:gd name="T68" fmla="*/ 1476 w 1480"/>
                <a:gd name="T69" fmla="*/ 1352 h 1376"/>
                <a:gd name="T70" fmla="*/ 1297 w 1480"/>
                <a:gd name="T71" fmla="*/ 1092 h 1376"/>
                <a:gd name="T72" fmla="*/ 979 w 1480"/>
                <a:gd name="T73" fmla="*/ 1038 h 1376"/>
                <a:gd name="T74" fmla="*/ 979 w 1480"/>
                <a:gd name="T75" fmla="*/ 1038 h 1376"/>
                <a:gd name="T76" fmla="*/ 745 w 1480"/>
                <a:gd name="T77" fmla="*/ 1229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0" h="1376">
                  <a:moveTo>
                    <a:pt x="481" y="994"/>
                  </a:moveTo>
                  <a:cubicBezTo>
                    <a:pt x="461" y="995"/>
                    <a:pt x="427" y="996"/>
                    <a:pt x="388" y="1000"/>
                  </a:cubicBezTo>
                  <a:cubicBezTo>
                    <a:pt x="360" y="990"/>
                    <a:pt x="330" y="972"/>
                    <a:pt x="300" y="941"/>
                  </a:cubicBezTo>
                  <a:cubicBezTo>
                    <a:pt x="376" y="933"/>
                    <a:pt x="388" y="831"/>
                    <a:pt x="392" y="758"/>
                  </a:cubicBezTo>
                  <a:cubicBezTo>
                    <a:pt x="421" y="827"/>
                    <a:pt x="453" y="898"/>
                    <a:pt x="481" y="939"/>
                  </a:cubicBezTo>
                  <a:lnTo>
                    <a:pt x="481" y="994"/>
                  </a:lnTo>
                  <a:close/>
                  <a:moveTo>
                    <a:pt x="1088" y="759"/>
                  </a:moveTo>
                  <a:cubicBezTo>
                    <a:pt x="1059" y="828"/>
                    <a:pt x="1027" y="898"/>
                    <a:pt x="999" y="939"/>
                  </a:cubicBezTo>
                  <a:cubicBezTo>
                    <a:pt x="999" y="994"/>
                    <a:pt x="999" y="994"/>
                    <a:pt x="999" y="994"/>
                  </a:cubicBezTo>
                  <a:cubicBezTo>
                    <a:pt x="1019" y="995"/>
                    <a:pt x="1053" y="996"/>
                    <a:pt x="1092" y="1001"/>
                  </a:cubicBezTo>
                  <a:cubicBezTo>
                    <a:pt x="1120" y="990"/>
                    <a:pt x="1150" y="972"/>
                    <a:pt x="1180" y="941"/>
                  </a:cubicBezTo>
                  <a:cubicBezTo>
                    <a:pt x="1104" y="933"/>
                    <a:pt x="1092" y="832"/>
                    <a:pt x="1088" y="759"/>
                  </a:cubicBezTo>
                  <a:close/>
                  <a:moveTo>
                    <a:pt x="1127" y="392"/>
                  </a:moveTo>
                  <a:cubicBezTo>
                    <a:pt x="1127" y="175"/>
                    <a:pt x="959" y="0"/>
                    <a:pt x="740" y="0"/>
                  </a:cubicBezTo>
                  <a:cubicBezTo>
                    <a:pt x="521" y="0"/>
                    <a:pt x="353" y="175"/>
                    <a:pt x="353" y="392"/>
                  </a:cubicBezTo>
                  <a:cubicBezTo>
                    <a:pt x="353" y="440"/>
                    <a:pt x="359" y="510"/>
                    <a:pt x="375" y="553"/>
                  </a:cubicBezTo>
                  <a:cubicBezTo>
                    <a:pt x="375" y="553"/>
                    <a:pt x="375" y="553"/>
                    <a:pt x="375" y="553"/>
                  </a:cubicBezTo>
                  <a:cubicBezTo>
                    <a:pt x="413" y="587"/>
                    <a:pt x="412" y="353"/>
                    <a:pt x="526" y="315"/>
                  </a:cubicBezTo>
                  <a:cubicBezTo>
                    <a:pt x="527" y="315"/>
                    <a:pt x="529" y="315"/>
                    <a:pt x="530" y="316"/>
                  </a:cubicBezTo>
                  <a:cubicBezTo>
                    <a:pt x="1039" y="585"/>
                    <a:pt x="1039" y="585"/>
                    <a:pt x="1039" y="585"/>
                  </a:cubicBezTo>
                  <a:cubicBezTo>
                    <a:pt x="1040" y="585"/>
                    <a:pt x="1041" y="586"/>
                    <a:pt x="1042" y="586"/>
                  </a:cubicBezTo>
                  <a:cubicBezTo>
                    <a:pt x="1066" y="586"/>
                    <a:pt x="1066" y="586"/>
                    <a:pt x="1066" y="586"/>
                  </a:cubicBezTo>
                  <a:cubicBezTo>
                    <a:pt x="1068" y="586"/>
                    <a:pt x="1069" y="585"/>
                    <a:pt x="1070" y="584"/>
                  </a:cubicBezTo>
                  <a:cubicBezTo>
                    <a:pt x="1105" y="544"/>
                    <a:pt x="1112" y="525"/>
                    <a:pt x="1113" y="524"/>
                  </a:cubicBezTo>
                  <a:cubicBezTo>
                    <a:pt x="1113" y="525"/>
                    <a:pt x="1113" y="525"/>
                    <a:pt x="1113" y="525"/>
                  </a:cubicBezTo>
                  <a:cubicBezTo>
                    <a:pt x="1128" y="484"/>
                    <a:pt x="1127" y="439"/>
                    <a:pt x="1127" y="392"/>
                  </a:cubicBezTo>
                  <a:close/>
                  <a:moveTo>
                    <a:pt x="745" y="1229"/>
                  </a:moveTo>
                  <a:cubicBezTo>
                    <a:pt x="742" y="1232"/>
                    <a:pt x="738" y="1232"/>
                    <a:pt x="735" y="1229"/>
                  </a:cubicBezTo>
                  <a:cubicBezTo>
                    <a:pt x="660" y="1169"/>
                    <a:pt x="501" y="1038"/>
                    <a:pt x="501" y="1038"/>
                  </a:cubicBezTo>
                  <a:cubicBezTo>
                    <a:pt x="501" y="1038"/>
                    <a:pt x="501" y="1038"/>
                    <a:pt x="501" y="1038"/>
                  </a:cubicBezTo>
                  <a:cubicBezTo>
                    <a:pt x="501" y="1038"/>
                    <a:pt x="294" y="1040"/>
                    <a:pt x="183" y="1092"/>
                  </a:cubicBezTo>
                  <a:cubicBezTo>
                    <a:pt x="93" y="1133"/>
                    <a:pt x="27" y="1291"/>
                    <a:pt x="4" y="1352"/>
                  </a:cubicBezTo>
                  <a:cubicBezTo>
                    <a:pt x="0" y="1363"/>
                    <a:pt x="9" y="1376"/>
                    <a:pt x="21" y="1376"/>
                  </a:cubicBezTo>
                  <a:cubicBezTo>
                    <a:pt x="1459" y="1376"/>
                    <a:pt x="1459" y="1376"/>
                    <a:pt x="1459" y="1376"/>
                  </a:cubicBezTo>
                  <a:cubicBezTo>
                    <a:pt x="1471" y="1376"/>
                    <a:pt x="1480" y="1363"/>
                    <a:pt x="1476" y="1352"/>
                  </a:cubicBezTo>
                  <a:cubicBezTo>
                    <a:pt x="1453" y="1291"/>
                    <a:pt x="1387" y="1133"/>
                    <a:pt x="1297" y="1092"/>
                  </a:cubicBezTo>
                  <a:cubicBezTo>
                    <a:pt x="1186" y="1040"/>
                    <a:pt x="979" y="1038"/>
                    <a:pt x="979" y="1038"/>
                  </a:cubicBezTo>
                  <a:cubicBezTo>
                    <a:pt x="979" y="1038"/>
                    <a:pt x="979" y="1038"/>
                    <a:pt x="979" y="1038"/>
                  </a:cubicBezTo>
                  <a:cubicBezTo>
                    <a:pt x="979" y="1038"/>
                    <a:pt x="847" y="1147"/>
                    <a:pt x="745" y="12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6">
              <a:extLst>
                <a:ext uri="{FF2B5EF4-FFF2-40B4-BE49-F238E27FC236}">
                  <a16:creationId xmlns:a16="http://schemas.microsoft.com/office/drawing/2014/main" id="{774AA90F-0E59-420F-A6B0-7F08E4855706}"/>
                </a:ext>
              </a:extLst>
            </p:cNvPr>
            <p:cNvSpPr>
              <a:spLocks noEditPoints="1"/>
            </p:cNvSpPr>
            <p:nvPr/>
          </p:nvSpPr>
          <p:spPr bwMode="auto">
            <a:xfrm>
              <a:off x="2386" y="396"/>
              <a:ext cx="2904" cy="2793"/>
            </a:xfrm>
            <a:custGeom>
              <a:avLst/>
              <a:gdLst>
                <a:gd name="T0" fmla="*/ 829 w 1550"/>
                <a:gd name="T1" fmla="*/ 117 h 1490"/>
                <a:gd name="T2" fmla="*/ 863 w 1550"/>
                <a:gd name="T3" fmla="*/ 222 h 1490"/>
                <a:gd name="T4" fmla="*/ 774 w 1550"/>
                <a:gd name="T5" fmla="*/ 288 h 1490"/>
                <a:gd name="T6" fmla="*/ 687 w 1550"/>
                <a:gd name="T7" fmla="*/ 222 h 1490"/>
                <a:gd name="T8" fmla="*/ 721 w 1550"/>
                <a:gd name="T9" fmla="*/ 117 h 1490"/>
                <a:gd name="T10" fmla="*/ 774 w 1550"/>
                <a:gd name="T11" fmla="*/ 0 h 1490"/>
                <a:gd name="T12" fmla="*/ 774 w 1550"/>
                <a:gd name="T13" fmla="*/ 0 h 1490"/>
                <a:gd name="T14" fmla="*/ 336 w 1550"/>
                <a:gd name="T15" fmla="*/ 175 h 1490"/>
                <a:gd name="T16" fmla="*/ 336 w 1550"/>
                <a:gd name="T17" fmla="*/ 175 h 1490"/>
                <a:gd name="T18" fmla="*/ 200 w 1550"/>
                <a:gd name="T19" fmla="*/ 274 h 1490"/>
                <a:gd name="T20" fmla="*/ 254 w 1550"/>
                <a:gd name="T21" fmla="*/ 438 h 1490"/>
                <a:gd name="T22" fmla="*/ 420 w 1550"/>
                <a:gd name="T23" fmla="*/ 438 h 1490"/>
                <a:gd name="T24" fmla="*/ 475 w 1550"/>
                <a:gd name="T25" fmla="*/ 274 h 1490"/>
                <a:gd name="T26" fmla="*/ 336 w 1550"/>
                <a:gd name="T27" fmla="*/ 175 h 1490"/>
                <a:gd name="T28" fmla="*/ 94 w 1550"/>
                <a:gd name="T29" fmla="*/ 450 h 1490"/>
                <a:gd name="T30" fmla="*/ 94 w 1550"/>
                <a:gd name="T31" fmla="*/ 450 h 1490"/>
                <a:gd name="T32" fmla="*/ 0 w 1550"/>
                <a:gd name="T33" fmla="*/ 519 h 1490"/>
                <a:gd name="T34" fmla="*/ 37 w 1550"/>
                <a:gd name="T35" fmla="*/ 625 h 1490"/>
                <a:gd name="T36" fmla="*/ 152 w 1550"/>
                <a:gd name="T37" fmla="*/ 625 h 1490"/>
                <a:gd name="T38" fmla="*/ 187 w 1550"/>
                <a:gd name="T39" fmla="*/ 519 h 1490"/>
                <a:gd name="T40" fmla="*/ 94 w 1550"/>
                <a:gd name="T41" fmla="*/ 450 h 1490"/>
                <a:gd name="T42" fmla="*/ 1456 w 1550"/>
                <a:gd name="T43" fmla="*/ 450 h 1490"/>
                <a:gd name="T44" fmla="*/ 1456 w 1550"/>
                <a:gd name="T45" fmla="*/ 450 h 1490"/>
                <a:gd name="T46" fmla="*/ 1363 w 1550"/>
                <a:gd name="T47" fmla="*/ 519 h 1490"/>
                <a:gd name="T48" fmla="*/ 1400 w 1550"/>
                <a:gd name="T49" fmla="*/ 625 h 1490"/>
                <a:gd name="T50" fmla="*/ 1517 w 1550"/>
                <a:gd name="T51" fmla="*/ 625 h 1490"/>
                <a:gd name="T52" fmla="*/ 1550 w 1550"/>
                <a:gd name="T53" fmla="*/ 519 h 1490"/>
                <a:gd name="T54" fmla="*/ 1456 w 1550"/>
                <a:gd name="T55" fmla="*/ 450 h 1490"/>
                <a:gd name="T56" fmla="*/ 1212 w 1550"/>
                <a:gd name="T57" fmla="*/ 175 h 1490"/>
                <a:gd name="T58" fmla="*/ 1212 w 1550"/>
                <a:gd name="T59" fmla="*/ 175 h 1490"/>
                <a:gd name="T60" fmla="*/ 1075 w 1550"/>
                <a:gd name="T61" fmla="*/ 274 h 1490"/>
                <a:gd name="T62" fmla="*/ 1127 w 1550"/>
                <a:gd name="T63" fmla="*/ 438 h 1490"/>
                <a:gd name="T64" fmla="*/ 1298 w 1550"/>
                <a:gd name="T65" fmla="*/ 438 h 1490"/>
                <a:gd name="T66" fmla="*/ 1350 w 1550"/>
                <a:gd name="T67" fmla="*/ 274 h 1490"/>
                <a:gd name="T68" fmla="*/ 1212 w 1550"/>
                <a:gd name="T69" fmla="*/ 175 h 1490"/>
                <a:gd name="T70" fmla="*/ 556 w 1550"/>
                <a:gd name="T71" fmla="*/ 1378 h 1490"/>
                <a:gd name="T72" fmla="*/ 564 w 1550"/>
                <a:gd name="T73" fmla="*/ 1455 h 1490"/>
                <a:gd name="T74" fmla="*/ 600 w 1550"/>
                <a:gd name="T75" fmla="*/ 1415 h 1490"/>
                <a:gd name="T76" fmla="*/ 950 w 1550"/>
                <a:gd name="T77" fmla="*/ 1415 h 1490"/>
                <a:gd name="T78" fmla="*/ 986 w 1550"/>
                <a:gd name="T79" fmla="*/ 1455 h 1490"/>
                <a:gd name="T80" fmla="*/ 994 w 1550"/>
                <a:gd name="T81" fmla="*/ 1378 h 1490"/>
                <a:gd name="T82" fmla="*/ 1168 w 1550"/>
                <a:gd name="T83" fmla="*/ 1041 h 1490"/>
                <a:gd name="T84" fmla="*/ 1117 w 1550"/>
                <a:gd name="T85" fmla="*/ 1061 h 1490"/>
                <a:gd name="T86" fmla="*/ 1073 w 1550"/>
                <a:gd name="T87" fmla="*/ 1109 h 1490"/>
                <a:gd name="T88" fmla="*/ 775 w 1550"/>
                <a:gd name="T89" fmla="*/ 1446 h 1490"/>
                <a:gd name="T90" fmla="*/ 477 w 1550"/>
                <a:gd name="T91" fmla="*/ 1109 h 1490"/>
                <a:gd name="T92" fmla="*/ 433 w 1550"/>
                <a:gd name="T93" fmla="*/ 1061 h 1490"/>
                <a:gd name="T94" fmla="*/ 382 w 1550"/>
                <a:gd name="T95" fmla="*/ 1043 h 1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50" h="1490">
                  <a:moveTo>
                    <a:pt x="774" y="0"/>
                  </a:moveTo>
                  <a:cubicBezTo>
                    <a:pt x="829" y="117"/>
                    <a:pt x="829" y="117"/>
                    <a:pt x="829" y="117"/>
                  </a:cubicBezTo>
                  <a:cubicBezTo>
                    <a:pt x="950" y="136"/>
                    <a:pt x="950" y="136"/>
                    <a:pt x="950" y="136"/>
                  </a:cubicBezTo>
                  <a:cubicBezTo>
                    <a:pt x="863" y="222"/>
                    <a:pt x="863" y="222"/>
                    <a:pt x="863" y="222"/>
                  </a:cubicBezTo>
                  <a:cubicBezTo>
                    <a:pt x="885" y="350"/>
                    <a:pt x="885" y="350"/>
                    <a:pt x="885" y="350"/>
                  </a:cubicBezTo>
                  <a:cubicBezTo>
                    <a:pt x="774" y="288"/>
                    <a:pt x="774" y="288"/>
                    <a:pt x="774" y="288"/>
                  </a:cubicBezTo>
                  <a:cubicBezTo>
                    <a:pt x="667" y="350"/>
                    <a:pt x="667" y="350"/>
                    <a:pt x="667" y="350"/>
                  </a:cubicBezTo>
                  <a:cubicBezTo>
                    <a:pt x="687" y="222"/>
                    <a:pt x="687" y="222"/>
                    <a:pt x="687" y="222"/>
                  </a:cubicBezTo>
                  <a:cubicBezTo>
                    <a:pt x="600" y="136"/>
                    <a:pt x="600" y="136"/>
                    <a:pt x="600" y="136"/>
                  </a:cubicBezTo>
                  <a:cubicBezTo>
                    <a:pt x="721" y="117"/>
                    <a:pt x="721" y="117"/>
                    <a:pt x="721" y="117"/>
                  </a:cubicBezTo>
                  <a:cubicBezTo>
                    <a:pt x="774" y="0"/>
                    <a:pt x="774" y="0"/>
                    <a:pt x="774" y="0"/>
                  </a:cubicBezTo>
                  <a:cubicBezTo>
                    <a:pt x="774" y="0"/>
                    <a:pt x="774" y="0"/>
                    <a:pt x="774" y="0"/>
                  </a:cubicBezTo>
                  <a:cubicBezTo>
                    <a:pt x="774" y="0"/>
                    <a:pt x="774" y="0"/>
                    <a:pt x="774" y="0"/>
                  </a:cubicBezTo>
                  <a:cubicBezTo>
                    <a:pt x="774" y="0"/>
                    <a:pt x="774" y="0"/>
                    <a:pt x="774" y="0"/>
                  </a:cubicBezTo>
                  <a:close/>
                  <a:moveTo>
                    <a:pt x="336" y="175"/>
                  </a:moveTo>
                  <a:cubicBezTo>
                    <a:pt x="336" y="175"/>
                    <a:pt x="336" y="175"/>
                    <a:pt x="336" y="175"/>
                  </a:cubicBezTo>
                  <a:cubicBezTo>
                    <a:pt x="336" y="175"/>
                    <a:pt x="336" y="175"/>
                    <a:pt x="336" y="175"/>
                  </a:cubicBezTo>
                  <a:cubicBezTo>
                    <a:pt x="336" y="175"/>
                    <a:pt x="336" y="175"/>
                    <a:pt x="336" y="175"/>
                  </a:cubicBezTo>
                  <a:cubicBezTo>
                    <a:pt x="294" y="264"/>
                    <a:pt x="294" y="264"/>
                    <a:pt x="294" y="264"/>
                  </a:cubicBezTo>
                  <a:cubicBezTo>
                    <a:pt x="200" y="274"/>
                    <a:pt x="200" y="274"/>
                    <a:pt x="200" y="274"/>
                  </a:cubicBezTo>
                  <a:cubicBezTo>
                    <a:pt x="269" y="342"/>
                    <a:pt x="269" y="342"/>
                    <a:pt x="269" y="342"/>
                  </a:cubicBezTo>
                  <a:cubicBezTo>
                    <a:pt x="254" y="438"/>
                    <a:pt x="254" y="438"/>
                    <a:pt x="254" y="438"/>
                  </a:cubicBezTo>
                  <a:cubicBezTo>
                    <a:pt x="336" y="390"/>
                    <a:pt x="336" y="390"/>
                    <a:pt x="336" y="390"/>
                  </a:cubicBezTo>
                  <a:cubicBezTo>
                    <a:pt x="420" y="438"/>
                    <a:pt x="420" y="438"/>
                    <a:pt x="420" y="438"/>
                  </a:cubicBezTo>
                  <a:cubicBezTo>
                    <a:pt x="406" y="342"/>
                    <a:pt x="406" y="342"/>
                    <a:pt x="406" y="342"/>
                  </a:cubicBezTo>
                  <a:cubicBezTo>
                    <a:pt x="475" y="274"/>
                    <a:pt x="475" y="274"/>
                    <a:pt x="475" y="274"/>
                  </a:cubicBezTo>
                  <a:cubicBezTo>
                    <a:pt x="380" y="264"/>
                    <a:pt x="380" y="264"/>
                    <a:pt x="380" y="264"/>
                  </a:cubicBezTo>
                  <a:cubicBezTo>
                    <a:pt x="336" y="175"/>
                    <a:pt x="336" y="175"/>
                    <a:pt x="336" y="175"/>
                  </a:cubicBezTo>
                  <a:close/>
                  <a:moveTo>
                    <a:pt x="94" y="450"/>
                  </a:moveTo>
                  <a:cubicBezTo>
                    <a:pt x="94" y="450"/>
                    <a:pt x="94" y="450"/>
                    <a:pt x="94" y="450"/>
                  </a:cubicBezTo>
                  <a:cubicBezTo>
                    <a:pt x="94" y="450"/>
                    <a:pt x="94" y="450"/>
                    <a:pt x="94" y="450"/>
                  </a:cubicBezTo>
                  <a:cubicBezTo>
                    <a:pt x="94" y="450"/>
                    <a:pt x="94" y="450"/>
                    <a:pt x="94" y="450"/>
                  </a:cubicBezTo>
                  <a:cubicBezTo>
                    <a:pt x="64" y="509"/>
                    <a:pt x="64" y="509"/>
                    <a:pt x="64" y="509"/>
                  </a:cubicBezTo>
                  <a:cubicBezTo>
                    <a:pt x="0" y="519"/>
                    <a:pt x="0" y="519"/>
                    <a:pt x="0" y="519"/>
                  </a:cubicBezTo>
                  <a:cubicBezTo>
                    <a:pt x="46" y="563"/>
                    <a:pt x="46" y="563"/>
                    <a:pt x="46" y="563"/>
                  </a:cubicBezTo>
                  <a:cubicBezTo>
                    <a:pt x="37" y="625"/>
                    <a:pt x="37" y="625"/>
                    <a:pt x="37" y="625"/>
                  </a:cubicBezTo>
                  <a:cubicBezTo>
                    <a:pt x="94" y="595"/>
                    <a:pt x="94" y="595"/>
                    <a:pt x="94" y="595"/>
                  </a:cubicBezTo>
                  <a:cubicBezTo>
                    <a:pt x="152" y="625"/>
                    <a:pt x="152" y="625"/>
                    <a:pt x="152" y="625"/>
                  </a:cubicBezTo>
                  <a:cubicBezTo>
                    <a:pt x="142" y="563"/>
                    <a:pt x="142" y="563"/>
                    <a:pt x="142" y="563"/>
                  </a:cubicBezTo>
                  <a:cubicBezTo>
                    <a:pt x="187" y="519"/>
                    <a:pt x="187" y="519"/>
                    <a:pt x="187" y="519"/>
                  </a:cubicBezTo>
                  <a:cubicBezTo>
                    <a:pt x="123" y="509"/>
                    <a:pt x="123" y="509"/>
                    <a:pt x="123" y="509"/>
                  </a:cubicBezTo>
                  <a:cubicBezTo>
                    <a:pt x="94" y="450"/>
                    <a:pt x="94" y="450"/>
                    <a:pt x="94" y="450"/>
                  </a:cubicBezTo>
                  <a:close/>
                  <a:moveTo>
                    <a:pt x="1456" y="450"/>
                  </a:moveTo>
                  <a:cubicBezTo>
                    <a:pt x="1456" y="450"/>
                    <a:pt x="1456" y="450"/>
                    <a:pt x="1456" y="450"/>
                  </a:cubicBezTo>
                  <a:cubicBezTo>
                    <a:pt x="1456" y="450"/>
                    <a:pt x="1456" y="450"/>
                    <a:pt x="1456" y="450"/>
                  </a:cubicBezTo>
                  <a:cubicBezTo>
                    <a:pt x="1456" y="450"/>
                    <a:pt x="1456" y="450"/>
                    <a:pt x="1456" y="450"/>
                  </a:cubicBezTo>
                  <a:cubicBezTo>
                    <a:pt x="1429" y="509"/>
                    <a:pt x="1429" y="509"/>
                    <a:pt x="1429" y="509"/>
                  </a:cubicBezTo>
                  <a:cubicBezTo>
                    <a:pt x="1363" y="519"/>
                    <a:pt x="1363" y="519"/>
                    <a:pt x="1363" y="519"/>
                  </a:cubicBezTo>
                  <a:cubicBezTo>
                    <a:pt x="1411" y="563"/>
                    <a:pt x="1411" y="563"/>
                    <a:pt x="1411" y="563"/>
                  </a:cubicBezTo>
                  <a:cubicBezTo>
                    <a:pt x="1400" y="625"/>
                    <a:pt x="1400" y="625"/>
                    <a:pt x="1400" y="625"/>
                  </a:cubicBezTo>
                  <a:cubicBezTo>
                    <a:pt x="1456" y="595"/>
                    <a:pt x="1456" y="595"/>
                    <a:pt x="1456" y="595"/>
                  </a:cubicBezTo>
                  <a:cubicBezTo>
                    <a:pt x="1517" y="625"/>
                    <a:pt x="1517" y="625"/>
                    <a:pt x="1517" y="625"/>
                  </a:cubicBezTo>
                  <a:cubicBezTo>
                    <a:pt x="1504" y="563"/>
                    <a:pt x="1504" y="563"/>
                    <a:pt x="1504" y="563"/>
                  </a:cubicBezTo>
                  <a:cubicBezTo>
                    <a:pt x="1550" y="519"/>
                    <a:pt x="1550" y="519"/>
                    <a:pt x="1550" y="519"/>
                  </a:cubicBezTo>
                  <a:cubicBezTo>
                    <a:pt x="1488" y="509"/>
                    <a:pt x="1488" y="509"/>
                    <a:pt x="1488" y="509"/>
                  </a:cubicBezTo>
                  <a:cubicBezTo>
                    <a:pt x="1456" y="450"/>
                    <a:pt x="1456" y="450"/>
                    <a:pt x="1456" y="450"/>
                  </a:cubicBezTo>
                  <a:close/>
                  <a:moveTo>
                    <a:pt x="1212" y="175"/>
                  </a:moveTo>
                  <a:cubicBezTo>
                    <a:pt x="1212" y="175"/>
                    <a:pt x="1212" y="175"/>
                    <a:pt x="1212" y="175"/>
                  </a:cubicBezTo>
                  <a:cubicBezTo>
                    <a:pt x="1212" y="175"/>
                    <a:pt x="1212" y="175"/>
                    <a:pt x="1212" y="175"/>
                  </a:cubicBezTo>
                  <a:cubicBezTo>
                    <a:pt x="1212" y="175"/>
                    <a:pt x="1212" y="175"/>
                    <a:pt x="1212" y="175"/>
                  </a:cubicBezTo>
                  <a:cubicBezTo>
                    <a:pt x="1170" y="264"/>
                    <a:pt x="1170" y="264"/>
                    <a:pt x="1170" y="264"/>
                  </a:cubicBezTo>
                  <a:cubicBezTo>
                    <a:pt x="1075" y="274"/>
                    <a:pt x="1075" y="274"/>
                    <a:pt x="1075" y="274"/>
                  </a:cubicBezTo>
                  <a:cubicBezTo>
                    <a:pt x="1141" y="342"/>
                    <a:pt x="1141" y="342"/>
                    <a:pt x="1141" y="342"/>
                  </a:cubicBezTo>
                  <a:cubicBezTo>
                    <a:pt x="1127" y="438"/>
                    <a:pt x="1127" y="438"/>
                    <a:pt x="1127" y="438"/>
                  </a:cubicBezTo>
                  <a:cubicBezTo>
                    <a:pt x="1212" y="390"/>
                    <a:pt x="1212" y="390"/>
                    <a:pt x="1212" y="390"/>
                  </a:cubicBezTo>
                  <a:cubicBezTo>
                    <a:pt x="1298" y="438"/>
                    <a:pt x="1298" y="438"/>
                    <a:pt x="1298" y="438"/>
                  </a:cubicBezTo>
                  <a:cubicBezTo>
                    <a:pt x="1282" y="342"/>
                    <a:pt x="1282" y="342"/>
                    <a:pt x="1282" y="342"/>
                  </a:cubicBezTo>
                  <a:cubicBezTo>
                    <a:pt x="1350" y="274"/>
                    <a:pt x="1350" y="274"/>
                    <a:pt x="1350" y="274"/>
                  </a:cubicBezTo>
                  <a:cubicBezTo>
                    <a:pt x="1255" y="264"/>
                    <a:pt x="1255" y="264"/>
                    <a:pt x="1255" y="264"/>
                  </a:cubicBezTo>
                  <a:cubicBezTo>
                    <a:pt x="1212" y="175"/>
                    <a:pt x="1212" y="175"/>
                    <a:pt x="1212" y="175"/>
                  </a:cubicBezTo>
                  <a:close/>
                  <a:moveTo>
                    <a:pt x="439" y="1133"/>
                  </a:moveTo>
                  <a:cubicBezTo>
                    <a:pt x="458" y="1180"/>
                    <a:pt x="519" y="1330"/>
                    <a:pt x="556" y="1378"/>
                  </a:cubicBezTo>
                  <a:cubicBezTo>
                    <a:pt x="556" y="1448"/>
                    <a:pt x="556" y="1448"/>
                    <a:pt x="556" y="1448"/>
                  </a:cubicBezTo>
                  <a:cubicBezTo>
                    <a:pt x="564" y="1455"/>
                    <a:pt x="564" y="1455"/>
                    <a:pt x="564" y="1455"/>
                  </a:cubicBezTo>
                  <a:cubicBezTo>
                    <a:pt x="564" y="1455"/>
                    <a:pt x="578" y="1467"/>
                    <a:pt x="600" y="1484"/>
                  </a:cubicBezTo>
                  <a:cubicBezTo>
                    <a:pt x="600" y="1415"/>
                    <a:pt x="600" y="1415"/>
                    <a:pt x="600" y="1415"/>
                  </a:cubicBezTo>
                  <a:cubicBezTo>
                    <a:pt x="649" y="1449"/>
                    <a:pt x="723" y="1490"/>
                    <a:pt x="775" y="1490"/>
                  </a:cubicBezTo>
                  <a:cubicBezTo>
                    <a:pt x="827" y="1490"/>
                    <a:pt x="901" y="1449"/>
                    <a:pt x="950" y="1415"/>
                  </a:cubicBezTo>
                  <a:cubicBezTo>
                    <a:pt x="950" y="1484"/>
                    <a:pt x="950" y="1484"/>
                    <a:pt x="950" y="1484"/>
                  </a:cubicBezTo>
                  <a:cubicBezTo>
                    <a:pt x="972" y="1466"/>
                    <a:pt x="986" y="1455"/>
                    <a:pt x="986" y="1455"/>
                  </a:cubicBezTo>
                  <a:cubicBezTo>
                    <a:pt x="994" y="1448"/>
                    <a:pt x="994" y="1448"/>
                    <a:pt x="994" y="1448"/>
                  </a:cubicBezTo>
                  <a:cubicBezTo>
                    <a:pt x="994" y="1378"/>
                    <a:pt x="994" y="1378"/>
                    <a:pt x="994" y="1378"/>
                  </a:cubicBezTo>
                  <a:cubicBezTo>
                    <a:pt x="1031" y="1330"/>
                    <a:pt x="1092" y="1180"/>
                    <a:pt x="1111" y="1133"/>
                  </a:cubicBezTo>
                  <a:cubicBezTo>
                    <a:pt x="1154" y="1107"/>
                    <a:pt x="1165" y="1061"/>
                    <a:pt x="1168" y="1041"/>
                  </a:cubicBezTo>
                  <a:cubicBezTo>
                    <a:pt x="1168" y="1040"/>
                    <a:pt x="1168" y="1038"/>
                    <a:pt x="1168" y="1036"/>
                  </a:cubicBezTo>
                  <a:cubicBezTo>
                    <a:pt x="1117" y="1061"/>
                    <a:pt x="1117" y="1061"/>
                    <a:pt x="1117" y="1061"/>
                  </a:cubicBezTo>
                  <a:cubicBezTo>
                    <a:pt x="1111" y="1074"/>
                    <a:pt x="1101" y="1089"/>
                    <a:pt x="1083" y="1098"/>
                  </a:cubicBezTo>
                  <a:cubicBezTo>
                    <a:pt x="1078" y="1100"/>
                    <a:pt x="1075" y="1104"/>
                    <a:pt x="1073" y="1109"/>
                  </a:cubicBezTo>
                  <a:cubicBezTo>
                    <a:pt x="1038" y="1200"/>
                    <a:pt x="978" y="1335"/>
                    <a:pt x="956" y="1354"/>
                  </a:cubicBezTo>
                  <a:cubicBezTo>
                    <a:pt x="922" y="1385"/>
                    <a:pt x="826" y="1446"/>
                    <a:pt x="775" y="1446"/>
                  </a:cubicBezTo>
                  <a:cubicBezTo>
                    <a:pt x="724" y="1446"/>
                    <a:pt x="628" y="1385"/>
                    <a:pt x="594" y="1354"/>
                  </a:cubicBezTo>
                  <a:cubicBezTo>
                    <a:pt x="572" y="1335"/>
                    <a:pt x="512" y="1200"/>
                    <a:pt x="477" y="1109"/>
                  </a:cubicBezTo>
                  <a:cubicBezTo>
                    <a:pt x="475" y="1104"/>
                    <a:pt x="472" y="1100"/>
                    <a:pt x="467" y="1098"/>
                  </a:cubicBezTo>
                  <a:cubicBezTo>
                    <a:pt x="449" y="1089"/>
                    <a:pt x="439" y="1074"/>
                    <a:pt x="433" y="1061"/>
                  </a:cubicBezTo>
                  <a:cubicBezTo>
                    <a:pt x="382" y="1037"/>
                    <a:pt x="382" y="1037"/>
                    <a:pt x="382" y="1037"/>
                  </a:cubicBezTo>
                  <a:cubicBezTo>
                    <a:pt x="382" y="1039"/>
                    <a:pt x="382" y="1041"/>
                    <a:pt x="382" y="1043"/>
                  </a:cubicBezTo>
                  <a:cubicBezTo>
                    <a:pt x="386" y="1067"/>
                    <a:pt x="398" y="1108"/>
                    <a:pt x="439" y="11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6" name="bcgIcons_Megaphone">
            <a:extLst>
              <a:ext uri="{FF2B5EF4-FFF2-40B4-BE49-F238E27FC236}">
                <a16:creationId xmlns:a16="http://schemas.microsoft.com/office/drawing/2014/main" id="{EB1B8F57-AE1F-4853-BE17-FE08355A3E28}"/>
              </a:ext>
            </a:extLst>
          </p:cNvPr>
          <p:cNvGrpSpPr>
            <a:grpSpLocks noChangeAspect="1"/>
          </p:cNvGrpSpPr>
          <p:nvPr/>
        </p:nvGrpSpPr>
        <p:grpSpPr bwMode="auto">
          <a:xfrm>
            <a:off x="4464546" y="1678580"/>
            <a:ext cx="856444" cy="857238"/>
            <a:chOff x="1682" y="0"/>
            <a:chExt cx="4316" cy="4320"/>
          </a:xfrm>
        </p:grpSpPr>
        <p:sp>
          <p:nvSpPr>
            <p:cNvPr id="37" name="AutoShape 18">
              <a:extLst>
                <a:ext uri="{FF2B5EF4-FFF2-40B4-BE49-F238E27FC236}">
                  <a16:creationId xmlns:a16="http://schemas.microsoft.com/office/drawing/2014/main" id="{BAD2C0D2-D44E-48E5-ACED-CB948066CC9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20">
              <a:extLst>
                <a:ext uri="{FF2B5EF4-FFF2-40B4-BE49-F238E27FC236}">
                  <a16:creationId xmlns:a16="http://schemas.microsoft.com/office/drawing/2014/main" id="{D0DEED23-E775-4E3C-8A0A-7C985BAF09CB}"/>
                </a:ext>
              </a:extLst>
            </p:cNvPr>
            <p:cNvSpPr>
              <a:spLocks noEditPoints="1"/>
            </p:cNvSpPr>
            <p:nvPr/>
          </p:nvSpPr>
          <p:spPr bwMode="auto">
            <a:xfrm>
              <a:off x="2115" y="741"/>
              <a:ext cx="3130" cy="2949"/>
            </a:xfrm>
            <a:custGeom>
              <a:avLst/>
              <a:gdLst>
                <a:gd name="T0" fmla="*/ 234 w 1671"/>
                <a:gd name="T1" fmla="*/ 835 h 1573"/>
                <a:gd name="T2" fmla="*/ 0 w 1671"/>
                <a:gd name="T3" fmla="*/ 585 h 1573"/>
                <a:gd name="T4" fmla="*/ 234 w 1671"/>
                <a:gd name="T5" fmla="*/ 335 h 1573"/>
                <a:gd name="T6" fmla="*/ 234 w 1671"/>
                <a:gd name="T7" fmla="*/ 379 h 1573"/>
                <a:gd name="T8" fmla="*/ 44 w 1671"/>
                <a:gd name="T9" fmla="*/ 585 h 1573"/>
                <a:gd name="T10" fmla="*/ 234 w 1671"/>
                <a:gd name="T11" fmla="*/ 791 h 1573"/>
                <a:gd name="T12" fmla="*/ 234 w 1671"/>
                <a:gd name="T13" fmla="*/ 835 h 1573"/>
                <a:gd name="T14" fmla="*/ 1569 w 1671"/>
                <a:gd name="T15" fmla="*/ 0 h 1573"/>
                <a:gd name="T16" fmla="*/ 1524 w 1671"/>
                <a:gd name="T17" fmla="*/ 10 h 1573"/>
                <a:gd name="T18" fmla="*/ 1196 w 1671"/>
                <a:gd name="T19" fmla="*/ 169 h 1573"/>
                <a:gd name="T20" fmla="*/ 1202 w 1671"/>
                <a:gd name="T21" fmla="*/ 197 h 1573"/>
                <a:gd name="T22" fmla="*/ 1202 w 1671"/>
                <a:gd name="T23" fmla="*/ 215 h 1573"/>
                <a:gd name="T24" fmla="*/ 1544 w 1671"/>
                <a:gd name="T25" fmla="*/ 49 h 1573"/>
                <a:gd name="T26" fmla="*/ 1569 w 1671"/>
                <a:gd name="T27" fmla="*/ 44 h 1573"/>
                <a:gd name="T28" fmla="*/ 1627 w 1671"/>
                <a:gd name="T29" fmla="*/ 102 h 1573"/>
                <a:gd name="T30" fmla="*/ 1627 w 1671"/>
                <a:gd name="T31" fmla="*/ 1104 h 1573"/>
                <a:gd name="T32" fmla="*/ 1609 w 1671"/>
                <a:gd name="T33" fmla="*/ 1146 h 1573"/>
                <a:gd name="T34" fmla="*/ 1569 w 1671"/>
                <a:gd name="T35" fmla="*/ 1163 h 1573"/>
                <a:gd name="T36" fmla="*/ 1569 w 1671"/>
                <a:gd name="T37" fmla="*/ 1163 h 1573"/>
                <a:gd name="T38" fmla="*/ 1544 w 1671"/>
                <a:gd name="T39" fmla="*/ 1157 h 1573"/>
                <a:gd name="T40" fmla="*/ 1200 w 1671"/>
                <a:gd name="T41" fmla="*/ 990 h 1573"/>
                <a:gd name="T42" fmla="*/ 1173 w 1671"/>
                <a:gd name="T43" fmla="*/ 1026 h 1573"/>
                <a:gd name="T44" fmla="*/ 1524 w 1671"/>
                <a:gd name="T45" fmla="*/ 1196 h 1573"/>
                <a:gd name="T46" fmla="*/ 1569 w 1671"/>
                <a:gd name="T47" fmla="*/ 1207 h 1573"/>
                <a:gd name="T48" fmla="*/ 1569 w 1671"/>
                <a:gd name="T49" fmla="*/ 1207 h 1573"/>
                <a:gd name="T50" fmla="*/ 1640 w 1671"/>
                <a:gd name="T51" fmla="*/ 1178 h 1573"/>
                <a:gd name="T52" fmla="*/ 1671 w 1671"/>
                <a:gd name="T53" fmla="*/ 1104 h 1573"/>
                <a:gd name="T54" fmla="*/ 1671 w 1671"/>
                <a:gd name="T55" fmla="*/ 102 h 1573"/>
                <a:gd name="T56" fmla="*/ 1569 w 1671"/>
                <a:gd name="T57" fmla="*/ 0 h 1573"/>
                <a:gd name="T58" fmla="*/ 623 w 1671"/>
                <a:gd name="T59" fmla="*/ 960 h 1573"/>
                <a:gd name="T60" fmla="*/ 572 w 1671"/>
                <a:gd name="T61" fmla="*/ 953 h 1573"/>
                <a:gd name="T62" fmla="*/ 812 w 1671"/>
                <a:gd name="T63" fmla="*/ 1529 h 1573"/>
                <a:gd name="T64" fmla="*/ 600 w 1671"/>
                <a:gd name="T65" fmla="*/ 1529 h 1573"/>
                <a:gd name="T66" fmla="*/ 347 w 1671"/>
                <a:gd name="T67" fmla="*/ 919 h 1573"/>
                <a:gd name="T68" fmla="*/ 296 w 1671"/>
                <a:gd name="T69" fmla="*/ 912 h 1573"/>
                <a:gd name="T70" fmla="*/ 565 w 1671"/>
                <a:gd name="T71" fmla="*/ 1560 h 1573"/>
                <a:gd name="T72" fmla="*/ 586 w 1671"/>
                <a:gd name="T73" fmla="*/ 1573 h 1573"/>
                <a:gd name="T74" fmla="*/ 845 w 1671"/>
                <a:gd name="T75" fmla="*/ 1573 h 1573"/>
                <a:gd name="T76" fmla="*/ 863 w 1671"/>
                <a:gd name="T77" fmla="*/ 1563 h 1573"/>
                <a:gd name="T78" fmla="*/ 865 w 1671"/>
                <a:gd name="T79" fmla="*/ 1543 h 1573"/>
                <a:gd name="T80" fmla="*/ 623 w 1671"/>
                <a:gd name="T81" fmla="*/ 96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71" h="1573">
                  <a:moveTo>
                    <a:pt x="234" y="835"/>
                  </a:moveTo>
                  <a:cubicBezTo>
                    <a:pt x="101" y="815"/>
                    <a:pt x="0" y="710"/>
                    <a:pt x="0" y="585"/>
                  </a:cubicBezTo>
                  <a:cubicBezTo>
                    <a:pt x="0" y="459"/>
                    <a:pt x="101" y="355"/>
                    <a:pt x="234" y="335"/>
                  </a:cubicBezTo>
                  <a:cubicBezTo>
                    <a:pt x="234" y="379"/>
                    <a:pt x="234" y="379"/>
                    <a:pt x="234" y="379"/>
                  </a:cubicBezTo>
                  <a:cubicBezTo>
                    <a:pt x="126" y="399"/>
                    <a:pt x="44" y="483"/>
                    <a:pt x="44" y="585"/>
                  </a:cubicBezTo>
                  <a:cubicBezTo>
                    <a:pt x="44" y="686"/>
                    <a:pt x="126" y="771"/>
                    <a:pt x="234" y="791"/>
                  </a:cubicBezTo>
                  <a:lnTo>
                    <a:pt x="234" y="835"/>
                  </a:lnTo>
                  <a:close/>
                  <a:moveTo>
                    <a:pt x="1569" y="0"/>
                  </a:moveTo>
                  <a:cubicBezTo>
                    <a:pt x="1553" y="0"/>
                    <a:pt x="1539" y="3"/>
                    <a:pt x="1524" y="10"/>
                  </a:cubicBezTo>
                  <a:cubicBezTo>
                    <a:pt x="1196" y="169"/>
                    <a:pt x="1196" y="169"/>
                    <a:pt x="1196" y="169"/>
                  </a:cubicBezTo>
                  <a:cubicBezTo>
                    <a:pt x="1200" y="177"/>
                    <a:pt x="1202" y="187"/>
                    <a:pt x="1202" y="197"/>
                  </a:cubicBezTo>
                  <a:cubicBezTo>
                    <a:pt x="1202" y="215"/>
                    <a:pt x="1202" y="215"/>
                    <a:pt x="1202" y="215"/>
                  </a:cubicBezTo>
                  <a:cubicBezTo>
                    <a:pt x="1544" y="49"/>
                    <a:pt x="1544" y="49"/>
                    <a:pt x="1544" y="49"/>
                  </a:cubicBezTo>
                  <a:cubicBezTo>
                    <a:pt x="1552" y="46"/>
                    <a:pt x="1560" y="44"/>
                    <a:pt x="1569" y="44"/>
                  </a:cubicBezTo>
                  <a:cubicBezTo>
                    <a:pt x="1597" y="44"/>
                    <a:pt x="1627" y="66"/>
                    <a:pt x="1627" y="102"/>
                  </a:cubicBezTo>
                  <a:cubicBezTo>
                    <a:pt x="1627" y="1104"/>
                    <a:pt x="1627" y="1104"/>
                    <a:pt x="1627" y="1104"/>
                  </a:cubicBezTo>
                  <a:cubicBezTo>
                    <a:pt x="1627" y="1120"/>
                    <a:pt x="1621" y="1135"/>
                    <a:pt x="1609" y="1146"/>
                  </a:cubicBezTo>
                  <a:cubicBezTo>
                    <a:pt x="1598" y="1157"/>
                    <a:pt x="1584" y="1163"/>
                    <a:pt x="1569" y="1163"/>
                  </a:cubicBezTo>
                  <a:cubicBezTo>
                    <a:pt x="1569" y="1163"/>
                    <a:pt x="1569" y="1163"/>
                    <a:pt x="1569" y="1163"/>
                  </a:cubicBezTo>
                  <a:cubicBezTo>
                    <a:pt x="1560" y="1163"/>
                    <a:pt x="1552" y="1161"/>
                    <a:pt x="1544" y="1157"/>
                  </a:cubicBezTo>
                  <a:cubicBezTo>
                    <a:pt x="1200" y="990"/>
                    <a:pt x="1200" y="990"/>
                    <a:pt x="1200" y="990"/>
                  </a:cubicBezTo>
                  <a:cubicBezTo>
                    <a:pt x="1196" y="1006"/>
                    <a:pt x="1186" y="1018"/>
                    <a:pt x="1173" y="1026"/>
                  </a:cubicBezTo>
                  <a:cubicBezTo>
                    <a:pt x="1524" y="1196"/>
                    <a:pt x="1524" y="1196"/>
                    <a:pt x="1524" y="1196"/>
                  </a:cubicBezTo>
                  <a:cubicBezTo>
                    <a:pt x="1539" y="1203"/>
                    <a:pt x="1553" y="1207"/>
                    <a:pt x="1569" y="1207"/>
                  </a:cubicBezTo>
                  <a:cubicBezTo>
                    <a:pt x="1569" y="1207"/>
                    <a:pt x="1569" y="1207"/>
                    <a:pt x="1569" y="1207"/>
                  </a:cubicBezTo>
                  <a:cubicBezTo>
                    <a:pt x="1595" y="1207"/>
                    <a:pt x="1621" y="1196"/>
                    <a:pt x="1640" y="1178"/>
                  </a:cubicBezTo>
                  <a:cubicBezTo>
                    <a:pt x="1660" y="1158"/>
                    <a:pt x="1671" y="1132"/>
                    <a:pt x="1671" y="1104"/>
                  </a:cubicBezTo>
                  <a:cubicBezTo>
                    <a:pt x="1671" y="102"/>
                    <a:pt x="1671" y="102"/>
                    <a:pt x="1671" y="102"/>
                  </a:cubicBezTo>
                  <a:cubicBezTo>
                    <a:pt x="1671" y="45"/>
                    <a:pt x="1625" y="0"/>
                    <a:pt x="1569" y="0"/>
                  </a:cubicBezTo>
                  <a:close/>
                  <a:moveTo>
                    <a:pt x="623" y="960"/>
                  </a:moveTo>
                  <a:cubicBezTo>
                    <a:pt x="572" y="953"/>
                    <a:pt x="572" y="953"/>
                    <a:pt x="572" y="953"/>
                  </a:cubicBezTo>
                  <a:cubicBezTo>
                    <a:pt x="812" y="1529"/>
                    <a:pt x="812" y="1529"/>
                    <a:pt x="812" y="1529"/>
                  </a:cubicBezTo>
                  <a:cubicBezTo>
                    <a:pt x="600" y="1529"/>
                    <a:pt x="600" y="1529"/>
                    <a:pt x="600" y="1529"/>
                  </a:cubicBezTo>
                  <a:cubicBezTo>
                    <a:pt x="347" y="919"/>
                    <a:pt x="347" y="919"/>
                    <a:pt x="347" y="919"/>
                  </a:cubicBezTo>
                  <a:cubicBezTo>
                    <a:pt x="296" y="912"/>
                    <a:pt x="296" y="912"/>
                    <a:pt x="296" y="912"/>
                  </a:cubicBezTo>
                  <a:cubicBezTo>
                    <a:pt x="565" y="1560"/>
                    <a:pt x="565" y="1560"/>
                    <a:pt x="565" y="1560"/>
                  </a:cubicBezTo>
                  <a:cubicBezTo>
                    <a:pt x="569" y="1568"/>
                    <a:pt x="577" y="1573"/>
                    <a:pt x="586" y="1573"/>
                  </a:cubicBezTo>
                  <a:cubicBezTo>
                    <a:pt x="845" y="1573"/>
                    <a:pt x="845" y="1573"/>
                    <a:pt x="845" y="1573"/>
                  </a:cubicBezTo>
                  <a:cubicBezTo>
                    <a:pt x="852" y="1573"/>
                    <a:pt x="859" y="1569"/>
                    <a:pt x="863" y="1563"/>
                  </a:cubicBezTo>
                  <a:cubicBezTo>
                    <a:pt x="867" y="1557"/>
                    <a:pt x="868" y="1550"/>
                    <a:pt x="865" y="1543"/>
                  </a:cubicBezTo>
                  <a:lnTo>
                    <a:pt x="623" y="96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21">
              <a:extLst>
                <a:ext uri="{FF2B5EF4-FFF2-40B4-BE49-F238E27FC236}">
                  <a16:creationId xmlns:a16="http://schemas.microsoft.com/office/drawing/2014/main" id="{C04817F1-F65C-455D-845B-0E718BDAE5E0}"/>
                </a:ext>
              </a:extLst>
            </p:cNvPr>
            <p:cNvSpPr>
              <a:spLocks noEditPoints="1"/>
            </p:cNvSpPr>
            <p:nvPr/>
          </p:nvSpPr>
          <p:spPr bwMode="auto">
            <a:xfrm>
              <a:off x="2636" y="1074"/>
              <a:ext cx="2916" cy="1525"/>
            </a:xfrm>
            <a:custGeom>
              <a:avLst/>
              <a:gdLst>
                <a:gd name="T0" fmla="*/ 1557 w 1557"/>
                <a:gd name="T1" fmla="*/ 412 h 813"/>
                <a:gd name="T2" fmla="*/ 1437 w 1557"/>
                <a:gd name="T3" fmla="*/ 575 h 813"/>
                <a:gd name="T4" fmla="*/ 1437 w 1557"/>
                <a:gd name="T5" fmla="*/ 246 h 813"/>
                <a:gd name="T6" fmla="*/ 1557 w 1557"/>
                <a:gd name="T7" fmla="*/ 412 h 813"/>
                <a:gd name="T8" fmla="*/ 880 w 1557"/>
                <a:gd name="T9" fmla="*/ 797 h 813"/>
                <a:gd name="T10" fmla="*/ 880 w 1557"/>
                <a:gd name="T11" fmla="*/ 797 h 813"/>
                <a:gd name="T12" fmla="*/ 880 w 1557"/>
                <a:gd name="T13" fmla="*/ 19 h 813"/>
                <a:gd name="T14" fmla="*/ 861 w 1557"/>
                <a:gd name="T15" fmla="*/ 0 h 813"/>
                <a:gd name="T16" fmla="*/ 19 w 1557"/>
                <a:gd name="T17" fmla="*/ 108 h 813"/>
                <a:gd name="T18" fmla="*/ 0 w 1557"/>
                <a:gd name="T19" fmla="*/ 127 h 813"/>
                <a:gd name="T20" fmla="*/ 0 w 1557"/>
                <a:gd name="T21" fmla="*/ 671 h 813"/>
                <a:gd name="T22" fmla="*/ 19 w 1557"/>
                <a:gd name="T23" fmla="*/ 690 h 813"/>
                <a:gd name="T24" fmla="*/ 861 w 1557"/>
                <a:gd name="T25" fmla="*/ 813 h 813"/>
                <a:gd name="T26" fmla="*/ 880 w 1557"/>
                <a:gd name="T27" fmla="*/ 797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57" h="813">
                  <a:moveTo>
                    <a:pt x="1557" y="412"/>
                  </a:moveTo>
                  <a:cubicBezTo>
                    <a:pt x="1557" y="486"/>
                    <a:pt x="1506" y="550"/>
                    <a:pt x="1437" y="575"/>
                  </a:cubicBezTo>
                  <a:cubicBezTo>
                    <a:pt x="1437" y="246"/>
                    <a:pt x="1437" y="246"/>
                    <a:pt x="1437" y="246"/>
                  </a:cubicBezTo>
                  <a:cubicBezTo>
                    <a:pt x="1506" y="271"/>
                    <a:pt x="1557" y="335"/>
                    <a:pt x="1557" y="412"/>
                  </a:cubicBezTo>
                  <a:close/>
                  <a:moveTo>
                    <a:pt x="880" y="797"/>
                  </a:moveTo>
                  <a:cubicBezTo>
                    <a:pt x="880" y="797"/>
                    <a:pt x="880" y="797"/>
                    <a:pt x="880" y="797"/>
                  </a:cubicBezTo>
                  <a:cubicBezTo>
                    <a:pt x="880" y="19"/>
                    <a:pt x="880" y="19"/>
                    <a:pt x="880" y="19"/>
                  </a:cubicBezTo>
                  <a:cubicBezTo>
                    <a:pt x="880" y="7"/>
                    <a:pt x="873" y="0"/>
                    <a:pt x="861" y="0"/>
                  </a:cubicBezTo>
                  <a:cubicBezTo>
                    <a:pt x="861" y="0"/>
                    <a:pt x="861" y="0"/>
                    <a:pt x="19" y="108"/>
                  </a:cubicBezTo>
                  <a:cubicBezTo>
                    <a:pt x="9" y="108"/>
                    <a:pt x="0" y="117"/>
                    <a:pt x="0" y="127"/>
                  </a:cubicBezTo>
                  <a:cubicBezTo>
                    <a:pt x="0" y="127"/>
                    <a:pt x="0" y="127"/>
                    <a:pt x="0" y="671"/>
                  </a:cubicBezTo>
                  <a:cubicBezTo>
                    <a:pt x="0" y="683"/>
                    <a:pt x="9" y="690"/>
                    <a:pt x="19" y="690"/>
                  </a:cubicBezTo>
                  <a:cubicBezTo>
                    <a:pt x="19" y="690"/>
                    <a:pt x="19" y="690"/>
                    <a:pt x="861" y="813"/>
                  </a:cubicBezTo>
                  <a:cubicBezTo>
                    <a:pt x="873" y="813"/>
                    <a:pt x="880" y="806"/>
                    <a:pt x="880" y="7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custDataLst>
      <p:tags r:id="rId2"/>
    </p:custDataLst>
    <p:extLst>
      <p:ext uri="{BB962C8B-B14F-4D97-AF65-F5344CB8AC3E}">
        <p14:creationId xmlns:p14="http://schemas.microsoft.com/office/powerpoint/2010/main" val="26232355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018901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21" name="think-cell Slide" r:id="rId7" imgW="415" imgH="416" progId="TCLayout.ActiveDocument.1">
                  <p:embed/>
                </p:oleObj>
              </mc:Choice>
              <mc:Fallback>
                <p:oleObj name="think-cell Slide" r:id="rId7" imgW="415" imgH="41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 name="Oval 14"/>
          <p:cNvSpPr/>
          <p:nvPr/>
        </p:nvSpPr>
        <p:spPr>
          <a:xfrm>
            <a:off x="265669" y="1196509"/>
            <a:ext cx="5266462" cy="5045045"/>
          </a:xfrm>
          <a:prstGeom prst="ellipse">
            <a:avLst/>
          </a:prstGeom>
          <a:pattFill prst="pct50">
            <a:fgClr>
              <a:srgbClr val="197A56"/>
            </a:fgClr>
            <a:bgClr>
              <a:schemeClr val="bg1"/>
            </a:bgClr>
          </a:patt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p:cNvSpPr>
            <a:spLocks noGrp="1"/>
          </p:cNvSpPr>
          <p:nvPr>
            <p:ph type="title"/>
          </p:nvPr>
        </p:nvSpPr>
        <p:spPr>
          <a:xfrm>
            <a:off x="630000" y="622800"/>
            <a:ext cx="10933200" cy="470898"/>
          </a:xfrm>
        </p:spPr>
        <p:txBody>
          <a:bodyPr/>
          <a:lstStyle/>
          <a:p>
            <a:r>
              <a:rPr lang="en-US" dirty="0"/>
              <a:t>Satya Nadella's view on the heart of transformation</a:t>
            </a:r>
          </a:p>
        </p:txBody>
      </p:sp>
      <p:sp>
        <p:nvSpPr>
          <p:cNvPr id="7" name="Textfeld 1"/>
          <p:cNvSpPr txBox="1"/>
          <p:nvPr>
            <p:custDataLst>
              <p:tags r:id="rId4"/>
            </p:custDataLst>
          </p:nvPr>
        </p:nvSpPr>
        <p:spPr>
          <a:xfrm>
            <a:off x="1664814" y="3327476"/>
            <a:ext cx="2743200" cy="981807"/>
          </a:xfrm>
          <a:prstGeom prst="rect">
            <a:avLst/>
          </a:prstGeom>
          <a:pattFill>
            <a:fgClr>
              <a:srgbClr val="FFFF00"/>
            </a:fgClr>
            <a:bgClr>
              <a:srgbClr val="FFFF00"/>
            </a:bgClr>
          </a:patt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en-US" sz="1200" b="1" dirty="0">
                <a:solidFill>
                  <a:srgbClr val="575757"/>
                </a:solidFill>
                <a:sym typeface="Trebuchet MS" panose="020B0603020202020204" pitchFamily="34" charset="0"/>
              </a:rPr>
              <a:t>ND 16.Aug.19:
Voiceover: You may remember hearing from Satya about how they do this…. Let's hear again. Purpose + Culture points from his vid.</a:t>
            </a:r>
          </a:p>
        </p:txBody>
      </p:sp>
      <p:sp>
        <p:nvSpPr>
          <p:cNvPr id="10" name="Text Placeholder 3">
            <a:extLst>
              <a:ext uri="{FF2B5EF4-FFF2-40B4-BE49-F238E27FC236}">
                <a16:creationId xmlns:a16="http://schemas.microsoft.com/office/drawing/2014/main" id="{E9799DC0-2BDD-CB49-9F41-D0894428878C}"/>
              </a:ext>
            </a:extLst>
          </p:cNvPr>
          <p:cNvSpPr txBox="1">
            <a:spLocks/>
          </p:cNvSpPr>
          <p:nvPr/>
        </p:nvSpPr>
        <p:spPr>
          <a:xfrm>
            <a:off x="6630745" y="2268990"/>
            <a:ext cx="4624630" cy="211697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r>
              <a:rPr lang="en-US" sz="2800" dirty="0">
                <a:solidFill>
                  <a:srgbClr val="575757"/>
                </a:solidFill>
              </a:rPr>
              <a:t>The most useful thing I’ve done is to anchor us on that sense of purpose and mission… Reinforcing our mission and culture has been pivotal…</a:t>
            </a:r>
          </a:p>
        </p:txBody>
      </p:sp>
      <p:pic>
        <p:nvPicPr>
          <p:cNvPr id="12" name="Picture Placeholder 12">
            <a:extLst>
              <a:ext uri="{FF2B5EF4-FFF2-40B4-BE49-F238E27FC236}">
                <a16:creationId xmlns:a16="http://schemas.microsoft.com/office/drawing/2014/main" id="{3C6C4BCE-1485-404A-9E99-E9892E22D770}"/>
              </a:ext>
            </a:extLst>
          </p:cNvPr>
          <p:cNvPicPr>
            <a:picLocks noChangeAspect="1"/>
          </p:cNvPicPr>
          <p:nvPr/>
        </p:nvPicPr>
        <p:blipFill>
          <a:blip r:embed="rId9" cstate="print">
            <a:extLst>
              <a:ext uri="{28A0092B-C50C-407E-A947-70E740481C1C}">
                <a14:useLocalDpi xmlns:a14="http://schemas.microsoft.com/office/drawing/2010/main"/>
              </a:ext>
            </a:extLst>
          </a:blip>
          <a:srcRect/>
          <a:stretch>
            <a:fillRect/>
          </a:stretch>
        </p:blipFill>
        <p:spPr>
          <a:xfrm>
            <a:off x="1047669" y="1616077"/>
            <a:ext cx="4965931" cy="4926982"/>
          </a:xfrm>
          <a:custGeom>
            <a:avLst/>
            <a:gdLst>
              <a:gd name="connsiteX0" fmla="*/ 2833884 w 5667768"/>
              <a:gd name="connsiteY0" fmla="*/ 0 h 5622762"/>
              <a:gd name="connsiteX1" fmla="*/ 5667768 w 5667768"/>
              <a:gd name="connsiteY1" fmla="*/ 2833878 h 5622762"/>
              <a:gd name="connsiteX2" fmla="*/ 3405011 w 5667768"/>
              <a:gd name="connsiteY2" fmla="*/ 5610182 h 5622762"/>
              <a:gd name="connsiteX3" fmla="*/ 3322585 w 5667768"/>
              <a:gd name="connsiteY3" fmla="*/ 5622762 h 5622762"/>
              <a:gd name="connsiteX4" fmla="*/ 3304281 w 5667768"/>
              <a:gd name="connsiteY4" fmla="*/ 5572750 h 5622762"/>
              <a:gd name="connsiteX5" fmla="*/ 1667785 w 5667768"/>
              <a:gd name="connsiteY5" fmla="*/ 4488008 h 5622762"/>
              <a:gd name="connsiteX6" fmla="*/ 821206 w 5667768"/>
              <a:gd name="connsiteY6" fmla="*/ 4702370 h 5622762"/>
              <a:gd name="connsiteX7" fmla="*/ 747626 w 5667768"/>
              <a:gd name="connsiteY7" fmla="*/ 4747071 h 5622762"/>
              <a:gd name="connsiteX8" fmla="*/ 647121 w 5667768"/>
              <a:gd name="connsiteY8" fmla="*/ 4636488 h 5622762"/>
              <a:gd name="connsiteX9" fmla="*/ 0 w 5667768"/>
              <a:gd name="connsiteY9" fmla="*/ 2833878 h 5622762"/>
              <a:gd name="connsiteX10" fmla="*/ 2833884 w 5667768"/>
              <a:gd name="connsiteY10" fmla="*/ 0 h 562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67768" h="5622762">
                <a:moveTo>
                  <a:pt x="2833884" y="0"/>
                </a:moveTo>
                <a:cubicBezTo>
                  <a:pt x="4398995" y="0"/>
                  <a:pt x="5667768" y="1268770"/>
                  <a:pt x="5667768" y="2833878"/>
                </a:cubicBezTo>
                <a:cubicBezTo>
                  <a:pt x="5667768" y="4203348"/>
                  <a:pt x="4696364" y="5345933"/>
                  <a:pt x="3405011" y="5610182"/>
                </a:cubicBezTo>
                <a:lnTo>
                  <a:pt x="3322585" y="5622762"/>
                </a:lnTo>
                <a:lnTo>
                  <a:pt x="3304281" y="5572750"/>
                </a:lnTo>
                <a:cubicBezTo>
                  <a:pt x="3034659" y="4935293"/>
                  <a:pt x="2403456" y="4488008"/>
                  <a:pt x="1667785" y="4488008"/>
                </a:cubicBezTo>
                <a:cubicBezTo>
                  <a:pt x="1361255" y="4488008"/>
                  <a:pt x="1072863" y="4565662"/>
                  <a:pt x="821206" y="4702370"/>
                </a:cubicBezTo>
                <a:lnTo>
                  <a:pt x="747626" y="4747071"/>
                </a:lnTo>
                <a:lnTo>
                  <a:pt x="647121" y="4636488"/>
                </a:lnTo>
                <a:cubicBezTo>
                  <a:pt x="242851" y="4146627"/>
                  <a:pt x="0" y="3518613"/>
                  <a:pt x="0" y="2833878"/>
                </a:cubicBezTo>
                <a:cubicBezTo>
                  <a:pt x="0" y="1268770"/>
                  <a:pt x="1268773" y="0"/>
                  <a:pt x="2833884" y="0"/>
                </a:cubicBezTo>
                <a:close/>
              </a:path>
            </a:pathLst>
          </a:custGeom>
        </p:spPr>
      </p:pic>
      <p:sp>
        <p:nvSpPr>
          <p:cNvPr id="13" name="Rectangle 12"/>
          <p:cNvSpPr/>
          <p:nvPr/>
        </p:nvSpPr>
        <p:spPr>
          <a:xfrm>
            <a:off x="6630745" y="5312921"/>
            <a:ext cx="6096000" cy="646331"/>
          </a:xfrm>
          <a:prstGeom prst="rect">
            <a:avLst/>
          </a:prstGeom>
        </p:spPr>
        <p:txBody>
          <a:bodyPr>
            <a:spAutoFit/>
          </a:bodyPr>
          <a:lstStyle/>
          <a:p>
            <a:r>
              <a:rPr lang="en-US" dirty="0"/>
              <a:t>Film Link:</a:t>
            </a:r>
          </a:p>
          <a:p>
            <a:r>
              <a:rPr lang="en-US" dirty="0">
                <a:hlinkClick r:id="rId10"/>
              </a:rPr>
              <a:t>https://bcg01.egnyte.com/dl/fo6kVZAMAM/</a:t>
            </a:r>
            <a:endParaRPr lang="en-US" dirty="0"/>
          </a:p>
        </p:txBody>
      </p:sp>
      <p:sp>
        <p:nvSpPr>
          <p:cNvPr id="14" name="Oval 13"/>
          <p:cNvSpPr/>
          <p:nvPr/>
        </p:nvSpPr>
        <p:spPr>
          <a:xfrm>
            <a:off x="718076" y="5312921"/>
            <a:ext cx="3514487" cy="3301856"/>
          </a:xfrm>
          <a:prstGeom prst="ellipse">
            <a:avLst/>
          </a:prstGeom>
          <a:solidFill>
            <a:srgbClr val="197A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 name="Freeform 47"/>
          <p:cNvSpPr>
            <a:spLocks noEditPoints="1"/>
          </p:cNvSpPr>
          <p:nvPr/>
        </p:nvSpPr>
        <p:spPr bwMode="auto">
          <a:xfrm>
            <a:off x="6270257" y="2131889"/>
            <a:ext cx="353767" cy="274169"/>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915494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ln cap="rnd">
            <a:noFill/>
          </a:ln>
        </p:spPr>
        <p:txBody>
          <a:bodyPr/>
          <a:lstStyle/>
          <a:p>
            <a:pPr>
              <a:lnSpc>
                <a:spcPct val="150000"/>
              </a:lnSpc>
            </a:pPr>
            <a:r>
              <a:rPr lang="en-AU" dirty="0"/>
              <a:t>For reflection…</a:t>
            </a:r>
            <a:endParaRPr lang="en-US" sz="4800" dirty="0">
              <a:latin typeface="+mj-lt"/>
            </a:endParaRPr>
          </a:p>
        </p:txBody>
      </p:sp>
      <p:sp>
        <p:nvSpPr>
          <p:cNvPr id="5" name="Rectangle 4"/>
          <p:cNvSpPr/>
          <p:nvPr/>
        </p:nvSpPr>
        <p:spPr>
          <a:xfrm>
            <a:off x="6242278" y="284314"/>
            <a:ext cx="5666955" cy="6401753"/>
          </a:xfrm>
          <a:prstGeom prst="rect">
            <a:avLst/>
          </a:prstGeom>
        </p:spPr>
        <p:txBody>
          <a:bodyPr wrap="square">
            <a:spAutoFit/>
          </a:bodyPr>
          <a:lstStyle/>
          <a:p>
            <a:r>
              <a:rPr lang="en-US" sz="2800" dirty="0">
                <a:solidFill>
                  <a:srgbClr val="29BA74"/>
                </a:solidFill>
              </a:rPr>
              <a:t>Reflecting on the heart </a:t>
            </a:r>
          </a:p>
          <a:p>
            <a:pPr marL="285750" indent="-285750">
              <a:buFont typeface="Arial" panose="020B0604020202020204" pitchFamily="34" charset="0"/>
              <a:buChar char="•"/>
            </a:pPr>
            <a:endParaRPr lang="en-US" sz="2800" dirty="0">
              <a:solidFill>
                <a:srgbClr val="29BA74"/>
              </a:solidFill>
            </a:endParaRPr>
          </a:p>
          <a:p>
            <a:pPr marL="285750" indent="-285750">
              <a:buFont typeface="Arial" panose="020B0604020202020204" pitchFamily="34" charset="0"/>
              <a:buChar char="•"/>
            </a:pPr>
            <a:r>
              <a:rPr lang="en-US" sz="2800" dirty="0">
                <a:solidFill>
                  <a:srgbClr val="29BA74"/>
                </a:solidFill>
              </a:rPr>
              <a:t>Are you getting power from your purpose?</a:t>
            </a:r>
          </a:p>
          <a:p>
            <a:pPr marL="285750" indent="-285750">
              <a:buFont typeface="Arial" panose="020B0604020202020204" pitchFamily="34" charset="0"/>
              <a:buChar char="•"/>
            </a:pPr>
            <a:endParaRPr lang="en-US" sz="2800" dirty="0">
              <a:solidFill>
                <a:srgbClr val="29BA74"/>
              </a:solidFill>
            </a:endParaRPr>
          </a:p>
          <a:p>
            <a:pPr marL="285750" indent="-285750">
              <a:buFont typeface="Arial" panose="020B0604020202020204" pitchFamily="34" charset="0"/>
              <a:buChar char="•"/>
            </a:pPr>
            <a:r>
              <a:rPr lang="en-US" sz="2800" dirty="0">
                <a:solidFill>
                  <a:srgbClr val="29BA74"/>
                </a:solidFill>
              </a:rPr>
              <a:t>Is your culture empowering your people?</a:t>
            </a:r>
          </a:p>
          <a:p>
            <a:pPr marL="285750" indent="-285750">
              <a:buFont typeface="Arial" panose="020B0604020202020204" pitchFamily="34" charset="0"/>
              <a:buChar char="•"/>
            </a:pPr>
            <a:endParaRPr lang="en-US" sz="2800" dirty="0">
              <a:solidFill>
                <a:srgbClr val="29BA74"/>
              </a:solidFill>
            </a:endParaRPr>
          </a:p>
          <a:p>
            <a:pPr marL="285750" indent="-285750">
              <a:buFont typeface="Arial" panose="020B0604020202020204" pitchFamily="34" charset="0"/>
              <a:buChar char="•"/>
            </a:pPr>
            <a:r>
              <a:rPr lang="en-US" sz="2800" dirty="0">
                <a:solidFill>
                  <a:srgbClr val="29BA74"/>
                </a:solidFill>
              </a:rPr>
              <a:t>Are you caring for people through the change journey?</a:t>
            </a:r>
          </a:p>
          <a:p>
            <a:pPr marL="285750" indent="-285750">
              <a:buFont typeface="Arial" panose="020B0604020202020204" pitchFamily="34" charset="0"/>
              <a:buChar char="•"/>
            </a:pPr>
            <a:endParaRPr lang="en-US" sz="2800" dirty="0">
              <a:solidFill>
                <a:srgbClr val="29BA74"/>
              </a:solidFill>
            </a:endParaRPr>
          </a:p>
          <a:p>
            <a:pPr marL="285750" indent="-285750">
              <a:buFont typeface="Arial" panose="020B0604020202020204" pitchFamily="34" charset="0"/>
              <a:buChar char="•"/>
            </a:pPr>
            <a:r>
              <a:rPr lang="en-US" sz="2800" dirty="0">
                <a:solidFill>
                  <a:srgbClr val="29BA74"/>
                </a:solidFill>
              </a:rPr>
              <a:t>As leaders, are you leading with head, heart, and hands?</a:t>
            </a:r>
          </a:p>
          <a:p>
            <a:pPr marL="285750" indent="-285750">
              <a:buFont typeface="Arial" panose="020B0604020202020204" pitchFamily="34" charset="0"/>
              <a:buChar char="•"/>
            </a:pPr>
            <a:endParaRPr lang="en-US" sz="2800" dirty="0">
              <a:solidFill>
                <a:srgbClr val="29BA74"/>
              </a:solidFill>
            </a:endParaRP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629373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66" name="think-cell Slide" r:id="rId6" imgW="411" imgH="409" progId="TCLayout.ActiveDocument.1">
                  <p:embed/>
                </p:oleObj>
              </mc:Choice>
              <mc:Fallback>
                <p:oleObj name="think-cell Slide" r:id="rId6" imgW="411" imgH="409"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3" name="Group 2"/>
          <p:cNvGrpSpPr/>
          <p:nvPr/>
        </p:nvGrpSpPr>
        <p:grpSpPr>
          <a:xfrm>
            <a:off x="2793815" y="-1309"/>
            <a:ext cx="9420320" cy="6859309"/>
            <a:chOff x="2849018" y="-1309"/>
            <a:chExt cx="9324776" cy="6859309"/>
          </a:xfrm>
        </p:grpSpPr>
        <p:pic>
          <p:nvPicPr>
            <p:cNvPr id="24" name="Picture 23"/>
            <p:cNvPicPr>
              <a:picLocks noChangeAspect="1"/>
            </p:cNvPicPr>
            <p:nvPr/>
          </p:nvPicPr>
          <p:blipFill rotWithShape="1">
            <a:blip r:embed="rId8" cstate="print">
              <a:extLst>
                <a:ext uri="{28A0092B-C50C-407E-A947-70E740481C1C}">
                  <a14:useLocalDpi xmlns:a14="http://schemas.microsoft.com/office/drawing/2010/main"/>
                </a:ext>
              </a:extLst>
            </a:blip>
            <a:srcRect l="29398" t="8741" r="101" b="27"/>
            <a:stretch/>
          </p:blipFill>
          <p:spPr bwMode="ltGray">
            <a:xfrm flipH="1">
              <a:off x="2849018" y="0"/>
              <a:ext cx="416951" cy="6858000"/>
            </a:xfrm>
            <a:prstGeom prst="rect">
              <a:avLst/>
            </a:prstGeom>
          </p:spPr>
        </p:pic>
        <p:sp>
          <p:nvSpPr>
            <p:cNvPr id="25" name="Rectangle 24"/>
            <p:cNvSpPr/>
            <p:nvPr/>
          </p:nvSpPr>
          <p:spPr bwMode="white">
            <a:xfrm>
              <a:off x="3258713" y="-1309"/>
              <a:ext cx="8915081"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grpSp>
      <p:grpSp>
        <p:nvGrpSpPr>
          <p:cNvPr id="8" name="Group 7"/>
          <p:cNvGrpSpPr/>
          <p:nvPr/>
        </p:nvGrpSpPr>
        <p:grpSpPr>
          <a:xfrm>
            <a:off x="3442609" y="3306665"/>
            <a:ext cx="8546191" cy="1615825"/>
            <a:chOff x="3442609" y="3306665"/>
            <a:chExt cx="8546191" cy="1615825"/>
          </a:xfrm>
        </p:grpSpPr>
        <p:sp>
          <p:nvSpPr>
            <p:cNvPr id="13" name="ColumnHeader"/>
            <p:cNvSpPr>
              <a:spLocks noChangeArrowheads="1"/>
            </p:cNvSpPr>
            <p:nvPr/>
          </p:nvSpPr>
          <p:spPr bwMode="gray">
            <a:xfrm>
              <a:off x="3442609" y="3306665"/>
              <a:ext cx="1487039" cy="584775"/>
            </a:xfrm>
            <a:prstGeom prst="rect">
              <a:avLst/>
            </a:prstGeom>
            <a:noFill/>
            <a:ln w="9525" algn="ctr">
              <a:noFill/>
              <a:miter lim="800000"/>
              <a:headEnd type="none" w="lg" len="lg"/>
              <a:tailEnd type="none" w="lg" len="lg"/>
            </a:ln>
            <a:effectLst>
              <a:outerShdw dist="25400" dir="5400000" sx="99000" sy="99000" algn="ctr" rotWithShape="0">
                <a:srgbClr val="9A9AC8"/>
              </a:outerShdw>
            </a:effectLst>
            <a:extLst>
              <a:ext uri="{91240B29-F687-4F45-9708-019B960494DF}">
                <a14:hiddenLine xmlns:a14="http://schemas.microsoft.com/office/drawing/2010/main" w="9525" algn="ctr">
                  <a:solidFill>
                    <a:srgbClr val="FFFFFF"/>
                  </a:solidFill>
                  <a:miter lim="800000"/>
                  <a:headEnd type="none" w="lg" len="lg"/>
                  <a:tailEnd type="none" w="lg" len="lg"/>
                </a14:hiddenLine>
              </a:ext>
            </a:extLst>
          </p:spPr>
          <p:txBody>
            <a:bodyPr wrap="square" lIns="0" tIns="45720" rIns="0" bIns="45720" anchor="t">
              <a:spAutoFit/>
            </a:bodyPr>
            <a:lstStyle/>
            <a:p>
              <a:pPr algn="ctr" defTabSz="914286">
                <a:defRPr/>
              </a:pPr>
              <a:r>
                <a:rPr lang="en-CA" sz="3200" kern="0" dirty="0">
                  <a:solidFill>
                    <a:schemeClr val="tx2"/>
                  </a:solidFill>
                  <a:latin typeface="+mj-lt"/>
                  <a:ea typeface="NAB Impact" panose="02010608060202020104" pitchFamily="2"/>
                  <a:cs typeface="Arial"/>
                  <a:sym typeface="Arial"/>
                </a:rPr>
                <a:t>Heart</a:t>
              </a:r>
            </a:p>
          </p:txBody>
        </p:sp>
        <p:sp>
          <p:nvSpPr>
            <p:cNvPr id="16" name="Rectangle 15"/>
            <p:cNvSpPr/>
            <p:nvPr/>
          </p:nvSpPr>
          <p:spPr>
            <a:xfrm>
              <a:off x="5230570" y="3306665"/>
              <a:ext cx="6758230" cy="1615825"/>
            </a:xfrm>
            <a:prstGeom prst="rect">
              <a:avLst/>
            </a:prstGeom>
            <a:noFill/>
          </p:spPr>
          <p:txBody>
            <a:bodyPr wrap="square" lIns="91432" tIns="45719" rIns="91432" bIns="45719">
              <a:spAutoFit/>
            </a:bodyPr>
            <a:lstStyle/>
            <a:p>
              <a:pPr marL="285750" indent="-285750">
                <a:buFont typeface="Arial" panose="020B0604020202020204" pitchFamily="34" charset="0"/>
                <a:buChar char="•"/>
              </a:pPr>
              <a:r>
                <a:rPr lang="en-US" sz="2000" dirty="0">
                  <a:solidFill>
                    <a:srgbClr val="29BA74"/>
                  </a:solidFill>
                </a:rPr>
                <a:t>Are you getting power from your purpose?</a:t>
              </a:r>
            </a:p>
            <a:p>
              <a:pPr marL="285750" indent="-285750">
                <a:buFont typeface="Arial" panose="020B0604020202020204" pitchFamily="34" charset="0"/>
                <a:buChar char="•"/>
              </a:pPr>
              <a:r>
                <a:rPr lang="en-US" sz="2000" dirty="0">
                  <a:solidFill>
                    <a:srgbClr val="29BA74"/>
                  </a:solidFill>
                </a:rPr>
                <a:t>Is your culture empowering your people?</a:t>
              </a:r>
            </a:p>
            <a:p>
              <a:pPr marL="285750" indent="-285750">
                <a:buFont typeface="Arial" panose="020B0604020202020204" pitchFamily="34" charset="0"/>
                <a:buChar char="•"/>
              </a:pPr>
              <a:r>
                <a:rPr lang="en-US" sz="2000" dirty="0">
                  <a:solidFill>
                    <a:srgbClr val="29BA74"/>
                  </a:solidFill>
                </a:rPr>
                <a:t>Are you demonstrating extreme care?</a:t>
              </a:r>
            </a:p>
            <a:p>
              <a:pPr marL="285750" indent="-285750">
                <a:buFont typeface="Arial" panose="020B0604020202020204" pitchFamily="34" charset="0"/>
                <a:buChar char="•"/>
              </a:pPr>
              <a:r>
                <a:rPr lang="en-US" sz="2000" dirty="0">
                  <a:solidFill>
                    <a:srgbClr val="29BA74"/>
                  </a:solidFill>
                </a:rPr>
                <a:t>Are your leaders leading with head, heart, and hands?</a:t>
              </a:r>
            </a:p>
            <a:p>
              <a:pPr marL="324000" lvl="1" indent="-216000" defTabSz="914286">
                <a:buClr>
                  <a:schemeClr val="tx2">
                    <a:lumMod val="100000"/>
                  </a:schemeClr>
                </a:buClr>
                <a:buSzPct val="100000"/>
                <a:buFont typeface="Trebuchet MS" panose="020B0603020202020204" pitchFamily="34" charset="0"/>
                <a:buChar char="•"/>
              </a:pPr>
              <a:endParaRPr lang="en-AU" sz="1900" dirty="0">
                <a:solidFill>
                  <a:schemeClr val="tx1">
                    <a:lumMod val="100000"/>
                  </a:schemeClr>
                </a:solidFill>
                <a:latin typeface="Trebuchet MS" panose="020B0603020202020204" pitchFamily="34" charset="0"/>
                <a:ea typeface="+mj-ea"/>
                <a:cs typeface="+mj-cs"/>
              </a:endParaRPr>
            </a:p>
          </p:txBody>
        </p:sp>
      </p:grpSp>
      <p:pic>
        <p:nvPicPr>
          <p:cNvPr id="23" name="Picture 22"/>
          <p:cNvPicPr>
            <a:picLocks noChangeAspect="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43927" y="434469"/>
            <a:ext cx="1921636" cy="5543608"/>
          </a:xfrm>
          <a:prstGeom prst="rect">
            <a:avLst/>
          </a:prstGeom>
        </p:spPr>
      </p:pic>
      <p:sp>
        <p:nvSpPr>
          <p:cNvPr id="2" name="TextBox 1"/>
          <p:cNvSpPr txBox="1"/>
          <p:nvPr/>
        </p:nvSpPr>
        <p:spPr>
          <a:xfrm>
            <a:off x="3448280" y="223284"/>
            <a:ext cx="8516035" cy="7977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800" dirty="0">
                <a:solidFill>
                  <a:schemeClr val="accent1">
                    <a:lumMod val="75000"/>
                    <a:lumOff val="25000"/>
                  </a:schemeClr>
                </a:solidFill>
              </a:rPr>
              <a:t>For Reflection</a:t>
            </a:r>
            <a:endParaRPr lang="en-US" sz="1400" dirty="0">
              <a:solidFill>
                <a:srgbClr val="FF0000"/>
              </a:solidFill>
            </a:endParaRPr>
          </a:p>
        </p:txBody>
      </p:sp>
      <p:grpSp>
        <p:nvGrpSpPr>
          <p:cNvPr id="9" name="Group 8"/>
          <p:cNvGrpSpPr/>
          <p:nvPr/>
        </p:nvGrpSpPr>
        <p:grpSpPr>
          <a:xfrm>
            <a:off x="3442608" y="5177859"/>
            <a:ext cx="8568327" cy="1627324"/>
            <a:chOff x="3442608" y="5177859"/>
            <a:chExt cx="8568327" cy="1627324"/>
          </a:xfrm>
        </p:grpSpPr>
        <p:sp>
          <p:nvSpPr>
            <p:cNvPr id="22" name="ColumnHeader"/>
            <p:cNvSpPr>
              <a:spLocks noChangeArrowheads="1"/>
            </p:cNvSpPr>
            <p:nvPr/>
          </p:nvSpPr>
          <p:spPr bwMode="gray">
            <a:xfrm>
              <a:off x="3442608" y="5177859"/>
              <a:ext cx="1541319" cy="584775"/>
            </a:xfrm>
            <a:prstGeom prst="rect">
              <a:avLst/>
            </a:prstGeom>
            <a:noFill/>
            <a:ln w="9525" algn="ctr">
              <a:noFill/>
              <a:miter lim="800000"/>
              <a:headEnd type="none" w="lg" len="lg"/>
              <a:tailEnd type="none" w="lg" len="lg"/>
            </a:ln>
            <a:effectLst>
              <a:outerShdw dist="25400" dir="5400000" sx="99000" sy="99000" algn="ctr" rotWithShape="0">
                <a:srgbClr val="9A9AC8"/>
              </a:outerShdw>
            </a:effectLst>
            <a:extLst>
              <a:ext uri="{909E8E84-426E-40DD-AFC4-6F175D3DCCD1}">
                <a14:hiddenFill xmlns:a14="http://schemas.microsoft.com/office/drawing/2010/main">
                  <a:solidFill>
                    <a:schemeClr val="bg1"/>
                  </a:solidFill>
                </a14:hiddenFill>
              </a:ext>
            </a:extLst>
          </p:spPr>
          <p:txBody>
            <a:bodyPr wrap="square" lIns="0" tIns="45720" rIns="0" bIns="45720" anchor="t">
              <a:spAutoFit/>
            </a:bodyPr>
            <a:lstStyle/>
            <a:p>
              <a:pPr algn="ctr" defTabSz="914286">
                <a:defRPr/>
              </a:pPr>
              <a:r>
                <a:rPr lang="en-CA" sz="3200" kern="0" dirty="0">
                  <a:solidFill>
                    <a:schemeClr val="tx2"/>
                  </a:solidFill>
                  <a:latin typeface="+mj-lt"/>
                  <a:ea typeface="NAB Impact" panose="02010608060202020104" pitchFamily="2"/>
                  <a:cs typeface="Arial"/>
                  <a:sym typeface="Arial"/>
                </a:rPr>
                <a:t>Hands</a:t>
              </a:r>
            </a:p>
          </p:txBody>
        </p:sp>
        <p:sp>
          <p:nvSpPr>
            <p:cNvPr id="28" name="Rectangle 27"/>
            <p:cNvSpPr/>
            <p:nvPr/>
          </p:nvSpPr>
          <p:spPr>
            <a:xfrm>
              <a:off x="5230571" y="5189358"/>
              <a:ext cx="6780364" cy="1615825"/>
            </a:xfrm>
            <a:prstGeom prst="rect">
              <a:avLst/>
            </a:prstGeom>
          </p:spPr>
          <p:txBody>
            <a:bodyPr wrap="square" lIns="91432" tIns="45719" rIns="91432" bIns="45719">
              <a:spAutoFit/>
            </a:bodyPr>
            <a:lstStyle/>
            <a:p>
              <a:pPr marL="285750" indent="-285750">
                <a:buFont typeface="Arial" panose="020B0604020202020204" pitchFamily="34" charset="0"/>
                <a:buChar char="•"/>
              </a:pPr>
              <a:r>
                <a:rPr lang="en-US" sz="2000" dirty="0">
                  <a:solidFill>
                    <a:srgbClr val="29BA74"/>
                  </a:solidFill>
                </a:rPr>
                <a:t>Have you ensured executional discipline?</a:t>
              </a:r>
            </a:p>
            <a:p>
              <a:pPr marL="285750" indent="-285750">
                <a:buFont typeface="Arial" panose="020B0604020202020204" pitchFamily="34" charset="0"/>
                <a:buChar char="•"/>
              </a:pPr>
              <a:r>
                <a:rPr lang="en-US" sz="2000" dirty="0">
                  <a:solidFill>
                    <a:srgbClr val="29BA74"/>
                  </a:solidFill>
                </a:rPr>
                <a:t>Are your leaders collaborating around the big rocks?</a:t>
              </a:r>
            </a:p>
            <a:p>
              <a:pPr marL="285750" indent="-285750">
                <a:buFont typeface="Arial" panose="020B0604020202020204" pitchFamily="34" charset="0"/>
                <a:buChar char="•"/>
              </a:pPr>
              <a:r>
                <a:rPr lang="en-US" sz="2000" dirty="0">
                  <a:solidFill>
                    <a:srgbClr val="29BA74"/>
                  </a:solidFill>
                </a:rPr>
                <a:t>Are you using agile ways of working?</a:t>
              </a:r>
            </a:p>
            <a:p>
              <a:pPr marL="285750" indent="-285750">
                <a:buFont typeface="Arial" panose="020B0604020202020204" pitchFamily="34" charset="0"/>
                <a:buChar char="•"/>
              </a:pPr>
              <a:r>
                <a:rPr lang="en-US" sz="2000" dirty="0">
                  <a:solidFill>
                    <a:srgbClr val="29BA74"/>
                  </a:solidFill>
                </a:rPr>
                <a:t>Are you building capabilities as you execute?</a:t>
              </a:r>
            </a:p>
            <a:p>
              <a:pPr marL="324000" lvl="1" indent="-216000" defTabSz="914286">
                <a:buClr>
                  <a:schemeClr val="tx2">
                    <a:lumMod val="100000"/>
                  </a:schemeClr>
                </a:buClr>
                <a:buSzPct val="100000"/>
                <a:buFont typeface="Trebuchet MS" panose="020B0603020202020204" pitchFamily="34" charset="0"/>
                <a:buChar char="•"/>
              </a:pPr>
              <a:endParaRPr lang="en-AU" sz="1900" dirty="0">
                <a:solidFill>
                  <a:schemeClr val="tx1">
                    <a:lumMod val="100000"/>
                  </a:schemeClr>
                </a:solidFill>
                <a:latin typeface="Trebuchet MS" panose="020B0603020202020204" pitchFamily="34" charset="0"/>
              </a:endParaRPr>
            </a:p>
          </p:txBody>
        </p:sp>
      </p:grpSp>
      <p:grpSp>
        <p:nvGrpSpPr>
          <p:cNvPr id="7" name="Group 6"/>
          <p:cNvGrpSpPr/>
          <p:nvPr/>
        </p:nvGrpSpPr>
        <p:grpSpPr>
          <a:xfrm>
            <a:off x="3479284" y="1390393"/>
            <a:ext cx="8519676" cy="1923601"/>
            <a:chOff x="3479284" y="1390393"/>
            <a:chExt cx="8519676" cy="1923601"/>
          </a:xfrm>
        </p:grpSpPr>
        <p:sp>
          <p:nvSpPr>
            <p:cNvPr id="30" name="Rectangle 29"/>
            <p:cNvSpPr/>
            <p:nvPr/>
          </p:nvSpPr>
          <p:spPr>
            <a:xfrm>
              <a:off x="5230570" y="1390393"/>
              <a:ext cx="6768390" cy="1923601"/>
            </a:xfrm>
            <a:prstGeom prst="rect">
              <a:avLst/>
            </a:prstGeom>
          </p:spPr>
          <p:txBody>
            <a:bodyPr wrap="square" lIns="91432" tIns="45719" rIns="91432" bIns="45719">
              <a:spAutoFit/>
            </a:bodyPr>
            <a:lstStyle/>
            <a:p>
              <a:pPr marL="285750" indent="-285750">
                <a:buFont typeface="Arial" panose="020B0604020202020204" pitchFamily="34" charset="0"/>
                <a:buChar char="•"/>
              </a:pPr>
              <a:r>
                <a:rPr lang="en-US" sz="2000" dirty="0">
                  <a:solidFill>
                    <a:srgbClr val="29BA74"/>
                  </a:solidFill>
                </a:rPr>
                <a:t>Have you envisioned the digitally-enabled, growth-oriented future you aspire to?</a:t>
              </a:r>
            </a:p>
            <a:p>
              <a:pPr marL="285750" indent="-285750">
                <a:buFont typeface="Arial" panose="020B0604020202020204" pitchFamily="34" charset="0"/>
                <a:buChar char="•"/>
              </a:pPr>
              <a:r>
                <a:rPr lang="en-US" sz="2000" dirty="0">
                  <a:solidFill>
                    <a:srgbClr val="29BA74"/>
                  </a:solidFill>
                </a:rPr>
                <a:t>Have you defined the right big rocks?</a:t>
              </a:r>
            </a:p>
            <a:p>
              <a:pPr marL="285750" indent="-285750">
                <a:buFont typeface="Arial" panose="020B0604020202020204" pitchFamily="34" charset="0"/>
                <a:buChar char="•"/>
              </a:pPr>
              <a:r>
                <a:rPr lang="en-US" sz="2000" dirty="0">
                  <a:solidFill>
                    <a:srgbClr val="29BA74"/>
                  </a:solidFill>
                </a:rPr>
                <a:t>Is your leadership team aligned? </a:t>
              </a:r>
            </a:p>
            <a:p>
              <a:pPr marL="285750" indent="-285750">
                <a:buFont typeface="Arial" panose="020B0604020202020204" pitchFamily="34" charset="0"/>
                <a:buChar char="•"/>
              </a:pPr>
              <a:r>
                <a:rPr lang="en-US" sz="2000" dirty="0">
                  <a:solidFill>
                    <a:srgbClr val="29BA74"/>
                  </a:solidFill>
                </a:rPr>
                <a:t>Have you clarified the case for change?</a:t>
              </a:r>
            </a:p>
            <a:p>
              <a:pPr marL="324000" lvl="1" indent="-216000" defTabSz="914286">
                <a:buClr>
                  <a:schemeClr val="tx2">
                    <a:lumMod val="100000"/>
                  </a:schemeClr>
                </a:buClr>
                <a:buSzPct val="100000"/>
                <a:buFont typeface="Trebuchet MS" panose="020B0603020202020204" pitchFamily="34" charset="0"/>
                <a:buChar char="•"/>
                <a:defRPr/>
              </a:pPr>
              <a:endParaRPr lang="en-AU" sz="1900" dirty="0">
                <a:solidFill>
                  <a:schemeClr val="tx1">
                    <a:lumMod val="100000"/>
                  </a:schemeClr>
                </a:solidFill>
                <a:latin typeface="Trebuchet MS" panose="020B0603020202020204" pitchFamily="34" charset="0"/>
                <a:ea typeface="+mj-ea"/>
                <a:cs typeface="+mj-cs"/>
                <a:sym typeface="Trebuchet MS" panose="020B0603020202020204" pitchFamily="34" charset="0"/>
              </a:endParaRPr>
            </a:p>
          </p:txBody>
        </p:sp>
        <p:sp>
          <p:nvSpPr>
            <p:cNvPr id="31" name="ColumnHeader"/>
            <p:cNvSpPr>
              <a:spLocks noChangeArrowheads="1"/>
            </p:cNvSpPr>
            <p:nvPr/>
          </p:nvSpPr>
          <p:spPr bwMode="gray">
            <a:xfrm>
              <a:off x="3479284" y="1390393"/>
              <a:ext cx="1487039" cy="584775"/>
            </a:xfrm>
            <a:prstGeom prst="rect">
              <a:avLst/>
            </a:prstGeom>
            <a:noFill/>
            <a:ln w="9525" algn="ctr">
              <a:noFill/>
              <a:miter lim="800000"/>
              <a:headEnd type="none" w="lg" len="lg"/>
              <a:tailEnd type="none" w="lg" len="lg"/>
            </a:ln>
            <a:effectLst>
              <a:outerShdw dist="25400" dir="5400000" sx="99000" sy="99000" algn="ctr" rotWithShape="0">
                <a:srgbClr val="9A9AC8"/>
              </a:outerShdw>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rgbClr val="FFFFFF"/>
                  </a:solidFill>
                  <a:miter lim="800000"/>
                  <a:headEnd type="none" w="lg" len="lg"/>
                  <a:tailEnd type="none" w="lg" len="lg"/>
                </a14:hiddenLine>
              </a:ext>
            </a:extLst>
          </p:spPr>
          <p:txBody>
            <a:bodyPr wrap="square" lIns="0" tIns="45720" rIns="0" bIns="45720" anchor="t">
              <a:spAutoFit/>
            </a:bodyPr>
            <a:lstStyle/>
            <a:p>
              <a:pPr algn="ctr" defTabSz="914286">
                <a:defRPr/>
              </a:pPr>
              <a:r>
                <a:rPr lang="en-CA" sz="3200" kern="0" dirty="0">
                  <a:solidFill>
                    <a:schemeClr val="tx2"/>
                  </a:solidFill>
                  <a:latin typeface="+mj-lt"/>
                  <a:ea typeface="NAB Impact" panose="02010608060202020104" pitchFamily="2"/>
                  <a:cs typeface="Arial"/>
                  <a:sym typeface="Arial"/>
                </a:rPr>
                <a:t>Head</a:t>
              </a:r>
            </a:p>
          </p:txBody>
        </p:sp>
      </p:grpSp>
    </p:spTree>
    <p:custDataLst>
      <p:tags r:id="rId2"/>
    </p:custDataLst>
    <p:extLst>
      <p:ext uri="{BB962C8B-B14F-4D97-AF65-F5344CB8AC3E}">
        <p14:creationId xmlns:p14="http://schemas.microsoft.com/office/powerpoint/2010/main" val="848776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73338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80"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392187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87310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830101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600" dirty="0"/>
              <a:t> Transformation is hard</a:t>
            </a: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a:ext>
            </a:extLst>
          </a:blip>
          <a:srcRect b="-824"/>
          <a:stretch/>
        </p:blipFill>
        <p:spPr>
          <a:xfrm>
            <a:off x="4073891" y="0"/>
            <a:ext cx="8727710" cy="6914508"/>
          </a:xfrm>
          <a:prstGeom prst="rect">
            <a:avLst/>
          </a:prstGeom>
        </p:spPr>
      </p:pic>
    </p:spTree>
    <p:extLst>
      <p:ext uri="{BB962C8B-B14F-4D97-AF65-F5344CB8AC3E}">
        <p14:creationId xmlns:p14="http://schemas.microsoft.com/office/powerpoint/2010/main" val="3241406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30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6" name="Isosceles Triangle 95"/>
          <p:cNvSpPr/>
          <p:nvPr/>
        </p:nvSpPr>
        <p:spPr>
          <a:xfrm rot="4806760">
            <a:off x="11382186" y="2379891"/>
            <a:ext cx="702860" cy="396354"/>
          </a:xfrm>
          <a:prstGeom prst="triangle">
            <a:avLst/>
          </a:prstGeom>
          <a:solidFill>
            <a:srgbClr val="29BA74"/>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2" name="Title 1"/>
          <p:cNvSpPr>
            <a:spLocks noGrp="1"/>
          </p:cNvSpPr>
          <p:nvPr>
            <p:ph type="title"/>
          </p:nvPr>
        </p:nvSpPr>
        <p:spPr>
          <a:xfrm>
            <a:off x="630000" y="622800"/>
            <a:ext cx="11229904" cy="443198"/>
          </a:xfrm>
          <a:prstGeom prst="rect">
            <a:avLst/>
          </a:prstGeom>
          <a:ln cap="rnd">
            <a:noFill/>
          </a:ln>
        </p:spPr>
        <p:txBody>
          <a:bodyPr wrap="square">
            <a:spAutoFit/>
          </a:bodyPr>
          <a:lstStyle/>
          <a:p>
            <a:pPr>
              <a:buSzPts val="3400"/>
            </a:pPr>
            <a:r>
              <a:rPr lang="en-US" sz="3200" dirty="0">
                <a:latin typeface="Trebuchet MS" panose="020B0603020202020204" pitchFamily="34" charset="0"/>
              </a:rPr>
              <a:t>We have entered a new era of 'Always On' transformation</a:t>
            </a:r>
          </a:p>
        </p:txBody>
      </p:sp>
      <p:sp>
        <p:nvSpPr>
          <p:cNvPr id="77" name="Freeform 76"/>
          <p:cNvSpPr/>
          <p:nvPr/>
        </p:nvSpPr>
        <p:spPr>
          <a:xfrm>
            <a:off x="628324" y="4038012"/>
            <a:ext cx="4116112" cy="1787725"/>
          </a:xfrm>
          <a:custGeom>
            <a:avLst/>
            <a:gdLst>
              <a:gd name="connsiteX0" fmla="*/ 3746825 w 3746825"/>
              <a:gd name="connsiteY0" fmla="*/ 0 h 1787725"/>
              <a:gd name="connsiteX1" fmla="*/ 3746825 w 3746825"/>
              <a:gd name="connsiteY1" fmla="*/ 355627 h 1787725"/>
              <a:gd name="connsiteX2" fmla="*/ 3705674 w 3746825"/>
              <a:gd name="connsiteY2" fmla="*/ 362525 h 1787725"/>
              <a:gd name="connsiteX3" fmla="*/ 3049547 w 3746825"/>
              <a:gd name="connsiteY3" fmla="*/ 472517 h 1787725"/>
              <a:gd name="connsiteX4" fmla="*/ 3038609 w 3746825"/>
              <a:gd name="connsiteY4" fmla="*/ 474706 h 1787725"/>
              <a:gd name="connsiteX5" fmla="*/ 2797970 w 3746825"/>
              <a:gd name="connsiteY5" fmla="*/ 516285 h 1787725"/>
              <a:gd name="connsiteX6" fmla="*/ 2528893 w 3746825"/>
              <a:gd name="connsiteY6" fmla="*/ 625703 h 1787725"/>
              <a:gd name="connsiteX7" fmla="*/ 2196374 w 3746825"/>
              <a:gd name="connsiteY7" fmla="*/ 1074318 h 1787725"/>
              <a:gd name="connsiteX8" fmla="*/ 2051991 w 3746825"/>
              <a:gd name="connsiteY8" fmla="*/ 1273459 h 1787725"/>
              <a:gd name="connsiteX9" fmla="*/ 1218506 w 3746825"/>
              <a:gd name="connsiteY9" fmla="*/ 1787725 h 1787725"/>
              <a:gd name="connsiteX10" fmla="*/ 175010 w 3746825"/>
              <a:gd name="connsiteY10" fmla="*/ 1783348 h 1787725"/>
              <a:gd name="connsiteX11" fmla="*/ 0 w 3746825"/>
              <a:gd name="connsiteY11" fmla="*/ 1783348 h 1787725"/>
              <a:gd name="connsiteX12" fmla="*/ 0 w 3746825"/>
              <a:gd name="connsiteY12" fmla="*/ 1433210 h 1787725"/>
              <a:gd name="connsiteX13" fmla="*/ 175010 w 3746825"/>
              <a:gd name="connsiteY13" fmla="*/ 1433210 h 1787725"/>
              <a:gd name="connsiteX14" fmla="*/ 1218506 w 3746825"/>
              <a:gd name="connsiteY14" fmla="*/ 1437587 h 1787725"/>
              <a:gd name="connsiteX15" fmla="*/ 1771975 w 3746825"/>
              <a:gd name="connsiteY15" fmla="*/ 1063376 h 1787725"/>
              <a:gd name="connsiteX16" fmla="*/ 1911983 w 3746825"/>
              <a:gd name="connsiteY16" fmla="*/ 870800 h 1787725"/>
              <a:gd name="connsiteX17" fmla="*/ 2264190 w 3746825"/>
              <a:gd name="connsiteY17" fmla="*/ 393736 h 1787725"/>
              <a:gd name="connsiteX18" fmla="*/ 2719216 w 3746825"/>
              <a:gd name="connsiteY18" fmla="*/ 174900 h 1787725"/>
              <a:gd name="connsiteX19" fmla="*/ 2994857 w 3746825"/>
              <a:gd name="connsiteY19" fmla="*/ 126755 h 1787725"/>
              <a:gd name="connsiteX20" fmla="*/ 3745015 w 3746825"/>
              <a:gd name="connsiteY20" fmla="*/ 305 h 1787725"/>
              <a:gd name="connsiteX21" fmla="*/ 3746825 w 3746825"/>
              <a:gd name="connsiteY21" fmla="*/ 0 h 17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46825" h="1787725">
                <a:moveTo>
                  <a:pt x="3746825" y="0"/>
                </a:moveTo>
                <a:lnTo>
                  <a:pt x="3746825" y="355627"/>
                </a:lnTo>
                <a:lnTo>
                  <a:pt x="3705674" y="362525"/>
                </a:lnTo>
                <a:cubicBezTo>
                  <a:pt x="3049547" y="472517"/>
                  <a:pt x="3049547" y="472517"/>
                  <a:pt x="3049547" y="472517"/>
                </a:cubicBezTo>
                <a:cubicBezTo>
                  <a:pt x="3045172" y="472517"/>
                  <a:pt x="3042984" y="472517"/>
                  <a:pt x="3038609" y="474706"/>
                </a:cubicBezTo>
                <a:cubicBezTo>
                  <a:pt x="3038609" y="474706"/>
                  <a:pt x="2924853" y="485648"/>
                  <a:pt x="2797970" y="516285"/>
                </a:cubicBezTo>
                <a:cubicBezTo>
                  <a:pt x="2583583" y="568805"/>
                  <a:pt x="2533268" y="619138"/>
                  <a:pt x="2528893" y="625703"/>
                </a:cubicBezTo>
                <a:cubicBezTo>
                  <a:pt x="2472015" y="689166"/>
                  <a:pt x="2305755" y="921132"/>
                  <a:pt x="2196374" y="1074318"/>
                </a:cubicBezTo>
                <a:cubicBezTo>
                  <a:pt x="2130745" y="1166229"/>
                  <a:pt x="2078242" y="1238445"/>
                  <a:pt x="2051991" y="1273459"/>
                </a:cubicBezTo>
                <a:cubicBezTo>
                  <a:pt x="1896670" y="1479166"/>
                  <a:pt x="1662594" y="1787725"/>
                  <a:pt x="1218506" y="1787725"/>
                </a:cubicBezTo>
                <a:cubicBezTo>
                  <a:pt x="875049" y="1787725"/>
                  <a:pt x="181573" y="1783348"/>
                  <a:pt x="175010" y="1783348"/>
                </a:cubicBezTo>
                <a:cubicBezTo>
                  <a:pt x="0" y="1783348"/>
                  <a:pt x="0" y="1783348"/>
                  <a:pt x="0" y="1783348"/>
                </a:cubicBezTo>
                <a:cubicBezTo>
                  <a:pt x="0" y="1433210"/>
                  <a:pt x="0" y="1433210"/>
                  <a:pt x="0" y="1433210"/>
                </a:cubicBezTo>
                <a:cubicBezTo>
                  <a:pt x="175010" y="1433210"/>
                  <a:pt x="175010" y="1433210"/>
                  <a:pt x="175010" y="1433210"/>
                </a:cubicBezTo>
                <a:cubicBezTo>
                  <a:pt x="183760" y="1433210"/>
                  <a:pt x="875049" y="1437587"/>
                  <a:pt x="1218506" y="1437587"/>
                </a:cubicBezTo>
                <a:cubicBezTo>
                  <a:pt x="1467895" y="1437587"/>
                  <a:pt x="1610091" y="1275648"/>
                  <a:pt x="1771975" y="1063376"/>
                </a:cubicBezTo>
                <a:cubicBezTo>
                  <a:pt x="1798227" y="1030551"/>
                  <a:pt x="1850730" y="956146"/>
                  <a:pt x="1911983" y="870800"/>
                </a:cubicBezTo>
                <a:cubicBezTo>
                  <a:pt x="2073867" y="643210"/>
                  <a:pt x="2202937" y="463764"/>
                  <a:pt x="2264190" y="393736"/>
                </a:cubicBezTo>
                <a:cubicBezTo>
                  <a:pt x="2347320" y="299636"/>
                  <a:pt x="2496078" y="227420"/>
                  <a:pt x="2719216" y="174900"/>
                </a:cubicBezTo>
                <a:cubicBezTo>
                  <a:pt x="2852661" y="144262"/>
                  <a:pt x="2968605" y="128944"/>
                  <a:pt x="2994857" y="126755"/>
                </a:cubicBezTo>
                <a:cubicBezTo>
                  <a:pt x="3489806" y="43324"/>
                  <a:pt x="3675412" y="12037"/>
                  <a:pt x="3745015" y="305"/>
                </a:cubicBezTo>
                <a:lnTo>
                  <a:pt x="3746825" y="0"/>
                </a:lnTo>
                <a:close/>
              </a:path>
            </a:pathLst>
          </a:custGeom>
          <a:solidFill>
            <a:srgbClr val="29BA74"/>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80" name="Freeform 79"/>
          <p:cNvSpPr/>
          <p:nvPr/>
        </p:nvSpPr>
        <p:spPr>
          <a:xfrm>
            <a:off x="4105179" y="3230421"/>
            <a:ext cx="4116112" cy="1787725"/>
          </a:xfrm>
          <a:custGeom>
            <a:avLst/>
            <a:gdLst>
              <a:gd name="connsiteX0" fmla="*/ 3746825 w 3746825"/>
              <a:gd name="connsiteY0" fmla="*/ 0 h 1787725"/>
              <a:gd name="connsiteX1" fmla="*/ 3746825 w 3746825"/>
              <a:gd name="connsiteY1" fmla="*/ 355627 h 1787725"/>
              <a:gd name="connsiteX2" fmla="*/ 3705674 w 3746825"/>
              <a:gd name="connsiteY2" fmla="*/ 362525 h 1787725"/>
              <a:gd name="connsiteX3" fmla="*/ 3049547 w 3746825"/>
              <a:gd name="connsiteY3" fmla="*/ 472517 h 1787725"/>
              <a:gd name="connsiteX4" fmla="*/ 3038609 w 3746825"/>
              <a:gd name="connsiteY4" fmla="*/ 474706 h 1787725"/>
              <a:gd name="connsiteX5" fmla="*/ 2797970 w 3746825"/>
              <a:gd name="connsiteY5" fmla="*/ 516285 h 1787725"/>
              <a:gd name="connsiteX6" fmla="*/ 2528893 w 3746825"/>
              <a:gd name="connsiteY6" fmla="*/ 625703 h 1787725"/>
              <a:gd name="connsiteX7" fmla="*/ 2196374 w 3746825"/>
              <a:gd name="connsiteY7" fmla="*/ 1074318 h 1787725"/>
              <a:gd name="connsiteX8" fmla="*/ 2051991 w 3746825"/>
              <a:gd name="connsiteY8" fmla="*/ 1273459 h 1787725"/>
              <a:gd name="connsiteX9" fmla="*/ 1218506 w 3746825"/>
              <a:gd name="connsiteY9" fmla="*/ 1787725 h 1787725"/>
              <a:gd name="connsiteX10" fmla="*/ 175010 w 3746825"/>
              <a:gd name="connsiteY10" fmla="*/ 1783348 h 1787725"/>
              <a:gd name="connsiteX11" fmla="*/ 0 w 3746825"/>
              <a:gd name="connsiteY11" fmla="*/ 1783348 h 1787725"/>
              <a:gd name="connsiteX12" fmla="*/ 0 w 3746825"/>
              <a:gd name="connsiteY12" fmla="*/ 1433210 h 1787725"/>
              <a:gd name="connsiteX13" fmla="*/ 175010 w 3746825"/>
              <a:gd name="connsiteY13" fmla="*/ 1433210 h 1787725"/>
              <a:gd name="connsiteX14" fmla="*/ 1218506 w 3746825"/>
              <a:gd name="connsiteY14" fmla="*/ 1437587 h 1787725"/>
              <a:gd name="connsiteX15" fmla="*/ 1771975 w 3746825"/>
              <a:gd name="connsiteY15" fmla="*/ 1063376 h 1787725"/>
              <a:gd name="connsiteX16" fmla="*/ 1911983 w 3746825"/>
              <a:gd name="connsiteY16" fmla="*/ 870800 h 1787725"/>
              <a:gd name="connsiteX17" fmla="*/ 2264190 w 3746825"/>
              <a:gd name="connsiteY17" fmla="*/ 393736 h 1787725"/>
              <a:gd name="connsiteX18" fmla="*/ 2719216 w 3746825"/>
              <a:gd name="connsiteY18" fmla="*/ 174900 h 1787725"/>
              <a:gd name="connsiteX19" fmla="*/ 2994857 w 3746825"/>
              <a:gd name="connsiteY19" fmla="*/ 126755 h 1787725"/>
              <a:gd name="connsiteX20" fmla="*/ 3745015 w 3746825"/>
              <a:gd name="connsiteY20" fmla="*/ 305 h 1787725"/>
              <a:gd name="connsiteX21" fmla="*/ 3746825 w 3746825"/>
              <a:gd name="connsiteY21" fmla="*/ 0 h 17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46825" h="1787725">
                <a:moveTo>
                  <a:pt x="3746825" y="0"/>
                </a:moveTo>
                <a:lnTo>
                  <a:pt x="3746825" y="355627"/>
                </a:lnTo>
                <a:lnTo>
                  <a:pt x="3705674" y="362525"/>
                </a:lnTo>
                <a:cubicBezTo>
                  <a:pt x="3049547" y="472517"/>
                  <a:pt x="3049547" y="472517"/>
                  <a:pt x="3049547" y="472517"/>
                </a:cubicBezTo>
                <a:cubicBezTo>
                  <a:pt x="3045172" y="472517"/>
                  <a:pt x="3042984" y="472517"/>
                  <a:pt x="3038609" y="474706"/>
                </a:cubicBezTo>
                <a:cubicBezTo>
                  <a:pt x="3038609" y="474706"/>
                  <a:pt x="2924853" y="485648"/>
                  <a:pt x="2797970" y="516285"/>
                </a:cubicBezTo>
                <a:cubicBezTo>
                  <a:pt x="2583583" y="568805"/>
                  <a:pt x="2533268" y="619138"/>
                  <a:pt x="2528893" y="625703"/>
                </a:cubicBezTo>
                <a:cubicBezTo>
                  <a:pt x="2472015" y="689166"/>
                  <a:pt x="2305755" y="921132"/>
                  <a:pt x="2196374" y="1074318"/>
                </a:cubicBezTo>
                <a:cubicBezTo>
                  <a:pt x="2130745" y="1166229"/>
                  <a:pt x="2078242" y="1238445"/>
                  <a:pt x="2051991" y="1273459"/>
                </a:cubicBezTo>
                <a:cubicBezTo>
                  <a:pt x="1896670" y="1479166"/>
                  <a:pt x="1662594" y="1787725"/>
                  <a:pt x="1218506" y="1787725"/>
                </a:cubicBezTo>
                <a:cubicBezTo>
                  <a:pt x="875049" y="1787725"/>
                  <a:pt x="181573" y="1783348"/>
                  <a:pt x="175010" y="1783348"/>
                </a:cubicBezTo>
                <a:cubicBezTo>
                  <a:pt x="0" y="1783348"/>
                  <a:pt x="0" y="1783348"/>
                  <a:pt x="0" y="1783348"/>
                </a:cubicBezTo>
                <a:cubicBezTo>
                  <a:pt x="0" y="1433210"/>
                  <a:pt x="0" y="1433210"/>
                  <a:pt x="0" y="1433210"/>
                </a:cubicBezTo>
                <a:cubicBezTo>
                  <a:pt x="175010" y="1433210"/>
                  <a:pt x="175010" y="1433210"/>
                  <a:pt x="175010" y="1433210"/>
                </a:cubicBezTo>
                <a:cubicBezTo>
                  <a:pt x="183760" y="1433210"/>
                  <a:pt x="875049" y="1437587"/>
                  <a:pt x="1218506" y="1437587"/>
                </a:cubicBezTo>
                <a:cubicBezTo>
                  <a:pt x="1467895" y="1437587"/>
                  <a:pt x="1610091" y="1275648"/>
                  <a:pt x="1771975" y="1063376"/>
                </a:cubicBezTo>
                <a:cubicBezTo>
                  <a:pt x="1798227" y="1030551"/>
                  <a:pt x="1850730" y="956146"/>
                  <a:pt x="1911983" y="870800"/>
                </a:cubicBezTo>
                <a:cubicBezTo>
                  <a:pt x="2073867" y="643210"/>
                  <a:pt x="2202937" y="463764"/>
                  <a:pt x="2264190" y="393736"/>
                </a:cubicBezTo>
                <a:cubicBezTo>
                  <a:pt x="2347320" y="299636"/>
                  <a:pt x="2496078" y="227420"/>
                  <a:pt x="2719216" y="174900"/>
                </a:cubicBezTo>
                <a:cubicBezTo>
                  <a:pt x="2852661" y="144262"/>
                  <a:pt x="2968605" y="128944"/>
                  <a:pt x="2994857" y="126755"/>
                </a:cubicBezTo>
                <a:cubicBezTo>
                  <a:pt x="3489806" y="43324"/>
                  <a:pt x="3675412" y="12037"/>
                  <a:pt x="3745015" y="305"/>
                </a:cubicBezTo>
                <a:lnTo>
                  <a:pt x="3746825" y="0"/>
                </a:lnTo>
                <a:close/>
              </a:path>
            </a:pathLst>
          </a:custGeom>
          <a:solidFill>
            <a:srgbClr val="29BA74"/>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81" name="Freeform 80"/>
          <p:cNvSpPr/>
          <p:nvPr/>
        </p:nvSpPr>
        <p:spPr>
          <a:xfrm>
            <a:off x="7582035" y="2422831"/>
            <a:ext cx="4116112" cy="1787725"/>
          </a:xfrm>
          <a:custGeom>
            <a:avLst/>
            <a:gdLst>
              <a:gd name="connsiteX0" fmla="*/ 3746825 w 3746825"/>
              <a:gd name="connsiteY0" fmla="*/ 0 h 1787725"/>
              <a:gd name="connsiteX1" fmla="*/ 3746825 w 3746825"/>
              <a:gd name="connsiteY1" fmla="*/ 355627 h 1787725"/>
              <a:gd name="connsiteX2" fmla="*/ 3705674 w 3746825"/>
              <a:gd name="connsiteY2" fmla="*/ 362525 h 1787725"/>
              <a:gd name="connsiteX3" fmla="*/ 3049547 w 3746825"/>
              <a:gd name="connsiteY3" fmla="*/ 472517 h 1787725"/>
              <a:gd name="connsiteX4" fmla="*/ 3038609 w 3746825"/>
              <a:gd name="connsiteY4" fmla="*/ 474706 h 1787725"/>
              <a:gd name="connsiteX5" fmla="*/ 2797970 w 3746825"/>
              <a:gd name="connsiteY5" fmla="*/ 516285 h 1787725"/>
              <a:gd name="connsiteX6" fmla="*/ 2528893 w 3746825"/>
              <a:gd name="connsiteY6" fmla="*/ 625703 h 1787725"/>
              <a:gd name="connsiteX7" fmla="*/ 2196374 w 3746825"/>
              <a:gd name="connsiteY7" fmla="*/ 1074318 h 1787725"/>
              <a:gd name="connsiteX8" fmla="*/ 2051991 w 3746825"/>
              <a:gd name="connsiteY8" fmla="*/ 1273459 h 1787725"/>
              <a:gd name="connsiteX9" fmla="*/ 1218506 w 3746825"/>
              <a:gd name="connsiteY9" fmla="*/ 1787725 h 1787725"/>
              <a:gd name="connsiteX10" fmla="*/ 175010 w 3746825"/>
              <a:gd name="connsiteY10" fmla="*/ 1783348 h 1787725"/>
              <a:gd name="connsiteX11" fmla="*/ 0 w 3746825"/>
              <a:gd name="connsiteY11" fmla="*/ 1783348 h 1787725"/>
              <a:gd name="connsiteX12" fmla="*/ 0 w 3746825"/>
              <a:gd name="connsiteY12" fmla="*/ 1433210 h 1787725"/>
              <a:gd name="connsiteX13" fmla="*/ 175010 w 3746825"/>
              <a:gd name="connsiteY13" fmla="*/ 1433210 h 1787725"/>
              <a:gd name="connsiteX14" fmla="*/ 1218506 w 3746825"/>
              <a:gd name="connsiteY14" fmla="*/ 1437587 h 1787725"/>
              <a:gd name="connsiteX15" fmla="*/ 1771975 w 3746825"/>
              <a:gd name="connsiteY15" fmla="*/ 1063376 h 1787725"/>
              <a:gd name="connsiteX16" fmla="*/ 1911983 w 3746825"/>
              <a:gd name="connsiteY16" fmla="*/ 870800 h 1787725"/>
              <a:gd name="connsiteX17" fmla="*/ 2264190 w 3746825"/>
              <a:gd name="connsiteY17" fmla="*/ 393736 h 1787725"/>
              <a:gd name="connsiteX18" fmla="*/ 2719216 w 3746825"/>
              <a:gd name="connsiteY18" fmla="*/ 174900 h 1787725"/>
              <a:gd name="connsiteX19" fmla="*/ 2994857 w 3746825"/>
              <a:gd name="connsiteY19" fmla="*/ 126755 h 1787725"/>
              <a:gd name="connsiteX20" fmla="*/ 3745015 w 3746825"/>
              <a:gd name="connsiteY20" fmla="*/ 305 h 1787725"/>
              <a:gd name="connsiteX21" fmla="*/ 3746825 w 3746825"/>
              <a:gd name="connsiteY21" fmla="*/ 0 h 178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46825" h="1787725">
                <a:moveTo>
                  <a:pt x="3746825" y="0"/>
                </a:moveTo>
                <a:lnTo>
                  <a:pt x="3746825" y="355627"/>
                </a:lnTo>
                <a:lnTo>
                  <a:pt x="3705674" y="362525"/>
                </a:lnTo>
                <a:cubicBezTo>
                  <a:pt x="3049547" y="472517"/>
                  <a:pt x="3049547" y="472517"/>
                  <a:pt x="3049547" y="472517"/>
                </a:cubicBezTo>
                <a:cubicBezTo>
                  <a:pt x="3045172" y="472517"/>
                  <a:pt x="3042984" y="472517"/>
                  <a:pt x="3038609" y="474706"/>
                </a:cubicBezTo>
                <a:cubicBezTo>
                  <a:pt x="3038609" y="474706"/>
                  <a:pt x="2924853" y="485648"/>
                  <a:pt x="2797970" y="516285"/>
                </a:cubicBezTo>
                <a:cubicBezTo>
                  <a:pt x="2583583" y="568805"/>
                  <a:pt x="2533268" y="619138"/>
                  <a:pt x="2528893" y="625703"/>
                </a:cubicBezTo>
                <a:cubicBezTo>
                  <a:pt x="2472015" y="689166"/>
                  <a:pt x="2305755" y="921132"/>
                  <a:pt x="2196374" y="1074318"/>
                </a:cubicBezTo>
                <a:cubicBezTo>
                  <a:pt x="2130745" y="1166229"/>
                  <a:pt x="2078242" y="1238445"/>
                  <a:pt x="2051991" y="1273459"/>
                </a:cubicBezTo>
                <a:cubicBezTo>
                  <a:pt x="1896670" y="1479166"/>
                  <a:pt x="1662594" y="1787725"/>
                  <a:pt x="1218506" y="1787725"/>
                </a:cubicBezTo>
                <a:cubicBezTo>
                  <a:pt x="875049" y="1787725"/>
                  <a:pt x="181573" y="1783348"/>
                  <a:pt x="175010" y="1783348"/>
                </a:cubicBezTo>
                <a:cubicBezTo>
                  <a:pt x="0" y="1783348"/>
                  <a:pt x="0" y="1783348"/>
                  <a:pt x="0" y="1783348"/>
                </a:cubicBezTo>
                <a:cubicBezTo>
                  <a:pt x="0" y="1433210"/>
                  <a:pt x="0" y="1433210"/>
                  <a:pt x="0" y="1433210"/>
                </a:cubicBezTo>
                <a:cubicBezTo>
                  <a:pt x="175010" y="1433210"/>
                  <a:pt x="175010" y="1433210"/>
                  <a:pt x="175010" y="1433210"/>
                </a:cubicBezTo>
                <a:cubicBezTo>
                  <a:pt x="183760" y="1433210"/>
                  <a:pt x="875049" y="1437587"/>
                  <a:pt x="1218506" y="1437587"/>
                </a:cubicBezTo>
                <a:cubicBezTo>
                  <a:pt x="1467895" y="1437587"/>
                  <a:pt x="1610091" y="1275648"/>
                  <a:pt x="1771975" y="1063376"/>
                </a:cubicBezTo>
                <a:cubicBezTo>
                  <a:pt x="1798227" y="1030551"/>
                  <a:pt x="1850730" y="956146"/>
                  <a:pt x="1911983" y="870800"/>
                </a:cubicBezTo>
                <a:cubicBezTo>
                  <a:pt x="2073867" y="643210"/>
                  <a:pt x="2202937" y="463764"/>
                  <a:pt x="2264190" y="393736"/>
                </a:cubicBezTo>
                <a:cubicBezTo>
                  <a:pt x="2347320" y="299636"/>
                  <a:pt x="2496078" y="227420"/>
                  <a:pt x="2719216" y="174900"/>
                </a:cubicBezTo>
                <a:cubicBezTo>
                  <a:pt x="2852661" y="144262"/>
                  <a:pt x="2968605" y="128944"/>
                  <a:pt x="2994857" y="126755"/>
                </a:cubicBezTo>
                <a:cubicBezTo>
                  <a:pt x="3489806" y="43324"/>
                  <a:pt x="3675412" y="12037"/>
                  <a:pt x="3745015" y="305"/>
                </a:cubicBezTo>
                <a:lnTo>
                  <a:pt x="3746825" y="0"/>
                </a:lnTo>
                <a:close/>
              </a:path>
            </a:pathLst>
          </a:custGeom>
          <a:solidFill>
            <a:srgbClr val="29BA74"/>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86" name="TextBox 85"/>
          <p:cNvSpPr txBox="1"/>
          <p:nvPr/>
        </p:nvSpPr>
        <p:spPr>
          <a:xfrm>
            <a:off x="628324" y="5498975"/>
            <a:ext cx="1405719" cy="2977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FFFFFF"/>
                </a:solidFill>
              </a:rPr>
              <a:t>Launch</a:t>
            </a:r>
          </a:p>
        </p:txBody>
      </p:sp>
      <p:sp>
        <p:nvSpPr>
          <p:cNvPr id="87" name="TextBox 86"/>
          <p:cNvSpPr txBox="1"/>
          <p:nvPr/>
        </p:nvSpPr>
        <p:spPr>
          <a:xfrm rot="21085276">
            <a:off x="3310592" y="4168956"/>
            <a:ext cx="1405719" cy="2977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dirty="0">
                <a:solidFill>
                  <a:srgbClr val="FFFFFF"/>
                </a:solidFill>
              </a:rPr>
              <a:t>Sustain</a:t>
            </a:r>
          </a:p>
        </p:txBody>
      </p:sp>
      <p:sp>
        <p:nvSpPr>
          <p:cNvPr id="88" name="TextBox 87"/>
          <p:cNvSpPr txBox="1"/>
          <p:nvPr/>
        </p:nvSpPr>
        <p:spPr>
          <a:xfrm rot="21085276">
            <a:off x="6815572" y="3364148"/>
            <a:ext cx="1405719" cy="2977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dirty="0">
                <a:solidFill>
                  <a:srgbClr val="FFFFFF"/>
                </a:solidFill>
              </a:rPr>
              <a:t>Sustain</a:t>
            </a:r>
          </a:p>
        </p:txBody>
      </p:sp>
      <p:sp>
        <p:nvSpPr>
          <p:cNvPr id="89" name="TextBox 88"/>
          <p:cNvSpPr txBox="1"/>
          <p:nvPr/>
        </p:nvSpPr>
        <p:spPr>
          <a:xfrm rot="21085276">
            <a:off x="10292428" y="2559340"/>
            <a:ext cx="1405719" cy="2977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dirty="0">
                <a:solidFill>
                  <a:srgbClr val="FFFFFF"/>
                </a:solidFill>
              </a:rPr>
              <a:t>Sustain</a:t>
            </a:r>
          </a:p>
        </p:txBody>
      </p:sp>
      <p:sp>
        <p:nvSpPr>
          <p:cNvPr id="91" name="TextBox 90"/>
          <p:cNvSpPr txBox="1"/>
          <p:nvPr/>
        </p:nvSpPr>
        <p:spPr>
          <a:xfrm rot="18506401">
            <a:off x="2327960" y="4882290"/>
            <a:ext cx="1030300" cy="2977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Deliver</a:t>
            </a:r>
          </a:p>
        </p:txBody>
      </p:sp>
      <p:sp>
        <p:nvSpPr>
          <p:cNvPr id="92" name="TextBox 91"/>
          <p:cNvSpPr txBox="1"/>
          <p:nvPr/>
        </p:nvSpPr>
        <p:spPr>
          <a:xfrm>
            <a:off x="4110186" y="4697166"/>
            <a:ext cx="1097280" cy="2977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FFFFFF"/>
                </a:solidFill>
              </a:rPr>
              <a:t>Launch</a:t>
            </a:r>
          </a:p>
        </p:txBody>
      </p:sp>
      <p:sp>
        <p:nvSpPr>
          <p:cNvPr id="93" name="TextBox 92"/>
          <p:cNvSpPr txBox="1"/>
          <p:nvPr/>
        </p:nvSpPr>
        <p:spPr>
          <a:xfrm>
            <a:off x="7579652" y="3895357"/>
            <a:ext cx="1097280" cy="2977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solidFill>
                  <a:srgbClr val="FFFFFF"/>
                </a:solidFill>
              </a:rPr>
              <a:t>Launch</a:t>
            </a:r>
          </a:p>
        </p:txBody>
      </p:sp>
      <p:sp>
        <p:nvSpPr>
          <p:cNvPr id="94" name="TextBox 93"/>
          <p:cNvSpPr txBox="1"/>
          <p:nvPr/>
        </p:nvSpPr>
        <p:spPr>
          <a:xfrm rot="18506401">
            <a:off x="5860344" y="4037178"/>
            <a:ext cx="1030300" cy="2977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Deliver</a:t>
            </a:r>
          </a:p>
        </p:txBody>
      </p:sp>
      <p:sp>
        <p:nvSpPr>
          <p:cNvPr id="95" name="TextBox 94"/>
          <p:cNvSpPr txBox="1"/>
          <p:nvPr/>
        </p:nvSpPr>
        <p:spPr>
          <a:xfrm rot="18506401">
            <a:off x="9302262" y="3259792"/>
            <a:ext cx="1030300" cy="29770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Deliver</a:t>
            </a:r>
          </a:p>
        </p:txBody>
      </p:sp>
      <p:sp>
        <p:nvSpPr>
          <p:cNvPr id="38" name="Isosceles Triangle 37"/>
          <p:cNvSpPr/>
          <p:nvPr/>
        </p:nvSpPr>
        <p:spPr>
          <a:xfrm rot="4806760">
            <a:off x="8014247" y="3147392"/>
            <a:ext cx="702860" cy="396354"/>
          </a:xfrm>
          <a:prstGeom prst="triangle">
            <a:avLst/>
          </a:prstGeom>
          <a:solidFill>
            <a:srgbClr val="29BA74"/>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
        <p:nvSpPr>
          <p:cNvPr id="39" name="Isosceles Triangle 38"/>
          <p:cNvSpPr/>
          <p:nvPr/>
        </p:nvSpPr>
        <p:spPr>
          <a:xfrm rot="4806760">
            <a:off x="4509427" y="3983612"/>
            <a:ext cx="702860" cy="396354"/>
          </a:xfrm>
          <a:prstGeom prst="triangle">
            <a:avLst/>
          </a:prstGeom>
          <a:solidFill>
            <a:srgbClr val="29BA74"/>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spTree>
    <p:custDataLst>
      <p:tags r:id="rId2"/>
    </p:custDataLst>
    <p:extLst>
      <p:ext uri="{BB962C8B-B14F-4D97-AF65-F5344CB8AC3E}">
        <p14:creationId xmlns:p14="http://schemas.microsoft.com/office/powerpoint/2010/main" val="3716526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6270" y="2681103"/>
            <a:ext cx="3572771" cy="1495795"/>
          </a:xfrm>
        </p:spPr>
        <p:txBody>
          <a:bodyPr/>
          <a:lstStyle/>
          <a:p>
            <a:pPr algn="ctr"/>
            <a:r>
              <a:rPr lang="en-US" sz="3600" dirty="0"/>
              <a:t>Transformation</a:t>
            </a:r>
            <a:br>
              <a:rPr lang="en-US" sz="3600" dirty="0"/>
            </a:br>
            <a:r>
              <a:rPr lang="en-US" sz="3600" dirty="0"/>
              <a:t>can be  empowering</a:t>
            </a:r>
          </a:p>
        </p:txBody>
      </p:sp>
      <p:pic>
        <p:nvPicPr>
          <p:cNvPr id="6" name="Pictur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073890" y="0"/>
            <a:ext cx="8118111" cy="6858000"/>
          </a:xfrm>
          <a:prstGeom prst="rect">
            <a:avLst/>
          </a:prstGeom>
        </p:spPr>
      </p:pic>
    </p:spTree>
    <p:extLst>
      <p:ext uri="{BB962C8B-B14F-4D97-AF65-F5344CB8AC3E}">
        <p14:creationId xmlns:p14="http://schemas.microsoft.com/office/powerpoint/2010/main" val="1145947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25" name="think-cell Slide" r:id="rId6" imgW="180" imgH="180" progId="TCLayout.ActiveDocument.1">
                  <p:embed/>
                </p:oleObj>
              </mc:Choice>
              <mc:Fallback>
                <p:oleObj name="think-cell Slide" r:id="rId6" imgW="180" imgH="18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29BA74"/>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396240" y="2681103"/>
            <a:ext cx="3361641" cy="1495794"/>
          </a:xfrm>
        </p:spPr>
        <p:txBody>
          <a:bodyPr/>
          <a:lstStyle/>
          <a:p>
            <a:r>
              <a:rPr lang="en-US" dirty="0"/>
              <a:t>A reimagined holistic human-centric approach to transformation</a:t>
            </a:r>
          </a:p>
        </p:txBody>
      </p:sp>
      <p:pic>
        <p:nvPicPr>
          <p:cNvPr id="5" name="Picture 2"/>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r="-1"/>
          <a:stretch/>
        </p:blipFill>
        <p:spPr bwMode="auto">
          <a:xfrm>
            <a:off x="4058478" y="0"/>
            <a:ext cx="8133522"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7983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95" name="think-cell Slide" r:id="rId6" imgW="411" imgH="409" progId="TCLayout.ActiveDocument.1">
                  <p:embed/>
                </p:oleObj>
              </mc:Choice>
              <mc:Fallback>
                <p:oleObj name="think-cell Slide" r:id="rId6" imgW="411" imgH="409"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3" name="Group 2"/>
          <p:cNvGrpSpPr/>
          <p:nvPr/>
        </p:nvGrpSpPr>
        <p:grpSpPr>
          <a:xfrm>
            <a:off x="2543995" y="0"/>
            <a:ext cx="9420320" cy="6859309"/>
            <a:chOff x="2849018" y="-1309"/>
            <a:chExt cx="9324776" cy="6859309"/>
          </a:xfrm>
        </p:grpSpPr>
        <p:pic>
          <p:nvPicPr>
            <p:cNvPr id="24" name="Picture 23"/>
            <p:cNvPicPr>
              <a:picLocks noChangeAspect="1"/>
            </p:cNvPicPr>
            <p:nvPr/>
          </p:nvPicPr>
          <p:blipFill rotWithShape="1">
            <a:blip r:embed="rId8" cstate="print">
              <a:extLst>
                <a:ext uri="{28A0092B-C50C-407E-A947-70E740481C1C}">
                  <a14:useLocalDpi xmlns:a14="http://schemas.microsoft.com/office/drawing/2010/main"/>
                </a:ext>
              </a:extLst>
            </a:blip>
            <a:srcRect l="29398" t="8741" r="101" b="27"/>
            <a:stretch/>
          </p:blipFill>
          <p:spPr bwMode="ltGray">
            <a:xfrm flipH="1">
              <a:off x="2849018" y="0"/>
              <a:ext cx="416951" cy="6858000"/>
            </a:xfrm>
            <a:prstGeom prst="rect">
              <a:avLst/>
            </a:prstGeom>
          </p:spPr>
        </p:pic>
        <p:sp>
          <p:nvSpPr>
            <p:cNvPr id="25" name="Rectangle 24"/>
            <p:cNvSpPr/>
            <p:nvPr/>
          </p:nvSpPr>
          <p:spPr bwMode="white">
            <a:xfrm>
              <a:off x="3258713" y="-1309"/>
              <a:ext cx="8915081"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grpSp>
      <p:grpSp>
        <p:nvGrpSpPr>
          <p:cNvPr id="26" name="Group 25"/>
          <p:cNvGrpSpPr/>
          <p:nvPr/>
        </p:nvGrpSpPr>
        <p:grpSpPr>
          <a:xfrm>
            <a:off x="3394689" y="1247171"/>
            <a:ext cx="8228099" cy="830995"/>
            <a:chOff x="3563780" y="488132"/>
            <a:chExt cx="5741630" cy="830995"/>
          </a:xfrm>
        </p:grpSpPr>
        <p:sp>
          <p:nvSpPr>
            <p:cNvPr id="10" name="Rectangle 9"/>
            <p:cNvSpPr/>
            <p:nvPr/>
          </p:nvSpPr>
          <p:spPr>
            <a:xfrm>
              <a:off x="5847726" y="488132"/>
              <a:ext cx="3457684" cy="830995"/>
            </a:xfrm>
            <a:prstGeom prst="rect">
              <a:avLst/>
            </a:prstGeom>
          </p:spPr>
          <p:txBody>
            <a:bodyPr wrap="square" lIns="91432" tIns="45719" rIns="91432" bIns="45719">
              <a:spAutoFit/>
            </a:bodyPr>
            <a:lstStyle/>
            <a:p>
              <a:pPr defTabSz="914286">
                <a:defRPr/>
              </a:pPr>
              <a:r>
                <a:rPr lang="en-AU" sz="2400" dirty="0">
                  <a:solidFill>
                    <a:schemeClr val="tx2"/>
                  </a:solidFill>
                  <a:latin typeface="+mj-lt"/>
                  <a:ea typeface="+mj-ea"/>
                  <a:cs typeface="+mj-cs"/>
                  <a:sym typeface="Trebuchet MS" panose="020B0603020202020204" pitchFamily="34" charset="0"/>
                </a:rPr>
                <a:t>Envision the future and focus on the big rocks</a:t>
              </a:r>
            </a:p>
          </p:txBody>
        </p:sp>
        <p:sp>
          <p:nvSpPr>
            <p:cNvPr id="12" name="ColumnHeader"/>
            <p:cNvSpPr>
              <a:spLocks noChangeArrowheads="1"/>
            </p:cNvSpPr>
            <p:nvPr/>
          </p:nvSpPr>
          <p:spPr bwMode="gray">
            <a:xfrm>
              <a:off x="3563780" y="631354"/>
              <a:ext cx="1487039" cy="523220"/>
            </a:xfrm>
            <a:prstGeom prst="rect">
              <a:avLst/>
            </a:prstGeom>
            <a:noFill/>
            <a:ln w="9525" algn="ctr">
              <a:noFill/>
              <a:miter lim="800000"/>
              <a:headEnd type="none" w="lg" len="lg"/>
              <a:tailEnd type="none" w="lg" len="lg"/>
            </a:ln>
            <a:effectLst>
              <a:outerShdw dist="25400" dir="5400000" sx="99000" sy="99000" algn="ctr" rotWithShape="0">
                <a:srgbClr val="9A9AC8"/>
              </a:outerShdw>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rgbClr val="FFFFFF"/>
                  </a:solidFill>
                  <a:miter lim="800000"/>
                  <a:headEnd type="none" w="lg" len="lg"/>
                  <a:tailEnd type="none" w="lg" len="lg"/>
                </a14:hiddenLine>
              </a:ext>
            </a:extLst>
          </p:spPr>
          <p:txBody>
            <a:bodyPr wrap="square" lIns="0" tIns="45720" rIns="0" bIns="45720" anchor="t">
              <a:spAutoFit/>
            </a:bodyPr>
            <a:lstStyle/>
            <a:p>
              <a:pPr algn="ctr" defTabSz="914286">
                <a:defRPr/>
              </a:pPr>
              <a:r>
                <a:rPr lang="en-CA" sz="2800" kern="0" dirty="0">
                  <a:solidFill>
                    <a:schemeClr val="tx2"/>
                  </a:solidFill>
                  <a:latin typeface="+mj-lt"/>
                  <a:ea typeface="NAB Impact" panose="02010608060202020104" pitchFamily="2"/>
                  <a:cs typeface="Arial"/>
                  <a:sym typeface="Arial"/>
                </a:rPr>
                <a:t>Head</a:t>
              </a:r>
            </a:p>
          </p:txBody>
        </p:sp>
      </p:grpSp>
      <p:grpSp>
        <p:nvGrpSpPr>
          <p:cNvPr id="5" name="Group 4"/>
          <p:cNvGrpSpPr/>
          <p:nvPr/>
        </p:nvGrpSpPr>
        <p:grpSpPr>
          <a:xfrm>
            <a:off x="3721576" y="3306665"/>
            <a:ext cx="7956303" cy="549792"/>
            <a:chOff x="3817474" y="2592393"/>
            <a:chExt cx="7956303" cy="549792"/>
          </a:xfrm>
        </p:grpSpPr>
        <p:sp>
          <p:nvSpPr>
            <p:cNvPr id="13" name="ColumnHeader"/>
            <p:cNvSpPr>
              <a:spLocks noChangeArrowheads="1"/>
            </p:cNvSpPr>
            <p:nvPr/>
          </p:nvSpPr>
          <p:spPr bwMode="gray">
            <a:xfrm>
              <a:off x="3817474" y="2592393"/>
              <a:ext cx="1487039" cy="523220"/>
            </a:xfrm>
            <a:prstGeom prst="rect">
              <a:avLst/>
            </a:prstGeom>
            <a:noFill/>
            <a:ln w="9525" algn="ctr">
              <a:noFill/>
              <a:miter lim="800000"/>
              <a:headEnd type="none" w="lg" len="lg"/>
              <a:tailEnd type="none" w="lg" len="lg"/>
            </a:ln>
            <a:effectLst>
              <a:outerShdw dist="25400" dir="5400000" sx="99000" sy="99000" algn="ctr" rotWithShape="0">
                <a:srgbClr val="9A9AC8"/>
              </a:outerShdw>
            </a:effectLst>
            <a:extLst>
              <a:ext uri="{91240B29-F687-4F45-9708-019B960494DF}">
                <a14:hiddenLine xmlns:a14="http://schemas.microsoft.com/office/drawing/2010/main" w="9525" algn="ctr">
                  <a:solidFill>
                    <a:srgbClr val="FFFFFF"/>
                  </a:solidFill>
                  <a:miter lim="800000"/>
                  <a:headEnd type="none" w="lg" len="lg"/>
                  <a:tailEnd type="none" w="lg" len="lg"/>
                </a14:hiddenLine>
              </a:ext>
            </a:extLst>
          </p:spPr>
          <p:txBody>
            <a:bodyPr wrap="square" lIns="0" tIns="45720" rIns="0" bIns="45720" anchor="t">
              <a:spAutoFit/>
            </a:bodyPr>
            <a:lstStyle/>
            <a:p>
              <a:pPr algn="ctr" defTabSz="914286">
                <a:defRPr/>
              </a:pPr>
              <a:r>
                <a:rPr lang="en-CA" sz="2800" kern="0" dirty="0">
                  <a:solidFill>
                    <a:schemeClr val="tx2"/>
                  </a:solidFill>
                  <a:latin typeface="+mj-lt"/>
                  <a:ea typeface="NAB Impact" panose="02010608060202020104" pitchFamily="2"/>
                  <a:cs typeface="Arial"/>
                  <a:sym typeface="Arial"/>
                </a:rPr>
                <a:t>Heart</a:t>
              </a:r>
            </a:p>
          </p:txBody>
        </p:sp>
        <p:sp>
          <p:nvSpPr>
            <p:cNvPr id="15" name="Rectangle 14"/>
            <p:cNvSpPr/>
            <p:nvPr/>
          </p:nvSpPr>
          <p:spPr>
            <a:xfrm>
              <a:off x="6759904" y="2680522"/>
              <a:ext cx="5013873" cy="461663"/>
            </a:xfrm>
            <a:prstGeom prst="rect">
              <a:avLst/>
            </a:prstGeom>
            <a:noFill/>
          </p:spPr>
          <p:txBody>
            <a:bodyPr wrap="square" lIns="91432" tIns="45719" rIns="91432" bIns="45719">
              <a:spAutoFit/>
            </a:bodyPr>
            <a:lstStyle/>
            <a:p>
              <a:pPr defTabSz="914286"/>
              <a:r>
                <a:rPr lang="en-AU" sz="2400" dirty="0">
                  <a:solidFill>
                    <a:schemeClr val="tx2"/>
                  </a:solidFill>
                  <a:latin typeface="+mj-lt"/>
                  <a:ea typeface="+mj-ea"/>
                  <a:cs typeface="+mj-cs"/>
                </a:rPr>
                <a:t>Inspire and empower your people </a:t>
              </a:r>
            </a:p>
          </p:txBody>
        </p:sp>
      </p:grpSp>
      <p:grpSp>
        <p:nvGrpSpPr>
          <p:cNvPr id="6" name="Group 5"/>
          <p:cNvGrpSpPr/>
          <p:nvPr/>
        </p:nvGrpSpPr>
        <p:grpSpPr>
          <a:xfrm>
            <a:off x="3721574" y="5177859"/>
            <a:ext cx="8000372" cy="523220"/>
            <a:chOff x="3817474" y="4776095"/>
            <a:chExt cx="7718632" cy="523220"/>
          </a:xfrm>
        </p:grpSpPr>
        <p:sp>
          <p:nvSpPr>
            <p:cNvPr id="14" name="ColumnHeader"/>
            <p:cNvSpPr>
              <a:spLocks noChangeArrowheads="1"/>
            </p:cNvSpPr>
            <p:nvPr/>
          </p:nvSpPr>
          <p:spPr bwMode="gray">
            <a:xfrm>
              <a:off x="3817474" y="4776095"/>
              <a:ext cx="1487040" cy="523220"/>
            </a:xfrm>
            <a:prstGeom prst="rect">
              <a:avLst/>
            </a:prstGeom>
            <a:noFill/>
            <a:ln w="9525" algn="ctr">
              <a:noFill/>
              <a:miter lim="800000"/>
              <a:headEnd type="none" w="lg" len="lg"/>
              <a:tailEnd type="none" w="lg" len="lg"/>
            </a:ln>
            <a:effectLst>
              <a:outerShdw dist="25400" dir="5400000" sx="99000" sy="99000" algn="ctr" rotWithShape="0">
                <a:srgbClr val="9A9AC8"/>
              </a:outerShdw>
            </a:effectLst>
            <a:extLst>
              <a:ext uri="{909E8E84-426E-40DD-AFC4-6F175D3DCCD1}">
                <a14:hiddenFill xmlns:a14="http://schemas.microsoft.com/office/drawing/2010/main">
                  <a:solidFill>
                    <a:schemeClr val="bg1"/>
                  </a:solidFill>
                </a14:hiddenFill>
              </a:ext>
            </a:extLst>
          </p:spPr>
          <p:txBody>
            <a:bodyPr wrap="square" lIns="0" tIns="45720" rIns="0" bIns="45720" anchor="t">
              <a:spAutoFit/>
            </a:bodyPr>
            <a:lstStyle/>
            <a:p>
              <a:pPr algn="ctr" defTabSz="914286">
                <a:defRPr/>
              </a:pPr>
              <a:r>
                <a:rPr lang="en-CA" sz="2800" kern="0" dirty="0">
                  <a:solidFill>
                    <a:schemeClr val="tx2"/>
                  </a:solidFill>
                  <a:latin typeface="+mj-lt"/>
                  <a:ea typeface="NAB Impact" panose="02010608060202020104" pitchFamily="2"/>
                  <a:cs typeface="Arial"/>
                  <a:sym typeface="Arial"/>
                </a:rPr>
                <a:t>Hands</a:t>
              </a:r>
            </a:p>
          </p:txBody>
        </p:sp>
        <p:sp>
          <p:nvSpPr>
            <p:cNvPr id="17" name="Rectangle 16"/>
            <p:cNvSpPr/>
            <p:nvPr/>
          </p:nvSpPr>
          <p:spPr>
            <a:xfrm>
              <a:off x="6703314" y="4837651"/>
              <a:ext cx="4832792" cy="461663"/>
            </a:xfrm>
            <a:prstGeom prst="rect">
              <a:avLst/>
            </a:prstGeom>
          </p:spPr>
          <p:txBody>
            <a:bodyPr wrap="square" lIns="91432" tIns="45719" rIns="91432" bIns="45719">
              <a:spAutoFit/>
            </a:bodyPr>
            <a:lstStyle/>
            <a:p>
              <a:pPr defTabSz="914286">
                <a:defRPr/>
              </a:pPr>
              <a:r>
                <a:rPr lang="en-AU" sz="2400" dirty="0">
                  <a:solidFill>
                    <a:schemeClr val="tx2"/>
                  </a:solidFill>
                  <a:latin typeface="+mj-lt"/>
                  <a:ea typeface="+mj-ea"/>
                  <a:cs typeface="+mj-cs"/>
                </a:rPr>
                <a:t>Execute and innovate with agility</a:t>
              </a:r>
            </a:p>
          </p:txBody>
        </p:sp>
      </p:grpSp>
      <p:pic>
        <p:nvPicPr>
          <p:cNvPr id="23" name="Picture 22"/>
          <p:cNvPicPr>
            <a:picLocks noChangeAspect="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743927" y="434469"/>
            <a:ext cx="1921636" cy="5543608"/>
          </a:xfrm>
          <a:prstGeom prst="rect">
            <a:avLst/>
          </a:prstGeom>
        </p:spPr>
      </p:pic>
      <p:sp>
        <p:nvSpPr>
          <p:cNvPr id="2" name="TextBox 1"/>
          <p:cNvSpPr txBox="1"/>
          <p:nvPr/>
        </p:nvSpPr>
        <p:spPr>
          <a:xfrm>
            <a:off x="3448280" y="223284"/>
            <a:ext cx="8516035" cy="7977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2800" dirty="0">
                <a:solidFill>
                  <a:schemeClr val="accent1">
                    <a:lumMod val="75000"/>
                    <a:lumOff val="25000"/>
                  </a:schemeClr>
                </a:solidFill>
              </a:rPr>
              <a:t>The Head, Heart and Hands of Transformation</a:t>
            </a:r>
            <a:endParaRPr lang="en-US" sz="1400" dirty="0">
              <a:solidFill>
                <a:srgbClr val="FF0000"/>
              </a:solidFill>
            </a:endParaRPr>
          </a:p>
        </p:txBody>
      </p:sp>
    </p:spTree>
    <p:custDataLst>
      <p:tags r:id="rId2"/>
    </p:custDataLst>
    <p:extLst>
      <p:ext uri="{BB962C8B-B14F-4D97-AF65-F5344CB8AC3E}">
        <p14:creationId xmlns:p14="http://schemas.microsoft.com/office/powerpoint/2010/main" val="1259658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43" name="think-cell Slide" r:id="rId17" imgW="395" imgH="394" progId="TCLayout.ActiveDocument.1">
                  <p:embed/>
                </p:oleObj>
              </mc:Choice>
              <mc:Fallback>
                <p:oleObj name="think-cell Slide" r:id="rId17" imgW="395" imgH="394"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600" dirty="0">
              <a:solidFill>
                <a:srgbClr val="FFFFFF"/>
              </a:solidFill>
              <a:latin typeface="Trebuchet MS" panose="020B0603020202020204" pitchFamily="34" charset="0"/>
              <a:ea typeface="NAB Impact" panose="02010608060202020104" pitchFamily="2"/>
              <a:cs typeface="+mj-cs"/>
              <a:sym typeface="Trebuchet MS" panose="020B0603020202020204" pitchFamily="34" charset="0"/>
            </a:endParaRPr>
          </a:p>
        </p:txBody>
      </p:sp>
      <p:sp>
        <p:nvSpPr>
          <p:cNvPr id="2" name="Title 1"/>
          <p:cNvSpPr>
            <a:spLocks noGrp="1"/>
          </p:cNvSpPr>
          <p:nvPr>
            <p:ph type="title"/>
          </p:nvPr>
        </p:nvSpPr>
        <p:spPr>
          <a:xfrm>
            <a:off x="630000" y="516925"/>
            <a:ext cx="10933350" cy="997196"/>
          </a:xfrm>
        </p:spPr>
        <p:txBody>
          <a:bodyPr/>
          <a:lstStyle/>
          <a:p>
            <a:r>
              <a:rPr lang="en-US" sz="3600" dirty="0">
                <a:ea typeface="NAB Impact" panose="02010608060202020104" pitchFamily="2"/>
              </a:rPr>
              <a:t>Fully engaging Head, Heart and Hands is key to sustained transformational performance</a:t>
            </a:r>
            <a:endParaRPr lang="en-US" sz="3600" dirty="0"/>
          </a:p>
        </p:txBody>
      </p:sp>
      <p:pic>
        <p:nvPicPr>
          <p:cNvPr id="5" name="Picture 4"/>
          <p:cNvPicPr>
            <a:picLocks noChangeAspect="1"/>
          </p:cNvPicPr>
          <p:nvPr/>
        </p:nvPicPr>
        <p:blipFill>
          <a:blip r:embed="rId19" cstate="print">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83243" y="1693863"/>
            <a:ext cx="1644813" cy="4824413"/>
          </a:xfrm>
          <a:prstGeom prst="rect">
            <a:avLst/>
          </a:prstGeom>
        </p:spPr>
      </p:pic>
      <p:graphicFrame>
        <p:nvGraphicFramePr>
          <p:cNvPr id="20" name="Chart 19"/>
          <p:cNvGraphicFramePr/>
          <p:nvPr>
            <p:custDataLst>
              <p:tags r:id="rId5"/>
            </p:custDataLst>
          </p:nvPr>
        </p:nvGraphicFramePr>
        <p:xfrm>
          <a:off x="3535363" y="3292475"/>
          <a:ext cx="1581150" cy="2495550"/>
        </p:xfrm>
        <a:graphic>
          <a:graphicData uri="http://schemas.openxmlformats.org/drawingml/2006/chart">
            <c:chart xmlns:c="http://schemas.openxmlformats.org/drawingml/2006/chart" xmlns:r="http://schemas.openxmlformats.org/officeDocument/2006/relationships" r:id="rId20"/>
          </a:graphicData>
        </a:graphic>
      </p:graphicFrame>
      <p:sp>
        <p:nvSpPr>
          <p:cNvPr id="8" name="Text Placeholder 3"/>
          <p:cNvSpPr>
            <a:spLocks noGrp="1"/>
          </p:cNvSpPr>
          <p:nvPr>
            <p:custDataLst>
              <p:tags r:id="rId6"/>
            </p:custDataLst>
          </p:nvPr>
        </p:nvSpPr>
        <p:spPr bwMode="gray">
          <a:xfrm>
            <a:off x="3268663" y="5568950"/>
            <a:ext cx="12065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90460A1C-2E2C-40FF-A499-A9CB47E7E4CE}" type="datetime'''''0'''''''''''''''''''''''''">
              <a:rPr lang="en-US" altLang="en-US" sz="1800" smtClean="0">
                <a:solidFill>
                  <a:srgbClr val="575757"/>
                </a:solidFill>
                <a:ea typeface="+mj-ea"/>
                <a:cs typeface="+mj-cs"/>
              </a:rPr>
              <a:pPr algn="r">
                <a:lnSpc>
                  <a:spcPct val="100000"/>
                </a:lnSpc>
                <a:spcBef>
                  <a:spcPct val="0"/>
                </a:spcBef>
                <a:spcAft>
                  <a:spcPct val="0"/>
                </a:spcAft>
              </a:pPr>
              <a:t>0</a:t>
            </a:fld>
            <a:endParaRPr lang="en-US" sz="1800" dirty="0">
              <a:solidFill>
                <a:srgbClr val="575757"/>
              </a:solidFill>
              <a:ea typeface="+mj-ea"/>
              <a:cs typeface="+mj-cs"/>
              <a:sym typeface="+mn-lt"/>
            </a:endParaRPr>
          </a:p>
        </p:txBody>
      </p:sp>
      <p:sp>
        <p:nvSpPr>
          <p:cNvPr id="7" name="Text Placeholder 3"/>
          <p:cNvSpPr>
            <a:spLocks noGrp="1"/>
          </p:cNvSpPr>
          <p:nvPr>
            <p:custDataLst>
              <p:tags r:id="rId7"/>
            </p:custDataLst>
          </p:nvPr>
        </p:nvSpPr>
        <p:spPr bwMode="gray">
          <a:xfrm>
            <a:off x="3148013" y="4403725"/>
            <a:ext cx="24130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B09744B8-8AA5-4FB3-BD7A-2FF546544A13}" type="datetime'''''''''''''''''50'''''''''''''''''''''''''''">
              <a:rPr lang="en-US" altLang="en-US" sz="1800" smtClean="0">
                <a:solidFill>
                  <a:srgbClr val="575757"/>
                </a:solidFill>
                <a:ea typeface="+mj-ea"/>
                <a:cs typeface="+mj-cs"/>
              </a:rPr>
              <a:pPr algn="r">
                <a:lnSpc>
                  <a:spcPct val="100000"/>
                </a:lnSpc>
                <a:spcBef>
                  <a:spcPct val="0"/>
                </a:spcBef>
                <a:spcAft>
                  <a:spcPct val="0"/>
                </a:spcAft>
              </a:pPr>
              <a:t>50</a:t>
            </a:fld>
            <a:endParaRPr lang="en-US" sz="1800" dirty="0">
              <a:solidFill>
                <a:srgbClr val="575757"/>
              </a:solidFill>
              <a:ea typeface="+mj-ea"/>
              <a:cs typeface="+mj-cs"/>
              <a:sym typeface="+mn-lt"/>
            </a:endParaRPr>
          </a:p>
        </p:txBody>
      </p:sp>
      <p:sp>
        <p:nvSpPr>
          <p:cNvPr id="9" name="Text Placeholder 3"/>
          <p:cNvSpPr>
            <a:spLocks noGrp="1"/>
          </p:cNvSpPr>
          <p:nvPr>
            <p:custDataLst>
              <p:tags r:id="rId8"/>
            </p:custDataLst>
          </p:nvPr>
        </p:nvSpPr>
        <p:spPr bwMode="gray">
          <a:xfrm>
            <a:off x="3027363" y="3217863"/>
            <a:ext cx="361950" cy="30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B1C3323-2E93-4B3C-B05E-0C0DA81E638A}" type="datetime'''''''''''1''''''''''''''''''''''0''''''''''''''''0'''''''">
              <a:rPr lang="en-US" altLang="en-US" sz="1800" smtClean="0">
                <a:solidFill>
                  <a:srgbClr val="575757"/>
                </a:solidFill>
                <a:ea typeface="+mj-ea"/>
                <a:cs typeface="+mj-cs"/>
              </a:rPr>
              <a:pPr algn="r">
                <a:spcBef>
                  <a:spcPct val="0"/>
                </a:spcBef>
                <a:spcAft>
                  <a:spcPct val="0"/>
                </a:spcAft>
              </a:pPr>
              <a:t>100</a:t>
            </a:fld>
            <a:endParaRPr lang="en-US" sz="1800" dirty="0">
              <a:solidFill>
                <a:srgbClr val="575757"/>
              </a:solidFill>
              <a:ea typeface="+mj-ea"/>
              <a:cs typeface="+mj-cs"/>
              <a:sym typeface="+mn-lt"/>
            </a:endParaRPr>
          </a:p>
        </p:txBody>
      </p:sp>
      <p:sp>
        <p:nvSpPr>
          <p:cNvPr id="10" name="Text Placeholder 3"/>
          <p:cNvSpPr>
            <a:spLocks noGrp="1"/>
          </p:cNvSpPr>
          <p:nvPr>
            <p:custDataLst>
              <p:tags r:id="rId9"/>
            </p:custDataLst>
          </p:nvPr>
        </p:nvSpPr>
        <p:spPr bwMode="gray">
          <a:xfrm>
            <a:off x="4176713" y="4637088"/>
            <a:ext cx="29845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498602F-8F52-46AE-94B2-067FF574BA92}" type="datetime'''''''''''''''''''''''''''''''''3''''''3'''''''''''''''''''">
              <a:rPr lang="en-US" altLang="en-US" sz="1800" smtClean="0">
                <a:solidFill>
                  <a:srgbClr val="575757"/>
                </a:solidFill>
                <a:ea typeface="+mj-ea"/>
                <a:cs typeface="+mj-cs"/>
              </a:rPr>
              <a:pPr algn="ctr">
                <a:lnSpc>
                  <a:spcPct val="100000"/>
                </a:lnSpc>
                <a:spcBef>
                  <a:spcPct val="0"/>
                </a:spcBef>
                <a:spcAft>
                  <a:spcPct val="0"/>
                </a:spcAft>
              </a:pPr>
              <a:t>33</a:t>
            </a:fld>
            <a:endParaRPr lang="en-US" sz="1800" dirty="0">
              <a:solidFill>
                <a:srgbClr val="575757"/>
              </a:solidFill>
              <a:latin typeface="+mj-lt"/>
              <a:ea typeface="+mj-ea"/>
              <a:cs typeface="+mj-cs"/>
              <a:sym typeface="+mj-lt"/>
            </a:endParaRPr>
          </a:p>
        </p:txBody>
      </p:sp>
      <p:sp>
        <p:nvSpPr>
          <p:cNvPr id="11" name="TextBox 10"/>
          <p:cNvSpPr txBox="1"/>
          <p:nvPr/>
        </p:nvSpPr>
        <p:spPr>
          <a:xfrm>
            <a:off x="2057400" y="2579688"/>
            <a:ext cx="3962400" cy="5270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575757"/>
                </a:solidFill>
              </a:rPr>
              <a:t>(%) companies with sustained performance improvement</a:t>
            </a:r>
          </a:p>
        </p:txBody>
      </p:sp>
      <p:graphicFrame>
        <p:nvGraphicFramePr>
          <p:cNvPr id="25" name="Chart 24"/>
          <p:cNvGraphicFramePr/>
          <p:nvPr>
            <p:custDataLst>
              <p:tags r:id="rId10"/>
            </p:custDataLst>
          </p:nvPr>
        </p:nvGraphicFramePr>
        <p:xfrm>
          <a:off x="9150350" y="3292475"/>
          <a:ext cx="1598613" cy="2495550"/>
        </p:xfrm>
        <a:graphic>
          <a:graphicData uri="http://schemas.openxmlformats.org/drawingml/2006/chart">
            <c:chart xmlns:c="http://schemas.openxmlformats.org/drawingml/2006/chart" xmlns:r="http://schemas.openxmlformats.org/officeDocument/2006/relationships" r:id="rId21"/>
          </a:graphicData>
        </a:graphic>
      </p:graphicFrame>
      <p:sp>
        <p:nvSpPr>
          <p:cNvPr id="14" name="Text Placeholder 3"/>
          <p:cNvSpPr>
            <a:spLocks noGrp="1"/>
          </p:cNvSpPr>
          <p:nvPr>
            <p:custDataLst>
              <p:tags r:id="rId11"/>
            </p:custDataLst>
          </p:nvPr>
        </p:nvSpPr>
        <p:spPr bwMode="gray">
          <a:xfrm>
            <a:off x="8883650" y="5568950"/>
            <a:ext cx="12065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7E05055A-029D-4823-9DB6-ACA8F78C4843}" type="datetime'''''''''''''''''''''''''''''''''''''0'''''''">
              <a:rPr lang="en-US" altLang="en-US" sz="1800" smtClean="0">
                <a:ea typeface="+mj-ea"/>
                <a:cs typeface="+mj-cs"/>
              </a:rPr>
              <a:pPr algn="r">
                <a:lnSpc>
                  <a:spcPct val="100000"/>
                </a:lnSpc>
                <a:spcBef>
                  <a:spcPct val="0"/>
                </a:spcBef>
                <a:spcAft>
                  <a:spcPct val="0"/>
                </a:spcAft>
              </a:pPr>
              <a:t>0</a:t>
            </a:fld>
            <a:endParaRPr lang="en-US" sz="1800" dirty="0">
              <a:ea typeface="+mj-ea"/>
              <a:cs typeface="+mj-cs"/>
              <a:sym typeface="+mn-lt"/>
            </a:endParaRPr>
          </a:p>
        </p:txBody>
      </p:sp>
      <p:sp>
        <p:nvSpPr>
          <p:cNvPr id="15" name="Text Placeholder 3"/>
          <p:cNvSpPr>
            <a:spLocks noGrp="1"/>
          </p:cNvSpPr>
          <p:nvPr>
            <p:custDataLst>
              <p:tags r:id="rId12"/>
            </p:custDataLst>
          </p:nvPr>
        </p:nvSpPr>
        <p:spPr bwMode="gray">
          <a:xfrm>
            <a:off x="8763000" y="4403725"/>
            <a:ext cx="24130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D75FEAB1-A6DC-4392-8647-006BBCDDF035}" type="datetime'''''''''''''''''''''''''''''''50'''''''''">
              <a:rPr lang="en-US" altLang="en-US" sz="1800" smtClean="0">
                <a:ea typeface="+mj-ea"/>
                <a:cs typeface="+mj-cs"/>
              </a:rPr>
              <a:pPr algn="r">
                <a:lnSpc>
                  <a:spcPct val="100000"/>
                </a:lnSpc>
                <a:spcBef>
                  <a:spcPct val="0"/>
                </a:spcBef>
                <a:spcAft>
                  <a:spcPct val="0"/>
                </a:spcAft>
              </a:pPr>
              <a:t>50</a:t>
            </a:fld>
            <a:endParaRPr lang="en-US" sz="1800" dirty="0">
              <a:ea typeface="+mj-ea"/>
              <a:cs typeface="+mj-cs"/>
              <a:sym typeface="+mn-lt"/>
            </a:endParaRPr>
          </a:p>
        </p:txBody>
      </p:sp>
      <p:sp>
        <p:nvSpPr>
          <p:cNvPr id="13" name="Text Placeholder 3"/>
          <p:cNvSpPr>
            <a:spLocks noGrp="1"/>
          </p:cNvSpPr>
          <p:nvPr>
            <p:custDataLst>
              <p:tags r:id="rId13"/>
            </p:custDataLst>
          </p:nvPr>
        </p:nvSpPr>
        <p:spPr bwMode="gray">
          <a:xfrm>
            <a:off x="8642350" y="3238500"/>
            <a:ext cx="36195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B8632B68-2AE7-4DEB-95F0-36E810A45E2E}" type="datetime'''''''''''''''''''''''''''''1''''''''''''0''''0'''">
              <a:rPr lang="en-US" altLang="en-US" sz="1800" smtClean="0">
                <a:ea typeface="+mj-ea"/>
                <a:cs typeface="+mj-cs"/>
              </a:rPr>
              <a:pPr algn="r">
                <a:lnSpc>
                  <a:spcPct val="100000"/>
                </a:lnSpc>
                <a:spcBef>
                  <a:spcPct val="0"/>
                </a:spcBef>
                <a:spcAft>
                  <a:spcPct val="0"/>
                </a:spcAft>
              </a:pPr>
              <a:t>100</a:t>
            </a:fld>
            <a:endParaRPr lang="en-US" sz="1800" dirty="0">
              <a:ea typeface="+mj-ea"/>
              <a:cs typeface="+mj-cs"/>
              <a:sym typeface="+mn-lt"/>
            </a:endParaRPr>
          </a:p>
        </p:txBody>
      </p:sp>
      <p:sp>
        <p:nvSpPr>
          <p:cNvPr id="16" name="Text Placeholder 3"/>
          <p:cNvSpPr>
            <a:spLocks noGrp="1"/>
          </p:cNvSpPr>
          <p:nvPr>
            <p:custDataLst>
              <p:tags r:id="rId14"/>
            </p:custDataLst>
          </p:nvPr>
        </p:nvSpPr>
        <p:spPr bwMode="gray">
          <a:xfrm>
            <a:off x="9799638" y="3168650"/>
            <a:ext cx="298450" cy="2746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2CC7D72-9256-46EC-986F-77F82E2337F5}" type="datetime'''''''''''''''''9''''''6'">
              <a:rPr lang="en-US" altLang="en-US" sz="1800" smtClean="0">
                <a:ea typeface="+mj-ea"/>
                <a:cs typeface="+mj-cs"/>
              </a:rPr>
              <a:pPr algn="ctr">
                <a:lnSpc>
                  <a:spcPct val="100000"/>
                </a:lnSpc>
                <a:spcBef>
                  <a:spcPct val="0"/>
                </a:spcBef>
                <a:spcAft>
                  <a:spcPct val="0"/>
                </a:spcAft>
              </a:pPr>
              <a:t>96</a:t>
            </a:fld>
            <a:endParaRPr lang="en-US" sz="1800" dirty="0">
              <a:latin typeface="+mj-lt"/>
              <a:ea typeface="+mj-ea"/>
              <a:cs typeface="+mj-cs"/>
              <a:sym typeface="+mj-lt"/>
            </a:endParaRPr>
          </a:p>
        </p:txBody>
      </p:sp>
      <p:pic>
        <p:nvPicPr>
          <p:cNvPr id="17" name="Picture 16"/>
          <p:cNvPicPr>
            <a:picLocks noChangeAspect="1"/>
          </p:cNvPicPr>
          <p:nvPr/>
        </p:nvPicPr>
        <p:blipFill>
          <a:blip r:embed="rId22" cstate="print">
            <a:duotone>
              <a:prstClr val="black"/>
              <a:schemeClr val="tx2">
                <a:tint val="45000"/>
                <a:satMod val="400000"/>
              </a:schemeClr>
            </a:duotone>
            <a:extLst>
              <a:ext uri="{BEBA8EAE-BF5A-486C-A8C5-ECC9F3942E4B}">
                <a14:imgProps xmlns:a14="http://schemas.microsoft.com/office/drawing/2010/main">
                  <a14:imgLayer r:embed="rId23">
                    <a14:imgEffect>
                      <a14:colorTemperature colorTemp="4700"/>
                    </a14:imgEffect>
                    <a14:imgEffect>
                      <a14:saturation sat="0"/>
                    </a14:imgEffect>
                  </a14:imgLayer>
                </a14:imgProps>
              </a:ext>
              <a:ext uri="{28A0092B-C50C-407E-A947-70E740481C1C}">
                <a14:useLocalDpi xmlns:a14="http://schemas.microsoft.com/office/drawing/2010/main"/>
              </a:ext>
            </a:extLst>
          </a:blip>
          <a:stretch>
            <a:fillRect/>
          </a:stretch>
        </p:blipFill>
        <p:spPr>
          <a:xfrm>
            <a:off x="6828929" y="1757793"/>
            <a:ext cx="1643922" cy="4760483"/>
          </a:xfrm>
          <a:prstGeom prst="rect">
            <a:avLst/>
          </a:prstGeom>
        </p:spPr>
      </p:pic>
      <p:sp>
        <p:nvSpPr>
          <p:cNvPr id="22" name="TextBox 21"/>
          <p:cNvSpPr txBox="1"/>
          <p:nvPr/>
        </p:nvSpPr>
        <p:spPr>
          <a:xfrm>
            <a:off x="7771904" y="2579688"/>
            <a:ext cx="3962400" cy="5270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29BA74"/>
                </a:solidFill>
              </a:rPr>
              <a:t>(%) companies with sustained performance improvement</a:t>
            </a:r>
          </a:p>
        </p:txBody>
      </p:sp>
      <p:grpSp>
        <p:nvGrpSpPr>
          <p:cNvPr id="23" name="Group 22"/>
          <p:cNvGrpSpPr/>
          <p:nvPr/>
        </p:nvGrpSpPr>
        <p:grpSpPr>
          <a:xfrm>
            <a:off x="5868213" y="2081213"/>
            <a:ext cx="455574" cy="4079081"/>
            <a:chOff x="5868213" y="2081213"/>
            <a:chExt cx="455574" cy="4079081"/>
          </a:xfrm>
        </p:grpSpPr>
        <p:cxnSp>
          <p:nvCxnSpPr>
            <p:cNvPr id="24" name="Straight Connector 23"/>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26" name="Freeform 94"/>
            <p:cNvSpPr>
              <a:spLocks/>
            </p:cNvSpPr>
            <p:nvPr/>
          </p:nvSpPr>
          <p:spPr bwMode="gray">
            <a:xfrm>
              <a:off x="5868213" y="3892416"/>
              <a:ext cx="455574" cy="456676"/>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sp>
        <p:nvSpPr>
          <p:cNvPr id="28" name="TextBox 27"/>
          <p:cNvSpPr txBox="1"/>
          <p:nvPr/>
        </p:nvSpPr>
        <p:spPr>
          <a:xfrm>
            <a:off x="5839610" y="4006184"/>
            <a:ext cx="568688" cy="2118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rgbClr val="FFFFFF"/>
                </a:solidFill>
              </a:rPr>
              <a:t>Vs.</a:t>
            </a:r>
          </a:p>
        </p:txBody>
      </p:sp>
    </p:spTree>
    <p:custDataLst>
      <p:tags r:id="rId2"/>
    </p:custDataLst>
    <p:extLst>
      <p:ext uri="{BB962C8B-B14F-4D97-AF65-F5344CB8AC3E}">
        <p14:creationId xmlns:p14="http://schemas.microsoft.com/office/powerpoint/2010/main" val="1946784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Yp4CrJbQgaTfoNHaz5jeQ"/>
</p:tagLst>
</file>

<file path=ppt/tags/tag101.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S3rmd89QH.c.R724YMII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YjwqXTCYRqK8YcGmIL_eW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rnK9.mfRQ.KgsL1dcydopg"/>
</p:tagLst>
</file>

<file path=ppt/tags/tag106.xml><?xml version="1.0" encoding="utf-8"?>
<p:tagLst xmlns:a="http://schemas.openxmlformats.org/drawingml/2006/main" xmlns:r="http://schemas.openxmlformats.org/officeDocument/2006/relationships" xmlns:p="http://schemas.openxmlformats.org/presentationml/2006/main">
  <p:tag name="BCG_MODE" val="Presentation"/>
  <p:tag name="BCG_DESIGN" val="Arrow two third (P)"/>
  <p:tag name="EE4P_LAYOUT_ID" val="K"/>
</p:tagLst>
</file>

<file path=ppt/tags/tag107.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e6Pi2v9VQminYWqwfGMhtQ"/>
</p:tagLst>
</file>

<file path=ppt/tags/tag11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vR59aufSHWARl4a48KcRA"/>
</p:tagLst>
</file>

<file path=ppt/tags/tag115.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_0UD9C5.SHqmtUCHsyeqq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i_POsz5WQ_6__5IWJNz2z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Tt.iazOTT2eGa4nksWI_NA"/>
</p:tagLst>
</file>

<file path=ppt/tags/tag123.xml><?xml version="1.0" encoding="utf-8"?>
<p:tagLst xmlns:a="http://schemas.openxmlformats.org/drawingml/2006/main" xmlns:r="http://schemas.openxmlformats.org/officeDocument/2006/relationships" xmlns:p="http://schemas.openxmlformats.org/presentationml/2006/main">
  <p:tag name="BCG_MODE" val="Documentation"/>
  <p:tag name="BCG_DESIGN" val="Five heading"/>
  <p:tag name="EE4P_STRETCH" val="2"/>
  <p:tag name="EE4P_LAYOUT_ID" val="D"/>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UXoJnLq7Rdudap.HcDAkEg"/>
</p:tagLst>
</file>

<file path=ppt/tags/tag126.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BwvV6vM1QhuWrjuvIbN96A"/>
</p:tagLst>
</file>

<file path=ppt/tags/tag13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bku36atqTuyM0zfSRVYnj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CAaQXy0uRqGWo.lkIsESG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MiSzU4w2S3ed_GxYNhORC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MiSzU4w2S3ed_GxYNhORC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ffhEkGQnT8qqMcNcDZOojA"/>
</p:tagLst>
</file>

<file path=ppt/tags/tag14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6.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6xwgY2OSRP2Z2hxs.nXaag"/>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51.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KX3fCrLwRIqDeFtrkI.UYQ"/>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k3ShKVASMePIJYvKovHyA"/>
</p:tagLst>
</file>

<file path=ppt/tags/tag82.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kyeGTxWQOak6NCFSzn6KA"/>
</p:tagLst>
</file>

<file path=ppt/tags/tag86.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j05Gv1w1TkSvByH0c4X1r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CYpOxWFxRpuFBwjktL1FY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47N81mvCTgS3pjkDefPTp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rDQoPfpSqyyU6.Fr_dOu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svlmRVUfQhuZBVJHoyVah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CFTB3SptTpOlT9CjuMfLW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qT2LB67QJiNtA.ZU6Lua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cNuqpGlQ4We2Ztqu1p3b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1oX_gr7hSsO7f8SxY22dQ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ItBv4tr4Tn2hqDjE7WstVg"/>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16</TotalTime>
  <Words>2453</Words>
  <Application>Microsoft Office PowerPoint</Application>
  <PresentationFormat>Širokozaslonsko</PresentationFormat>
  <Paragraphs>504</Paragraphs>
  <Slides>38</Slides>
  <Notes>30</Notes>
  <HiddenSlides>0</HiddenSlides>
  <MMClips>0</MMClips>
  <ScaleCrop>false</ScaleCrop>
  <HeadingPairs>
    <vt:vector size="10" baseType="variant">
      <vt:variant>
        <vt:lpstr>Uporabljene pisave</vt:lpstr>
      </vt:variant>
      <vt:variant>
        <vt:i4>6</vt:i4>
      </vt:variant>
      <vt:variant>
        <vt:lpstr>Tema</vt:lpstr>
      </vt:variant>
      <vt:variant>
        <vt:i4>1</vt:i4>
      </vt:variant>
      <vt:variant>
        <vt:lpstr>Vdelani OLE strežniki</vt:lpstr>
      </vt:variant>
      <vt:variant>
        <vt:i4>1</vt:i4>
      </vt:variant>
      <vt:variant>
        <vt:lpstr>Naslovi diapozitivov</vt:lpstr>
      </vt:variant>
      <vt:variant>
        <vt:i4>38</vt:i4>
      </vt:variant>
      <vt:variant>
        <vt:lpstr>Diaprojekcije po meri</vt:lpstr>
      </vt:variant>
      <vt:variant>
        <vt:i4>1</vt:i4>
      </vt:variant>
    </vt:vector>
  </HeadingPairs>
  <TitlesOfParts>
    <vt:vector size="47" baseType="lpstr">
      <vt:lpstr>Arial</vt:lpstr>
      <vt:lpstr>Calibri</vt:lpstr>
      <vt:lpstr>Corpid C1 Regular</vt:lpstr>
      <vt:lpstr>Segoe UI</vt:lpstr>
      <vt:lpstr>Trade Gothic for Nike BdCn</vt:lpstr>
      <vt:lpstr>Trebuchet MS</vt:lpstr>
      <vt:lpstr>BCG Grid 16:9</vt:lpstr>
      <vt:lpstr>think-cell Slide</vt:lpstr>
      <vt:lpstr>Leading in an Era of Constant Change - The Head, Heart, and Hands of Transformational Leadership</vt:lpstr>
      <vt:lpstr>In February 2014, Microsoft announced Satya Nadella as CEO</vt:lpstr>
      <vt:lpstr>"Every" organization is transforming</vt:lpstr>
      <vt:lpstr> Transformation is hard</vt:lpstr>
      <vt:lpstr>We have entered a new era of 'Always On' transformation</vt:lpstr>
      <vt:lpstr>Transformation can be  empowering</vt:lpstr>
      <vt:lpstr>A reimagined holistic human-centric approach to transformation</vt:lpstr>
      <vt:lpstr>PowerPointova predstavitev</vt:lpstr>
      <vt:lpstr>Fully engaging Head, Heart and Hands is key to sustained transformational performance</vt:lpstr>
      <vt:lpstr>The heart and hands are often neglected</vt:lpstr>
      <vt:lpstr>What Microsoft has accomplished thus far</vt:lpstr>
      <vt:lpstr>PowerPointova predstavitev</vt:lpstr>
      <vt:lpstr>Holistic Transformation Program</vt:lpstr>
      <vt:lpstr>Typical big rocks  </vt:lpstr>
      <vt:lpstr>For reflection…</vt:lpstr>
      <vt:lpstr>PowerPointova predstavitev</vt:lpstr>
      <vt:lpstr>Transformation Management Offices (TMO)</vt:lpstr>
      <vt:lpstr>Impact Centers: enabling visual progress tracking and timely interventions</vt:lpstr>
      <vt:lpstr>The benefits of executing and innovating with agile teams</vt:lpstr>
      <vt:lpstr>Building critical capabilities while executing </vt:lpstr>
      <vt:lpstr>For reflection…</vt:lpstr>
      <vt:lpstr>Heart   </vt:lpstr>
      <vt:lpstr>PowerPointova predstavitev</vt:lpstr>
      <vt:lpstr>PowerPointova predstavitev</vt:lpstr>
      <vt:lpstr>Microsoft has gone well beyond 'surface purpose' to purpose with the power to transform   </vt:lpstr>
      <vt:lpstr>Challenging starting point for culture</vt:lpstr>
      <vt:lpstr>Microsoft's Five People Priorities reinforce the emphasis on empowering people </vt:lpstr>
      <vt:lpstr>A high performance culture has three characteristics</vt:lpstr>
      <vt:lpstr>Defined target culture based on five key attributes </vt:lpstr>
      <vt:lpstr>Defined &amp; clarified target culture and specific behaviors for each culture attribute </vt:lpstr>
      <vt:lpstr>Activation through leaders and aligning context key to culture change</vt:lpstr>
      <vt:lpstr>Developed and  launched new head, heart, and hands leadership model  </vt:lpstr>
      <vt:lpstr>PowerPointova predstavitev</vt:lpstr>
      <vt:lpstr>Satya Nadella's view on the heart of transformation</vt:lpstr>
      <vt:lpstr>For reflection…</vt:lpstr>
      <vt:lpstr>PowerPointova predstavitev</vt:lpstr>
      <vt:lpstr>PowerPointova predstavitev</vt:lpstr>
      <vt:lpstr>PowerPointova predstavitev</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Sonja Vidonja</cp:lastModifiedBy>
  <cp:revision>477</cp:revision>
  <cp:lastPrinted>2000-01-01T08:00:00Z</cp:lastPrinted>
  <dcterms:created xsi:type="dcterms:W3CDTF">2019-03-02T00:19:03Z</dcterms:created>
  <dcterms:modified xsi:type="dcterms:W3CDTF">2019-09-25T08:48: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8" name="_NewReviewCycle">
    <vt:lpwstr/>
  </property>
</Properties>
</file>